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33"/>
  </p:notesMasterIdLst>
  <p:handoutMasterIdLst>
    <p:handoutMasterId r:id="rId34"/>
  </p:handoutMasterIdLst>
  <p:sldIdLst>
    <p:sldId id="295" r:id="rId2"/>
    <p:sldId id="296" r:id="rId3"/>
    <p:sldId id="258" r:id="rId4"/>
    <p:sldId id="285" r:id="rId5"/>
    <p:sldId id="286" r:id="rId6"/>
    <p:sldId id="294" r:id="rId7"/>
    <p:sldId id="259" r:id="rId8"/>
    <p:sldId id="289" r:id="rId9"/>
    <p:sldId id="283" r:id="rId10"/>
    <p:sldId id="315" r:id="rId11"/>
    <p:sldId id="297" r:id="rId12"/>
    <p:sldId id="293" r:id="rId13"/>
    <p:sldId id="262" r:id="rId14"/>
    <p:sldId id="314" r:id="rId15"/>
    <p:sldId id="299" r:id="rId16"/>
    <p:sldId id="300" r:id="rId17"/>
    <p:sldId id="301" r:id="rId18"/>
    <p:sldId id="302" r:id="rId19"/>
    <p:sldId id="303" r:id="rId20"/>
    <p:sldId id="304" r:id="rId21"/>
    <p:sldId id="305" r:id="rId22"/>
    <p:sldId id="306" r:id="rId23"/>
    <p:sldId id="313" r:id="rId24"/>
    <p:sldId id="307" r:id="rId25"/>
    <p:sldId id="308" r:id="rId26"/>
    <p:sldId id="309" r:id="rId27"/>
    <p:sldId id="310" r:id="rId28"/>
    <p:sldId id="311" r:id="rId29"/>
    <p:sldId id="312" r:id="rId30"/>
    <p:sldId id="279" r:id="rId31"/>
    <p:sldId id="280" r:id="rId32"/>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336" userDrawn="1">
          <p15:clr>
            <a:srgbClr val="A4A3A4"/>
          </p15:clr>
        </p15:guide>
        <p15:guide id="3" orient="horz" pos="679">
          <p15:clr>
            <a:srgbClr val="A4A3A4"/>
          </p15:clr>
        </p15:guide>
        <p15:guide id="4" orient="horz" pos="2972">
          <p15:clr>
            <a:srgbClr val="A4A3A4"/>
          </p15:clr>
        </p15:guide>
        <p15:guide id="5" pos="347">
          <p15:clr>
            <a:srgbClr val="A4A3A4"/>
          </p15:clr>
        </p15:guide>
        <p15:guide id="6" pos="5417">
          <p15:clr>
            <a:srgbClr val="A4A3A4"/>
          </p15:clr>
        </p15:guide>
        <p15:guide id="7" pos="5586">
          <p15:clr>
            <a:srgbClr val="A4A3A4"/>
          </p15:clr>
        </p15:guide>
        <p15:guide id="8" pos="172">
          <p15:clr>
            <a:srgbClr val="A4A3A4"/>
          </p15:clr>
        </p15:guide>
      </p15:sldGuideLst>
    </p:ext>
    <p:ext uri="{2D200454-40CA-4A62-9FC3-DE9A4176ACB9}">
      <p15:notesGuideLst xmlns:p15="http://schemas.microsoft.com/office/powerpoint/2012/main">
        <p15:guide id="1" orient="horz" pos="2880">
          <p15:clr>
            <a:srgbClr val="A4A3A4"/>
          </p15:clr>
        </p15:guide>
        <p15:guide id="2" orient="horz" pos="2594">
          <p15:clr>
            <a:srgbClr val="A4A3A4"/>
          </p15:clr>
        </p15:guide>
        <p15:guide id="3" orient="horz" pos="430">
          <p15:clr>
            <a:srgbClr val="A4A3A4"/>
          </p15:clr>
        </p15:guide>
        <p15:guide id="4" orient="horz" pos="2740">
          <p15:clr>
            <a:srgbClr val="A4A3A4"/>
          </p15:clr>
        </p15:guide>
        <p15:guide id="5" orient="horz" pos="5330">
          <p15:clr>
            <a:srgbClr val="A4A3A4"/>
          </p15:clr>
        </p15:guide>
        <p15:guide id="6" pos="2160">
          <p15:clr>
            <a:srgbClr val="A4A3A4"/>
          </p15:clr>
        </p15:guide>
        <p15:guide id="7" pos="241">
          <p15:clr>
            <a:srgbClr val="A4A3A4"/>
          </p15:clr>
        </p15:guide>
        <p15:guide id="8" pos="407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AF"/>
    <a:srgbClr val="049FD9"/>
    <a:srgbClr val="58585B"/>
    <a:srgbClr val="58595B"/>
    <a:srgbClr val="E8EBF1"/>
    <a:srgbClr val="4D4D4D"/>
    <a:srgbClr val="AB0810"/>
    <a:srgbClr val="FDBE24"/>
    <a:srgbClr val="FA661C"/>
    <a:srgbClr val="90BD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6481" autoAdjust="0"/>
    <p:restoredTop sz="94907" autoAdjust="0"/>
  </p:normalViewPr>
  <p:slideViewPr>
    <p:cSldViewPr snapToGrid="0" snapToObjects="1">
      <p:cViewPr varScale="1">
        <p:scale>
          <a:sx n="120" d="100"/>
          <a:sy n="120" d="100"/>
        </p:scale>
        <p:origin x="1050" y="102"/>
      </p:cViewPr>
      <p:guideLst>
        <p:guide orient="horz" pos="1620"/>
        <p:guide pos="336"/>
        <p:guide orient="horz" pos="679"/>
        <p:guide orient="horz" pos="2972"/>
        <p:guide pos="347"/>
        <p:guide pos="5417"/>
        <p:guide pos="5586"/>
        <p:guide pos="172"/>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66" d="100"/>
          <a:sy n="66" d="100"/>
        </p:scale>
        <p:origin x="3134" y="38"/>
      </p:cViewPr>
      <p:guideLst>
        <p:guide orient="horz" pos="2880"/>
        <p:guide orient="horz" pos="2594"/>
        <p:guide orient="horz" pos="430"/>
        <p:guide orient="horz" pos="2740"/>
        <p:guide orient="horz" pos="5330"/>
        <p:guide pos="2160"/>
        <p:guide pos="241"/>
        <p:guide pos="407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913409096859"/>
          <c:y val="6.8278358479670495E-2"/>
          <c:w val="0.89564424690725997"/>
          <c:h val="0.80965616923689099"/>
        </c:manualLayout>
      </c:layout>
      <c:lineChart>
        <c:grouping val="standard"/>
        <c:varyColors val="0"/>
        <c:ser>
          <c:idx val="0"/>
          <c:order val="0"/>
          <c:tx>
            <c:strRef>
              <c:f>Sheet1!$A$2</c:f>
              <c:strCache>
                <c:ptCount val="1"/>
                <c:pt idx="0">
                  <c:v>2G</c:v>
                </c:pt>
              </c:strCache>
            </c:strRef>
          </c:tx>
          <c:spPr>
            <a:ln w="38100">
              <a:solidFill>
                <a:schemeClr val="accent1"/>
              </a:solidFill>
            </a:ln>
          </c:spPr>
          <c:marker>
            <c:symbol val="none"/>
          </c:marker>
          <c:cat>
            <c:strRef>
              <c:f>Sheet1!$B$1:$G$1</c:f>
              <c:strCache>
                <c:ptCount val="6"/>
                <c:pt idx="0">
                  <c:v>2016</c:v>
                </c:pt>
                <c:pt idx="1">
                  <c:v>2017</c:v>
                </c:pt>
                <c:pt idx="2">
                  <c:v>2018</c:v>
                </c:pt>
                <c:pt idx="3">
                  <c:v>2019</c:v>
                </c:pt>
                <c:pt idx="4">
                  <c:v>2020</c:v>
                </c:pt>
                <c:pt idx="5">
                  <c:v>2021</c:v>
                </c:pt>
              </c:strCache>
            </c:strRef>
          </c:cat>
          <c:val>
            <c:numRef>
              <c:f>Sheet1!$B$2:$G$2</c:f>
              <c:numCache>
                <c:formatCode>_(* #,##0_);_(* \(#,##0\);_(* "-"??_);_(@_)</c:formatCode>
                <c:ptCount val="6"/>
                <c:pt idx="0">
                  <c:v>225819630.151384</c:v>
                </c:pt>
                <c:pt idx="1">
                  <c:v>210550234.15583101</c:v>
                </c:pt>
                <c:pt idx="2">
                  <c:v>198364967.68470201</c:v>
                </c:pt>
                <c:pt idx="3">
                  <c:v>210674465.15487999</c:v>
                </c:pt>
                <c:pt idx="4">
                  <c:v>217162506.85476601</c:v>
                </c:pt>
                <c:pt idx="5">
                  <c:v>212618184.518783</c:v>
                </c:pt>
              </c:numCache>
            </c:numRef>
          </c:val>
          <c:smooth val="0"/>
          <c:extLst>
            <c:ext xmlns:c16="http://schemas.microsoft.com/office/drawing/2014/chart" uri="{C3380CC4-5D6E-409C-BE32-E72D297353CC}">
              <c16:uniqueId val="{00000000-31D8-4A62-8D1C-444963E61342}"/>
            </c:ext>
          </c:extLst>
        </c:ser>
        <c:ser>
          <c:idx val="1"/>
          <c:order val="1"/>
          <c:tx>
            <c:strRef>
              <c:f>Sheet1!$A$3</c:f>
              <c:strCache>
                <c:ptCount val="1"/>
                <c:pt idx="0">
                  <c:v>3G</c:v>
                </c:pt>
              </c:strCache>
            </c:strRef>
          </c:tx>
          <c:spPr>
            <a:ln w="38100">
              <a:solidFill>
                <a:schemeClr val="accent2"/>
              </a:solidFill>
            </a:ln>
          </c:spPr>
          <c:marker>
            <c:symbol val="none"/>
          </c:marker>
          <c:cat>
            <c:strRef>
              <c:f>Sheet1!$B$1:$G$1</c:f>
              <c:strCache>
                <c:ptCount val="6"/>
                <c:pt idx="0">
                  <c:v>2016</c:v>
                </c:pt>
                <c:pt idx="1">
                  <c:v>2017</c:v>
                </c:pt>
                <c:pt idx="2">
                  <c:v>2018</c:v>
                </c:pt>
                <c:pt idx="3">
                  <c:v>2019</c:v>
                </c:pt>
                <c:pt idx="4">
                  <c:v>2020</c:v>
                </c:pt>
                <c:pt idx="5">
                  <c:v>2021</c:v>
                </c:pt>
              </c:strCache>
            </c:strRef>
          </c:cat>
          <c:val>
            <c:numRef>
              <c:f>Sheet1!$B$3:$G$3</c:f>
              <c:numCache>
                <c:formatCode>_(* #,##0_);_(* \(#,##0\);_(* "-"??_);_(@_)</c:formatCode>
                <c:ptCount val="6"/>
                <c:pt idx="0">
                  <c:v>313803347.91077697</c:v>
                </c:pt>
                <c:pt idx="1">
                  <c:v>405211046.76807803</c:v>
                </c:pt>
                <c:pt idx="2">
                  <c:v>481796747.51790798</c:v>
                </c:pt>
                <c:pt idx="3">
                  <c:v>543536038.21581602</c:v>
                </c:pt>
                <c:pt idx="4">
                  <c:v>577705371.03177702</c:v>
                </c:pt>
                <c:pt idx="5">
                  <c:v>531401897.26289201</c:v>
                </c:pt>
              </c:numCache>
            </c:numRef>
          </c:val>
          <c:smooth val="0"/>
          <c:extLst>
            <c:ext xmlns:c16="http://schemas.microsoft.com/office/drawing/2014/chart" uri="{C3380CC4-5D6E-409C-BE32-E72D297353CC}">
              <c16:uniqueId val="{00000001-31D8-4A62-8D1C-444963E61342}"/>
            </c:ext>
          </c:extLst>
        </c:ser>
        <c:ser>
          <c:idx val="2"/>
          <c:order val="2"/>
          <c:tx>
            <c:strRef>
              <c:f>Sheet1!$A$4</c:f>
              <c:strCache>
                <c:ptCount val="1"/>
                <c:pt idx="0">
                  <c:v>4G+</c:v>
                </c:pt>
              </c:strCache>
            </c:strRef>
          </c:tx>
          <c:spPr>
            <a:ln w="38100">
              <a:solidFill>
                <a:schemeClr val="accent3">
                  <a:lumMod val="50000"/>
                </a:schemeClr>
              </a:solidFill>
            </a:ln>
          </c:spPr>
          <c:marker>
            <c:symbol val="none"/>
          </c:marker>
          <c:cat>
            <c:strRef>
              <c:f>Sheet1!$B$1:$G$1</c:f>
              <c:strCache>
                <c:ptCount val="6"/>
                <c:pt idx="0">
                  <c:v>2016</c:v>
                </c:pt>
                <c:pt idx="1">
                  <c:v>2017</c:v>
                </c:pt>
                <c:pt idx="2">
                  <c:v>2018</c:v>
                </c:pt>
                <c:pt idx="3">
                  <c:v>2019</c:v>
                </c:pt>
                <c:pt idx="4">
                  <c:v>2020</c:v>
                </c:pt>
                <c:pt idx="5">
                  <c:v>2021</c:v>
                </c:pt>
              </c:strCache>
            </c:strRef>
          </c:cat>
          <c:val>
            <c:numRef>
              <c:f>Sheet1!$B$4:$G$4</c:f>
              <c:numCache>
                <c:formatCode>_(* #,##0_);_(* \(#,##0\);_(* "-"??_);_(@_)</c:formatCode>
                <c:ptCount val="6"/>
                <c:pt idx="0">
                  <c:v>182073126.20624101</c:v>
                </c:pt>
                <c:pt idx="1">
                  <c:v>350409882.06626701</c:v>
                </c:pt>
                <c:pt idx="2">
                  <c:v>571470977.63834906</c:v>
                </c:pt>
                <c:pt idx="3">
                  <c:v>816673149.71202505</c:v>
                </c:pt>
                <c:pt idx="4">
                  <c:v>1121725338.7062399</c:v>
                </c:pt>
                <c:pt idx="5">
                  <c:v>1543209528.0839901</c:v>
                </c:pt>
              </c:numCache>
            </c:numRef>
          </c:val>
          <c:smooth val="0"/>
          <c:extLst>
            <c:ext xmlns:c16="http://schemas.microsoft.com/office/drawing/2014/chart" uri="{C3380CC4-5D6E-409C-BE32-E72D297353CC}">
              <c16:uniqueId val="{00000002-31D8-4A62-8D1C-444963E61342}"/>
            </c:ext>
          </c:extLst>
        </c:ser>
        <c:ser>
          <c:idx val="3"/>
          <c:order val="3"/>
          <c:tx>
            <c:strRef>
              <c:f>Sheet1!$A$5</c:f>
              <c:strCache>
                <c:ptCount val="1"/>
                <c:pt idx="0">
                  <c:v>LPWA</c:v>
                </c:pt>
              </c:strCache>
            </c:strRef>
          </c:tx>
          <c:spPr>
            <a:ln w="38100">
              <a:solidFill>
                <a:schemeClr val="accent4"/>
              </a:solidFill>
            </a:ln>
          </c:spPr>
          <c:marker>
            <c:symbol val="none"/>
          </c:marker>
          <c:cat>
            <c:strRef>
              <c:f>Sheet1!$B$1:$G$1</c:f>
              <c:strCache>
                <c:ptCount val="6"/>
                <c:pt idx="0">
                  <c:v>2016</c:v>
                </c:pt>
                <c:pt idx="1">
                  <c:v>2017</c:v>
                </c:pt>
                <c:pt idx="2">
                  <c:v>2018</c:v>
                </c:pt>
                <c:pt idx="3">
                  <c:v>2019</c:v>
                </c:pt>
                <c:pt idx="4">
                  <c:v>2020</c:v>
                </c:pt>
                <c:pt idx="5">
                  <c:v>2021</c:v>
                </c:pt>
              </c:strCache>
            </c:strRef>
          </c:cat>
          <c:val>
            <c:numRef>
              <c:f>Sheet1!$B$5:$G$5</c:f>
              <c:numCache>
                <c:formatCode>_(* #,##0_);_(* \(#,##0\);_(* "-"??_);_(@_)</c:formatCode>
                <c:ptCount val="6"/>
                <c:pt idx="0">
                  <c:v>57824497.753201999</c:v>
                </c:pt>
                <c:pt idx="1">
                  <c:v>141188103.25812101</c:v>
                </c:pt>
                <c:pt idx="2">
                  <c:v>281595902.164262</c:v>
                </c:pt>
                <c:pt idx="3">
                  <c:v>477533404.80164802</c:v>
                </c:pt>
                <c:pt idx="4">
                  <c:v>723077693.65876603</c:v>
                </c:pt>
                <c:pt idx="5">
                  <c:v>1035669346.69932</c:v>
                </c:pt>
              </c:numCache>
            </c:numRef>
          </c:val>
          <c:smooth val="0"/>
          <c:extLst>
            <c:ext xmlns:c16="http://schemas.microsoft.com/office/drawing/2014/chart" uri="{C3380CC4-5D6E-409C-BE32-E72D297353CC}">
              <c16:uniqueId val="{00000003-31D8-4A62-8D1C-444963E61342}"/>
            </c:ext>
          </c:extLst>
        </c:ser>
        <c:dLbls>
          <c:showLegendKey val="0"/>
          <c:showVal val="0"/>
          <c:showCatName val="0"/>
          <c:showSerName val="0"/>
          <c:showPercent val="0"/>
          <c:showBubbleSize val="0"/>
        </c:dLbls>
        <c:smooth val="0"/>
        <c:axId val="1539994032"/>
        <c:axId val="-2037418400"/>
      </c:lineChart>
      <c:catAx>
        <c:axId val="1539994032"/>
        <c:scaling>
          <c:orientation val="minMax"/>
        </c:scaling>
        <c:delete val="0"/>
        <c:axPos val="b"/>
        <c:numFmt formatCode="General" sourceLinked="1"/>
        <c:majorTickMark val="out"/>
        <c:minorTickMark val="none"/>
        <c:tickLblPos val="nextTo"/>
        <c:spPr>
          <a:ln w="9525">
            <a:solidFill>
              <a:schemeClr val="bg1">
                <a:lumMod val="50000"/>
              </a:schemeClr>
            </a:solidFill>
            <a:prstDash val="solid"/>
          </a:ln>
        </c:spPr>
        <c:txPr>
          <a:bodyPr rot="0" vert="horz"/>
          <a:lstStyle/>
          <a:p>
            <a:pPr>
              <a:defRPr sz="1100" b="0" i="0" u="none" strike="noStrike" baseline="0">
                <a:solidFill>
                  <a:schemeClr val="tx2"/>
                </a:solidFill>
                <a:latin typeface="+mn-lt"/>
                <a:ea typeface="Arial"/>
                <a:cs typeface="Arial"/>
              </a:defRPr>
            </a:pPr>
            <a:endParaRPr lang="en-US"/>
          </a:p>
        </c:txPr>
        <c:crossAx val="-2037418400"/>
        <c:crosses val="autoZero"/>
        <c:auto val="1"/>
        <c:lblAlgn val="ctr"/>
        <c:lblOffset val="0"/>
        <c:noMultiLvlLbl val="0"/>
      </c:catAx>
      <c:valAx>
        <c:axId val="-2037418400"/>
        <c:scaling>
          <c:orientation val="minMax"/>
          <c:max val="1800000000"/>
          <c:min val="0"/>
        </c:scaling>
        <c:delete val="0"/>
        <c:axPos val="l"/>
        <c:title>
          <c:tx>
            <c:rich>
              <a:bodyPr rot="-5400000" vert="horz"/>
              <a:lstStyle/>
              <a:p>
                <a:pPr>
                  <a:defRPr sz="1100" baseline="0">
                    <a:solidFill>
                      <a:schemeClr val="accent1"/>
                    </a:solidFill>
                  </a:defRPr>
                </a:pPr>
                <a:r>
                  <a:rPr lang="en-US" sz="1100" baseline="0" dirty="0" smtClean="0">
                    <a:solidFill>
                      <a:schemeClr val="accent1"/>
                    </a:solidFill>
                  </a:rPr>
                  <a:t>Billions of Devices or Connections</a:t>
                </a:r>
                <a:endParaRPr lang="en-US" sz="1100" baseline="0" dirty="0">
                  <a:solidFill>
                    <a:schemeClr val="accent1"/>
                  </a:solidFill>
                </a:endParaRPr>
              </a:p>
            </c:rich>
          </c:tx>
          <c:layout>
            <c:manualLayout>
              <c:xMode val="edge"/>
              <c:yMode val="edge"/>
              <c:x val="2.0201577130158299E-2"/>
              <c:y val="0.10572411417210199"/>
            </c:manualLayout>
          </c:layout>
          <c:overlay val="0"/>
        </c:title>
        <c:numFmt formatCode="#,##0.0" sourceLinked="0"/>
        <c:majorTickMark val="out"/>
        <c:minorTickMark val="none"/>
        <c:tickLblPos val="nextTo"/>
        <c:spPr>
          <a:ln w="9525">
            <a:solidFill>
              <a:schemeClr val="bg1">
                <a:lumMod val="50000"/>
              </a:schemeClr>
            </a:solidFill>
          </a:ln>
        </c:spPr>
        <c:txPr>
          <a:bodyPr rot="0" vert="horz"/>
          <a:lstStyle/>
          <a:p>
            <a:pPr>
              <a:defRPr sz="1100" b="0" i="0" u="none" strike="noStrike" baseline="0">
                <a:solidFill>
                  <a:schemeClr val="tx2"/>
                </a:solidFill>
                <a:latin typeface="+mn-lt"/>
                <a:ea typeface="Arial"/>
                <a:cs typeface="Arial"/>
              </a:defRPr>
            </a:pPr>
            <a:endParaRPr lang="en-US"/>
          </a:p>
        </c:txPr>
        <c:crossAx val="1539994032"/>
        <c:crosses val="autoZero"/>
        <c:crossBetween val="between"/>
        <c:majorUnit val="300000000"/>
        <c:minorUnit val="20000000"/>
        <c:dispUnits>
          <c:builtInUnit val="billions"/>
        </c:dispUnits>
      </c:valAx>
      <c:spPr>
        <a:noFill/>
        <a:ln w="30152">
          <a:noFill/>
        </a:ln>
      </c:spPr>
    </c:plotArea>
    <c:legend>
      <c:legendPos val="t"/>
      <c:overlay val="1"/>
      <c:txPr>
        <a:bodyPr/>
        <a:lstStyle/>
        <a:p>
          <a:pPr>
            <a:defRPr sz="1100" b="0" baseline="0">
              <a:solidFill>
                <a:schemeClr val="tx2"/>
              </a:solidFill>
              <a:latin typeface="+mn-lt"/>
            </a:defRPr>
          </a:pPr>
          <a:endParaRPr lang="en-US"/>
        </a:p>
      </c:txPr>
    </c:legend>
    <c:plotVisOnly val="1"/>
    <c:dispBlanksAs val="gap"/>
    <c:showDLblsOverMax val="0"/>
  </c:chart>
  <c:spPr>
    <a:noFill/>
    <a:ln>
      <a:noFill/>
    </a:ln>
  </c:spPr>
  <c:txPr>
    <a:bodyPr/>
    <a:lstStyle/>
    <a:p>
      <a:pPr>
        <a:defRPr sz="2137" b="1" i="0" u="none" strike="noStrike" baseline="0">
          <a:solidFill>
            <a:srgbClr val="000000"/>
          </a:solidFill>
          <a:latin typeface="Arial"/>
          <a:ea typeface="Arial"/>
          <a:cs typeface="Aria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858E61C0-B6F7-4C9C-863F-D118B03799EB}" type="datetimeFigureOut">
              <a:rPr lang="en-US"/>
              <a:pPr>
                <a:defRPr/>
              </a:pPr>
              <a:t>4/25/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EFF3F7B5-9A0B-40F3-A257-932ED5C8BDE7}" type="slidenum">
              <a:rPr lang="en-US"/>
              <a:pPr>
                <a:defRPr/>
              </a:pPr>
              <a:t>‹#›</a:t>
            </a:fld>
            <a:endParaRPr lang="en-US"/>
          </a:p>
        </p:txBody>
      </p:sp>
    </p:spTree>
    <p:extLst>
      <p:ext uri="{BB962C8B-B14F-4D97-AF65-F5344CB8AC3E}">
        <p14:creationId xmlns:p14="http://schemas.microsoft.com/office/powerpoint/2010/main" val="2514635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000">
                <a:latin typeface="Arial" pitchFamily="34" charset="0"/>
                <a:ea typeface="+mn-ea"/>
                <a:cs typeface="Arial" pitchFamily="34" charset="0"/>
              </a:defRPr>
            </a:lvl1pPr>
          </a:lstStyle>
          <a:p>
            <a:pPr>
              <a:defRPr/>
            </a:pPr>
            <a:fld id="{DE6EE8EE-BAD1-491A-8874-8394E5CA366F}" type="datetimeFigureOut">
              <a:rPr lang="en-US" smtClean="0"/>
              <a:pPr>
                <a:defRPr/>
              </a:pPr>
              <a:t>4/25/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US" noProof="0"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000">
                <a:latin typeface="Arial" pitchFamily="34" charset="0"/>
                <a:ea typeface="+mn-ea"/>
                <a:cs typeface="Arial" pitchFamily="34"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000">
                <a:latin typeface="Arial" pitchFamily="34" charset="0"/>
                <a:ea typeface="+mn-ea"/>
                <a:cs typeface="Arial" pitchFamily="34" charset="0"/>
              </a:defRPr>
            </a:lvl1pPr>
          </a:lstStyle>
          <a:p>
            <a:pPr>
              <a:defRPr/>
            </a:pPr>
            <a:fld id="{3F6C1005-B323-4A04-B0D1-DB577C3C2ECA}" type="slidenum">
              <a:rPr lang="en-US" smtClean="0"/>
              <a:pPr>
                <a:defRPr/>
              </a:pPr>
              <a:t>‹#›</a:t>
            </a:fld>
            <a:endParaRPr lang="en-US"/>
          </a:p>
        </p:txBody>
      </p:sp>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Tree>
    <p:extLst>
      <p:ext uri="{BB962C8B-B14F-4D97-AF65-F5344CB8AC3E}">
        <p14:creationId xmlns:p14="http://schemas.microsoft.com/office/powerpoint/2010/main" val="3548894190"/>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000" kern="1200">
        <a:solidFill>
          <a:schemeClr val="tx1"/>
        </a:solidFill>
        <a:latin typeface="Arial" pitchFamily="34" charset="0"/>
        <a:ea typeface="ＭＳ Ｐゴシック" charset="0"/>
        <a:cs typeface="Arial" pitchFamily="34" charset="0"/>
      </a:defRPr>
    </a:lvl1pPr>
    <a:lvl2pPr marL="457200" algn="l" defTabSz="457200" rtl="0" eaLnBrk="0" fontAlgn="base" hangingPunct="0">
      <a:spcBef>
        <a:spcPct val="30000"/>
      </a:spcBef>
      <a:spcAft>
        <a:spcPct val="0"/>
      </a:spcAft>
      <a:defRPr sz="1000" kern="1200">
        <a:solidFill>
          <a:schemeClr val="tx1"/>
        </a:solidFill>
        <a:latin typeface="Arial" pitchFamily="34" charset="0"/>
        <a:ea typeface="ＭＳ Ｐゴシック" charset="0"/>
        <a:cs typeface="Arial" pitchFamily="34" charset="0"/>
      </a:defRPr>
    </a:lvl2pPr>
    <a:lvl3pPr marL="914400" algn="l" defTabSz="457200" rtl="0" eaLnBrk="0" fontAlgn="base" hangingPunct="0">
      <a:spcBef>
        <a:spcPct val="30000"/>
      </a:spcBef>
      <a:spcAft>
        <a:spcPct val="0"/>
      </a:spcAft>
      <a:defRPr sz="1000" kern="1200">
        <a:solidFill>
          <a:schemeClr val="tx1"/>
        </a:solidFill>
        <a:latin typeface="Arial" pitchFamily="34" charset="0"/>
        <a:ea typeface="ＭＳ Ｐゴシック" charset="0"/>
        <a:cs typeface="Arial" pitchFamily="34" charset="0"/>
      </a:defRPr>
    </a:lvl3pPr>
    <a:lvl4pPr marL="1371600" algn="l" defTabSz="457200" rtl="0" eaLnBrk="0" fontAlgn="base" hangingPunct="0">
      <a:spcBef>
        <a:spcPct val="30000"/>
      </a:spcBef>
      <a:spcAft>
        <a:spcPct val="0"/>
      </a:spcAft>
      <a:defRPr sz="1000" kern="1200">
        <a:solidFill>
          <a:schemeClr val="tx1"/>
        </a:solidFill>
        <a:latin typeface="Arial" pitchFamily="34" charset="0"/>
        <a:ea typeface="ＭＳ Ｐゴシック" charset="0"/>
        <a:cs typeface="Arial" pitchFamily="34" charset="0"/>
      </a:defRPr>
    </a:lvl4pPr>
    <a:lvl5pPr marL="1828800" algn="l" defTabSz="457200" rtl="0" eaLnBrk="0" fontAlgn="base" hangingPunct="0">
      <a:spcBef>
        <a:spcPct val="30000"/>
      </a:spcBef>
      <a:spcAft>
        <a:spcPct val="0"/>
      </a:spcAft>
      <a:defRPr sz="1000" kern="1200">
        <a:solidFill>
          <a:schemeClr val="tx1"/>
        </a:solidFill>
        <a:latin typeface="Arial" pitchFamily="34" charset="0"/>
        <a:ea typeface="ＭＳ Ｐゴシック" charset="0"/>
        <a:cs typeface="Arial"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To the writer</a:t>
            </a:r>
            <a:r>
              <a:rPr lang="en-US" dirty="0" smtClean="0"/>
              <a:t>: Replace the Title above with the name of the product series, solution, or architecture and use the subtitle for a tag line or overarching theme for the presentation.</a:t>
            </a:r>
          </a:p>
          <a:p>
            <a:r>
              <a:rPr lang="en-US" i="1" dirty="0" smtClean="0"/>
              <a:t>If using a Value Proposition document: </a:t>
            </a:r>
            <a:r>
              <a:rPr lang="en-US" dirty="0" smtClean="0"/>
              <a:t> Include the unique “Cisco Point of View” (typically listed after the “Your Status Quo” section) for the product/solution/architecture as a subtitle.</a:t>
            </a:r>
          </a:p>
          <a:p>
            <a:endParaRPr lang="en-US" dirty="0" smtClean="0"/>
          </a:p>
          <a:p>
            <a:pPr defTabSz="897301">
              <a:defRPr/>
            </a:pPr>
            <a:r>
              <a:rPr lang="en-US" b="1" dirty="0" smtClean="0"/>
              <a:t>Script/Speaker TEXT HERE:</a:t>
            </a:r>
            <a:endParaRPr lang="en-US" dirty="0" smtClean="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a:t>
            </a:fld>
            <a:endParaRPr lang="en-US"/>
          </a:p>
        </p:txBody>
      </p:sp>
    </p:spTree>
    <p:extLst>
      <p:ext uri="{BB962C8B-B14F-4D97-AF65-F5344CB8AC3E}">
        <p14:creationId xmlns:p14="http://schemas.microsoft.com/office/powerpoint/2010/main" val="436238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4</a:t>
            </a:fld>
            <a:endParaRPr lang="en-US"/>
          </a:p>
        </p:txBody>
      </p:sp>
    </p:spTree>
    <p:extLst>
      <p:ext uri="{BB962C8B-B14F-4D97-AF65-F5344CB8AC3E}">
        <p14:creationId xmlns:p14="http://schemas.microsoft.com/office/powerpoint/2010/main" val="16134628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ccess Agnostic, mobile core</a:t>
            </a:r>
            <a:r>
              <a:rPr lang="en-US" baseline="0" dirty="0" smtClean="0"/>
              <a:t> t</a:t>
            </a:r>
            <a:r>
              <a:rPr lang="en-US" dirty="0" smtClean="0"/>
              <a:t>o enable IOT for verticals.</a:t>
            </a:r>
          </a:p>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15</a:t>
            </a:fld>
            <a:endParaRPr lang="en-US" dirty="0"/>
          </a:p>
        </p:txBody>
      </p:sp>
    </p:spTree>
    <p:extLst>
      <p:ext uri="{BB962C8B-B14F-4D97-AF65-F5344CB8AC3E}">
        <p14:creationId xmlns:p14="http://schemas.microsoft.com/office/powerpoint/2010/main" val="8803081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ccess Agnostic, mobile core</a:t>
            </a:r>
            <a:r>
              <a:rPr lang="en-US" baseline="0" dirty="0" smtClean="0"/>
              <a:t> t</a:t>
            </a:r>
            <a:r>
              <a:rPr lang="en-US" dirty="0" smtClean="0"/>
              <a:t>o enable IOT for verticals.</a:t>
            </a:r>
          </a:p>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16</a:t>
            </a:fld>
            <a:endParaRPr lang="en-US" dirty="0"/>
          </a:p>
        </p:txBody>
      </p:sp>
    </p:spTree>
    <p:extLst>
      <p:ext uri="{BB962C8B-B14F-4D97-AF65-F5344CB8AC3E}">
        <p14:creationId xmlns:p14="http://schemas.microsoft.com/office/powerpoint/2010/main" val="10490177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pPr marL="0" indent="0">
              <a:buNone/>
            </a:pPr>
            <a:r>
              <a:rPr lang="en-US" dirty="0" smtClean="0">
                <a:solidFill>
                  <a:schemeClr val="tx1">
                    <a:lumMod val="50000"/>
                  </a:schemeClr>
                </a:solidFill>
              </a:rPr>
              <a:t>Single packet core to support LTE </a:t>
            </a:r>
            <a:r>
              <a:rPr lang="en-US" dirty="0" err="1" smtClean="0">
                <a:solidFill>
                  <a:schemeClr val="tx1">
                    <a:lumMod val="50000"/>
                  </a:schemeClr>
                </a:solidFill>
              </a:rPr>
              <a:t>eMTC</a:t>
            </a:r>
            <a:r>
              <a:rPr lang="en-US" dirty="0" smtClean="0">
                <a:solidFill>
                  <a:schemeClr val="tx1">
                    <a:lumMod val="50000"/>
                  </a:schemeClr>
                </a:solidFill>
              </a:rPr>
              <a:t>, NB-</a:t>
            </a:r>
            <a:r>
              <a:rPr lang="en-US" dirty="0" err="1" smtClean="0">
                <a:solidFill>
                  <a:schemeClr val="tx1">
                    <a:lumMod val="50000"/>
                  </a:schemeClr>
                </a:solidFill>
              </a:rPr>
              <a:t>IoT</a:t>
            </a:r>
            <a:r>
              <a:rPr lang="en-US" dirty="0" smtClean="0">
                <a:solidFill>
                  <a:schemeClr val="tx1">
                    <a:lumMod val="50000"/>
                  </a:schemeClr>
                </a:solidFill>
              </a:rPr>
              <a:t>, </a:t>
            </a:r>
            <a:r>
              <a:rPr lang="en-US" dirty="0" err="1" smtClean="0">
                <a:solidFill>
                  <a:schemeClr val="tx1">
                    <a:lumMod val="50000"/>
                  </a:schemeClr>
                </a:solidFill>
              </a:rPr>
              <a:t>LoRa</a:t>
            </a:r>
            <a:r>
              <a:rPr lang="en-US" dirty="0" smtClean="0">
                <a:solidFill>
                  <a:schemeClr val="tx1">
                    <a:lumMod val="50000"/>
                  </a:schemeClr>
                </a:solidFill>
              </a:rPr>
              <a:t>, </a:t>
            </a:r>
            <a:r>
              <a:rPr lang="en-US" dirty="0" err="1" smtClean="0">
                <a:solidFill>
                  <a:schemeClr val="tx1">
                    <a:lumMod val="50000"/>
                  </a:schemeClr>
                </a:solidFill>
              </a:rPr>
              <a:t>WiFi</a:t>
            </a:r>
            <a:r>
              <a:rPr lang="en-US" dirty="0" smtClean="0">
                <a:solidFill>
                  <a:schemeClr val="tx1">
                    <a:lumMod val="50000"/>
                  </a:schemeClr>
                </a:solidFill>
              </a:rPr>
              <a:t> as well as other access technologies and following </a:t>
            </a:r>
            <a:r>
              <a:rPr lang="en-US" dirty="0" err="1" smtClean="0">
                <a:solidFill>
                  <a:schemeClr val="tx1">
                    <a:lumMod val="50000"/>
                  </a:schemeClr>
                </a:solidFill>
              </a:rPr>
              <a:t>CIoT</a:t>
            </a:r>
            <a:r>
              <a:rPr lang="en-US" dirty="0" smtClean="0">
                <a:solidFill>
                  <a:schemeClr val="tx1">
                    <a:lumMod val="50000"/>
                  </a:schemeClr>
                </a:solidFill>
              </a:rPr>
              <a:t> architecture</a:t>
            </a:r>
          </a:p>
          <a:p>
            <a:pPr lvl="2"/>
            <a:r>
              <a:rPr lang="en-US" dirty="0" err="1" smtClean="0">
                <a:solidFill>
                  <a:schemeClr val="tx1">
                    <a:lumMod val="50000"/>
                  </a:schemeClr>
                </a:solidFill>
              </a:rPr>
              <a:t>CIoT</a:t>
            </a:r>
            <a:r>
              <a:rPr lang="en-US" dirty="0" smtClean="0">
                <a:solidFill>
                  <a:schemeClr val="tx1">
                    <a:lumMod val="50000"/>
                  </a:schemeClr>
                </a:solidFill>
              </a:rPr>
              <a:t> Serving Gateway Node (CSGN)</a:t>
            </a:r>
          </a:p>
          <a:p>
            <a:pPr lvl="4"/>
            <a:r>
              <a:rPr lang="en-US" dirty="0" smtClean="0">
                <a:solidFill>
                  <a:schemeClr val="tx1">
                    <a:lumMod val="50000"/>
                  </a:schemeClr>
                </a:solidFill>
              </a:rPr>
              <a:t>Core optimizations for </a:t>
            </a:r>
            <a:r>
              <a:rPr lang="en-US" dirty="0" err="1" smtClean="0">
                <a:solidFill>
                  <a:schemeClr val="tx1">
                    <a:lumMod val="50000"/>
                  </a:schemeClr>
                </a:solidFill>
              </a:rPr>
              <a:t>eMTC</a:t>
            </a:r>
            <a:r>
              <a:rPr lang="en-US" dirty="0" smtClean="0">
                <a:solidFill>
                  <a:schemeClr val="tx1">
                    <a:lumMod val="50000"/>
                  </a:schemeClr>
                </a:solidFill>
              </a:rPr>
              <a:t> and NB-</a:t>
            </a:r>
            <a:r>
              <a:rPr lang="en-US" dirty="0" err="1" smtClean="0">
                <a:solidFill>
                  <a:schemeClr val="tx1">
                    <a:lumMod val="50000"/>
                  </a:schemeClr>
                </a:solidFill>
              </a:rPr>
              <a:t>IoT</a:t>
            </a:r>
            <a:r>
              <a:rPr lang="en-US" dirty="0" smtClean="0">
                <a:solidFill>
                  <a:schemeClr val="tx1">
                    <a:lumMod val="50000"/>
                  </a:schemeClr>
                </a:solidFill>
              </a:rPr>
              <a:t> devices</a:t>
            </a:r>
          </a:p>
          <a:p>
            <a:pPr lvl="4"/>
            <a:r>
              <a:rPr lang="en-US" dirty="0" smtClean="0">
                <a:solidFill>
                  <a:schemeClr val="tx1">
                    <a:lumMod val="50000"/>
                  </a:schemeClr>
                </a:solidFill>
              </a:rPr>
              <a:t>Combo EPC node leveraging </a:t>
            </a:r>
            <a:r>
              <a:rPr lang="en-US" dirty="0" err="1" smtClean="0">
                <a:solidFill>
                  <a:schemeClr val="tx1">
                    <a:lumMod val="50000"/>
                  </a:schemeClr>
                </a:solidFill>
              </a:rPr>
              <a:t>StarOS</a:t>
            </a:r>
            <a:r>
              <a:rPr lang="en-US" dirty="0" smtClean="0">
                <a:solidFill>
                  <a:schemeClr val="tx1">
                    <a:lumMod val="50000"/>
                  </a:schemeClr>
                </a:solidFill>
              </a:rPr>
              <a:t> architectural advantages</a:t>
            </a:r>
          </a:p>
          <a:p>
            <a:pPr lvl="4"/>
            <a:r>
              <a:rPr lang="en-US" dirty="0" smtClean="0">
                <a:solidFill>
                  <a:schemeClr val="tx1">
                    <a:lumMod val="50000"/>
                  </a:schemeClr>
                </a:solidFill>
              </a:rPr>
              <a:t>Local policy on PGW as added advantage</a:t>
            </a:r>
          </a:p>
          <a:p>
            <a:pPr lvl="2"/>
            <a:r>
              <a:rPr lang="en-US" dirty="0" smtClean="0">
                <a:solidFill>
                  <a:schemeClr val="tx1">
                    <a:lumMod val="50000"/>
                  </a:schemeClr>
                </a:solidFill>
              </a:rPr>
              <a:t>NB-</a:t>
            </a:r>
            <a:r>
              <a:rPr lang="en-US" dirty="0" err="1" smtClean="0">
                <a:solidFill>
                  <a:schemeClr val="tx1">
                    <a:lumMod val="50000"/>
                  </a:schemeClr>
                </a:solidFill>
              </a:rPr>
              <a:t>IoT</a:t>
            </a:r>
            <a:r>
              <a:rPr lang="en-US" dirty="0" smtClean="0">
                <a:solidFill>
                  <a:schemeClr val="tx1">
                    <a:lumMod val="50000"/>
                  </a:schemeClr>
                </a:solidFill>
              </a:rPr>
              <a:t> device support</a:t>
            </a:r>
          </a:p>
          <a:p>
            <a:pPr lvl="4"/>
            <a:r>
              <a:rPr lang="en-US" dirty="0" smtClean="0">
                <a:solidFill>
                  <a:schemeClr val="tx1">
                    <a:lumMod val="50000"/>
                  </a:schemeClr>
                </a:solidFill>
              </a:rPr>
              <a:t>Evolve </a:t>
            </a:r>
            <a:r>
              <a:rPr lang="en-US" dirty="0" err="1" smtClean="0">
                <a:solidFill>
                  <a:schemeClr val="tx1">
                    <a:lumMod val="50000"/>
                  </a:schemeClr>
                </a:solidFill>
              </a:rPr>
              <a:t>IoT</a:t>
            </a:r>
            <a:r>
              <a:rPr lang="en-US" dirty="0" smtClean="0">
                <a:solidFill>
                  <a:schemeClr val="tx1">
                    <a:lumMod val="50000"/>
                  </a:schemeClr>
                </a:solidFill>
              </a:rPr>
              <a:t> Core to </a:t>
            </a:r>
            <a:r>
              <a:rPr lang="en-US" dirty="0" err="1" smtClean="0">
                <a:solidFill>
                  <a:schemeClr val="tx1">
                    <a:lumMod val="50000"/>
                  </a:schemeClr>
                </a:solidFill>
              </a:rPr>
              <a:t>CIoT</a:t>
            </a:r>
            <a:r>
              <a:rPr lang="en-US" dirty="0" smtClean="0">
                <a:solidFill>
                  <a:schemeClr val="tx1">
                    <a:lumMod val="50000"/>
                  </a:schemeClr>
                </a:solidFill>
              </a:rPr>
              <a:t> architecture: CSGN/SCEF </a:t>
            </a:r>
          </a:p>
          <a:p>
            <a:pPr lvl="4"/>
            <a:r>
              <a:rPr lang="en-US" dirty="0" smtClean="0">
                <a:solidFill>
                  <a:schemeClr val="tx1">
                    <a:lumMod val="50000"/>
                  </a:schemeClr>
                </a:solidFill>
              </a:rPr>
              <a:t>Introduce Network Service Capabilities (NSC) - Exposing network capabilities to the applications</a:t>
            </a:r>
          </a:p>
          <a:p>
            <a:pPr marL="662401" lvl="2" indent="-179388"/>
            <a:r>
              <a:rPr lang="en-US" dirty="0" smtClean="0">
                <a:solidFill>
                  <a:schemeClr val="tx1">
                    <a:lumMod val="50000"/>
                  </a:schemeClr>
                </a:solidFill>
              </a:rPr>
              <a:t>LPWA support </a:t>
            </a:r>
          </a:p>
          <a:p>
            <a:pPr lvl="2"/>
            <a:r>
              <a:rPr lang="en-US" dirty="0" smtClean="0">
                <a:solidFill>
                  <a:schemeClr val="tx1">
                    <a:lumMod val="50000"/>
                  </a:schemeClr>
                </a:solidFill>
              </a:rPr>
              <a:t>Consistent policy and billing across </a:t>
            </a:r>
            <a:r>
              <a:rPr lang="en-US" dirty="0" err="1" smtClean="0">
                <a:solidFill>
                  <a:schemeClr val="tx1">
                    <a:lumMod val="50000"/>
                  </a:schemeClr>
                </a:solidFill>
              </a:rPr>
              <a:t>IoT</a:t>
            </a:r>
            <a:r>
              <a:rPr lang="en-US" dirty="0" smtClean="0">
                <a:solidFill>
                  <a:schemeClr val="tx1">
                    <a:lumMod val="50000"/>
                  </a:schemeClr>
                </a:solidFill>
              </a:rPr>
              <a:t> traffic</a:t>
            </a:r>
          </a:p>
          <a:p>
            <a:pPr lvl="2"/>
            <a:r>
              <a:rPr lang="en-US" dirty="0" smtClean="0">
                <a:solidFill>
                  <a:schemeClr val="tx1">
                    <a:lumMod val="50000"/>
                  </a:schemeClr>
                </a:solidFill>
              </a:rPr>
              <a:t>Unified device data handling and export towards the applications</a:t>
            </a:r>
          </a:p>
          <a:p>
            <a:pPr lvl="2"/>
            <a:r>
              <a:rPr lang="en-US" dirty="0" smtClean="0">
                <a:solidFill>
                  <a:schemeClr val="tx1">
                    <a:lumMod val="50000"/>
                  </a:schemeClr>
                </a:solidFill>
              </a:rPr>
              <a:t>Exposing network intelligence towards applications</a:t>
            </a:r>
          </a:p>
          <a:p>
            <a:endParaRPr lang="en-US" dirty="0" smtClean="0"/>
          </a:p>
          <a:p>
            <a:r>
              <a:rPr lang="en-US" dirty="0" smtClean="0"/>
              <a:t>Cisco </a:t>
            </a:r>
            <a:r>
              <a:rPr lang="en-US" dirty="0" err="1" smtClean="0"/>
              <a:t>IoT</a:t>
            </a:r>
            <a:r>
              <a:rPr lang="en-US" dirty="0" smtClean="0"/>
              <a:t> Core </a:t>
            </a:r>
            <a:r>
              <a:rPr lang="en-US" u="sng" dirty="0" smtClean="0"/>
              <a:t>goes beyond standard 3GPP </a:t>
            </a:r>
            <a:r>
              <a:rPr lang="en-US" dirty="0" smtClean="0"/>
              <a:t>connectivity solutions (EPC </a:t>
            </a:r>
            <a:r>
              <a:rPr lang="en-US" dirty="0" err="1" smtClean="0"/>
              <a:t>IoT</a:t>
            </a:r>
            <a:r>
              <a:rPr lang="en-US" dirty="0" smtClean="0"/>
              <a:t> features, CSGN, NB-</a:t>
            </a:r>
            <a:r>
              <a:rPr lang="en-US" dirty="0" err="1" smtClean="0"/>
              <a:t>IoT</a:t>
            </a:r>
            <a:r>
              <a:rPr lang="en-US" dirty="0" smtClean="0"/>
              <a:t>)</a:t>
            </a:r>
          </a:p>
          <a:p>
            <a:r>
              <a:rPr lang="en-US" dirty="0" smtClean="0"/>
              <a:t>Network Service Capability – value-add</a:t>
            </a:r>
          </a:p>
          <a:p>
            <a:pPr lvl="1"/>
            <a:r>
              <a:rPr lang="en-US" dirty="0" smtClean="0"/>
              <a:t>NSC ingests and organizes device data with northbound APIs </a:t>
            </a:r>
          </a:p>
          <a:p>
            <a:pPr lvl="1"/>
            <a:r>
              <a:rPr lang="en-US" dirty="0" smtClean="0"/>
              <a:t>NSC terminates multiple access types providing uniform identity, authentication and security framework</a:t>
            </a:r>
          </a:p>
          <a:p>
            <a:pPr lvl="1"/>
            <a:r>
              <a:rPr lang="en-US" dirty="0" smtClean="0"/>
              <a:t>Proprietary link between NSC and EPC/CSGN for extra info about devices (status, location) </a:t>
            </a:r>
          </a:p>
          <a:p>
            <a:pPr lvl="1"/>
            <a:r>
              <a:rPr lang="en-US" dirty="0" smtClean="0"/>
              <a:t>NSC based on Open Daylight allowing SPs/enterprises to develop </a:t>
            </a:r>
            <a:r>
              <a:rPr lang="en-US" dirty="0" err="1" smtClean="0"/>
              <a:t>plugins</a:t>
            </a:r>
            <a:r>
              <a:rPr lang="en-US" dirty="0" smtClean="0"/>
              <a:t> for specific devices</a:t>
            </a:r>
          </a:p>
          <a:p>
            <a:endParaRPr lang="en-US" dirty="0" smtClean="0"/>
          </a:p>
          <a:p>
            <a:endParaRPr lang="en-US" dirty="0" smtClean="0"/>
          </a:p>
          <a:p>
            <a:endParaRPr lang="en-US" dirty="0" smtClean="0"/>
          </a:p>
          <a:p>
            <a:pPr marL="169863" indent="-169863">
              <a:spcBef>
                <a:spcPts val="300"/>
              </a:spcBef>
              <a:buFont typeface="Arial" panose="020B0604020202020204" pitchFamily="34" charset="0"/>
              <a:buChar char="•"/>
            </a:pPr>
            <a:r>
              <a:rPr lang="en-US" b="1" dirty="0" smtClean="0"/>
              <a:t>Multi-access core with unified policy, charging and service capability layer. </a:t>
            </a:r>
          </a:p>
          <a:p>
            <a:pPr marL="169863" indent="-169863">
              <a:spcBef>
                <a:spcPts val="300"/>
              </a:spcBef>
              <a:buFont typeface="Arial" panose="020B0604020202020204" pitchFamily="34" charset="0"/>
              <a:buChar char="•"/>
            </a:pPr>
            <a:r>
              <a:rPr lang="en-US" dirty="0" smtClean="0"/>
              <a:t>Network Service Capabilities (NSC) based on One M2M framework organizes the device data, includes adapters for different access types (</a:t>
            </a:r>
            <a:r>
              <a:rPr lang="en-US" dirty="0" err="1" smtClean="0"/>
              <a:t>eMTC</a:t>
            </a:r>
            <a:r>
              <a:rPr lang="en-US" dirty="0" smtClean="0"/>
              <a:t>, NB-IOT, LPWA, </a:t>
            </a:r>
            <a:r>
              <a:rPr lang="en-US" dirty="0" err="1" smtClean="0"/>
              <a:t>WiFi</a:t>
            </a:r>
            <a:r>
              <a:rPr lang="en-US" dirty="0" smtClean="0"/>
              <a:t>), provides APIs and exposes  network capabilities to the applications  servers </a:t>
            </a:r>
          </a:p>
          <a:p>
            <a:pPr marL="169863" indent="-169863">
              <a:spcBef>
                <a:spcPts val="300"/>
              </a:spcBef>
              <a:buFont typeface="Arial" panose="020B0604020202020204" pitchFamily="34" charset="0"/>
              <a:buChar char="•"/>
            </a:pPr>
            <a:r>
              <a:rPr lang="en-US" dirty="0" smtClean="0"/>
              <a:t>Interface between NSC and EPC/CSGN for extra device info</a:t>
            </a:r>
          </a:p>
          <a:p>
            <a:pPr marL="169863" indent="-169863">
              <a:spcBef>
                <a:spcPts val="300"/>
              </a:spcBef>
              <a:buFont typeface="Arial" panose="020B0604020202020204" pitchFamily="34" charset="0"/>
              <a:buChar char="•"/>
            </a:pPr>
            <a:r>
              <a:rPr lang="en-US" dirty="0" smtClean="0"/>
              <a:t>Additional – analytics, data exposure provide monetization opportunities</a:t>
            </a:r>
          </a:p>
          <a:p>
            <a:endParaRPr lang="en-US" dirty="0" smtClean="0"/>
          </a:p>
          <a:p>
            <a:pPr>
              <a:spcBef>
                <a:spcPts val="400"/>
              </a:spcBef>
            </a:pPr>
            <a:r>
              <a:rPr lang="en-US" b="1" dirty="0" smtClean="0"/>
              <a:t>NSC Features:</a:t>
            </a:r>
          </a:p>
          <a:p>
            <a:pPr>
              <a:spcBef>
                <a:spcPts val="400"/>
              </a:spcBef>
            </a:pPr>
            <a:r>
              <a:rPr lang="en-US" dirty="0" smtClean="0"/>
              <a:t>Mapping endpoint application level identity to transport identity</a:t>
            </a:r>
          </a:p>
          <a:p>
            <a:pPr lvl="1">
              <a:spcBef>
                <a:spcPts val="400"/>
              </a:spcBef>
            </a:pPr>
            <a:r>
              <a:rPr lang="en-US" dirty="0" smtClean="0"/>
              <a:t>Associate endpoints with application and map their identity into SIM/IMSI/MAC</a:t>
            </a:r>
          </a:p>
          <a:p>
            <a:pPr>
              <a:spcBef>
                <a:spcPts val="400"/>
              </a:spcBef>
            </a:pPr>
            <a:r>
              <a:rPr lang="en-US" dirty="0" smtClean="0"/>
              <a:t>Authorize endpoint to use the service</a:t>
            </a:r>
          </a:p>
          <a:p>
            <a:pPr lvl="1">
              <a:spcBef>
                <a:spcPts val="400"/>
              </a:spcBef>
            </a:pPr>
            <a:r>
              <a:rPr lang="en-US" dirty="0" smtClean="0"/>
              <a:t>Verify that device identity matches network identity and that the device is authorized to connect to NSC (device already authenticated at the network)</a:t>
            </a:r>
          </a:p>
          <a:p>
            <a:pPr>
              <a:spcBef>
                <a:spcPts val="400"/>
              </a:spcBef>
            </a:pPr>
            <a:r>
              <a:rPr lang="en-US" dirty="0" smtClean="0"/>
              <a:t>Secure access to the </a:t>
            </a:r>
            <a:r>
              <a:rPr lang="en-US" dirty="0" err="1" smtClean="0"/>
              <a:t>IoT</a:t>
            </a:r>
            <a:r>
              <a:rPr lang="en-US" dirty="0" smtClean="0"/>
              <a:t> application</a:t>
            </a:r>
          </a:p>
          <a:p>
            <a:pPr>
              <a:spcBef>
                <a:spcPts val="400"/>
              </a:spcBef>
            </a:pPr>
            <a:r>
              <a:rPr lang="en-US" dirty="0" smtClean="0"/>
              <a:t>Communicating with infrequently connected device (buffering, triggering)</a:t>
            </a:r>
          </a:p>
          <a:p>
            <a:pPr>
              <a:spcBef>
                <a:spcPts val="400"/>
              </a:spcBef>
            </a:pPr>
            <a:r>
              <a:rPr lang="en-US" dirty="0" smtClean="0"/>
              <a:t>Device change notifications</a:t>
            </a:r>
          </a:p>
          <a:p>
            <a:pPr>
              <a:spcBef>
                <a:spcPts val="400"/>
              </a:spcBef>
            </a:pPr>
            <a:r>
              <a:rPr lang="en-US" dirty="0" smtClean="0"/>
              <a:t>Multicast of messages to the group of devices</a:t>
            </a:r>
          </a:p>
          <a:p>
            <a:pPr>
              <a:spcBef>
                <a:spcPts val="400"/>
              </a:spcBef>
            </a:pPr>
            <a:r>
              <a:rPr lang="en-US" dirty="0" smtClean="0"/>
              <a:t>Organizing device data</a:t>
            </a:r>
          </a:p>
          <a:p>
            <a:pPr>
              <a:spcBef>
                <a:spcPts val="400"/>
              </a:spcBef>
            </a:pPr>
            <a:r>
              <a:rPr lang="en-US" dirty="0" smtClean="0"/>
              <a:t>Monetizing the device data</a:t>
            </a:r>
          </a:p>
          <a:p>
            <a:pPr>
              <a:spcBef>
                <a:spcPts val="400"/>
              </a:spcBef>
            </a:pPr>
            <a:r>
              <a:rPr lang="en-US" dirty="0" smtClean="0"/>
              <a:t>Protecting the network from overload of signaling and/or throughput</a:t>
            </a:r>
          </a:p>
          <a:p>
            <a:pPr>
              <a:spcBef>
                <a:spcPts val="400"/>
              </a:spcBef>
            </a:pPr>
            <a:r>
              <a:rPr lang="en-US" dirty="0" smtClean="0"/>
              <a:t>Ability to “kill” the device</a:t>
            </a:r>
          </a:p>
          <a:p>
            <a:pPr>
              <a:spcBef>
                <a:spcPts val="400"/>
              </a:spcBef>
            </a:pPr>
            <a:r>
              <a:rPr lang="en-US" dirty="0" smtClean="0"/>
              <a:t>Updating FW, </a:t>
            </a:r>
            <a:r>
              <a:rPr lang="en-US" dirty="0" err="1" smtClean="0"/>
              <a:t>config</a:t>
            </a:r>
            <a:r>
              <a:rPr lang="en-US" dirty="0" smtClean="0"/>
              <a:t> on the NB-</a:t>
            </a:r>
            <a:r>
              <a:rPr lang="en-US" dirty="0" err="1" smtClean="0"/>
              <a:t>Iot</a:t>
            </a:r>
            <a:r>
              <a:rPr lang="en-US" dirty="0" smtClean="0"/>
              <a:t> device</a:t>
            </a:r>
          </a:p>
          <a:p>
            <a:endParaRPr lang="en-US" dirty="0" smtClean="0"/>
          </a:p>
          <a:p>
            <a:endParaRPr lang="en-US" dirty="0" smtClean="0"/>
          </a:p>
          <a:p>
            <a:pPr marL="0" indent="0">
              <a:buFont typeface="Wingdings" charset="2"/>
              <a:buNone/>
            </a:pPr>
            <a:endParaRPr lang="en-US" dirty="0" smtClean="0"/>
          </a:p>
          <a:p>
            <a:pPr marL="285750" indent="-285750">
              <a:buFont typeface="Wingdings" charset="2"/>
              <a:buChar char="ü"/>
            </a:pPr>
            <a:r>
              <a:rPr lang="en-US" dirty="0" smtClean="0"/>
              <a:t>C-SGN – Natural Progression for </a:t>
            </a:r>
            <a:r>
              <a:rPr lang="en-US" dirty="0" err="1" smtClean="0"/>
              <a:t>StarOS</a:t>
            </a:r>
            <a:endParaRPr lang="en-US" dirty="0" smtClean="0"/>
          </a:p>
          <a:p>
            <a:pPr marL="628650" lvl="1" indent="-171450">
              <a:buFont typeface="Arial" charset="0"/>
              <a:buChar char="•"/>
            </a:pPr>
            <a:r>
              <a:rPr lang="en-US" dirty="0" smtClean="0"/>
              <a:t>C-SGN – A deployment option as specified by 3GPP.</a:t>
            </a:r>
          </a:p>
          <a:p>
            <a:pPr marL="628650" lvl="1" indent="-171450">
              <a:buFont typeface="Arial" charset="0"/>
              <a:buChar char="•"/>
            </a:pPr>
            <a:r>
              <a:rPr lang="en-US" dirty="0" smtClean="0"/>
              <a:t>C-SGN could be perceived as simplified combo of MME+SGW+PGW. </a:t>
            </a:r>
          </a:p>
          <a:p>
            <a:pPr marL="628650" lvl="1" indent="-171450">
              <a:buFont typeface="Arial" charset="0"/>
              <a:buChar char="•"/>
            </a:pPr>
            <a:r>
              <a:rPr lang="en-US" dirty="0" smtClean="0"/>
              <a:t>Control plane and bearer plane nodes today are running on the same platform  and software already</a:t>
            </a:r>
          </a:p>
          <a:p>
            <a:pPr marL="628650" lvl="1" indent="-171450">
              <a:buFont typeface="Arial" charset="0"/>
              <a:buChar char="•"/>
            </a:pPr>
            <a:r>
              <a:rPr lang="en-US" dirty="0" err="1" smtClean="0"/>
              <a:t>StarOS</a:t>
            </a:r>
            <a:r>
              <a:rPr lang="en-US" dirty="0" smtClean="0"/>
              <a:t> architecture favors the combo mode approach. </a:t>
            </a:r>
          </a:p>
          <a:p>
            <a:pPr marL="628650" lvl="1" indent="-171450">
              <a:buFont typeface="Arial" charset="0"/>
              <a:buChar char="•"/>
            </a:pPr>
            <a:r>
              <a:rPr lang="en-US" dirty="0" smtClean="0"/>
              <a:t>C-SGN inherits all features available in </a:t>
            </a:r>
            <a:r>
              <a:rPr lang="en-US" dirty="0" err="1" smtClean="0"/>
              <a:t>StarOS</a:t>
            </a:r>
            <a:r>
              <a:rPr lang="en-US" dirty="0" smtClean="0"/>
              <a:t> today</a:t>
            </a:r>
          </a:p>
          <a:p>
            <a:pPr marL="628650" lvl="1" indent="-171450">
              <a:buFont typeface="Arial" charset="0"/>
              <a:buChar char="•"/>
            </a:pPr>
            <a:endParaRPr lang="en-US" dirty="0" smtClean="0"/>
          </a:p>
          <a:p>
            <a:pPr marL="285750" indent="-285750">
              <a:buFont typeface="Wingdings" charset="2"/>
              <a:buChar char="ü"/>
            </a:pPr>
            <a:r>
              <a:rPr lang="en-US" dirty="0" smtClean="0"/>
              <a:t>C-SGN Deployment Flexibility</a:t>
            </a:r>
          </a:p>
          <a:p>
            <a:pPr marL="628650" lvl="1" indent="-171450">
              <a:buFont typeface="Arial" charset="0"/>
              <a:buChar char="•"/>
            </a:pPr>
            <a:r>
              <a:rPr lang="en-US" dirty="0" smtClean="0"/>
              <a:t>C-SGSN supports both NB-</a:t>
            </a:r>
            <a:r>
              <a:rPr lang="en-US" dirty="0" err="1" smtClean="0"/>
              <a:t>IoT</a:t>
            </a:r>
            <a:r>
              <a:rPr lang="en-US" dirty="0" smtClean="0"/>
              <a:t> and </a:t>
            </a:r>
            <a:r>
              <a:rPr lang="en-US" dirty="0" err="1" smtClean="0"/>
              <a:t>eMTC</a:t>
            </a:r>
            <a:r>
              <a:rPr lang="en-US" dirty="0" smtClean="0"/>
              <a:t> devices and even regular LTE devices if required.</a:t>
            </a:r>
          </a:p>
          <a:p>
            <a:pPr marL="628650" lvl="1" indent="-171450">
              <a:buFont typeface="Arial" charset="0"/>
              <a:buChar char="•"/>
            </a:pPr>
            <a:r>
              <a:rPr lang="en-US" dirty="0" smtClean="0"/>
              <a:t>Deployable in both centralized and distributed topology</a:t>
            </a:r>
          </a:p>
          <a:p>
            <a:pPr marL="628650" lvl="1" indent="-171450">
              <a:buFont typeface="Arial" charset="0"/>
              <a:buChar char="•"/>
            </a:pPr>
            <a:endParaRPr lang="en-US" dirty="0" smtClean="0"/>
          </a:p>
          <a:p>
            <a:pPr marL="285750" indent="-285750">
              <a:buFont typeface="Wingdings" charset="2"/>
              <a:buChar char="ü"/>
            </a:pPr>
            <a:r>
              <a:rPr lang="en-US" dirty="0" smtClean="0"/>
              <a:t>C-SGN as NFV</a:t>
            </a:r>
          </a:p>
          <a:p>
            <a:pPr marL="742950" lvl="1" indent="-285750">
              <a:buFont typeface="Wingdings" charset="2"/>
              <a:buChar char="ü"/>
            </a:pPr>
            <a:r>
              <a:rPr lang="en-US" dirty="0" smtClean="0"/>
              <a:t>C-SGSN as NFV leverages Cisco leadership in virtualization</a:t>
            </a:r>
          </a:p>
          <a:p>
            <a:pPr marL="742950" lvl="1" indent="-285750">
              <a:buFont typeface="Wingdings" charset="2"/>
              <a:buChar char="ü"/>
            </a:pPr>
            <a:r>
              <a:rPr lang="en-US" dirty="0" smtClean="0"/>
              <a:t>C-CSGN as NFV dynamically scalable </a:t>
            </a:r>
          </a:p>
          <a:p>
            <a:endParaRPr lang="en-US" i="1" dirty="0" smtClean="0"/>
          </a:p>
          <a:p>
            <a:endParaRPr lang="en-US" i="1" dirty="0" smtClean="0"/>
          </a:p>
          <a:p>
            <a:r>
              <a:rPr lang="en-US" i="1" dirty="0" smtClean="0"/>
              <a:t>Service Capability Exposure Function</a:t>
            </a:r>
            <a:r>
              <a:rPr lang="en-US" dirty="0" smtClean="0"/>
              <a:t> (</a:t>
            </a:r>
            <a:r>
              <a:rPr lang="en-US" i="1" dirty="0" smtClean="0"/>
              <a:t>SCEF</a:t>
            </a:r>
            <a:r>
              <a:rPr lang="en-US" dirty="0" smtClean="0"/>
              <a:t>) </a:t>
            </a:r>
          </a:p>
          <a:p>
            <a:r>
              <a:rPr lang="en-US" i="1" dirty="0" smtClean="0"/>
              <a:t>oneM2M</a:t>
            </a:r>
            <a:r>
              <a:rPr lang="en-US" dirty="0" smtClean="0"/>
              <a:t> - Standards for M2M and the Internet of Things.</a:t>
            </a:r>
          </a:p>
          <a:p>
            <a:endParaRPr lang="en-US" dirty="0" smtClean="0"/>
          </a:p>
          <a:p>
            <a:r>
              <a:rPr lang="en-US" b="1" dirty="0" err="1" smtClean="0"/>
              <a:t>eMTC</a:t>
            </a:r>
            <a:r>
              <a:rPr lang="en-US" b="0" baseline="0" dirty="0" smtClean="0"/>
              <a:t> - </a:t>
            </a:r>
            <a:r>
              <a:rPr lang="en-US" dirty="0" smtClean="0"/>
              <a:t>which is also referred to as LTE-M, is a feature that will be fully </a:t>
            </a:r>
            <a:r>
              <a:rPr lang="en-US" dirty="0" err="1" smtClean="0"/>
              <a:t>standardised</a:t>
            </a:r>
            <a:r>
              <a:rPr lang="en-US" dirty="0" smtClean="0"/>
              <a:t> with 3GPP Release 13, will</a:t>
            </a:r>
            <a:r>
              <a:rPr lang="en-US" baseline="0" dirty="0" smtClean="0"/>
              <a:t> </a:t>
            </a:r>
            <a:r>
              <a:rPr lang="en-US" dirty="0" smtClean="0"/>
              <a:t>reportedly provide data rates of up to 1Mbps and up to four times better coverage, while reducing device complexity by up to 80%, in comparison with conventional LTE. (so is sort of a Medium Bandwidth rate).</a:t>
            </a:r>
          </a:p>
          <a:p>
            <a:endParaRPr lang="en-US" dirty="0" smtClean="0"/>
          </a:p>
          <a:p>
            <a:r>
              <a:rPr lang="en-US" b="1" dirty="0" smtClean="0"/>
              <a:t>Narrow-Band IOT</a:t>
            </a:r>
            <a:r>
              <a:rPr lang="en-US" dirty="0" smtClean="0"/>
              <a:t> (</a:t>
            </a:r>
            <a:r>
              <a:rPr lang="en-US" b="1" dirty="0" smtClean="0"/>
              <a:t>NB-IOT</a:t>
            </a:r>
            <a:r>
              <a:rPr lang="en-US" dirty="0" smtClean="0"/>
              <a:t>)</a:t>
            </a:r>
          </a:p>
          <a:p>
            <a:r>
              <a:rPr lang="en-US" dirty="0" smtClean="0"/>
              <a:t>3GPP Protocol  ----- Bandwidth ------- Maximum Data Rates </a:t>
            </a:r>
          </a:p>
          <a:p>
            <a:r>
              <a:rPr lang="en-US" dirty="0" smtClean="0"/>
              <a:t>LTE Category 1 ---- 20 MHz ----- 10 Mbps down, 5 Mbps up </a:t>
            </a:r>
          </a:p>
          <a:p>
            <a:r>
              <a:rPr lang="en-US" dirty="0" smtClean="0"/>
              <a:t>LTE Category 0 ----- 20 MHz ----- 1 Mbps down, 1 Mbps up </a:t>
            </a:r>
          </a:p>
          <a:p>
            <a:r>
              <a:rPr lang="en-US" dirty="0" smtClean="0"/>
              <a:t>LTE Category M1 ---- 1.4MHz ------ 200 kbps down, 200 kbps up* </a:t>
            </a:r>
          </a:p>
          <a:p>
            <a:r>
              <a:rPr lang="en-US" dirty="0" smtClean="0"/>
              <a:t>LTE Category M2 ----- 180 kHz ------ 40 kbps down, 55 kbps up*</a:t>
            </a:r>
          </a:p>
          <a:p>
            <a:endParaRPr lang="en-US" dirty="0" smtClean="0"/>
          </a:p>
          <a:p>
            <a:r>
              <a:rPr lang="en-US" b="1" dirty="0" smtClean="0"/>
              <a:t>Cisco’s Ultra (virtualized Mobile Core solutions) provides a complete, consolidated Evolved Packet Core (EPC) solution that runs on a single, virtual hardware instance for better performance, scalability, and cost. Ultra features fully-virtualized instances of each key Mobile Core function, including:</a:t>
            </a:r>
          </a:p>
          <a:p>
            <a:r>
              <a:rPr lang="en-US" b="1" dirty="0" smtClean="0"/>
              <a:t>- 3GPP-compliant Serving GRPS Support Node (SGSN) and Mobile Entity Management (MME) functions to support large-scale network services for 2G, 3G, 4G, LTE, and </a:t>
            </a:r>
            <a:r>
              <a:rPr lang="en-US" b="1" dirty="0" err="1" smtClean="0"/>
              <a:t>VoLTE</a:t>
            </a:r>
            <a:r>
              <a:rPr lang="en-US" b="1" dirty="0" smtClean="0"/>
              <a:t>;</a:t>
            </a:r>
          </a:p>
          <a:p>
            <a:r>
              <a:rPr lang="en-US" b="1" dirty="0" smtClean="0"/>
              <a:t>- 3GPP-compliant Gateway GPRS Support Node (GGSN), Serving Gateway (SGW), and PDN Gateway (PGW) functions with broad protocol support for external networks;</a:t>
            </a:r>
          </a:p>
          <a:p>
            <a:r>
              <a:rPr lang="en-US" b="1" dirty="0" smtClean="0">
                <a:solidFill>
                  <a:srgbClr val="FF0000"/>
                </a:solidFill>
              </a:rPr>
              <a:t>- 3GPP-compliant Combined</a:t>
            </a:r>
            <a:r>
              <a:rPr lang="en-US" b="1" baseline="0" dirty="0" smtClean="0">
                <a:solidFill>
                  <a:srgbClr val="FF0000"/>
                </a:solidFill>
              </a:rPr>
              <a:t> Serving Gateway </a:t>
            </a:r>
            <a:r>
              <a:rPr lang="en-US" b="1" dirty="0" smtClean="0">
                <a:solidFill>
                  <a:srgbClr val="FF0000"/>
                </a:solidFill>
              </a:rPr>
              <a:t>Node (CSGN), a simplified deployment combo of MME+SGW+PGW,</a:t>
            </a:r>
            <a:r>
              <a:rPr lang="en-US" b="1" baseline="0" dirty="0" smtClean="0">
                <a:solidFill>
                  <a:srgbClr val="FF0000"/>
                </a:solidFill>
              </a:rPr>
              <a:t> </a:t>
            </a:r>
            <a:r>
              <a:rPr lang="en-US" b="1" dirty="0" smtClean="0">
                <a:solidFill>
                  <a:srgbClr val="FF0000"/>
                </a:solidFill>
              </a:rPr>
              <a:t>which</a:t>
            </a:r>
            <a:r>
              <a:rPr lang="en-US" b="1" baseline="0" dirty="0" smtClean="0">
                <a:solidFill>
                  <a:srgbClr val="FF0000"/>
                </a:solidFill>
              </a:rPr>
              <a:t> supports both NB-</a:t>
            </a:r>
            <a:r>
              <a:rPr lang="en-US" b="1" baseline="0" dirty="0" err="1" smtClean="0">
                <a:solidFill>
                  <a:srgbClr val="FF0000"/>
                </a:solidFill>
              </a:rPr>
              <a:t>IoT</a:t>
            </a:r>
            <a:r>
              <a:rPr lang="en-US" b="1" baseline="0" dirty="0" smtClean="0">
                <a:solidFill>
                  <a:srgbClr val="FF0000"/>
                </a:solidFill>
              </a:rPr>
              <a:t> and </a:t>
            </a:r>
            <a:r>
              <a:rPr lang="en-US" b="1" baseline="0" dirty="0" err="1" smtClean="0">
                <a:solidFill>
                  <a:srgbClr val="FF0000"/>
                </a:solidFill>
              </a:rPr>
              <a:t>eMTC</a:t>
            </a:r>
            <a:r>
              <a:rPr lang="en-US" b="1" baseline="0" dirty="0" smtClean="0">
                <a:solidFill>
                  <a:srgbClr val="FF0000"/>
                </a:solidFill>
              </a:rPr>
              <a:t> devices and even LTE devices if required.</a:t>
            </a:r>
          </a:p>
          <a:p>
            <a:r>
              <a:rPr lang="en-US" b="1" dirty="0" smtClean="0"/>
              <a:t> </a:t>
            </a:r>
          </a:p>
          <a:p>
            <a:endParaRPr lang="en-US" dirty="0" smtClean="0"/>
          </a:p>
          <a:p>
            <a:r>
              <a:rPr lang="en-US" dirty="0" smtClean="0"/>
              <a:t>Service Workflow Orchestration that enables operators to create and launch customized multi-service offerings in days (and not months);</a:t>
            </a:r>
          </a:p>
          <a:p>
            <a:r>
              <a:rPr lang="en-US" dirty="0" err="1" smtClean="0"/>
              <a:t>WiFi</a:t>
            </a:r>
            <a:r>
              <a:rPr lang="en-US" dirty="0" smtClean="0"/>
              <a:t> Access: Evolved Packet Data Gateway (</a:t>
            </a:r>
            <a:r>
              <a:rPr lang="en-US" dirty="0" err="1" smtClean="0"/>
              <a:t>ePDG</a:t>
            </a:r>
            <a:r>
              <a:rPr lang="en-US" dirty="0" smtClean="0"/>
              <a:t>) and Trusted WLAN Access Point/Gateway (TWAP/TWAG) functions for secure access to trusted and </a:t>
            </a:r>
            <a:r>
              <a:rPr lang="en-US" dirty="0" err="1" smtClean="0"/>
              <a:t>untrusted</a:t>
            </a:r>
            <a:r>
              <a:rPr lang="en-US" dirty="0" smtClean="0"/>
              <a:t> </a:t>
            </a:r>
            <a:r>
              <a:rPr lang="en-US" dirty="0" err="1" smtClean="0"/>
              <a:t>WiFi</a:t>
            </a:r>
            <a:r>
              <a:rPr lang="en-US" dirty="0" smtClean="0"/>
              <a:t> networks, including support for </a:t>
            </a:r>
            <a:r>
              <a:rPr lang="en-US" dirty="0" err="1" smtClean="0"/>
              <a:t>WiFi</a:t>
            </a:r>
            <a:r>
              <a:rPr lang="en-US" dirty="0" smtClean="0"/>
              <a:t> calling services, and EPC to </a:t>
            </a:r>
            <a:r>
              <a:rPr lang="en-US" dirty="0" err="1" smtClean="0"/>
              <a:t>WiFi</a:t>
            </a:r>
            <a:r>
              <a:rPr lang="en-US" dirty="0" smtClean="0"/>
              <a:t> integration (also known as “Heterogeneous Networks” or “Het Nets”);</a:t>
            </a: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7</a:t>
            </a:fld>
            <a:endParaRPr lang="en-US"/>
          </a:p>
        </p:txBody>
      </p:sp>
    </p:spTree>
    <p:extLst>
      <p:ext uri="{BB962C8B-B14F-4D97-AF65-F5344CB8AC3E}">
        <p14:creationId xmlns:p14="http://schemas.microsoft.com/office/powerpoint/2010/main" val="1839021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pPr marL="0" indent="0">
              <a:buNone/>
            </a:pPr>
            <a:r>
              <a:rPr lang="en-US" dirty="0" smtClean="0">
                <a:solidFill>
                  <a:schemeClr val="tx1">
                    <a:lumMod val="50000"/>
                  </a:schemeClr>
                </a:solidFill>
              </a:rPr>
              <a:t>Single packet core to support LTE </a:t>
            </a:r>
            <a:r>
              <a:rPr lang="en-US" dirty="0" err="1" smtClean="0">
                <a:solidFill>
                  <a:schemeClr val="tx1">
                    <a:lumMod val="50000"/>
                  </a:schemeClr>
                </a:solidFill>
              </a:rPr>
              <a:t>eMTC</a:t>
            </a:r>
            <a:r>
              <a:rPr lang="en-US" dirty="0" smtClean="0">
                <a:solidFill>
                  <a:schemeClr val="tx1">
                    <a:lumMod val="50000"/>
                  </a:schemeClr>
                </a:solidFill>
              </a:rPr>
              <a:t>, NB-</a:t>
            </a:r>
            <a:r>
              <a:rPr lang="en-US" dirty="0" err="1" smtClean="0">
                <a:solidFill>
                  <a:schemeClr val="tx1">
                    <a:lumMod val="50000"/>
                  </a:schemeClr>
                </a:solidFill>
              </a:rPr>
              <a:t>IoT</a:t>
            </a:r>
            <a:r>
              <a:rPr lang="en-US" dirty="0" smtClean="0">
                <a:solidFill>
                  <a:schemeClr val="tx1">
                    <a:lumMod val="50000"/>
                  </a:schemeClr>
                </a:solidFill>
              </a:rPr>
              <a:t>, </a:t>
            </a:r>
            <a:r>
              <a:rPr lang="en-US" dirty="0" err="1" smtClean="0">
                <a:solidFill>
                  <a:schemeClr val="tx1">
                    <a:lumMod val="50000"/>
                  </a:schemeClr>
                </a:solidFill>
              </a:rPr>
              <a:t>LoRa</a:t>
            </a:r>
            <a:r>
              <a:rPr lang="en-US" dirty="0" smtClean="0">
                <a:solidFill>
                  <a:schemeClr val="tx1">
                    <a:lumMod val="50000"/>
                  </a:schemeClr>
                </a:solidFill>
              </a:rPr>
              <a:t>, </a:t>
            </a:r>
            <a:r>
              <a:rPr lang="en-US" dirty="0" err="1" smtClean="0">
                <a:solidFill>
                  <a:schemeClr val="tx1">
                    <a:lumMod val="50000"/>
                  </a:schemeClr>
                </a:solidFill>
              </a:rPr>
              <a:t>WiFi</a:t>
            </a:r>
            <a:r>
              <a:rPr lang="en-US" dirty="0" smtClean="0">
                <a:solidFill>
                  <a:schemeClr val="tx1">
                    <a:lumMod val="50000"/>
                  </a:schemeClr>
                </a:solidFill>
              </a:rPr>
              <a:t> as well as other access technologies and following </a:t>
            </a:r>
            <a:r>
              <a:rPr lang="en-US" dirty="0" err="1" smtClean="0">
                <a:solidFill>
                  <a:schemeClr val="tx1">
                    <a:lumMod val="50000"/>
                  </a:schemeClr>
                </a:solidFill>
              </a:rPr>
              <a:t>CIoT</a:t>
            </a:r>
            <a:r>
              <a:rPr lang="en-US" dirty="0" smtClean="0">
                <a:solidFill>
                  <a:schemeClr val="tx1">
                    <a:lumMod val="50000"/>
                  </a:schemeClr>
                </a:solidFill>
              </a:rPr>
              <a:t> architecture</a:t>
            </a:r>
          </a:p>
          <a:p>
            <a:pPr lvl="2"/>
            <a:r>
              <a:rPr lang="en-US" dirty="0" err="1" smtClean="0">
                <a:solidFill>
                  <a:schemeClr val="tx1">
                    <a:lumMod val="50000"/>
                  </a:schemeClr>
                </a:solidFill>
              </a:rPr>
              <a:t>CIoT</a:t>
            </a:r>
            <a:r>
              <a:rPr lang="en-US" dirty="0" smtClean="0">
                <a:solidFill>
                  <a:schemeClr val="tx1">
                    <a:lumMod val="50000"/>
                  </a:schemeClr>
                </a:solidFill>
              </a:rPr>
              <a:t> Serving Gateway Node (CSGN)</a:t>
            </a:r>
          </a:p>
          <a:p>
            <a:pPr lvl="4"/>
            <a:r>
              <a:rPr lang="en-US" dirty="0" smtClean="0">
                <a:solidFill>
                  <a:schemeClr val="tx1">
                    <a:lumMod val="50000"/>
                  </a:schemeClr>
                </a:solidFill>
              </a:rPr>
              <a:t>Core optimizations for </a:t>
            </a:r>
            <a:r>
              <a:rPr lang="en-US" dirty="0" err="1" smtClean="0">
                <a:solidFill>
                  <a:schemeClr val="tx1">
                    <a:lumMod val="50000"/>
                  </a:schemeClr>
                </a:solidFill>
              </a:rPr>
              <a:t>eMTC</a:t>
            </a:r>
            <a:r>
              <a:rPr lang="en-US" dirty="0" smtClean="0">
                <a:solidFill>
                  <a:schemeClr val="tx1">
                    <a:lumMod val="50000"/>
                  </a:schemeClr>
                </a:solidFill>
              </a:rPr>
              <a:t> and NB-</a:t>
            </a:r>
            <a:r>
              <a:rPr lang="en-US" dirty="0" err="1" smtClean="0">
                <a:solidFill>
                  <a:schemeClr val="tx1">
                    <a:lumMod val="50000"/>
                  </a:schemeClr>
                </a:solidFill>
              </a:rPr>
              <a:t>IoT</a:t>
            </a:r>
            <a:r>
              <a:rPr lang="en-US" dirty="0" smtClean="0">
                <a:solidFill>
                  <a:schemeClr val="tx1">
                    <a:lumMod val="50000"/>
                  </a:schemeClr>
                </a:solidFill>
              </a:rPr>
              <a:t> devices</a:t>
            </a:r>
          </a:p>
          <a:p>
            <a:pPr lvl="4"/>
            <a:r>
              <a:rPr lang="en-US" dirty="0" smtClean="0">
                <a:solidFill>
                  <a:schemeClr val="tx1">
                    <a:lumMod val="50000"/>
                  </a:schemeClr>
                </a:solidFill>
              </a:rPr>
              <a:t>Combo EPC node leveraging </a:t>
            </a:r>
            <a:r>
              <a:rPr lang="en-US" dirty="0" err="1" smtClean="0">
                <a:solidFill>
                  <a:schemeClr val="tx1">
                    <a:lumMod val="50000"/>
                  </a:schemeClr>
                </a:solidFill>
              </a:rPr>
              <a:t>StarOS</a:t>
            </a:r>
            <a:r>
              <a:rPr lang="en-US" dirty="0" smtClean="0">
                <a:solidFill>
                  <a:schemeClr val="tx1">
                    <a:lumMod val="50000"/>
                  </a:schemeClr>
                </a:solidFill>
              </a:rPr>
              <a:t> architectural advantages</a:t>
            </a:r>
          </a:p>
          <a:p>
            <a:pPr lvl="4"/>
            <a:r>
              <a:rPr lang="en-US" dirty="0" smtClean="0">
                <a:solidFill>
                  <a:schemeClr val="tx1">
                    <a:lumMod val="50000"/>
                  </a:schemeClr>
                </a:solidFill>
              </a:rPr>
              <a:t>Local policy on PGW as added advantage</a:t>
            </a:r>
          </a:p>
          <a:p>
            <a:pPr lvl="2"/>
            <a:r>
              <a:rPr lang="en-US" dirty="0" smtClean="0">
                <a:solidFill>
                  <a:schemeClr val="tx1">
                    <a:lumMod val="50000"/>
                  </a:schemeClr>
                </a:solidFill>
              </a:rPr>
              <a:t>NB-</a:t>
            </a:r>
            <a:r>
              <a:rPr lang="en-US" dirty="0" err="1" smtClean="0">
                <a:solidFill>
                  <a:schemeClr val="tx1">
                    <a:lumMod val="50000"/>
                  </a:schemeClr>
                </a:solidFill>
              </a:rPr>
              <a:t>IoT</a:t>
            </a:r>
            <a:r>
              <a:rPr lang="en-US" dirty="0" smtClean="0">
                <a:solidFill>
                  <a:schemeClr val="tx1">
                    <a:lumMod val="50000"/>
                  </a:schemeClr>
                </a:solidFill>
              </a:rPr>
              <a:t> device support</a:t>
            </a:r>
          </a:p>
          <a:p>
            <a:pPr lvl="4"/>
            <a:r>
              <a:rPr lang="en-US" dirty="0" smtClean="0">
                <a:solidFill>
                  <a:schemeClr val="tx1">
                    <a:lumMod val="50000"/>
                  </a:schemeClr>
                </a:solidFill>
              </a:rPr>
              <a:t>Evolve </a:t>
            </a:r>
            <a:r>
              <a:rPr lang="en-US" dirty="0" err="1" smtClean="0">
                <a:solidFill>
                  <a:schemeClr val="tx1">
                    <a:lumMod val="50000"/>
                  </a:schemeClr>
                </a:solidFill>
              </a:rPr>
              <a:t>IoT</a:t>
            </a:r>
            <a:r>
              <a:rPr lang="en-US" dirty="0" smtClean="0">
                <a:solidFill>
                  <a:schemeClr val="tx1">
                    <a:lumMod val="50000"/>
                  </a:schemeClr>
                </a:solidFill>
              </a:rPr>
              <a:t> Core to </a:t>
            </a:r>
            <a:r>
              <a:rPr lang="en-US" dirty="0" err="1" smtClean="0">
                <a:solidFill>
                  <a:schemeClr val="tx1">
                    <a:lumMod val="50000"/>
                  </a:schemeClr>
                </a:solidFill>
              </a:rPr>
              <a:t>CIoT</a:t>
            </a:r>
            <a:r>
              <a:rPr lang="en-US" dirty="0" smtClean="0">
                <a:solidFill>
                  <a:schemeClr val="tx1">
                    <a:lumMod val="50000"/>
                  </a:schemeClr>
                </a:solidFill>
              </a:rPr>
              <a:t> architecture: CSGN/SCEF </a:t>
            </a:r>
          </a:p>
          <a:p>
            <a:pPr lvl="4"/>
            <a:r>
              <a:rPr lang="en-US" dirty="0" smtClean="0">
                <a:solidFill>
                  <a:schemeClr val="tx1">
                    <a:lumMod val="50000"/>
                  </a:schemeClr>
                </a:solidFill>
              </a:rPr>
              <a:t>Introduce Network Service Capabilities (NSC) - Exposing network capabilities to the applications</a:t>
            </a:r>
          </a:p>
          <a:p>
            <a:pPr marL="662401" lvl="2" indent="-179388"/>
            <a:r>
              <a:rPr lang="en-US" dirty="0" smtClean="0">
                <a:solidFill>
                  <a:schemeClr val="tx1">
                    <a:lumMod val="50000"/>
                  </a:schemeClr>
                </a:solidFill>
              </a:rPr>
              <a:t>LPWA support </a:t>
            </a:r>
          </a:p>
          <a:p>
            <a:pPr lvl="2"/>
            <a:r>
              <a:rPr lang="en-US" dirty="0" smtClean="0">
                <a:solidFill>
                  <a:schemeClr val="tx1">
                    <a:lumMod val="50000"/>
                  </a:schemeClr>
                </a:solidFill>
              </a:rPr>
              <a:t>Consistent policy and billing across </a:t>
            </a:r>
            <a:r>
              <a:rPr lang="en-US" dirty="0" err="1" smtClean="0">
                <a:solidFill>
                  <a:schemeClr val="tx1">
                    <a:lumMod val="50000"/>
                  </a:schemeClr>
                </a:solidFill>
              </a:rPr>
              <a:t>IoT</a:t>
            </a:r>
            <a:r>
              <a:rPr lang="en-US" dirty="0" smtClean="0">
                <a:solidFill>
                  <a:schemeClr val="tx1">
                    <a:lumMod val="50000"/>
                  </a:schemeClr>
                </a:solidFill>
              </a:rPr>
              <a:t> traffic</a:t>
            </a:r>
          </a:p>
          <a:p>
            <a:pPr lvl="2"/>
            <a:r>
              <a:rPr lang="en-US" dirty="0" smtClean="0">
                <a:solidFill>
                  <a:schemeClr val="tx1">
                    <a:lumMod val="50000"/>
                  </a:schemeClr>
                </a:solidFill>
              </a:rPr>
              <a:t>Unified device data handling and export towards the applications</a:t>
            </a:r>
          </a:p>
          <a:p>
            <a:pPr lvl="2"/>
            <a:r>
              <a:rPr lang="en-US" dirty="0" smtClean="0">
                <a:solidFill>
                  <a:schemeClr val="tx1">
                    <a:lumMod val="50000"/>
                  </a:schemeClr>
                </a:solidFill>
              </a:rPr>
              <a:t>Exposing network intelligence towards applications</a:t>
            </a:r>
          </a:p>
          <a:p>
            <a:endParaRPr lang="en-US" dirty="0" smtClean="0"/>
          </a:p>
          <a:p>
            <a:r>
              <a:rPr lang="en-US" dirty="0" smtClean="0"/>
              <a:t>Cisco </a:t>
            </a:r>
            <a:r>
              <a:rPr lang="en-US" dirty="0" err="1" smtClean="0"/>
              <a:t>IoT</a:t>
            </a:r>
            <a:r>
              <a:rPr lang="en-US" dirty="0" smtClean="0"/>
              <a:t> Core </a:t>
            </a:r>
            <a:r>
              <a:rPr lang="en-US" u="sng" dirty="0" smtClean="0"/>
              <a:t>goes beyond standard 3GPP </a:t>
            </a:r>
            <a:r>
              <a:rPr lang="en-US" dirty="0" smtClean="0"/>
              <a:t>connectivity solutions (EPC </a:t>
            </a:r>
            <a:r>
              <a:rPr lang="en-US" dirty="0" err="1" smtClean="0"/>
              <a:t>IoT</a:t>
            </a:r>
            <a:r>
              <a:rPr lang="en-US" dirty="0" smtClean="0"/>
              <a:t> features, CSGN, NB-</a:t>
            </a:r>
            <a:r>
              <a:rPr lang="en-US" dirty="0" err="1" smtClean="0"/>
              <a:t>IoT</a:t>
            </a:r>
            <a:r>
              <a:rPr lang="en-US" dirty="0" smtClean="0"/>
              <a:t>)</a:t>
            </a:r>
          </a:p>
          <a:p>
            <a:r>
              <a:rPr lang="en-US" dirty="0" smtClean="0"/>
              <a:t>Network Service Capability – value-add</a:t>
            </a:r>
          </a:p>
          <a:p>
            <a:pPr lvl="1"/>
            <a:r>
              <a:rPr lang="en-US" dirty="0" smtClean="0"/>
              <a:t>NSC ingests and organizes device data with northbound APIs </a:t>
            </a:r>
          </a:p>
          <a:p>
            <a:pPr lvl="1"/>
            <a:r>
              <a:rPr lang="en-US" dirty="0" smtClean="0"/>
              <a:t>NSC terminates multiple access types providing uniform identity, authentication and security framework</a:t>
            </a:r>
          </a:p>
          <a:p>
            <a:pPr lvl="1"/>
            <a:r>
              <a:rPr lang="en-US" dirty="0" smtClean="0"/>
              <a:t>Proprietary link between NSC and EPC/CSGN for extra info about devices (status, location) </a:t>
            </a:r>
          </a:p>
          <a:p>
            <a:pPr lvl="1"/>
            <a:r>
              <a:rPr lang="en-US" dirty="0" smtClean="0"/>
              <a:t>NSC based on Open Daylight allowing SPs/enterprises to develop </a:t>
            </a:r>
            <a:r>
              <a:rPr lang="en-US" dirty="0" err="1" smtClean="0"/>
              <a:t>plugins</a:t>
            </a:r>
            <a:r>
              <a:rPr lang="en-US" dirty="0" smtClean="0"/>
              <a:t> for specific devices</a:t>
            </a:r>
          </a:p>
          <a:p>
            <a:endParaRPr lang="en-US" dirty="0" smtClean="0"/>
          </a:p>
          <a:p>
            <a:endParaRPr lang="en-US" dirty="0" smtClean="0"/>
          </a:p>
          <a:p>
            <a:endParaRPr lang="en-US" dirty="0" smtClean="0"/>
          </a:p>
          <a:p>
            <a:pPr marL="169863" indent="-169863">
              <a:spcBef>
                <a:spcPts val="300"/>
              </a:spcBef>
              <a:buFont typeface="Arial" panose="020B0604020202020204" pitchFamily="34" charset="0"/>
              <a:buChar char="•"/>
            </a:pPr>
            <a:r>
              <a:rPr lang="en-US" b="1" dirty="0" smtClean="0"/>
              <a:t>Multi-access core with unified policy, charging and service capability layer. </a:t>
            </a:r>
          </a:p>
          <a:p>
            <a:pPr marL="169863" indent="-169863">
              <a:spcBef>
                <a:spcPts val="300"/>
              </a:spcBef>
              <a:buFont typeface="Arial" panose="020B0604020202020204" pitchFamily="34" charset="0"/>
              <a:buChar char="•"/>
            </a:pPr>
            <a:r>
              <a:rPr lang="en-US" dirty="0" smtClean="0"/>
              <a:t>Network Service Capabilities (NSC) based on One M2M framework organizes the device data, includes adapters for different access types (</a:t>
            </a:r>
            <a:r>
              <a:rPr lang="en-US" dirty="0" err="1" smtClean="0"/>
              <a:t>eMTC</a:t>
            </a:r>
            <a:r>
              <a:rPr lang="en-US" dirty="0" smtClean="0"/>
              <a:t>, NB-IOT, LPWA, </a:t>
            </a:r>
            <a:r>
              <a:rPr lang="en-US" dirty="0" err="1" smtClean="0"/>
              <a:t>WiFi</a:t>
            </a:r>
            <a:r>
              <a:rPr lang="en-US" dirty="0" smtClean="0"/>
              <a:t>), provides APIs and  exposes  network capabilities to the applications  servers </a:t>
            </a:r>
          </a:p>
          <a:p>
            <a:pPr marL="169863" indent="-169863">
              <a:spcBef>
                <a:spcPts val="300"/>
              </a:spcBef>
              <a:buFont typeface="Arial" panose="020B0604020202020204" pitchFamily="34" charset="0"/>
              <a:buChar char="•"/>
            </a:pPr>
            <a:r>
              <a:rPr lang="en-US" dirty="0" smtClean="0"/>
              <a:t>Interface between NSC and EPC/CSGN for extra device info</a:t>
            </a:r>
          </a:p>
          <a:p>
            <a:pPr marL="169863" indent="-169863">
              <a:spcBef>
                <a:spcPts val="300"/>
              </a:spcBef>
              <a:buFont typeface="Arial" panose="020B0604020202020204" pitchFamily="34" charset="0"/>
              <a:buChar char="•"/>
            </a:pPr>
            <a:r>
              <a:rPr lang="en-US" dirty="0" smtClean="0"/>
              <a:t>Additional – analytics, data exposure provide monetization opportunities</a:t>
            </a:r>
          </a:p>
          <a:p>
            <a:endParaRPr lang="en-US" dirty="0" smtClean="0"/>
          </a:p>
          <a:p>
            <a:pPr>
              <a:spcBef>
                <a:spcPts val="400"/>
              </a:spcBef>
            </a:pPr>
            <a:r>
              <a:rPr lang="en-US" b="1" dirty="0" smtClean="0"/>
              <a:t>NSC Features:</a:t>
            </a:r>
          </a:p>
          <a:p>
            <a:pPr>
              <a:spcBef>
                <a:spcPts val="400"/>
              </a:spcBef>
            </a:pPr>
            <a:r>
              <a:rPr lang="en-US" dirty="0" smtClean="0"/>
              <a:t>Mapping endpoint application level identity to transport identity</a:t>
            </a:r>
          </a:p>
          <a:p>
            <a:pPr lvl="1">
              <a:spcBef>
                <a:spcPts val="400"/>
              </a:spcBef>
            </a:pPr>
            <a:r>
              <a:rPr lang="en-US" dirty="0" smtClean="0"/>
              <a:t>Associate endpoints with application and map their identity into SIM/IMSI/MAC</a:t>
            </a:r>
          </a:p>
          <a:p>
            <a:pPr>
              <a:spcBef>
                <a:spcPts val="400"/>
              </a:spcBef>
            </a:pPr>
            <a:r>
              <a:rPr lang="en-US" dirty="0" smtClean="0"/>
              <a:t>Authorize endpoint to use the service</a:t>
            </a:r>
          </a:p>
          <a:p>
            <a:pPr lvl="1">
              <a:spcBef>
                <a:spcPts val="400"/>
              </a:spcBef>
            </a:pPr>
            <a:r>
              <a:rPr lang="en-US" dirty="0" smtClean="0"/>
              <a:t>Verify that device identity matches network identity and that the device is authorized to connect to NSC (device already authenticated at the network)</a:t>
            </a:r>
          </a:p>
          <a:p>
            <a:pPr>
              <a:spcBef>
                <a:spcPts val="400"/>
              </a:spcBef>
            </a:pPr>
            <a:r>
              <a:rPr lang="en-US" dirty="0" smtClean="0"/>
              <a:t>Secure access to the </a:t>
            </a:r>
            <a:r>
              <a:rPr lang="en-US" dirty="0" err="1" smtClean="0"/>
              <a:t>IoT</a:t>
            </a:r>
            <a:r>
              <a:rPr lang="en-US" dirty="0" smtClean="0"/>
              <a:t> application</a:t>
            </a:r>
          </a:p>
          <a:p>
            <a:pPr>
              <a:spcBef>
                <a:spcPts val="400"/>
              </a:spcBef>
            </a:pPr>
            <a:r>
              <a:rPr lang="en-US" dirty="0" smtClean="0"/>
              <a:t>Communicating with infrequently connected device (buffering, triggering)</a:t>
            </a:r>
          </a:p>
          <a:p>
            <a:pPr>
              <a:spcBef>
                <a:spcPts val="400"/>
              </a:spcBef>
            </a:pPr>
            <a:r>
              <a:rPr lang="en-US" dirty="0" smtClean="0"/>
              <a:t>Device change notifications</a:t>
            </a:r>
          </a:p>
          <a:p>
            <a:pPr>
              <a:spcBef>
                <a:spcPts val="400"/>
              </a:spcBef>
            </a:pPr>
            <a:r>
              <a:rPr lang="en-US" dirty="0" smtClean="0"/>
              <a:t>Multicast of messages to the group of devices</a:t>
            </a:r>
          </a:p>
          <a:p>
            <a:pPr>
              <a:spcBef>
                <a:spcPts val="400"/>
              </a:spcBef>
            </a:pPr>
            <a:r>
              <a:rPr lang="en-US" dirty="0" smtClean="0"/>
              <a:t>Organizing device data</a:t>
            </a:r>
          </a:p>
          <a:p>
            <a:pPr>
              <a:spcBef>
                <a:spcPts val="400"/>
              </a:spcBef>
            </a:pPr>
            <a:r>
              <a:rPr lang="en-US" dirty="0" smtClean="0"/>
              <a:t>Monetizing the device data</a:t>
            </a:r>
          </a:p>
          <a:p>
            <a:pPr>
              <a:spcBef>
                <a:spcPts val="400"/>
              </a:spcBef>
            </a:pPr>
            <a:r>
              <a:rPr lang="en-US" dirty="0" smtClean="0"/>
              <a:t>Protecting the network from overload of signaling and/or throughput</a:t>
            </a:r>
          </a:p>
          <a:p>
            <a:pPr>
              <a:spcBef>
                <a:spcPts val="400"/>
              </a:spcBef>
            </a:pPr>
            <a:r>
              <a:rPr lang="en-US" dirty="0" smtClean="0"/>
              <a:t>Ability to “kill” the device</a:t>
            </a:r>
          </a:p>
          <a:p>
            <a:pPr>
              <a:spcBef>
                <a:spcPts val="400"/>
              </a:spcBef>
            </a:pPr>
            <a:r>
              <a:rPr lang="en-US" dirty="0" smtClean="0"/>
              <a:t>Updating FW, </a:t>
            </a:r>
            <a:r>
              <a:rPr lang="en-US" dirty="0" err="1" smtClean="0"/>
              <a:t>config</a:t>
            </a:r>
            <a:r>
              <a:rPr lang="en-US" dirty="0" smtClean="0"/>
              <a:t> on the NB-</a:t>
            </a:r>
            <a:r>
              <a:rPr lang="en-US" dirty="0" err="1" smtClean="0"/>
              <a:t>Iot</a:t>
            </a:r>
            <a:r>
              <a:rPr lang="en-US" dirty="0" smtClean="0"/>
              <a:t> device</a:t>
            </a:r>
          </a:p>
          <a:p>
            <a:endParaRPr lang="en-US" dirty="0" smtClean="0"/>
          </a:p>
          <a:p>
            <a:endParaRPr lang="en-US" dirty="0" smtClean="0"/>
          </a:p>
          <a:p>
            <a:pPr marL="0" indent="0">
              <a:buFont typeface="Wingdings" charset="2"/>
              <a:buNone/>
            </a:pPr>
            <a:endParaRPr lang="en-US" dirty="0" smtClean="0"/>
          </a:p>
          <a:p>
            <a:pPr marL="285750" indent="-285750">
              <a:buFont typeface="Wingdings" charset="2"/>
              <a:buChar char="ü"/>
            </a:pPr>
            <a:r>
              <a:rPr lang="en-US" dirty="0" smtClean="0"/>
              <a:t>C-SGN – Natural Progression for </a:t>
            </a:r>
            <a:r>
              <a:rPr lang="en-US" dirty="0" err="1" smtClean="0"/>
              <a:t>StarOS</a:t>
            </a:r>
            <a:endParaRPr lang="en-US" dirty="0" smtClean="0"/>
          </a:p>
          <a:p>
            <a:pPr marL="628650" lvl="1" indent="-171450">
              <a:buFont typeface="Arial" charset="0"/>
              <a:buChar char="•"/>
            </a:pPr>
            <a:r>
              <a:rPr lang="en-US" dirty="0" smtClean="0"/>
              <a:t>C-SGN – A deployment option as specified by 3GPP.</a:t>
            </a:r>
          </a:p>
          <a:p>
            <a:pPr marL="628650" lvl="1" indent="-171450">
              <a:buFont typeface="Arial" charset="0"/>
              <a:buChar char="•"/>
            </a:pPr>
            <a:r>
              <a:rPr lang="en-US" dirty="0" smtClean="0"/>
              <a:t>C-SGN could be perceived as simplified combo of MME+SGW+PGW. </a:t>
            </a:r>
          </a:p>
          <a:p>
            <a:pPr marL="628650" lvl="1" indent="-171450">
              <a:buFont typeface="Arial" charset="0"/>
              <a:buChar char="•"/>
            </a:pPr>
            <a:r>
              <a:rPr lang="en-US" dirty="0" smtClean="0"/>
              <a:t>Control plane and bearer plane nodes today are running on the same platform  and  software already</a:t>
            </a:r>
          </a:p>
          <a:p>
            <a:pPr marL="628650" lvl="1" indent="-171450">
              <a:buFont typeface="Arial" charset="0"/>
              <a:buChar char="•"/>
            </a:pPr>
            <a:r>
              <a:rPr lang="en-US" dirty="0" err="1" smtClean="0"/>
              <a:t>StarOS</a:t>
            </a:r>
            <a:r>
              <a:rPr lang="en-US" dirty="0" smtClean="0"/>
              <a:t> architecture favors the combo mode approach. </a:t>
            </a:r>
          </a:p>
          <a:p>
            <a:pPr marL="628650" lvl="1" indent="-171450">
              <a:buFont typeface="Arial" charset="0"/>
              <a:buChar char="•"/>
            </a:pPr>
            <a:r>
              <a:rPr lang="en-US" dirty="0" smtClean="0"/>
              <a:t>C-SGN inherits all features available in </a:t>
            </a:r>
            <a:r>
              <a:rPr lang="en-US" dirty="0" err="1" smtClean="0"/>
              <a:t>StarOS</a:t>
            </a:r>
            <a:r>
              <a:rPr lang="en-US" dirty="0" smtClean="0"/>
              <a:t> today</a:t>
            </a:r>
          </a:p>
          <a:p>
            <a:pPr marL="628650" lvl="1" indent="-171450">
              <a:buFont typeface="Arial" charset="0"/>
              <a:buChar char="•"/>
            </a:pPr>
            <a:endParaRPr lang="en-US" dirty="0" smtClean="0"/>
          </a:p>
          <a:p>
            <a:pPr marL="285750" indent="-285750">
              <a:buFont typeface="Wingdings" charset="2"/>
              <a:buChar char="ü"/>
            </a:pPr>
            <a:r>
              <a:rPr lang="en-US" dirty="0" smtClean="0"/>
              <a:t>C-SGN Deployment Flexibility</a:t>
            </a:r>
          </a:p>
          <a:p>
            <a:pPr marL="628650" lvl="1" indent="-171450">
              <a:buFont typeface="Arial" charset="0"/>
              <a:buChar char="•"/>
            </a:pPr>
            <a:r>
              <a:rPr lang="en-US" dirty="0" smtClean="0"/>
              <a:t>C-SGSN supports both NB-</a:t>
            </a:r>
            <a:r>
              <a:rPr lang="en-US" dirty="0" err="1" smtClean="0"/>
              <a:t>IoT</a:t>
            </a:r>
            <a:r>
              <a:rPr lang="en-US" dirty="0" smtClean="0"/>
              <a:t> and </a:t>
            </a:r>
            <a:r>
              <a:rPr lang="en-US" dirty="0" err="1" smtClean="0"/>
              <a:t>eMTC</a:t>
            </a:r>
            <a:r>
              <a:rPr lang="en-US" dirty="0" smtClean="0"/>
              <a:t> devices and even regular LTE devices if required.</a:t>
            </a:r>
          </a:p>
          <a:p>
            <a:pPr marL="628650" lvl="1" indent="-171450">
              <a:buFont typeface="Arial" charset="0"/>
              <a:buChar char="•"/>
            </a:pPr>
            <a:r>
              <a:rPr lang="en-US" dirty="0" smtClean="0"/>
              <a:t>Deployable in both centralized and distributed topology</a:t>
            </a:r>
          </a:p>
          <a:p>
            <a:pPr marL="628650" lvl="1" indent="-171450">
              <a:buFont typeface="Arial" charset="0"/>
              <a:buChar char="•"/>
            </a:pPr>
            <a:endParaRPr lang="en-US" dirty="0" smtClean="0"/>
          </a:p>
          <a:p>
            <a:pPr marL="285750" indent="-285750">
              <a:buFont typeface="Wingdings" charset="2"/>
              <a:buChar char="ü"/>
            </a:pPr>
            <a:r>
              <a:rPr lang="en-US" dirty="0" smtClean="0"/>
              <a:t>C-SGN as NFV</a:t>
            </a:r>
          </a:p>
          <a:p>
            <a:pPr marL="742950" lvl="1" indent="-285750">
              <a:buFont typeface="Wingdings" charset="2"/>
              <a:buChar char="ü"/>
            </a:pPr>
            <a:r>
              <a:rPr lang="en-US" dirty="0" smtClean="0"/>
              <a:t>C-SGSN as NFV leverages Cisco leadership in virtualization</a:t>
            </a:r>
          </a:p>
          <a:p>
            <a:pPr marL="742950" lvl="1" indent="-285750">
              <a:buFont typeface="Wingdings" charset="2"/>
              <a:buChar char="ü"/>
            </a:pPr>
            <a:r>
              <a:rPr lang="en-US" dirty="0" smtClean="0"/>
              <a:t>C-CSGN as NFV dynamically scalable </a:t>
            </a:r>
          </a:p>
          <a:p>
            <a:endParaRPr lang="en-US" i="1" dirty="0" smtClean="0"/>
          </a:p>
          <a:p>
            <a:endParaRPr lang="en-US" i="1" dirty="0" smtClean="0"/>
          </a:p>
          <a:p>
            <a:r>
              <a:rPr lang="en-US" i="1" dirty="0" smtClean="0"/>
              <a:t>Service Capability Exposure Function</a:t>
            </a:r>
            <a:r>
              <a:rPr lang="en-US" dirty="0" smtClean="0"/>
              <a:t> (</a:t>
            </a:r>
            <a:r>
              <a:rPr lang="en-US" i="1" dirty="0" smtClean="0"/>
              <a:t>SCEF</a:t>
            </a:r>
            <a:r>
              <a:rPr lang="en-US" dirty="0" smtClean="0"/>
              <a:t>) </a:t>
            </a:r>
          </a:p>
          <a:p>
            <a:r>
              <a:rPr lang="en-US" i="1" dirty="0" smtClean="0"/>
              <a:t>oneM2M</a:t>
            </a:r>
            <a:r>
              <a:rPr lang="en-US" dirty="0" smtClean="0"/>
              <a:t> - Standards for M2M and the Internet of Things.</a:t>
            </a:r>
          </a:p>
          <a:p>
            <a:endParaRPr lang="en-US" dirty="0" smtClean="0"/>
          </a:p>
          <a:p>
            <a:r>
              <a:rPr lang="en-US" b="1" dirty="0" err="1" smtClean="0"/>
              <a:t>eMTC</a:t>
            </a:r>
            <a:r>
              <a:rPr lang="en-US" b="0" baseline="0" dirty="0" smtClean="0"/>
              <a:t> - </a:t>
            </a:r>
            <a:r>
              <a:rPr lang="en-US" dirty="0" smtClean="0"/>
              <a:t>which is also referred to as LTE-M, is a feature that will be fully </a:t>
            </a:r>
            <a:r>
              <a:rPr lang="en-US" dirty="0" err="1" smtClean="0"/>
              <a:t>standardised</a:t>
            </a:r>
            <a:r>
              <a:rPr lang="en-US" dirty="0" smtClean="0"/>
              <a:t> with 3GPP Release 13, will</a:t>
            </a:r>
            <a:r>
              <a:rPr lang="en-US" baseline="0" dirty="0" smtClean="0"/>
              <a:t> </a:t>
            </a:r>
            <a:r>
              <a:rPr lang="en-US" dirty="0" smtClean="0"/>
              <a:t>reportedly provide data rates of up to 1Mbps and up to four times better coverage, while reducing device complexity by up to 80%, in comparison with conventional LTE. (so is sort of a Medium Bandwidth rate).</a:t>
            </a:r>
          </a:p>
          <a:p>
            <a:endParaRPr lang="en-US" dirty="0" smtClean="0"/>
          </a:p>
          <a:p>
            <a:r>
              <a:rPr lang="en-US" b="1" dirty="0" smtClean="0"/>
              <a:t>Narrow-Band IOT</a:t>
            </a:r>
            <a:r>
              <a:rPr lang="en-US" dirty="0" smtClean="0"/>
              <a:t> (</a:t>
            </a:r>
            <a:r>
              <a:rPr lang="en-US" b="1" dirty="0" smtClean="0"/>
              <a:t>NB-IOT</a:t>
            </a:r>
            <a:r>
              <a:rPr lang="en-US" dirty="0" smtClean="0"/>
              <a:t>)</a:t>
            </a:r>
          </a:p>
          <a:p>
            <a:r>
              <a:rPr lang="en-US" dirty="0" smtClean="0"/>
              <a:t>3GPP Protocol   ----- Bandwidth ------- Maximum Data Rates </a:t>
            </a:r>
          </a:p>
          <a:p>
            <a:r>
              <a:rPr lang="en-US" dirty="0" smtClean="0"/>
              <a:t>LTE Category 1  ---- 20 MHz ----- 10 Mbps down, 5 Mbps up </a:t>
            </a:r>
          </a:p>
          <a:p>
            <a:r>
              <a:rPr lang="en-US" dirty="0" smtClean="0"/>
              <a:t>LTE Category 0 ----- 20 MHz ----- 1 Mbps down, 1 Mbps up </a:t>
            </a:r>
          </a:p>
          <a:p>
            <a:r>
              <a:rPr lang="en-US" dirty="0" smtClean="0"/>
              <a:t>LTE Category M1 ---- 1.4MHz ------ 200 kbps down, 200 kbps up* </a:t>
            </a:r>
          </a:p>
          <a:p>
            <a:r>
              <a:rPr lang="en-US" dirty="0" smtClean="0"/>
              <a:t>LTE Category M2 ----- 180 kHz ------ 40 kbps down, 55 kbps up*</a:t>
            </a:r>
          </a:p>
          <a:p>
            <a:endParaRPr lang="en-US" dirty="0" smtClean="0"/>
          </a:p>
          <a:p>
            <a:r>
              <a:rPr lang="en-US" b="1" dirty="0" smtClean="0"/>
              <a:t>Cisco’s Ultra (virtualized Mobile Core solutions) provides a complete, consolidated Evolved Packet Core (EPC) solution that runs on a single, virtual hardware instance for better performance, scalability, and cost. Ultra features fully-virtualized instances of each key Mobile Core function, including:</a:t>
            </a:r>
          </a:p>
          <a:p>
            <a:r>
              <a:rPr lang="en-US" b="1" dirty="0" smtClean="0"/>
              <a:t>- 3GPP-compliant Serving GRPS Support Node (SGSN) and Mobile Entity Management (MME) functions to support large-scale network services for 2G, 3G, 4G, LTE, and </a:t>
            </a:r>
            <a:r>
              <a:rPr lang="en-US" b="1" dirty="0" err="1" smtClean="0"/>
              <a:t>VoLTE</a:t>
            </a:r>
            <a:r>
              <a:rPr lang="en-US" b="1" dirty="0" smtClean="0"/>
              <a:t>;</a:t>
            </a:r>
          </a:p>
          <a:p>
            <a:r>
              <a:rPr lang="en-US" b="1" dirty="0" smtClean="0"/>
              <a:t>- 3GPP-compliant Gateway GPRS Support Node (GGSN), Serving Gateway (SGW), and PDN Gateway (PGW) functions with broad protocol support for external networks;</a:t>
            </a:r>
          </a:p>
          <a:p>
            <a:r>
              <a:rPr lang="en-US" b="1" dirty="0" smtClean="0">
                <a:solidFill>
                  <a:srgbClr val="FF0000"/>
                </a:solidFill>
              </a:rPr>
              <a:t>- 3GPP-compliant Combined</a:t>
            </a:r>
            <a:r>
              <a:rPr lang="en-US" b="1" baseline="0" dirty="0" smtClean="0">
                <a:solidFill>
                  <a:srgbClr val="FF0000"/>
                </a:solidFill>
              </a:rPr>
              <a:t> Serving Gateway </a:t>
            </a:r>
            <a:r>
              <a:rPr lang="en-US" b="1" dirty="0" smtClean="0">
                <a:solidFill>
                  <a:srgbClr val="FF0000"/>
                </a:solidFill>
              </a:rPr>
              <a:t>Node (CSGN), a simplified deployment combo of MME+SGW+PGW,</a:t>
            </a:r>
            <a:r>
              <a:rPr lang="en-US" b="1" baseline="0" dirty="0" smtClean="0">
                <a:solidFill>
                  <a:srgbClr val="FF0000"/>
                </a:solidFill>
              </a:rPr>
              <a:t> </a:t>
            </a:r>
            <a:r>
              <a:rPr lang="en-US" b="1" dirty="0" smtClean="0">
                <a:solidFill>
                  <a:srgbClr val="FF0000"/>
                </a:solidFill>
              </a:rPr>
              <a:t>which</a:t>
            </a:r>
            <a:r>
              <a:rPr lang="en-US" b="1" baseline="0" dirty="0" smtClean="0">
                <a:solidFill>
                  <a:srgbClr val="FF0000"/>
                </a:solidFill>
              </a:rPr>
              <a:t> supports both NB-</a:t>
            </a:r>
            <a:r>
              <a:rPr lang="en-US" b="1" baseline="0" dirty="0" err="1" smtClean="0">
                <a:solidFill>
                  <a:srgbClr val="FF0000"/>
                </a:solidFill>
              </a:rPr>
              <a:t>IoT</a:t>
            </a:r>
            <a:r>
              <a:rPr lang="en-US" b="1" baseline="0" dirty="0" smtClean="0">
                <a:solidFill>
                  <a:srgbClr val="FF0000"/>
                </a:solidFill>
              </a:rPr>
              <a:t> and </a:t>
            </a:r>
            <a:r>
              <a:rPr lang="en-US" b="1" baseline="0" dirty="0" err="1" smtClean="0">
                <a:solidFill>
                  <a:srgbClr val="FF0000"/>
                </a:solidFill>
              </a:rPr>
              <a:t>eMTC</a:t>
            </a:r>
            <a:r>
              <a:rPr lang="en-US" b="1" baseline="0" dirty="0" smtClean="0">
                <a:solidFill>
                  <a:srgbClr val="FF0000"/>
                </a:solidFill>
              </a:rPr>
              <a:t> devices and even LTE devices if required.</a:t>
            </a:r>
          </a:p>
          <a:p>
            <a:r>
              <a:rPr lang="en-US" b="1" dirty="0" smtClean="0"/>
              <a:t> </a:t>
            </a:r>
          </a:p>
          <a:p>
            <a:endParaRPr lang="en-US" dirty="0" smtClean="0"/>
          </a:p>
          <a:p>
            <a:r>
              <a:rPr lang="en-US" dirty="0" smtClean="0"/>
              <a:t>Service Workflow Orchestration that enables operators to create and launch customized multi-service offerings in days (and not months);</a:t>
            </a:r>
          </a:p>
          <a:p>
            <a:r>
              <a:rPr lang="en-US" dirty="0" err="1" smtClean="0"/>
              <a:t>WiFi</a:t>
            </a:r>
            <a:r>
              <a:rPr lang="en-US" dirty="0" smtClean="0"/>
              <a:t> Access: Evolved Packet Data Gateway (</a:t>
            </a:r>
            <a:r>
              <a:rPr lang="en-US" dirty="0" err="1" smtClean="0"/>
              <a:t>ePDG</a:t>
            </a:r>
            <a:r>
              <a:rPr lang="en-US" dirty="0" smtClean="0"/>
              <a:t>) and Trusted WLAN Access Point/Gateway (TWAP/TWAG) functions for secure access to trusted and </a:t>
            </a:r>
            <a:r>
              <a:rPr lang="en-US" dirty="0" err="1" smtClean="0"/>
              <a:t>untrusted</a:t>
            </a:r>
            <a:r>
              <a:rPr lang="en-US" dirty="0" smtClean="0"/>
              <a:t> </a:t>
            </a:r>
            <a:r>
              <a:rPr lang="en-US" dirty="0" err="1" smtClean="0"/>
              <a:t>WiFi</a:t>
            </a:r>
            <a:r>
              <a:rPr lang="en-US" dirty="0" smtClean="0"/>
              <a:t> networks, including support for </a:t>
            </a:r>
            <a:r>
              <a:rPr lang="en-US" dirty="0" err="1" smtClean="0"/>
              <a:t>WiFi</a:t>
            </a:r>
            <a:r>
              <a:rPr lang="en-US" dirty="0" smtClean="0"/>
              <a:t> calling services, and EPC to </a:t>
            </a:r>
            <a:r>
              <a:rPr lang="en-US" dirty="0" err="1" smtClean="0"/>
              <a:t>WiFi</a:t>
            </a:r>
            <a:r>
              <a:rPr lang="en-US" dirty="0" smtClean="0"/>
              <a:t> integration (also known as “Heterogeneous Networks” or “Het Nets”);</a:t>
            </a:r>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8</a:t>
            </a:fld>
            <a:endParaRPr lang="en-US"/>
          </a:p>
        </p:txBody>
      </p:sp>
    </p:spTree>
    <p:extLst>
      <p:ext uri="{BB962C8B-B14F-4D97-AF65-F5344CB8AC3E}">
        <p14:creationId xmlns:p14="http://schemas.microsoft.com/office/powerpoint/2010/main" val="17897890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latin typeface="Calibri"/>
              </a:rPr>
              <a:pPr/>
              <a:t>19</a:t>
            </a:fld>
            <a:endParaRPr lang="en-US">
              <a:solidFill>
                <a:prstClr val="black"/>
              </a:solidFill>
              <a:latin typeface="Calibri"/>
            </a:endParaRPr>
          </a:p>
        </p:txBody>
      </p:sp>
    </p:spTree>
    <p:extLst>
      <p:ext uri="{BB962C8B-B14F-4D97-AF65-F5344CB8AC3E}">
        <p14:creationId xmlns:p14="http://schemas.microsoft.com/office/powerpoint/2010/main" val="11577336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fontScale="70000" lnSpcReduction="20000"/>
          </a:bodyPr>
          <a:lstStyle/>
          <a:p>
            <a:pPr lvl="0"/>
            <a:r>
              <a:rPr lang="en-US" sz="1400" dirty="0" smtClean="0"/>
              <a:t>Cisco’s Ultra Service Platform is a fully virtualized, 5G-ready services core. It’s unique in several ways:</a:t>
            </a:r>
          </a:p>
          <a:p>
            <a:pPr lvl="0"/>
            <a:endParaRPr lang="en-US" sz="1400" dirty="0" smtClean="0"/>
          </a:p>
          <a:p>
            <a:r>
              <a:rPr lang="en-US" sz="1400" dirty="0" smtClean="0"/>
              <a:t>It simplifies and automates provisioning of services. We have taken our industry leading NSO solution and enhanced it so that building and managing a virtualized mobile network is simple. Our approach is a lifecycle approach. The system contains a database of recipes for different types of services. To deploy an additional MVNO, just take the MVNO recipe, make any required updates to customize it and then press deploy. The service deploys on NFVI, across the infrastructure in minutes.</a:t>
            </a:r>
            <a:br>
              <a:rPr lang="en-US" sz="1400" dirty="0" smtClean="0"/>
            </a:br>
            <a:r>
              <a:rPr lang="en-US" sz="1400" dirty="0" smtClean="0"/>
              <a:t/>
            </a:r>
            <a:br>
              <a:rPr lang="en-US" sz="1400" dirty="0" smtClean="0"/>
            </a:br>
            <a:r>
              <a:rPr lang="en-US" sz="1400" dirty="0" smtClean="0"/>
              <a:t>Creating a new service is almost equally simple as it can be composed from the templates from existing services, updated as required.</a:t>
            </a:r>
            <a:br>
              <a:rPr lang="en-US" sz="1400" dirty="0" smtClean="0"/>
            </a:br>
            <a:r>
              <a:rPr lang="en-US" sz="1400" dirty="0" smtClean="0"/>
              <a:t>However, simplifying service creation and deployment is only part of what it takes to make operating a virtual mobile network simple. Our system also has the test, reporting and analytical tools we have learnt mobile operators require.</a:t>
            </a:r>
          </a:p>
          <a:p>
            <a:pPr lvl="0"/>
            <a:endParaRPr lang="en-US" sz="1400" dirty="0" smtClean="0"/>
          </a:p>
          <a:p>
            <a:pPr lvl="0"/>
            <a:r>
              <a:rPr lang="en-US" sz="1400" dirty="0" smtClean="0"/>
              <a:t>Ultra also provides end-to-end network slicing which is a requirement of 5G. </a:t>
            </a:r>
            <a:r>
              <a:rPr lang="en-GB" sz="1400" dirty="0" smtClean="0"/>
              <a:t>Leveraging the powerful provisioning and management capabilities, service providers can deploy new turnkey services in minutes including MVNO, </a:t>
            </a:r>
            <a:r>
              <a:rPr lang="en-GB" sz="1400" dirty="0" err="1" smtClean="0"/>
              <a:t>IoT</a:t>
            </a:r>
            <a:r>
              <a:rPr lang="en-GB" sz="1400" dirty="0" smtClean="0"/>
              <a:t>/Connected Car, Enterprise/Premium Mobile Broadband, and more. These slices can be customized at t</a:t>
            </a:r>
            <a:r>
              <a:rPr lang="en-US" sz="1400" dirty="0" smtClean="0"/>
              <a:t>he business, customer, region, or application level. Secure, highly reliable dedicated mobile connectivity that can support their specialized apps (e.g. telematics, meter reading, monitors, vehicle management)</a:t>
            </a:r>
          </a:p>
          <a:p>
            <a:pPr lvl="0"/>
            <a:r>
              <a:rPr lang="en-US" sz="1400" dirty="0" smtClean="0"/>
              <a:t/>
            </a:r>
            <a:br>
              <a:rPr lang="en-US" sz="1400" dirty="0" smtClean="0"/>
            </a:br>
            <a:endParaRPr lang="en-US" sz="1400" dirty="0" smtClean="0"/>
          </a:p>
          <a:p>
            <a:r>
              <a:rPr lang="en-US" sz="1400" dirty="0" smtClean="0"/>
              <a:t>We also have a unique distributed architecture which separates the user plane from the control plane using SDN. This allows the user plane services such as video to be deployed at the edge of the network while the control capabilities is maintained in the core. This allows traffic to go directly to the Internet without costly backhaul. The reduction in backhaul leads to an </a:t>
            </a:r>
            <a:r>
              <a:rPr lang="en-US" sz="1400" dirty="0" err="1" smtClean="0"/>
              <a:t>OpEx</a:t>
            </a:r>
            <a:r>
              <a:rPr lang="en-US" sz="1400" dirty="0" smtClean="0"/>
              <a:t> savings of us to 35%.</a:t>
            </a:r>
          </a:p>
          <a:p>
            <a:endParaRPr lang="en-US" dirty="0"/>
          </a:p>
        </p:txBody>
      </p:sp>
      <p:sp>
        <p:nvSpPr>
          <p:cNvPr id="4" name="Slide Number Placeholder 3"/>
          <p:cNvSpPr>
            <a:spLocks noGrp="1"/>
          </p:cNvSpPr>
          <p:nvPr>
            <p:ph type="sldNum" sz="quarter" idx="10"/>
          </p:nvPr>
        </p:nvSpPr>
        <p:spPr/>
        <p:txBody>
          <a:bodyPr/>
          <a:lstStyle/>
          <a:p>
            <a:fld id="{E8438005-C9FE-421C-B26E-39E46AD95281}" type="slidenum">
              <a:rPr lang="en-US" smtClean="0"/>
              <a:pPr/>
              <a:t>20</a:t>
            </a:fld>
            <a:endParaRPr lang="en-US"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1636791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1</a:t>
            </a:fld>
            <a:endParaRPr lang="en-US"/>
          </a:p>
        </p:txBody>
      </p:sp>
    </p:spTree>
    <p:extLst>
      <p:ext uri="{BB962C8B-B14F-4D97-AF65-F5344CB8AC3E}">
        <p14:creationId xmlns:p14="http://schemas.microsoft.com/office/powerpoint/2010/main" val="18495689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038" indent="-173038">
              <a:lnSpc>
                <a:spcPct val="85000"/>
              </a:lnSpc>
              <a:spcBef>
                <a:spcPts val="600"/>
              </a:spcBef>
              <a:buFont typeface="Wingdings" panose="05000000000000000000" pitchFamily="2" charset="2"/>
              <a:buChar char="§"/>
            </a:pPr>
            <a:r>
              <a:rPr lang="en-US" sz="1000" dirty="0" smtClean="0">
                <a:solidFill>
                  <a:srgbClr val="FFFFFF"/>
                </a:solidFill>
              </a:rPr>
              <a:t>Health Insurance / Corporate Wellness program benefits</a:t>
            </a:r>
          </a:p>
          <a:p>
            <a:pPr marL="173038" indent="-173038">
              <a:lnSpc>
                <a:spcPct val="85000"/>
              </a:lnSpc>
              <a:spcBef>
                <a:spcPts val="600"/>
              </a:spcBef>
              <a:buFont typeface="Wingdings" panose="05000000000000000000" pitchFamily="2" charset="2"/>
              <a:buChar char="§"/>
            </a:pPr>
            <a:r>
              <a:rPr lang="en-US" sz="1000" dirty="0" smtClean="0"/>
              <a:t>Personalize our world – “You Are What You Do” </a:t>
            </a:r>
          </a:p>
          <a:p>
            <a:pPr marL="173038" indent="-173038">
              <a:lnSpc>
                <a:spcPct val="85000"/>
              </a:lnSpc>
              <a:spcBef>
                <a:spcPts val="600"/>
              </a:spcBef>
              <a:buFont typeface="Wingdings" panose="05000000000000000000" pitchFamily="2" charset="2"/>
              <a:buChar char="§"/>
            </a:pPr>
            <a:r>
              <a:rPr lang="en-US" sz="1000" dirty="0" smtClean="0">
                <a:solidFill>
                  <a:srgbClr val="FFFFFF"/>
                </a:solidFill>
              </a:rPr>
              <a:t>Retailers can message calorie meal specials based upon activity</a:t>
            </a:r>
          </a:p>
          <a:p>
            <a:pPr marL="173038" indent="-173038">
              <a:lnSpc>
                <a:spcPct val="85000"/>
              </a:lnSpc>
              <a:spcBef>
                <a:spcPts val="600"/>
              </a:spcBef>
              <a:buFont typeface="Wingdings" panose="05000000000000000000" pitchFamily="2" charset="2"/>
              <a:buChar char="§"/>
            </a:pPr>
            <a:r>
              <a:rPr lang="en-US" sz="1000" dirty="0" smtClean="0">
                <a:solidFill>
                  <a:srgbClr val="FFFFFF"/>
                </a:solidFill>
              </a:rPr>
              <a:t>Social Media monetization </a:t>
            </a:r>
            <a:r>
              <a:rPr lang="mr-IN" sz="1000" dirty="0" smtClean="0">
                <a:solidFill>
                  <a:srgbClr val="FFFFFF"/>
                </a:solidFill>
              </a:rPr>
              <a:t>–</a:t>
            </a:r>
            <a:r>
              <a:rPr lang="en-US" sz="1000" dirty="0" smtClean="0">
                <a:solidFill>
                  <a:srgbClr val="FFFFFF"/>
                </a:solidFill>
              </a:rPr>
              <a:t> location, habits, calorie / weight</a:t>
            </a: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4</a:t>
            </a:fld>
            <a:endParaRPr lang="en-US"/>
          </a:p>
        </p:txBody>
      </p:sp>
    </p:spTree>
    <p:extLst>
      <p:ext uri="{BB962C8B-B14F-4D97-AF65-F5344CB8AC3E}">
        <p14:creationId xmlns:p14="http://schemas.microsoft.com/office/powerpoint/2010/main" val="9748355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3038" indent="-173038">
              <a:lnSpc>
                <a:spcPct val="85000"/>
              </a:lnSpc>
              <a:spcBef>
                <a:spcPts val="600"/>
              </a:spcBef>
              <a:buFont typeface="Wingdings" panose="05000000000000000000" pitchFamily="2" charset="2"/>
              <a:buChar char="§"/>
            </a:pPr>
            <a:r>
              <a:rPr lang="en-US" sz="1000" dirty="0" smtClean="0">
                <a:solidFill>
                  <a:srgbClr val="FFFFFF"/>
                </a:solidFill>
              </a:rPr>
              <a:t>Health Insurance / Corporate Wellness program benefits</a:t>
            </a:r>
          </a:p>
          <a:p>
            <a:pPr marL="173038" indent="-173038">
              <a:lnSpc>
                <a:spcPct val="85000"/>
              </a:lnSpc>
              <a:spcBef>
                <a:spcPts val="600"/>
              </a:spcBef>
              <a:buFont typeface="Wingdings" panose="05000000000000000000" pitchFamily="2" charset="2"/>
              <a:buChar char="§"/>
            </a:pPr>
            <a:r>
              <a:rPr lang="en-US" sz="1000" dirty="0" smtClean="0"/>
              <a:t>Personalize our world – “You Are What You Do” </a:t>
            </a:r>
          </a:p>
          <a:p>
            <a:pPr marL="173038" indent="-173038">
              <a:lnSpc>
                <a:spcPct val="85000"/>
              </a:lnSpc>
              <a:spcBef>
                <a:spcPts val="600"/>
              </a:spcBef>
              <a:buFont typeface="Wingdings" panose="05000000000000000000" pitchFamily="2" charset="2"/>
              <a:buChar char="§"/>
            </a:pPr>
            <a:r>
              <a:rPr lang="en-US" sz="1000" dirty="0" smtClean="0">
                <a:solidFill>
                  <a:srgbClr val="FFFFFF"/>
                </a:solidFill>
              </a:rPr>
              <a:t>Retailers can message calorie meal specials based upon activity</a:t>
            </a:r>
          </a:p>
          <a:p>
            <a:pPr marL="173038" indent="-173038">
              <a:lnSpc>
                <a:spcPct val="85000"/>
              </a:lnSpc>
              <a:spcBef>
                <a:spcPts val="600"/>
              </a:spcBef>
              <a:buFont typeface="Wingdings" panose="05000000000000000000" pitchFamily="2" charset="2"/>
              <a:buChar char="§"/>
            </a:pPr>
            <a:r>
              <a:rPr lang="en-US" sz="1000" dirty="0" smtClean="0">
                <a:solidFill>
                  <a:srgbClr val="FFFFFF"/>
                </a:solidFill>
              </a:rPr>
              <a:t>Social Media monetization </a:t>
            </a:r>
            <a:r>
              <a:rPr lang="mr-IN" sz="1000" dirty="0" smtClean="0">
                <a:solidFill>
                  <a:srgbClr val="FFFFFF"/>
                </a:solidFill>
              </a:rPr>
              <a:t>–</a:t>
            </a:r>
            <a:r>
              <a:rPr lang="en-US" sz="1000" dirty="0" smtClean="0">
                <a:solidFill>
                  <a:srgbClr val="FFFFFF"/>
                </a:solidFill>
              </a:rPr>
              <a:t> location, habits, calorie / weight</a:t>
            </a: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5</a:t>
            </a:fld>
            <a:endParaRPr lang="en-US"/>
          </a:p>
        </p:txBody>
      </p:sp>
    </p:spTree>
    <p:extLst>
      <p:ext uri="{BB962C8B-B14F-4D97-AF65-F5344CB8AC3E}">
        <p14:creationId xmlns:p14="http://schemas.microsoft.com/office/powerpoint/2010/main" val="618546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047" rtl="0" eaLnBrk="0" fontAlgn="base" latinLnBrk="0" hangingPunct="0">
              <a:lnSpc>
                <a:spcPct val="100000"/>
              </a:lnSpc>
              <a:spcBef>
                <a:spcPct val="30000"/>
              </a:spcBef>
              <a:spcAft>
                <a:spcPct val="0"/>
              </a:spcAft>
              <a:buClrTx/>
              <a:buSzTx/>
              <a:buFontTx/>
              <a:buNone/>
              <a:tabLst/>
              <a:defRPr/>
            </a:pPr>
            <a:r>
              <a:rPr lang="en-US" sz="1000" dirty="0" smtClean="0"/>
              <a:t>By 2020, </a:t>
            </a:r>
            <a:r>
              <a:rPr lang="en-US" sz="1000" dirty="0" err="1" smtClean="0"/>
              <a:t>IoT</a:t>
            </a:r>
            <a:r>
              <a:rPr lang="en-US" sz="1000" dirty="0" smtClean="0"/>
              <a:t>/M2M modules will be </a:t>
            </a:r>
            <a:r>
              <a:rPr lang="en-US" sz="1000" b="1" dirty="0" smtClean="0">
                <a:solidFill>
                  <a:schemeClr val="accent5"/>
                </a:solidFill>
              </a:rPr>
              <a:t>46%</a:t>
            </a:r>
            <a:r>
              <a:rPr lang="en-US" sz="1000" dirty="0" smtClean="0"/>
              <a:t> (12.2 billion) of total global devices and connections and will account for </a:t>
            </a:r>
            <a:r>
              <a:rPr lang="en-US" sz="1000" b="1" dirty="0" smtClean="0">
                <a:solidFill>
                  <a:schemeClr val="accent5"/>
                </a:solidFill>
              </a:rPr>
              <a:t>3%</a:t>
            </a:r>
            <a:r>
              <a:rPr lang="en-US" sz="1000" i="1" dirty="0" smtClean="0"/>
              <a:t> </a:t>
            </a:r>
            <a:r>
              <a:rPr lang="en-US" sz="1000" dirty="0" smtClean="0"/>
              <a:t>(6.2 EBs/month) of total global IP traffic.</a:t>
            </a:r>
          </a:p>
          <a:p>
            <a:endParaRPr lang="en-US" sz="1000" b="1" kern="1200" dirty="0" smtClean="0">
              <a:solidFill>
                <a:schemeClr val="tx1"/>
              </a:solidFill>
              <a:effectLst/>
              <a:latin typeface="Arial" pitchFamily="34" charset="0"/>
              <a:ea typeface="ＭＳ Ｐゴシック" charset="0"/>
              <a:cs typeface="ＭＳ Ｐゴシック" charset="0"/>
            </a:endParaRPr>
          </a:p>
          <a:p>
            <a:endParaRPr lang="en-US" sz="1000" b="1" kern="1200" dirty="0" smtClean="0">
              <a:solidFill>
                <a:schemeClr val="tx1"/>
              </a:solidFill>
              <a:effectLst/>
              <a:latin typeface="Arial" pitchFamily="34" charset="0"/>
              <a:ea typeface="ＭＳ Ｐゴシック" charset="0"/>
              <a:cs typeface="ＭＳ Ｐゴシック" charset="0"/>
            </a:endParaRPr>
          </a:p>
          <a:p>
            <a:r>
              <a:rPr lang="en-US" sz="1000" b="1" kern="1200" dirty="0" smtClean="0">
                <a:solidFill>
                  <a:schemeClr val="tx1"/>
                </a:solidFill>
                <a:effectLst/>
                <a:latin typeface="Arial" pitchFamily="34" charset="0"/>
                <a:ea typeface="ＭＳ Ｐゴシック" charset="0"/>
                <a:cs typeface="ＭＳ Ｐゴシック" charset="0"/>
              </a:rPr>
              <a:t>M2Ms</a:t>
            </a:r>
            <a:r>
              <a:rPr lang="en-US" sz="1000" b="0" kern="1200" baseline="0" dirty="0" smtClean="0">
                <a:solidFill>
                  <a:schemeClr val="tx1"/>
                </a:solidFill>
                <a:effectLst/>
                <a:latin typeface="Arial" pitchFamily="34" charset="0"/>
                <a:ea typeface="ＭＳ Ｐゴシック" charset="0"/>
                <a:cs typeface="ＭＳ Ｐゴシック" charset="0"/>
              </a:rPr>
              <a:t> will grow at 20% CAGR to 12.2 billion connections by 2020. </a:t>
            </a:r>
          </a:p>
          <a:p>
            <a:r>
              <a:rPr lang="en-US" sz="1000" b="0" kern="1200" baseline="0" dirty="0" smtClean="0">
                <a:solidFill>
                  <a:schemeClr val="tx1"/>
                </a:solidFill>
                <a:effectLst/>
                <a:latin typeface="Arial" pitchFamily="34" charset="0"/>
                <a:ea typeface="ＭＳ Ｐゴシック" charset="0"/>
                <a:cs typeface="Arial" pitchFamily="34" charset="0"/>
              </a:rPr>
              <a:t>APAC will have 43% of total M2M by 2020, NA will have 22%, WE : 18%, CEE: 7%, LATAM: 5%, MEA: 4%</a:t>
            </a:r>
          </a:p>
          <a:p>
            <a:endParaRPr lang="en-US" sz="1000" b="0" kern="1200" baseline="0" dirty="0" smtClean="0">
              <a:solidFill>
                <a:schemeClr val="tx1"/>
              </a:solidFill>
              <a:effectLst/>
              <a:latin typeface="Arial" pitchFamily="34" charset="0"/>
              <a:ea typeface="ＭＳ Ｐゴシック" charset="0"/>
              <a:cs typeface="Arial" pitchFamily="34" charset="0"/>
            </a:endParaRPr>
          </a:p>
          <a:p>
            <a:r>
              <a:rPr lang="en-US" sz="1000" b="0" kern="1200" baseline="0" dirty="0" smtClean="0">
                <a:solidFill>
                  <a:schemeClr val="tx1"/>
                </a:solidFill>
                <a:effectLst/>
                <a:latin typeface="Arial" pitchFamily="34" charset="0"/>
                <a:ea typeface="ＭＳ Ｐゴシック" charset="0"/>
                <a:cs typeface="Arial" pitchFamily="34" charset="0"/>
              </a:rPr>
              <a:t>MEA growing the fastest followed by NA</a:t>
            </a: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3</a:t>
            </a:fld>
            <a:endParaRPr lang="en-US"/>
          </a:p>
        </p:txBody>
      </p:sp>
    </p:spTree>
    <p:extLst>
      <p:ext uri="{BB962C8B-B14F-4D97-AF65-F5344CB8AC3E}">
        <p14:creationId xmlns:p14="http://schemas.microsoft.com/office/powerpoint/2010/main" val="3709623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26</a:t>
            </a:fld>
            <a:endParaRPr lang="en-US" dirty="0"/>
          </a:p>
        </p:txBody>
      </p:sp>
    </p:spTree>
    <p:extLst>
      <p:ext uri="{BB962C8B-B14F-4D97-AF65-F5344CB8AC3E}">
        <p14:creationId xmlns:p14="http://schemas.microsoft.com/office/powerpoint/2010/main" val="21034934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7</a:t>
            </a:fld>
            <a:endParaRPr lang="en-US"/>
          </a:p>
        </p:txBody>
      </p:sp>
    </p:spTree>
    <p:extLst>
      <p:ext uri="{BB962C8B-B14F-4D97-AF65-F5344CB8AC3E}">
        <p14:creationId xmlns:p14="http://schemas.microsoft.com/office/powerpoint/2010/main" val="5015523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8</a:t>
            </a:fld>
            <a:endParaRPr lang="en-US"/>
          </a:p>
        </p:txBody>
      </p:sp>
    </p:spTree>
    <p:extLst>
      <p:ext uri="{BB962C8B-B14F-4D97-AF65-F5344CB8AC3E}">
        <p14:creationId xmlns:p14="http://schemas.microsoft.com/office/powerpoint/2010/main" val="832714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9</a:t>
            </a:fld>
            <a:endParaRPr lang="en-US"/>
          </a:p>
        </p:txBody>
      </p:sp>
    </p:spTree>
    <p:extLst>
      <p:ext uri="{BB962C8B-B14F-4D97-AF65-F5344CB8AC3E}">
        <p14:creationId xmlns:p14="http://schemas.microsoft.com/office/powerpoint/2010/main" val="14324116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30</a:t>
            </a:fld>
            <a:endParaRPr lang="en-US"/>
          </a:p>
        </p:txBody>
      </p:sp>
    </p:spTree>
    <p:extLst>
      <p:ext uri="{BB962C8B-B14F-4D97-AF65-F5344CB8AC3E}">
        <p14:creationId xmlns:p14="http://schemas.microsoft.com/office/powerpoint/2010/main" val="31781716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B3BCFD-7A4E-4D8C-8868-AB46654BA6C1}" type="slidenum">
              <a:rPr lang="en-US" smtClean="0"/>
              <a:pPr/>
              <a:t>31</a:t>
            </a:fld>
            <a:endParaRPr lang="en-US" dirty="0"/>
          </a:p>
        </p:txBody>
      </p:sp>
    </p:spTree>
    <p:extLst>
      <p:ext uri="{BB962C8B-B14F-4D97-AF65-F5344CB8AC3E}">
        <p14:creationId xmlns:p14="http://schemas.microsoft.com/office/powerpoint/2010/main" val="810134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gitization or</a:t>
            </a:r>
            <a:r>
              <a:rPr lang="en-US" baseline="0" dirty="0" smtClean="0"/>
              <a:t> the digital business transformation is leading the path for several market dynamics: cloud, IoT, and 5G</a:t>
            </a:r>
          </a:p>
          <a:p>
            <a:pPr marL="171450" indent="-171450">
              <a:buFont typeface="Arial" panose="020B0604020202020204" pitchFamily="34" charset="0"/>
              <a:buChar char="•"/>
            </a:pPr>
            <a:r>
              <a:rPr lang="en-US" baseline="0" dirty="0" smtClean="0"/>
              <a:t>First more applications and workloads will move to the cloud due to the scale and economic benefits. This will result in a 4 times increase in global cloud traffic through 2020, Cisco GCI</a:t>
            </a:r>
          </a:p>
          <a:p>
            <a:pPr marL="171450" indent="-171450">
              <a:buFont typeface="Arial" panose="020B0604020202020204" pitchFamily="34" charset="0"/>
              <a:buChar char="•"/>
            </a:pPr>
            <a:r>
              <a:rPr lang="en-US" baseline="0" dirty="0" smtClean="0"/>
              <a:t>There will be more IoT. As data, people, processes, and devices become increasingly connected, through 2020 nearly half of total connected devices will be machine-2-machine (M2M). Cisco VNI</a:t>
            </a:r>
          </a:p>
          <a:p>
            <a:pPr marL="171450" indent="-171450">
              <a:buFont typeface="Arial" panose="020B0604020202020204" pitchFamily="34" charset="0"/>
              <a:buChar char="•"/>
            </a:pPr>
            <a:r>
              <a:rPr lang="en-US" baseline="0" dirty="0" smtClean="0"/>
              <a:t>Video is already the majority of fixed and mobile traffic. This will continue to drive global mobile traffic to the tune of 8 times over the next four years. And as the transition to 5G occurs, video will be one of the primary beneficiaries with faster speed and improved quality. Cisco Mobile VNI</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The blending of these dynamics leads to a $2 trillion economic opportunity for service providers over the next decade through new services and operational savings (Cisco Consulting Services). But there are more transitions at bay…</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a:t>
            </a:fld>
            <a:endParaRPr lang="en-US" dirty="0"/>
          </a:p>
        </p:txBody>
      </p:sp>
    </p:spTree>
    <p:extLst>
      <p:ext uri="{BB962C8B-B14F-4D97-AF65-F5344CB8AC3E}">
        <p14:creationId xmlns:p14="http://schemas.microsoft.com/office/powerpoint/2010/main" val="14019955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day’s market share of Enterprise business is small compared to consumer.</a:t>
            </a:r>
          </a:p>
          <a:p>
            <a:r>
              <a:rPr lang="en-US" dirty="0" smtClean="0"/>
              <a:t>Industry</a:t>
            </a:r>
            <a:r>
              <a:rPr lang="en-US" baseline="0" dirty="0" smtClean="0"/>
              <a:t> studies and our conversations with several service providers indicate that by year 2020 this the proportion of Enterprise originated business will grow significantly.</a:t>
            </a:r>
          </a:p>
          <a:p>
            <a:r>
              <a:rPr lang="en-US" baseline="0" dirty="0" smtClean="0"/>
              <a:t>And while it will still be far less of a share than consumer, the profit margins are expected to be much better.</a:t>
            </a:r>
          </a:p>
          <a:p>
            <a:r>
              <a:rPr lang="en-US" baseline="0" dirty="0" smtClean="0"/>
              <a:t>Why? Because many Enterprise services will be customized and complex – there are profits in complexity.</a:t>
            </a:r>
            <a:endParaRPr lang="en-US" dirty="0" smtClean="0"/>
          </a:p>
        </p:txBody>
      </p:sp>
      <p:sp>
        <p:nvSpPr>
          <p:cNvPr id="4" name="Slide Number Placeholder 3"/>
          <p:cNvSpPr>
            <a:spLocks noGrp="1"/>
          </p:cNvSpPr>
          <p:nvPr>
            <p:ph type="sldNum" sz="quarter" idx="10"/>
          </p:nvPr>
        </p:nvSpPr>
        <p:spPr/>
        <p:txBody>
          <a:bodyPr/>
          <a:lstStyle/>
          <a:p>
            <a:fld id="{7AEDB9C3-C910-BF42-A888-0DD6C1E2A432}"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707553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Slide Image Placeholder 1"/>
          <p:cNvSpPr>
            <a:spLocks noGrp="1" noRot="1" noChangeAspect="1" noTextEdi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64514" name="Notes Placeholder 2"/>
          <p:cNvSpPr>
            <a:spLocks noGrp="1"/>
          </p:cNvSpPr>
          <p:nvPr>
            <p:ph type="body" idx="1"/>
          </p:nvPr>
        </p:nvSpPr>
        <p:spPr bwMode="auto">
          <a:noFill/>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p>
        </p:txBody>
      </p:sp>
      <p:sp>
        <p:nvSpPr>
          <p:cNvPr id="64515"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fld id="{07A92C9F-2493-EB4B-8737-3D15058339EC}" type="slidenum">
              <a:rPr lang="en-US" sz="1200">
                <a:latin typeface="Arial" pitchFamily="34" charset="0"/>
                <a:cs typeface="Arial" pitchFamily="34" charset="0"/>
              </a:rPr>
              <a:pPr eaLnBrk="1" fontAlgn="base" hangingPunct="1">
                <a:spcBef>
                  <a:spcPct val="0"/>
                </a:spcBef>
                <a:spcAft>
                  <a:spcPct val="0"/>
                </a:spcAft>
              </a:pPr>
              <a:t>6</a:t>
            </a:fld>
            <a:endParaRPr lang="en-US" sz="1200">
              <a:latin typeface="Arial" pitchFamily="34" charset="0"/>
              <a:cs typeface="Arial" pitchFamily="34" charset="0"/>
            </a:endParaRPr>
          </a:p>
        </p:txBody>
      </p:sp>
    </p:spTree>
    <p:extLst>
      <p:ext uri="{BB962C8B-B14F-4D97-AF65-F5344CB8AC3E}">
        <p14:creationId xmlns:p14="http://schemas.microsoft.com/office/powerpoint/2010/main" val="33564418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4G M2M connections will gain the highest share (46% of all M2M connections by 2021), 31% of all global devices and connections will be LPWA capable by 2021, 3G will be 16% of total M2M and</a:t>
            </a:r>
            <a:r>
              <a:rPr lang="en-US" baseline="0" dirty="0" smtClean="0"/>
              <a:t> 2G will be 6%</a:t>
            </a:r>
            <a:r>
              <a:rPr lang="en-US" dirty="0" smtClean="0"/>
              <a:t>. The global 4G M2M</a:t>
            </a:r>
            <a:r>
              <a:rPr lang="en-US" baseline="0" dirty="0" smtClean="0"/>
              <a:t> </a:t>
            </a:r>
            <a:r>
              <a:rPr lang="en-US" dirty="0" smtClean="0"/>
              <a:t>connections will grow from 182 million in </a:t>
            </a:r>
            <a:r>
              <a:rPr lang="is-IS" dirty="0" smtClean="0"/>
              <a:t>2016</a:t>
            </a:r>
            <a:r>
              <a:rPr lang="en-US" dirty="0" smtClean="0"/>
              <a:t> to over 1.5 billion in 2021 at a CAGR of 53 percent. The global LPWA</a:t>
            </a:r>
            <a:r>
              <a:rPr lang="en-US" baseline="0" dirty="0" smtClean="0"/>
              <a:t> </a:t>
            </a:r>
            <a:r>
              <a:rPr lang="en-US" dirty="0" smtClean="0"/>
              <a:t>connections will grow from 58 million in </a:t>
            </a:r>
            <a:r>
              <a:rPr lang="is-IS" dirty="0" smtClean="0"/>
              <a:t>2016</a:t>
            </a:r>
            <a:r>
              <a:rPr lang="en-US" dirty="0" smtClean="0"/>
              <a:t> to over 1 Billion in 2021 at a CAGR of 78 percent. </a:t>
            </a:r>
            <a:endParaRPr lang="en-US" dirty="0" smtClean="0">
              <a:solidFill>
                <a:srgbClr val="FF0000"/>
              </a:solidFill>
              <a:latin typeface="Arial" pitchFamily="34" charset="0"/>
            </a:endParaRP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7</a:t>
            </a:fld>
            <a:endParaRPr lang="en-US"/>
          </a:p>
        </p:txBody>
      </p:sp>
    </p:spTree>
    <p:extLst>
      <p:ext uri="{BB962C8B-B14F-4D97-AF65-F5344CB8AC3E}">
        <p14:creationId xmlns:p14="http://schemas.microsoft.com/office/powerpoint/2010/main" val="3056787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800D8D-536F-BA4E-976E-0A885DBAEA1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733059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Slide Image Placeholder 1"/>
          <p:cNvSpPr>
            <a:spLocks noGrp="1" noRot="1" noChangeAspect="1"/>
          </p:cNvSpPr>
          <p:nvPr>
            <p:ph type="sldImg"/>
          </p:nvPr>
        </p:nvSpPr>
        <p:spPr>
          <a:ln/>
        </p:spPr>
      </p:sp>
      <p:sp>
        <p:nvSpPr>
          <p:cNvPr id="69634"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defTabSz="457200"/>
            <a:r>
              <a:rPr lang="en-US">
                <a:latin typeface="Arial" charset="0"/>
              </a:rPr>
              <a:t>With information for the Technical Decision Maker in mind  – topics to be covered</a:t>
            </a:r>
          </a:p>
          <a:p>
            <a:pPr defTabSz="457200"/>
            <a:r>
              <a:rPr lang="en-US">
                <a:latin typeface="Arial" charset="0"/>
              </a:rPr>
              <a:t>Opportunity – provide examples </a:t>
            </a:r>
          </a:p>
          <a:p>
            <a:pPr defTabSz="457200"/>
            <a:r>
              <a:rPr lang="en-US">
                <a:latin typeface="Arial" charset="0"/>
              </a:rPr>
              <a:t>Definition – Total Adjustable Market, the market you are trying to penetrate</a:t>
            </a:r>
          </a:p>
          <a:p>
            <a:pPr defTabSz="457200"/>
            <a:endParaRPr lang="en-US">
              <a:latin typeface="Arial" charset="0"/>
            </a:endParaRPr>
          </a:p>
        </p:txBody>
      </p:sp>
      <p:sp>
        <p:nvSpPr>
          <p:cNvPr id="4" name="Slide Number Placeholder 3"/>
          <p:cNvSpPr>
            <a:spLocks noGrp="1"/>
          </p:cNvSpPr>
          <p:nvPr>
            <p:ph type="sldNum" sz="quarter" idx="5"/>
          </p:nvPr>
        </p:nvSpPr>
        <p:spPr/>
        <p:txBody>
          <a:bodyPr/>
          <a:lstStyle/>
          <a:p>
            <a:pPr>
              <a:defRPr/>
            </a:pPr>
            <a:fld id="{3EA71F07-F4FD-5C4C-A4FD-2C6043092A7C}" type="slidenum">
              <a:rPr lang="en-US" smtClean="0"/>
              <a:pPr>
                <a:defRPr/>
              </a:pPr>
              <a:t>9</a:t>
            </a:fld>
            <a:endParaRPr lang="en-US" dirty="0"/>
          </a:p>
        </p:txBody>
      </p:sp>
    </p:spTree>
    <p:extLst>
      <p:ext uri="{BB962C8B-B14F-4D97-AF65-F5344CB8AC3E}">
        <p14:creationId xmlns:p14="http://schemas.microsoft.com/office/powerpoint/2010/main" val="1565069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3</a:t>
            </a:fld>
            <a:endParaRPr lang="en-US"/>
          </a:p>
        </p:txBody>
      </p:sp>
    </p:spTree>
    <p:extLst>
      <p:ext uri="{BB962C8B-B14F-4D97-AF65-F5344CB8AC3E}">
        <p14:creationId xmlns:p14="http://schemas.microsoft.com/office/powerpoint/2010/main" val="27935588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8" name="Picture 2" descr="Y:\Production\Cisco Projects\C97 Presentation (PPT-PDF)\C97-738596-00\Support Files\BG.png"/>
          <p:cNvPicPr>
            <a:picLocks noChangeAspect="1" noChangeArrowheads="1"/>
          </p:cNvPicPr>
          <p:nvPr userDrawn="1"/>
        </p:nvPicPr>
        <p:blipFill>
          <a:blip r:embed="rId2"/>
          <a:srcRect/>
          <a:stretch>
            <a:fillRect/>
          </a:stretch>
        </p:blipFill>
        <p:spPr bwMode="auto">
          <a:xfrm>
            <a:off x="0" y="-4763"/>
            <a:ext cx="9144000" cy="5148263"/>
          </a:xfrm>
          <a:prstGeom prst="rect">
            <a:avLst/>
          </a:prstGeom>
          <a:noFill/>
        </p:spPr>
      </p:pic>
      <p:pic>
        <p:nvPicPr>
          <p:cNvPr id="7"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smtClean="0"/>
              <a:t>Click to edit Master title style</a:t>
            </a:r>
            <a:endParaRPr lang="en-US" dirty="0"/>
          </a:p>
        </p:txBody>
      </p:sp>
      <p:sp>
        <p:nvSpPr>
          <p:cNvPr id="22" name="Text Placeholder 38"/>
          <p:cNvSpPr>
            <a:spLocks noGrp="1"/>
          </p:cNvSpPr>
          <p:nvPr>
            <p:ph type="body" sz="quarter" idx="14" hasCustomPrompt="1"/>
          </p:nvPr>
        </p:nvSpPr>
        <p:spPr>
          <a:xfrm>
            <a:off x="469496" y="3793198"/>
            <a:ext cx="8296421" cy="288131"/>
          </a:xfrm>
          <a:prstGeom prst="rect">
            <a:avLst/>
          </a:prstGeom>
        </p:spPr>
        <p:txBody>
          <a:bodyPr lIns="91420" tIns="45710" rIns="91420" bIns="45710"/>
          <a:lstStyle>
            <a:lvl1pPr marL="0" marR="0" indent="0" algn="l" defTabSz="684213" rtl="0" eaLnBrk="1" fontAlgn="base" latinLnBrk="0" hangingPunct="1">
              <a:lnSpc>
                <a:spcPct val="95000"/>
              </a:lnSpc>
              <a:spcBef>
                <a:spcPts val="1075"/>
              </a:spcBef>
              <a:spcAft>
                <a:spcPct val="0"/>
              </a:spcAft>
              <a:buClr>
                <a:schemeClr val="tx2"/>
              </a:buClr>
              <a:buSzPct val="90000"/>
              <a:buFont typeface="Arial" charset="0"/>
              <a:buNone/>
              <a:tabLst/>
              <a:defRPr lang="en-US" sz="1400" b="0" i="0" kern="120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marL="0" marR="0" lvl="0" indent="0" algn="l" defTabSz="684213" rtl="0" eaLnBrk="1" fontAlgn="base" latinLnBrk="0" hangingPunct="1">
              <a:lnSpc>
                <a:spcPct val="95000"/>
              </a:lnSpc>
              <a:spcBef>
                <a:spcPts val="1075"/>
              </a:spcBef>
              <a:spcAft>
                <a:spcPct val="0"/>
              </a:spcAft>
              <a:buClr>
                <a:schemeClr val="tx2"/>
              </a:buClr>
              <a:buSzPct val="90000"/>
              <a:buFont typeface="Arial" charset="0"/>
              <a:buNone/>
              <a:tabLst/>
              <a:defRPr/>
            </a:pPr>
            <a:r>
              <a:rPr kumimoji="0" lang="en-GB" sz="1400" b="0" i="0" u="none" strike="noStrike" kern="1200" cap="none" spc="0" normalizeH="0" baseline="0" noProof="0" dirty="0" smtClean="0">
                <a:ln>
                  <a:noFill/>
                </a:ln>
                <a:solidFill>
                  <a:srgbClr val="FFFFFE"/>
                </a:solidFill>
                <a:effectLst/>
                <a:uLnTx/>
                <a:uFillTx/>
                <a:latin typeface="+mn-lt"/>
                <a:ea typeface="ＭＳ Ｐゴシック" charset="0"/>
                <a:cs typeface="CiscoSans"/>
              </a:rPr>
              <a:t>Speaker Name</a:t>
            </a:r>
            <a:endParaRPr kumimoji="0" lang="en-US" sz="1400" b="0" i="0" u="none" strike="noStrike" kern="1200" cap="none" spc="0" normalizeH="0" baseline="0" noProof="0" dirty="0">
              <a:ln>
                <a:noFill/>
              </a:ln>
              <a:solidFill>
                <a:srgbClr val="FFFFFE"/>
              </a:solidFill>
              <a:effectLst/>
              <a:uLnTx/>
              <a:uFillTx/>
              <a:latin typeface="+mn-lt"/>
              <a:ea typeface="ＭＳ Ｐゴシック" charset="0"/>
              <a:cs typeface="CiscoSans"/>
            </a:endParaRPr>
          </a:p>
        </p:txBody>
      </p:sp>
      <p:sp>
        <p:nvSpPr>
          <p:cNvPr id="23" name="Text Placeholder 38"/>
          <p:cNvSpPr>
            <a:spLocks noGrp="1"/>
          </p:cNvSpPr>
          <p:nvPr>
            <p:ph type="body" sz="quarter" idx="15" hasCustomPrompt="1"/>
          </p:nvPr>
        </p:nvSpPr>
        <p:spPr>
          <a:xfrm>
            <a:off x="469496" y="4034593"/>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24" name="Text Placeholder 40"/>
          <p:cNvSpPr>
            <a:spLocks noGrp="1"/>
          </p:cNvSpPr>
          <p:nvPr>
            <p:ph type="body" sz="quarter" idx="16" hasCustomPrompt="1"/>
          </p:nvPr>
        </p:nvSpPr>
        <p:spPr>
          <a:xfrm>
            <a:off x="469496" y="4274590"/>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25" name="Text Placeholder 2"/>
          <p:cNvSpPr>
            <a:spLocks noGrp="1"/>
          </p:cNvSpPr>
          <p:nvPr>
            <p:ph type="body" sz="quarter" idx="17"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Tree>
    <p:extLst>
      <p:ext uri="{BB962C8B-B14F-4D97-AF65-F5344CB8AC3E}">
        <p14:creationId xmlns:p14="http://schemas.microsoft.com/office/powerpoint/2010/main" val="3086725553"/>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smtClean="0"/>
              <a:t>Click to edit Master text styles</a:t>
            </a:r>
          </a:p>
        </p:txBody>
      </p:sp>
    </p:spTree>
    <p:extLst>
      <p:ext uri="{BB962C8B-B14F-4D97-AF65-F5344CB8AC3E}">
        <p14:creationId xmlns:p14="http://schemas.microsoft.com/office/powerpoint/2010/main" val="2353562287"/>
      </p:ext>
    </p:extLst>
  </p:cSld>
  <p:clrMapOvr>
    <a:masterClrMapping/>
  </p:clrMapOvr>
  <p:transition spd="med">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174363969"/>
      </p:ext>
    </p:extLst>
  </p:cSld>
  <p:clrMapOvr>
    <a:masterClrMapping/>
  </p:clrMapOvr>
  <p:transition spd="med">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322688920"/>
      </p:ext>
    </p:extLst>
  </p:cSld>
  <p:clrMapOvr>
    <a:masterClrMapping/>
  </p:clrMapOvr>
  <p:transition spd="med">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000" b="0" i="0" kern="1200" spc="-75" baseline="0" dirty="0" smtClean="0">
                <a:solidFill>
                  <a:schemeClr val="tx2"/>
                </a:solidFill>
                <a:latin typeface="+mj-lt"/>
                <a:ea typeface="+mj-ea"/>
                <a:cs typeface="CiscoSans Thin"/>
              </a:defRPr>
            </a:lvl1pPr>
          </a:lstStyle>
          <a:p>
            <a:r>
              <a:rPr lang="en-US" smtClean="0"/>
              <a:t>Click to edit Master title style</a:t>
            </a:r>
            <a:endParaRPr lang="en-US" dirty="0"/>
          </a:p>
        </p:txBody>
      </p:sp>
      <p:sp>
        <p:nvSpPr>
          <p:cNvPr id="16" name="Text Placeholder 15"/>
          <p:cNvSpPr>
            <a:spLocks noGrp="1"/>
          </p:cNvSpPr>
          <p:nvPr>
            <p:ph type="body" sz="quarter" idx="13"/>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000" b="0" i="0" kern="1200" spc="-75" baseline="0" dirty="0">
                <a:solidFill>
                  <a:schemeClr val="tx2"/>
                </a:solidFill>
                <a:latin typeface="+mj-lt"/>
                <a:ea typeface="+mj-ea"/>
                <a:cs typeface="CiscoSans Thin"/>
              </a:defRPr>
            </a:lvl1pPr>
          </a:lstStyle>
          <a:p>
            <a:pPr lvl="0"/>
            <a:r>
              <a:rPr lang="en-US" smtClean="0"/>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7099347"/>
      </p:ext>
    </p:extLst>
  </p:cSld>
  <p:clrMapOvr>
    <a:masterClrMapping/>
  </p:clrMapOvr>
  <p:transition spd="med">
    <p:fade/>
  </p:transition>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smtClean="0"/>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smtClean="0"/>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smtClean="0"/>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482496644"/>
      </p:ext>
    </p:extLst>
  </p:cSld>
  <p:clrMapOvr>
    <a:masterClrMapping/>
  </p:clrMapOvr>
  <p:transition spd="med">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5"/>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chemeClr val="tx2"/>
              </a:solidFill>
              <a:latin typeface="+mj-lt"/>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US" smtClean="0"/>
              <a:t>Click to edit Master text styles</a:t>
            </a:r>
          </a:p>
        </p:txBody>
      </p:sp>
      <p:sp>
        <p:nvSpPr>
          <p:cNvPr id="19" name="Text Placeholder 18"/>
          <p:cNvSpPr>
            <a:spLocks noGrp="1"/>
          </p:cNvSpPr>
          <p:nvPr>
            <p:ph type="body" sz="quarter" idx="14"/>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US" smtClean="0"/>
              <a:t>Click to edit Master text styles</a:t>
            </a:r>
          </a:p>
        </p:txBody>
      </p:sp>
      <p:sp>
        <p:nvSpPr>
          <p:cNvPr id="9"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517861442"/>
      </p:ext>
    </p:extLst>
  </p:cSld>
  <p:clrMapOvr>
    <a:masterClrMapping/>
  </p:clrMapOvr>
  <p:transition spd="med">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4268556344"/>
      </p:ext>
    </p:extLst>
  </p:cSld>
  <p:clrMapOvr>
    <a:masterClrMapping/>
  </p:clrMapOvr>
  <p:transition spd="med">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smtClean="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1" spc="0" baseline="0">
                <a:solidFill>
                  <a:schemeClr val="tx2"/>
                </a:solidFill>
                <a:latin typeface="+mj-lt"/>
                <a:cs typeface="CiscoSans Thin"/>
              </a:defRPr>
            </a:lvl1pPr>
          </a:lstStyle>
          <a:p>
            <a:r>
              <a:rPr lang="en-US" smtClean="0"/>
              <a:t>Click to edit Master title style</a:t>
            </a:r>
            <a:endParaRPr lang="en-US" dirty="0"/>
          </a:p>
        </p:txBody>
      </p:sp>
    </p:spTree>
    <p:extLst>
      <p:ext uri="{BB962C8B-B14F-4D97-AF65-F5344CB8AC3E}">
        <p14:creationId xmlns:p14="http://schemas.microsoft.com/office/powerpoint/2010/main" val="1097924722"/>
      </p:ext>
    </p:extLst>
  </p:cSld>
  <p:clrMapOvr>
    <a:masterClrMapping/>
  </p:clrMapOvr>
  <p:transition spd="med">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555558"/>
                </a:soli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smtClean="0"/>
              <a:t>Click to edit Master text styles</a:t>
            </a:r>
          </a:p>
        </p:txBody>
      </p:sp>
    </p:spTree>
    <p:extLst>
      <p:ext uri="{BB962C8B-B14F-4D97-AF65-F5344CB8AC3E}">
        <p14:creationId xmlns:p14="http://schemas.microsoft.com/office/powerpoint/2010/main" val="4222874758"/>
      </p:ext>
    </p:extLst>
  </p:cSld>
  <p:clrMapOvr>
    <a:masterClrMapping/>
  </p:clrMapOvr>
  <p:transition spd="slow">
    <p:wip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2"/>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smtClean="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5907496"/>
      </p:ext>
    </p:extLst>
  </p:cSld>
  <p:clrMapOvr>
    <a:masterClrMapping/>
  </p:clrMapOvr>
  <p:transition spd="med">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US" smtClean="0"/>
              <a:t>Click to edit Master subtitle style</a:t>
            </a:r>
            <a:endParaRPr lang="en-US" dirty="0"/>
          </a:p>
        </p:txBody>
      </p:sp>
      <p:sp>
        <p:nvSpPr>
          <p:cNvPr id="2" name="Title 1"/>
          <p:cNvSpPr>
            <a:spLocks noGrp="1"/>
          </p:cNvSpPr>
          <p:nvPr>
            <p:ph type="ctrTitle"/>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chemeClr val="tx2"/>
                </a:solidFill>
                <a:latin typeface="+mj-lt"/>
                <a:ea typeface="+mj-ea"/>
                <a:cs typeface="+mj-cs"/>
              </a:defRPr>
            </a:lvl1pPr>
          </a:lstStyle>
          <a:p>
            <a:r>
              <a:rPr lang="en-US" smtClean="0"/>
              <a:t>Click to edit Master title sty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3304342014"/>
      </p:ext>
    </p:extLst>
  </p:cSld>
  <p:clrMapOvr>
    <a:masterClrMapping/>
  </p:clrMapOvr>
  <p:transition spd="slow">
    <p:wip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smtClean="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080140014"/>
      </p:ext>
    </p:extLst>
  </p:cSld>
  <p:clrMapOvr>
    <a:masterClrMapping/>
  </p:clrMapOvr>
  <p:transition spd="med">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2"/>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2673356765"/>
      </p:ext>
    </p:extLst>
  </p:cSld>
  <p:clrMapOvr>
    <a:masterClrMapping/>
  </p:clrMapOvr>
  <p:transition spd="med">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2614232947"/>
      </p:ext>
    </p:extLst>
  </p:cSld>
  <p:clrMapOvr>
    <a:masterClrMapping/>
  </p:clrMapOvr>
  <p:transition spd="med">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Oval 8"/>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Arial"/>
            </a:endParaRPr>
          </a:p>
        </p:txBody>
      </p:sp>
      <p:sp>
        <p:nvSpPr>
          <p:cNvPr id="10" name="Oval 9"/>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Arial"/>
            </a:endParaRPr>
          </a:p>
        </p:txBody>
      </p:sp>
      <p:sp>
        <p:nvSpPr>
          <p:cNvPr id="11" name="Oval 10"/>
          <p:cNvSpPr/>
          <p:nvPr/>
        </p:nvSpPr>
        <p:spPr>
          <a:xfrm>
            <a:off x="763588" y="1622425"/>
            <a:ext cx="2319337" cy="23177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Aria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smtClean="0"/>
              <a:t>Click icon to add picture</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smtClean="0"/>
              <a:t>Click icon to add picture</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2687555798"/>
      </p:ext>
    </p:extLst>
  </p:cSld>
  <p:clrMapOvr>
    <a:masterClrMapping/>
  </p:clrMapOvr>
  <p:transition spd="slow">
    <p:wip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lvl="0"/>
            <a:r>
              <a:rPr lang="en-US" smtClean="0"/>
              <a:t>Click to edit Master title style</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smtClean="0"/>
              <a:t>Click icon to add picture</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smtClean="0"/>
              <a:t>Click icon to add picture</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smtClean="0"/>
              <a:t>Click icon to add picture</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Tree>
    <p:extLst>
      <p:ext uri="{BB962C8B-B14F-4D97-AF65-F5344CB8AC3E}">
        <p14:creationId xmlns:p14="http://schemas.microsoft.com/office/powerpoint/2010/main" val="1875136810"/>
      </p:ext>
    </p:extLst>
  </p:cSld>
  <p:clrMapOvr>
    <a:masterClrMapping/>
  </p:clrMapOvr>
  <p:transition spd="slow">
    <p:wip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2" name="Oval 11"/>
          <p:cNvSpPr/>
          <p:nvPr userDrawn="1"/>
        </p:nvSpPr>
        <p:spPr>
          <a:xfrm>
            <a:off x="575610" y="2552550"/>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solidFill>
                <a:srgbClr val="049FD9"/>
              </a:solidFill>
              <a:cs typeface="Arial"/>
            </a:endParaRPr>
          </a:p>
        </p:txBody>
      </p:sp>
      <p:sp>
        <p:nvSpPr>
          <p:cNvPr id="15" name="Oval 14"/>
          <p:cNvSpPr/>
          <p:nvPr userDrawn="1"/>
        </p:nvSpPr>
        <p:spPr>
          <a:xfrm>
            <a:off x="575610" y="1426607"/>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rgbClr val="049FD9"/>
              </a:solidFill>
              <a:cs typeface="Arial"/>
            </a:endParaRPr>
          </a:p>
        </p:txBody>
      </p:sp>
      <p:sp>
        <p:nvSpPr>
          <p:cNvPr id="22" name="Oval 21"/>
          <p:cNvSpPr/>
          <p:nvPr userDrawn="1"/>
        </p:nvSpPr>
        <p:spPr>
          <a:xfrm>
            <a:off x="575610" y="3653093"/>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7" name="Text Placeholder 17"/>
          <p:cNvSpPr>
            <a:spLocks noGrp="1"/>
          </p:cNvSpPr>
          <p:nvPr>
            <p:ph type="body" sz="quarter" idx="16" hasCustomPrompt="1"/>
          </p:nvPr>
        </p:nvSpPr>
        <p:spPr>
          <a:xfrm>
            <a:off x="575611" y="1425201"/>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13" name="Text Placeholder 17"/>
          <p:cNvSpPr>
            <a:spLocks noGrp="1"/>
          </p:cNvSpPr>
          <p:nvPr>
            <p:ph type="body" sz="quarter" idx="17" hasCustomPrompt="1"/>
          </p:nvPr>
        </p:nvSpPr>
        <p:spPr>
          <a:xfrm>
            <a:off x="575610" y="254168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14" name="Text Placeholder 17"/>
          <p:cNvSpPr>
            <a:spLocks noGrp="1"/>
          </p:cNvSpPr>
          <p:nvPr>
            <p:ph type="body" sz="quarter" idx="18" hasCustomPrompt="1"/>
          </p:nvPr>
        </p:nvSpPr>
        <p:spPr>
          <a:xfrm>
            <a:off x="575611" y="3658336"/>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Tree>
    <p:extLst>
      <p:ext uri="{BB962C8B-B14F-4D97-AF65-F5344CB8AC3E}">
        <p14:creationId xmlns:p14="http://schemas.microsoft.com/office/powerpoint/2010/main" val="312698047"/>
      </p:ext>
    </p:extLst>
  </p:cSld>
  <p:clrMapOvr>
    <a:masterClrMapping/>
  </p:clrMapOvr>
  <p:transition spd="slow">
    <p:wip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2" name="Oval 11"/>
          <p:cNvSpPr/>
          <p:nvPr userDrawn="1"/>
        </p:nvSpPr>
        <p:spPr>
          <a:xfrm>
            <a:off x="575610" y="2552550"/>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solidFill>
                <a:srgbClr val="FFFFFF"/>
              </a:solidFill>
              <a:cs typeface="Arial"/>
            </a:endParaRPr>
          </a:p>
        </p:txBody>
      </p:sp>
      <p:sp>
        <p:nvSpPr>
          <p:cNvPr id="15" name="Oval 14"/>
          <p:cNvSpPr/>
          <p:nvPr userDrawn="1"/>
        </p:nvSpPr>
        <p:spPr>
          <a:xfrm>
            <a:off x="575610" y="1426607"/>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1"/>
              </a:solidFill>
              <a:cs typeface="Arial"/>
            </a:endParaRPr>
          </a:p>
        </p:txBody>
      </p:sp>
      <p:sp>
        <p:nvSpPr>
          <p:cNvPr id="22" name="Oval 21"/>
          <p:cNvSpPr/>
          <p:nvPr userDrawn="1"/>
        </p:nvSpPr>
        <p:spPr>
          <a:xfrm>
            <a:off x="575610" y="3653093"/>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8" name="Text Placeholder 17"/>
          <p:cNvSpPr>
            <a:spLocks noGrp="1"/>
          </p:cNvSpPr>
          <p:nvPr>
            <p:ph type="body" sz="quarter" idx="17" hasCustomPrompt="1"/>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13" name="Text Placeholder 17"/>
          <p:cNvSpPr>
            <a:spLocks noGrp="1"/>
          </p:cNvSpPr>
          <p:nvPr>
            <p:ph type="body" sz="quarter" idx="19" hasCustomPrompt="1"/>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Tree>
    <p:extLst>
      <p:ext uri="{BB962C8B-B14F-4D97-AF65-F5344CB8AC3E}">
        <p14:creationId xmlns:p14="http://schemas.microsoft.com/office/powerpoint/2010/main" val="3053872667"/>
      </p:ext>
    </p:extLst>
  </p:cSld>
  <p:clrMapOvr>
    <a:masterClrMapping/>
  </p:clrMapOvr>
  <p:transition spd="slow">
    <p:wip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2" name="Oval 11"/>
          <p:cNvSpPr/>
          <p:nvPr userDrawn="1"/>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5" name="Oval 14"/>
          <p:cNvSpPr/>
          <p:nvPr userDrawn="1"/>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22" name="Oval 21"/>
          <p:cNvSpPr/>
          <p:nvPr userDrawn="1"/>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13" name="Oval 12"/>
          <p:cNvSpPr/>
          <p:nvPr userDrawn="1"/>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4</a:t>
            </a:r>
          </a:p>
        </p:txBody>
      </p:sp>
      <p:sp>
        <p:nvSpPr>
          <p:cNvPr id="17" name="Oval 16"/>
          <p:cNvSpPr/>
          <p:nvPr userDrawn="1"/>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5</a:t>
            </a:r>
          </a:p>
        </p:txBody>
      </p:sp>
    </p:spTree>
    <p:extLst>
      <p:ext uri="{BB962C8B-B14F-4D97-AF65-F5344CB8AC3E}">
        <p14:creationId xmlns:p14="http://schemas.microsoft.com/office/powerpoint/2010/main" val="1073813029"/>
      </p:ext>
    </p:extLst>
  </p:cSld>
  <p:clrMapOvr>
    <a:masterClrMapping/>
  </p:clrMapOvr>
  <p:transition spd="slow">
    <p:wip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2" name="Oval 11"/>
          <p:cNvSpPr/>
          <p:nvPr userDrawn="1"/>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5" name="Oval 14"/>
          <p:cNvSpPr/>
          <p:nvPr userDrawn="1"/>
        </p:nvSpPr>
        <p:spPr>
          <a:xfrm>
            <a:off x="575610" y="132892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22" name="Oval 21"/>
          <p:cNvSpPr/>
          <p:nvPr userDrawn="1"/>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13" name="Oval 12"/>
          <p:cNvSpPr/>
          <p:nvPr userDrawn="1"/>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4</a:t>
            </a:r>
          </a:p>
        </p:txBody>
      </p:sp>
      <p:sp>
        <p:nvSpPr>
          <p:cNvPr id="17" name="Oval 16"/>
          <p:cNvSpPr/>
          <p:nvPr userDrawn="1"/>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5</a:t>
            </a:r>
          </a:p>
        </p:txBody>
      </p:sp>
    </p:spTree>
    <p:extLst>
      <p:ext uri="{BB962C8B-B14F-4D97-AF65-F5344CB8AC3E}">
        <p14:creationId xmlns:p14="http://schemas.microsoft.com/office/powerpoint/2010/main" val="2962125011"/>
      </p:ext>
    </p:extLst>
  </p:cSld>
  <p:clrMapOvr>
    <a:masterClrMapping/>
  </p:clrMapOvr>
  <p:transition spd="slow">
    <p:wip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2" name="Oval 11"/>
          <p:cNvSpPr/>
          <p:nvPr userDrawn="1"/>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15" name="Oval 14"/>
          <p:cNvSpPr/>
          <p:nvPr userDrawn="1"/>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22" name="Oval 21"/>
          <p:cNvSpPr/>
          <p:nvPr userDrawn="1"/>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28"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29"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13" name="Oval 12"/>
          <p:cNvSpPr/>
          <p:nvPr userDrawn="1"/>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4</a:t>
            </a:r>
          </a:p>
        </p:txBody>
      </p:sp>
      <p:sp>
        <p:nvSpPr>
          <p:cNvPr id="17" name="Oval 16"/>
          <p:cNvSpPr/>
          <p:nvPr userDrawn="1"/>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5</a:t>
            </a:r>
          </a:p>
        </p:txBody>
      </p:sp>
      <p:sp>
        <p:nvSpPr>
          <p:cNvPr id="20" name="Oval 19"/>
          <p:cNvSpPr/>
          <p:nvPr userDrawn="1"/>
        </p:nvSpPr>
        <p:spPr>
          <a:xfrm>
            <a:off x="4414576" y="198308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21" name="Oval 20"/>
          <p:cNvSpPr/>
          <p:nvPr userDrawn="1"/>
        </p:nvSpPr>
        <p:spPr>
          <a:xfrm>
            <a:off x="4414575" y="133269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23" name="Oval 22"/>
          <p:cNvSpPr/>
          <p:nvPr userDrawn="1"/>
        </p:nvSpPr>
        <p:spPr>
          <a:xfrm>
            <a:off x="4414576" y="263121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3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6</a:t>
            </a:r>
          </a:p>
        </p:txBody>
      </p:sp>
      <p:sp>
        <p:nvSpPr>
          <p:cNvPr id="3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7</a:t>
            </a:r>
          </a:p>
        </p:txBody>
      </p:sp>
      <p:sp>
        <p:nvSpPr>
          <p:cNvPr id="3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8</a:t>
            </a:r>
          </a:p>
        </p:txBody>
      </p:sp>
      <p:sp>
        <p:nvSpPr>
          <p:cNvPr id="36" name="Oval 35"/>
          <p:cNvSpPr/>
          <p:nvPr userDrawn="1"/>
        </p:nvSpPr>
        <p:spPr>
          <a:xfrm>
            <a:off x="4414577" y="32783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3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9</a:t>
            </a:r>
          </a:p>
        </p:txBody>
      </p:sp>
      <p:sp>
        <p:nvSpPr>
          <p:cNvPr id="39" name="Oval 38"/>
          <p:cNvSpPr/>
          <p:nvPr userDrawn="1"/>
        </p:nvSpPr>
        <p:spPr>
          <a:xfrm>
            <a:off x="4414578" y="39254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4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4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0</a:t>
            </a:r>
          </a:p>
        </p:txBody>
      </p:sp>
    </p:spTree>
    <p:extLst>
      <p:ext uri="{BB962C8B-B14F-4D97-AF65-F5344CB8AC3E}">
        <p14:creationId xmlns:p14="http://schemas.microsoft.com/office/powerpoint/2010/main" val="2563897540"/>
      </p:ext>
    </p:extLst>
  </p:cSld>
  <p:clrMapOvr>
    <a:masterClrMapping/>
  </p:clrMapOvr>
  <p:transition spd="slow">
    <p:wip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smtClean="0"/>
              <a:t>Click to edit Master title style</a:t>
            </a:r>
            <a:endParaRPr lang="en-US" dirty="0"/>
          </a:p>
        </p:txBody>
      </p:sp>
      <p:sp>
        <p:nvSpPr>
          <p:cNvPr id="7" name="Rectangle 7"/>
          <p:cNvSpPr>
            <a:spLocks noChangeArrowheads="1"/>
          </p:cNvSpPr>
          <p:nvPr userDrawn="1"/>
        </p:nvSpPr>
        <p:spPr bwMode="ltGray">
          <a:xfrm>
            <a:off x="8515707" y="4921123"/>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pic>
        <p:nvPicPr>
          <p:cNvPr id="8"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803989"/>
            <a:ext cx="431312" cy="265176"/>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ectangle 4"/>
          <p:cNvSpPr>
            <a:spLocks noChangeArrowheads="1"/>
          </p:cNvSpPr>
          <p:nvPr userDrawn="1"/>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rtl="0" fontAlgn="auto">
              <a:spcBef>
                <a:spcPts val="0"/>
              </a:spcBef>
              <a:spcAft>
                <a:spcPts val="0"/>
              </a:spcAft>
              <a:defRPr/>
            </a:pPr>
            <a:r>
              <a:rPr lang="en-US" sz="600" kern="1200" dirty="0" smtClean="0">
                <a:solidFill>
                  <a:schemeClr val="bg1">
                    <a:alpha val="60000"/>
                  </a:schemeClr>
                </a:solidFill>
                <a:latin typeface="+mn-lt"/>
                <a:ea typeface="+mn-ea"/>
                <a:cs typeface="CiscoSans Thin"/>
              </a:rPr>
              <a:t>C97-738596-01 © 2017  Cisco and/or its affiliates. All rights reserved.   </a:t>
            </a:r>
          </a:p>
        </p:txBody>
      </p:sp>
    </p:spTree>
    <p:extLst>
      <p:ext uri="{BB962C8B-B14F-4D97-AF65-F5344CB8AC3E}">
        <p14:creationId xmlns:p14="http://schemas.microsoft.com/office/powerpoint/2010/main" val="1890854121"/>
      </p:ext>
    </p:extLst>
  </p:cSld>
  <p:clrMapOvr>
    <a:masterClrMapping/>
  </p:clrMapOvr>
  <p:transition spd="slow">
    <p:wip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42" name="Oval 41"/>
          <p:cNvSpPr/>
          <p:nvPr userDrawn="1"/>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43" name="Oval 42"/>
          <p:cNvSpPr/>
          <p:nvPr userDrawn="1"/>
        </p:nvSpPr>
        <p:spPr>
          <a:xfrm>
            <a:off x="575610" y="1328927"/>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rgbClr val="FFFFFF"/>
              </a:solidFill>
              <a:cs typeface="Arial"/>
            </a:endParaRPr>
          </a:p>
        </p:txBody>
      </p:sp>
      <p:sp>
        <p:nvSpPr>
          <p:cNvPr id="44" name="Oval 43"/>
          <p:cNvSpPr/>
          <p:nvPr userDrawn="1"/>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45"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46"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47"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48"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49"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50"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51" name="Oval 50"/>
          <p:cNvSpPr/>
          <p:nvPr userDrawn="1"/>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52"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53"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4</a:t>
            </a:r>
          </a:p>
        </p:txBody>
      </p:sp>
      <p:sp>
        <p:nvSpPr>
          <p:cNvPr id="54" name="Oval 53"/>
          <p:cNvSpPr/>
          <p:nvPr userDrawn="1"/>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55"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56"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5</a:t>
            </a:r>
          </a:p>
        </p:txBody>
      </p:sp>
      <p:sp>
        <p:nvSpPr>
          <p:cNvPr id="57" name="Oval 56"/>
          <p:cNvSpPr/>
          <p:nvPr userDrawn="1"/>
        </p:nvSpPr>
        <p:spPr>
          <a:xfrm>
            <a:off x="4414576" y="198308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58" name="Oval 57"/>
          <p:cNvSpPr/>
          <p:nvPr userDrawn="1"/>
        </p:nvSpPr>
        <p:spPr>
          <a:xfrm>
            <a:off x="4414575" y="133269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59" name="Oval 58"/>
          <p:cNvSpPr/>
          <p:nvPr userDrawn="1"/>
        </p:nvSpPr>
        <p:spPr>
          <a:xfrm>
            <a:off x="4414576" y="263121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6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6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6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6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6</a:t>
            </a:r>
          </a:p>
        </p:txBody>
      </p:sp>
      <p:sp>
        <p:nvSpPr>
          <p:cNvPr id="6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7</a:t>
            </a:r>
          </a:p>
        </p:txBody>
      </p:sp>
      <p:sp>
        <p:nvSpPr>
          <p:cNvPr id="6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8</a:t>
            </a:r>
          </a:p>
        </p:txBody>
      </p:sp>
      <p:sp>
        <p:nvSpPr>
          <p:cNvPr id="66" name="Oval 65"/>
          <p:cNvSpPr/>
          <p:nvPr userDrawn="1"/>
        </p:nvSpPr>
        <p:spPr>
          <a:xfrm>
            <a:off x="4414577" y="32783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6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6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9</a:t>
            </a:r>
          </a:p>
        </p:txBody>
      </p:sp>
      <p:sp>
        <p:nvSpPr>
          <p:cNvPr id="69" name="Oval 68"/>
          <p:cNvSpPr/>
          <p:nvPr userDrawn="1"/>
        </p:nvSpPr>
        <p:spPr>
          <a:xfrm>
            <a:off x="4414578" y="39254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7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7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0</a:t>
            </a:r>
          </a:p>
        </p:txBody>
      </p:sp>
    </p:spTree>
    <p:extLst>
      <p:ext uri="{BB962C8B-B14F-4D97-AF65-F5344CB8AC3E}">
        <p14:creationId xmlns:p14="http://schemas.microsoft.com/office/powerpoint/2010/main" val="3643099958"/>
      </p:ext>
    </p:extLst>
  </p:cSld>
  <p:clrMapOvr>
    <a:masterClrMapping/>
  </p:clrMapOvr>
  <p:transition spd="slow">
    <p:wip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p:nvPr>
        </p:nvSpPr>
        <p:spPr bwMode="auto">
          <a:xfrm>
            <a:off x="500063" y="3476647"/>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solidFill>
                  <a:schemeClr val="tx2"/>
                </a:solidFill>
              </a:defRPr>
            </a:lvl1pPr>
          </a:lstStyle>
          <a:p>
            <a:pPr lvl="0"/>
            <a:r>
              <a:rPr lang="en-US" smtClean="0"/>
              <a:t>Click to edit Master text styles</a:t>
            </a:r>
          </a:p>
        </p:txBody>
      </p:sp>
    </p:spTree>
    <p:extLst>
      <p:ext uri="{BB962C8B-B14F-4D97-AF65-F5344CB8AC3E}">
        <p14:creationId xmlns:p14="http://schemas.microsoft.com/office/powerpoint/2010/main" val="2216821945"/>
      </p:ext>
    </p:extLst>
  </p:cSld>
  <p:clrMapOvr>
    <a:masterClrMapping/>
  </p:clrMapOvr>
  <p:transition spd="med">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rgbClr val="58585B"/>
                </a:solidFill>
              </a:defRPr>
            </a:lvl1pPr>
          </a:lstStyle>
          <a:p>
            <a:pPr lvl="0"/>
            <a:r>
              <a:rPr lang="en-US" smtClean="0"/>
              <a:t>Click to edit Master text styles</a:t>
            </a:r>
          </a:p>
        </p:txBody>
      </p:sp>
    </p:spTree>
    <p:extLst>
      <p:ext uri="{BB962C8B-B14F-4D97-AF65-F5344CB8AC3E}">
        <p14:creationId xmlns:p14="http://schemas.microsoft.com/office/powerpoint/2010/main" val="2157376809"/>
      </p:ext>
    </p:extLst>
  </p:cSld>
  <p:clrMapOvr>
    <a:masterClrMapping/>
  </p:clrMapOvr>
  <p:transition spd="med">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774762840"/>
      </p:ext>
    </p:extLst>
  </p:cSld>
  <p:clrMapOvr>
    <a:masterClrMapping/>
  </p:clrMapOvr>
  <p:transition spd="med">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7175" cy="514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Placeholder 2"/>
          <p:cNvSpPr>
            <a:spLocks noGrp="1"/>
          </p:cNvSpPr>
          <p:nvPr>
            <p:ph type="body" sz="quarter" idx="12"/>
          </p:nvPr>
        </p:nvSpPr>
        <p:spPr bwMode="auto">
          <a:xfrm>
            <a:off x="500063" y="3466598"/>
            <a:ext cx="8139112" cy="521510"/>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172800" indent="-180000">
              <a:lnSpc>
                <a:spcPts val="3680"/>
              </a:lnSpc>
              <a:spcBef>
                <a:spcPts val="0"/>
              </a:spcBef>
              <a:buNone/>
              <a:defRPr sz="3200" i="1">
                <a:solidFill>
                  <a:schemeClr val="tx2"/>
                </a:solidFill>
              </a:defRPr>
            </a:lvl1pPr>
          </a:lstStyle>
          <a:p>
            <a:pPr lvl="0"/>
            <a:r>
              <a:rPr lang="en-US" smtClean="0"/>
              <a:t>Click to edit Master text styles</a:t>
            </a:r>
          </a:p>
        </p:txBody>
      </p:sp>
      <p:sp>
        <p:nvSpPr>
          <p:cNvPr id="7" name="Rectangle 7"/>
          <p:cNvSpPr>
            <a:spLocks noChangeArrowheads="1"/>
          </p:cNvSpPr>
          <p:nvPr userDrawn="1"/>
        </p:nvSpPr>
        <p:spPr bwMode="ltGray">
          <a:xfrm>
            <a:off x="8515707" y="4921123"/>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pic>
        <p:nvPicPr>
          <p:cNvPr id="8" name="Picture 2" descr="C:\Users\spius\Pictures\cisco logo blue gradient.png"/>
          <p:cNvPicPr>
            <a:picLocks noChangeAspect="1" noChangeArrowheads="1"/>
          </p:cNvPicPr>
          <p:nvPr userDrawn="1"/>
        </p:nvPicPr>
        <p:blipFill>
          <a:blip r:embed="rId3" cstate="print">
            <a:biLevel thresh="25000"/>
            <a:alphaModFix amt="60000"/>
            <a:extLst>
              <a:ext uri="{28A0092B-C50C-407E-A947-70E740481C1C}">
                <a14:useLocalDpi xmlns:a14="http://schemas.microsoft.com/office/drawing/2010/main"/>
              </a:ext>
            </a:extLst>
          </a:blip>
          <a:srcRect/>
          <a:stretch>
            <a:fillRect/>
          </a:stretch>
        </p:blipFill>
        <p:spPr bwMode="auto">
          <a:xfrm>
            <a:off x="474175" y="4803989"/>
            <a:ext cx="431312" cy="265176"/>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ectangle 4"/>
          <p:cNvSpPr>
            <a:spLocks noChangeArrowheads="1"/>
          </p:cNvSpPr>
          <p:nvPr userDrawn="1"/>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rtl="0" fontAlgn="auto">
              <a:spcBef>
                <a:spcPts val="0"/>
              </a:spcBef>
              <a:spcAft>
                <a:spcPts val="0"/>
              </a:spcAft>
              <a:defRPr/>
            </a:pPr>
            <a:r>
              <a:rPr lang="en-US" sz="600" kern="1200" dirty="0" smtClean="0">
                <a:solidFill>
                  <a:schemeClr val="bg1">
                    <a:alpha val="60000"/>
                  </a:schemeClr>
                </a:solidFill>
                <a:latin typeface="+mn-lt"/>
                <a:ea typeface="+mn-ea"/>
                <a:cs typeface="CiscoSans Thin"/>
              </a:rPr>
              <a:t>C97-738596-01 © 2017  Cisco and/or its affiliates. All rights reserved.   </a:t>
            </a:r>
          </a:p>
        </p:txBody>
      </p:sp>
    </p:spTree>
    <p:extLst>
      <p:ext uri="{BB962C8B-B14F-4D97-AF65-F5344CB8AC3E}">
        <p14:creationId xmlns:p14="http://schemas.microsoft.com/office/powerpoint/2010/main" val="318859389"/>
      </p:ext>
    </p:extLst>
  </p:cSld>
  <p:clrMapOvr>
    <a:masterClrMapping/>
  </p:clrMapOvr>
  <p:transition spd="med">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solidFill>
                  <a:schemeClr val="tx2"/>
                </a:solidFill>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2264037977"/>
      </p:ext>
    </p:extLst>
  </p:cSld>
  <p:clrMapOvr>
    <a:masterClrMapping/>
  </p:clrMapOvr>
  <p:transition spd="med">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p:nvPr>
        </p:nvSpPr>
        <p:spPr>
          <a:xfrm>
            <a:off x="2065871" y="3655079"/>
            <a:ext cx="5074070" cy="628650"/>
          </a:xfrm>
        </p:spPr>
        <p:txBody>
          <a:bodyPr/>
          <a:lstStyle>
            <a:lvl1pPr>
              <a:defRPr sz="2000">
                <a:solidFill>
                  <a:schemeClr val="bg2"/>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2292153334"/>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5"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chemeClr val="bg2"/>
                </a:solidFill>
                <a:latin typeface="+mj-lt"/>
              </a:defRPr>
            </a:lvl1pPr>
          </a:lstStyle>
          <a:p>
            <a:r>
              <a:rPr lang="en-US" smtClean="0"/>
              <a:t>Click to edit Master title style</a:t>
            </a:r>
            <a:endParaRPr lang="en-US" dirty="0" smtClean="0"/>
          </a:p>
        </p:txBody>
      </p:sp>
    </p:spTree>
    <p:extLst>
      <p:ext uri="{BB962C8B-B14F-4D97-AF65-F5344CB8AC3E}">
        <p14:creationId xmlns:p14="http://schemas.microsoft.com/office/powerpoint/2010/main" val="2129976002"/>
      </p:ext>
    </p:extLst>
  </p:cSld>
  <p:clrMapOvr>
    <a:overrideClrMapping bg1="dk1" tx1="lt1" bg2="dk2" tx2="lt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0"/>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p:nvPr>
        </p:nvSpPr>
        <p:spPr>
          <a:xfrm>
            <a:off x="437669" y="546734"/>
            <a:ext cx="4349918" cy="813985"/>
          </a:xfrm>
        </p:spPr>
        <p:txBody>
          <a:bodyPr wrap="none" anchor="t">
            <a:noAutofit/>
          </a:bodyPr>
          <a:lstStyle>
            <a:lvl1pPr>
              <a:lnSpc>
                <a:spcPct val="90000"/>
              </a:lnSpc>
              <a:defRPr sz="2500">
                <a:solidFill>
                  <a:srgbClr val="555558"/>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1193705477"/>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564960541"/>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10" name="Rectangle 7"/>
          <p:cNvSpPr>
            <a:spLocks noChangeArrowheads="1"/>
          </p:cNvSpPr>
          <p:nvPr userDrawn="1"/>
        </p:nvSpPr>
        <p:spPr bwMode="ltGray">
          <a:xfrm>
            <a:off x="8515707" y="4921123"/>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pic>
        <p:nvPicPr>
          <p:cNvPr id="11"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803989"/>
            <a:ext cx="431312" cy="26517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ectangle 4"/>
          <p:cNvSpPr>
            <a:spLocks noChangeArrowheads="1"/>
          </p:cNvSpPr>
          <p:nvPr userDrawn="1"/>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rtl="0" fontAlgn="auto">
              <a:spcBef>
                <a:spcPts val="0"/>
              </a:spcBef>
              <a:spcAft>
                <a:spcPts val="0"/>
              </a:spcAft>
              <a:defRPr/>
            </a:pPr>
            <a:r>
              <a:rPr lang="en-US" sz="600" kern="1200" dirty="0" smtClean="0">
                <a:solidFill>
                  <a:schemeClr val="bg1">
                    <a:alpha val="60000"/>
                  </a:schemeClr>
                </a:solidFill>
                <a:latin typeface="+mn-lt"/>
                <a:ea typeface="+mn-ea"/>
                <a:cs typeface="CiscoSans Thin"/>
              </a:rPr>
              <a:t>C97-738596-01 © 2017  Cisco and/or its affiliates. All rights reserved.   </a:t>
            </a:r>
          </a:p>
        </p:txBody>
      </p:sp>
    </p:spTree>
    <p:extLst>
      <p:ext uri="{BB962C8B-B14F-4D97-AF65-F5344CB8AC3E}">
        <p14:creationId xmlns:p14="http://schemas.microsoft.com/office/powerpoint/2010/main" val="3712084599"/>
      </p:ext>
    </p:extLst>
  </p:cSld>
  <p:clrMapOvr>
    <a:masterClrMapping/>
  </p:clrMapOvr>
  <p:transition spd="slow">
    <p:wip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91213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156379273"/>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3325547931"/>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47974899"/>
      </p:ext>
    </p:extLst>
  </p:cSld>
  <p:clrMapOvr>
    <a:masterClrMapping/>
  </p:clrMapOvr>
  <p:transition spd="slow">
    <p:wip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40898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8"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en-US" dirty="0"/>
              <a:t>Click to edit title</a:t>
            </a:r>
          </a:p>
        </p:txBody>
      </p:sp>
      <p:sp>
        <p:nvSpPr>
          <p:cNvPr id="3" name="Slide Number Placeholder 2"/>
          <p:cNvSpPr>
            <a:spLocks noGrp="1"/>
          </p:cNvSpPr>
          <p:nvPr>
            <p:ph type="sldNum" sz="quarter" idx="10"/>
          </p:nvPr>
        </p:nvSpPr>
        <p:spPr>
          <a:xfrm>
            <a:off x="9010919" y="5005000"/>
            <a:ext cx="94577" cy="92333"/>
          </a:xfrm>
          <a:prstGeom prst="rect">
            <a:avLst/>
          </a:prstGeom>
        </p:spPr>
        <p:txBody>
          <a:bodyPr/>
          <a:lstStyle/>
          <a:p>
            <a:fld id="{75DD04D1-EEAE-46DB-A58B-EEB3999969E6}" type="slidenum">
              <a:rPr lang="en-US" smtClean="0"/>
              <a:pPr/>
              <a:t>‹#›</a:t>
            </a:fld>
            <a:endParaRPr lang="en-US"/>
          </a:p>
        </p:txBody>
      </p:sp>
    </p:spTree>
    <p:extLst>
      <p:ext uri="{BB962C8B-B14F-4D97-AF65-F5344CB8AC3E}">
        <p14:creationId xmlns:p14="http://schemas.microsoft.com/office/powerpoint/2010/main" val="373115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cs typeface="CiscoSans Thin"/>
              </a:defRPr>
            </a:lvl1pPr>
          </a:lstStyle>
          <a:p>
            <a:r>
              <a:rPr lang="en-US" smtClean="0"/>
              <a:t>Click to edit Master title style</a:t>
            </a:r>
            <a:endParaRPr lang="en-US" dirty="0"/>
          </a:p>
        </p:txBody>
      </p:sp>
    </p:spTree>
    <p:extLst>
      <p:ext uri="{BB962C8B-B14F-4D97-AF65-F5344CB8AC3E}">
        <p14:creationId xmlns:p14="http://schemas.microsoft.com/office/powerpoint/2010/main" val="1778357957"/>
      </p:ext>
    </p:extLst>
  </p:cSld>
  <p:clrMapOvr>
    <a:masterClrMapping/>
  </p:clrMapOvr>
  <p:transition spd="slow">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smtClean="0"/>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542967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smtClean="0"/>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4245675471"/>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smtClean="0"/>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2528969905"/>
      </p:ext>
    </p:extLst>
  </p:cSld>
  <p:clrMapOvr>
    <a:masterClrMapping/>
  </p:clrMapOvr>
  <p:transition spd="med">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smtClean="0"/>
              <a:t>Click to edit Master text styles</a:t>
            </a:r>
          </a:p>
        </p:txBody>
      </p:sp>
    </p:spTree>
    <p:extLst>
      <p:ext uri="{BB962C8B-B14F-4D97-AF65-F5344CB8AC3E}">
        <p14:creationId xmlns:p14="http://schemas.microsoft.com/office/powerpoint/2010/main" val="2280407899"/>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smtClean="0"/>
              <a:t>Title Goes Here</a:t>
            </a:r>
          </a:p>
        </p:txBody>
      </p:sp>
      <p:pic>
        <p:nvPicPr>
          <p:cNvPr id="1029" name="Picture 2"/>
          <p:cNvPicPr>
            <a:picLocks noChangeAspect="1" noChangeArrowheads="1"/>
          </p:cNvPicPr>
          <p:nvPr/>
        </p:nvPicPr>
        <p:blipFill>
          <a:blip r:embed="rId46">
            <a:extLst>
              <a:ext uri="{28A0092B-C50C-407E-A947-70E740481C1C}">
                <a14:useLocalDpi xmlns:a14="http://schemas.microsoft.com/office/drawing/2010/main" val="0"/>
              </a:ext>
            </a:extLst>
          </a:blip>
          <a:stretch>
            <a:fillRect/>
          </a:stretch>
        </p:blipFill>
        <p:spPr bwMode="auto">
          <a:xfrm>
            <a:off x="477679" y="4802382"/>
            <a:ext cx="424180"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7"/>
          <p:cNvSpPr>
            <a:spLocks noChangeArrowheads="1"/>
          </p:cNvSpPr>
          <p:nvPr/>
        </p:nvSpPr>
        <p:spPr bwMode="ltGray">
          <a:xfrm>
            <a:off x="8515707" y="4919453"/>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8" name="Rectangle 4"/>
          <p:cNvSpPr>
            <a:spLocks noChangeArrowheads="1"/>
          </p:cNvSpPr>
          <p:nvPr/>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rtl="0" fontAlgn="auto">
              <a:spcBef>
                <a:spcPts val="0"/>
              </a:spcBef>
              <a:spcAft>
                <a:spcPts val="0"/>
              </a:spcAft>
              <a:defRPr/>
            </a:pPr>
            <a:r>
              <a:rPr lang="en-US" sz="600" kern="1200" dirty="0" smtClean="0">
                <a:solidFill>
                  <a:srgbClr val="000000">
                    <a:alpha val="25000"/>
                  </a:srgbClr>
                </a:solidFill>
                <a:latin typeface="+mn-lt"/>
                <a:ea typeface="+mn-ea"/>
                <a:cs typeface="CiscoSans Thin"/>
              </a:rPr>
              <a:t>C97-738596-01 © 2017  Cisco and/or its affiliates. All rights reserved.   </a:t>
            </a:r>
          </a:p>
        </p:txBody>
      </p:sp>
    </p:spTree>
  </p:cSld>
  <p:clrMap bg1="lt1" tx1="dk1" bg2="lt2" tx2="dk2" accent1="accent1" accent2="accent2" accent3="accent3" accent4="accent4" accent5="accent5" accent6="accent6" hlink="hlink" folHlink="folHlink"/>
  <p:sldLayoutIdLst>
    <p:sldLayoutId id="2147483962" r:id="rId1"/>
    <p:sldLayoutId id="2147483964" r:id="rId2"/>
    <p:sldLayoutId id="2147483965" r:id="rId3"/>
    <p:sldLayoutId id="2147484012"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77" r:id="rId16"/>
    <p:sldLayoutId id="2147483978" r:id="rId17"/>
    <p:sldLayoutId id="2147483979" r:id="rId18"/>
    <p:sldLayoutId id="2147483980" r:id="rId19"/>
    <p:sldLayoutId id="2147483981" r:id="rId20"/>
    <p:sldLayoutId id="2147483982" r:id="rId21"/>
    <p:sldLayoutId id="2147483983" r:id="rId22"/>
    <p:sldLayoutId id="2147483984" r:id="rId23"/>
    <p:sldLayoutId id="2147483985" r:id="rId24"/>
    <p:sldLayoutId id="2147484006" r:id="rId25"/>
    <p:sldLayoutId id="2147484007" r:id="rId26"/>
    <p:sldLayoutId id="2147484008" r:id="rId27"/>
    <p:sldLayoutId id="2147484010" r:id="rId28"/>
    <p:sldLayoutId id="2147484009" r:id="rId29"/>
    <p:sldLayoutId id="2147484011" r:id="rId30"/>
    <p:sldLayoutId id="2147483986" r:id="rId31"/>
    <p:sldLayoutId id="2147483987" r:id="rId32"/>
    <p:sldLayoutId id="2147483989" r:id="rId33"/>
    <p:sldLayoutId id="2147484014" r:id="rId34"/>
    <p:sldLayoutId id="2147483990" r:id="rId35"/>
    <p:sldLayoutId id="2147483991" r:id="rId36"/>
    <p:sldLayoutId id="2147483992" r:id="rId37"/>
    <p:sldLayoutId id="2147483993" r:id="rId38"/>
    <p:sldLayoutId id="2147483994" r:id="rId39"/>
    <p:sldLayoutId id="2147483995" r:id="rId40"/>
    <p:sldLayoutId id="2147483996" r:id="rId41"/>
    <p:sldLayoutId id="2147483997" r:id="rId42"/>
    <p:sldLayoutId id="2147483998" r:id="rId43"/>
    <p:sldLayoutId id="2147484016" r:id="rId44"/>
  </p:sldLayoutIdLst>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0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5.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6.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29.png"/><Relationship Id="rId4" Type="http://schemas.openxmlformats.org/officeDocument/2006/relationships/image" Target="../media/image28.jpe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16.xml"/><Relationship Id="rId7" Type="http://schemas.openxmlformats.org/officeDocument/2006/relationships/image" Target="../media/image3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6.emf"/><Relationship Id="rId5" Type="http://schemas.openxmlformats.org/officeDocument/2006/relationships/oleObject" Target="../embeddings/oleObject6.bin"/><Relationship Id="rId10" Type="http://schemas.openxmlformats.org/officeDocument/2006/relationships/image" Target="../media/image36.png"/><Relationship Id="rId4" Type="http://schemas.openxmlformats.org/officeDocument/2006/relationships/notesSlide" Target="../notesSlides/notesSlide19.xml"/><Relationship Id="rId9"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slideLayout" Target="../slideLayouts/slideLayout44.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8.emf"/><Relationship Id="rId11" Type="http://schemas.openxmlformats.org/officeDocument/2006/relationships/image" Target="../media/image41.png"/><Relationship Id="rId5" Type="http://schemas.openxmlformats.org/officeDocument/2006/relationships/oleObject" Target="../embeddings/oleObject7.bin"/><Relationship Id="rId10" Type="http://schemas.openxmlformats.org/officeDocument/2006/relationships/image" Target="../media/image40.png"/><Relationship Id="rId4" Type="http://schemas.openxmlformats.org/officeDocument/2006/relationships/notesSlide" Target="../notesSlides/notesSlide22.xml"/><Relationship Id="rId9" Type="http://schemas.openxmlformats.org/officeDocument/2006/relationships/image" Target="../media/image39.png"/><Relationship Id="rId14"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tiff"/><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20.tiff"/><Relationship Id="rId5" Type="http://schemas.openxmlformats.org/officeDocument/2006/relationships/image" Target="../media/image19.tiff"/><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sz="3200" dirty="0"/>
              <a:t>New Service Provider IoT </a:t>
            </a:r>
            <a:r>
              <a:rPr lang="en-US" sz="3200" dirty="0" smtClean="0"/>
              <a:t/>
            </a:r>
            <a:br>
              <a:rPr lang="en-US" sz="3200" dirty="0" smtClean="0"/>
            </a:br>
            <a:r>
              <a:rPr lang="en-US" sz="3200" dirty="0" smtClean="0"/>
              <a:t>Solutions </a:t>
            </a:r>
            <a:r>
              <a:rPr lang="en-US" sz="3200" dirty="0"/>
              <a:t>to Drive Digitization</a:t>
            </a:r>
          </a:p>
        </p:txBody>
      </p:sp>
      <p:sp>
        <p:nvSpPr>
          <p:cNvPr id="3" name="TextBox 2"/>
          <p:cNvSpPr txBox="1"/>
          <p:nvPr/>
        </p:nvSpPr>
        <p:spPr>
          <a:xfrm>
            <a:off x="469496" y="4304749"/>
            <a:ext cx="1531317" cy="369332"/>
          </a:xfrm>
          <a:prstGeom prst="rect">
            <a:avLst/>
          </a:prstGeom>
          <a:noFill/>
        </p:spPr>
        <p:txBody>
          <a:bodyPr wrap="none" rtlCol="0">
            <a:spAutoFit/>
          </a:bodyPr>
          <a:lstStyle/>
          <a:p>
            <a:r>
              <a:rPr lang="en-US" smtClean="0">
                <a:solidFill>
                  <a:schemeClr val="bg1"/>
                </a:solidFill>
              </a:rPr>
              <a:t>25 April 2017</a:t>
            </a:r>
            <a:endParaRPr lang="en-US">
              <a:solidFill>
                <a:schemeClr val="bg1"/>
              </a:solidFill>
            </a:endParaRPr>
          </a:p>
        </p:txBody>
      </p:sp>
      <p:sp>
        <p:nvSpPr>
          <p:cNvPr id="4" name="Text Placeholder 38"/>
          <p:cNvSpPr>
            <a:spLocks noGrp="1"/>
          </p:cNvSpPr>
          <p:nvPr>
            <p:ph type="body" sz="quarter" idx="14"/>
          </p:nvPr>
        </p:nvSpPr>
        <p:spPr>
          <a:xfrm>
            <a:off x="469496" y="3302869"/>
            <a:ext cx="8296421" cy="288131"/>
          </a:xfrm>
        </p:spPr>
        <p:txBody>
          <a:bodyPr/>
          <a:lstStyle/>
          <a:p>
            <a:r>
              <a:rPr lang="en-US" dirty="0" smtClean="0">
                <a:latin typeface="+mj-lt"/>
              </a:rPr>
              <a:t>Ron </a:t>
            </a:r>
            <a:r>
              <a:rPr lang="en-US" dirty="0" err="1" smtClean="0">
                <a:latin typeface="+mj-lt"/>
              </a:rPr>
              <a:t>Malenfant</a:t>
            </a:r>
            <a:r>
              <a:rPr lang="en-US" dirty="0" smtClean="0">
                <a:latin typeface="+mj-lt"/>
              </a:rPr>
              <a:t/>
            </a:r>
            <a:br>
              <a:rPr lang="en-US" dirty="0" smtClean="0">
                <a:latin typeface="+mj-lt"/>
              </a:rPr>
            </a:br>
            <a:r>
              <a:rPr lang="en-US" dirty="0">
                <a:latin typeface="+mj-lt"/>
              </a:rPr>
              <a:t>Margaret </a:t>
            </a:r>
            <a:r>
              <a:rPr lang="en-US" dirty="0" err="1" smtClean="0">
                <a:latin typeface="+mj-lt"/>
              </a:rPr>
              <a:t>Kaczmarska</a:t>
            </a:r>
            <a:r>
              <a:rPr lang="en-US" dirty="0">
                <a:latin typeface="+mj-lt"/>
              </a:rPr>
              <a:t/>
            </a:r>
            <a:br>
              <a:rPr lang="en-US" dirty="0">
                <a:latin typeface="+mj-lt"/>
              </a:rPr>
            </a:br>
            <a:r>
              <a:rPr lang="en-US" dirty="0" smtClean="0">
                <a:latin typeface="+mj-lt"/>
              </a:rPr>
              <a:t>Brian Walsh</a:t>
            </a:r>
          </a:p>
          <a:p>
            <a:r>
              <a:rPr lang="en-US" dirty="0" smtClean="0">
                <a:latin typeface="+mj-lt"/>
              </a:rPr>
              <a:t>Cisco</a:t>
            </a:r>
            <a:endParaRPr lang="en-US" dirty="0">
              <a:latin typeface="+mj-lt"/>
            </a:endParaRPr>
          </a:p>
        </p:txBody>
      </p:sp>
    </p:spTree>
    <p:extLst>
      <p:ext uri="{BB962C8B-B14F-4D97-AF65-F5344CB8AC3E}">
        <p14:creationId xmlns:p14="http://schemas.microsoft.com/office/powerpoint/2010/main" val="680929172"/>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a:p>
        </p:txBody>
      </p:sp>
      <p:sp>
        <p:nvSpPr>
          <p:cNvPr id="3" name="Title 2"/>
          <p:cNvSpPr>
            <a:spLocks noGrp="1"/>
          </p:cNvSpPr>
          <p:nvPr>
            <p:ph type="title"/>
          </p:nvPr>
        </p:nvSpPr>
        <p:spPr/>
        <p:txBody>
          <a:bodyPr/>
          <a:lstStyle/>
          <a:p>
            <a:endParaRPr lang="en-US"/>
          </a:p>
        </p:txBody>
      </p:sp>
      <p:pic>
        <p:nvPicPr>
          <p:cNvPr id="4" name="Picture 3"/>
          <p:cNvPicPr>
            <a:picLocks noChangeAspect="1"/>
          </p:cNvPicPr>
          <p:nvPr/>
        </p:nvPicPr>
        <p:blipFill>
          <a:blip r:embed="rId2"/>
          <a:stretch>
            <a:fillRect/>
          </a:stretch>
        </p:blipFill>
        <p:spPr>
          <a:xfrm>
            <a:off x="0" y="341313"/>
            <a:ext cx="9144000" cy="4568206"/>
          </a:xfrm>
          <a:prstGeom prst="rect">
            <a:avLst/>
          </a:prstGeom>
        </p:spPr>
      </p:pic>
      <p:sp>
        <p:nvSpPr>
          <p:cNvPr id="5" name="Text Box 20"/>
          <p:cNvSpPr txBox="1">
            <a:spLocks noChangeArrowheads="1"/>
          </p:cNvSpPr>
          <p:nvPr/>
        </p:nvSpPr>
        <p:spPr bwMode="auto">
          <a:xfrm>
            <a:off x="7578525" y="4642050"/>
            <a:ext cx="1017047" cy="236812"/>
          </a:xfrm>
          <a:prstGeom prst="rect">
            <a:avLst/>
          </a:prstGeom>
          <a:noFill/>
          <a:ln w="9525" algn="ctr">
            <a:noFill/>
            <a:miter lim="800000"/>
            <a:headEnd/>
            <a:tailEnd/>
          </a:ln>
        </p:spPr>
        <p:txBody>
          <a:bodyPr wrap="none" lIns="82124" tIns="41061" rIns="82124" bIns="41061">
            <a:spAutoFit/>
          </a:bodyPr>
          <a:lstStyle>
            <a:defPPr>
              <a:defRPr lang="en-US"/>
            </a:defPPr>
            <a:lvl1pPr defTabSz="814388">
              <a:defRPr sz="1100">
                <a:solidFill>
                  <a:schemeClr val="bg1">
                    <a:lumMod val="50000"/>
                  </a:schemeClr>
                </a:solidFill>
                <a:latin typeface="+mn-lt"/>
              </a:defRPr>
            </a:lvl1pPr>
          </a:lstStyle>
          <a:p>
            <a:pPr algn="r"/>
            <a:r>
              <a:rPr lang="it-IT" sz="1000" dirty="0" smtClean="0">
                <a:solidFill>
                  <a:schemeClr val="tx1"/>
                </a:solidFill>
              </a:rPr>
              <a:t>Source</a:t>
            </a:r>
            <a:r>
              <a:rPr lang="it-IT" sz="1000" smtClean="0">
                <a:solidFill>
                  <a:schemeClr val="tx1"/>
                </a:solidFill>
              </a:rPr>
              <a:t>: GSMA</a:t>
            </a:r>
            <a:endParaRPr lang="en-US" sz="1000" dirty="0">
              <a:solidFill>
                <a:schemeClr val="tx1"/>
              </a:solidFill>
            </a:endParaRPr>
          </a:p>
        </p:txBody>
      </p:sp>
    </p:spTree>
    <p:extLst>
      <p:ext uri="{BB962C8B-B14F-4D97-AF65-F5344CB8AC3E}">
        <p14:creationId xmlns:p14="http://schemas.microsoft.com/office/powerpoint/2010/main" val="1649077097"/>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37766" y="327945"/>
            <a:ext cx="8345488" cy="731837"/>
          </a:xfrm>
        </p:spPr>
        <p:txBody>
          <a:bodyPr/>
          <a:lstStyle/>
          <a:p>
            <a:r>
              <a:rPr lang="en-US" dirty="0" smtClean="0"/>
              <a:t>Poll #1  </a:t>
            </a:r>
            <a:endParaRPr lang="en-US" sz="1200" dirty="0">
              <a:solidFill>
                <a:srgbClr val="FF0000"/>
              </a:solidFill>
            </a:endParaRPr>
          </a:p>
        </p:txBody>
      </p:sp>
      <p:sp>
        <p:nvSpPr>
          <p:cNvPr id="20" name="Text Placeholder 7"/>
          <p:cNvSpPr txBox="1">
            <a:spLocks/>
          </p:cNvSpPr>
          <p:nvPr/>
        </p:nvSpPr>
        <p:spPr>
          <a:xfrm>
            <a:off x="523201" y="1139673"/>
            <a:ext cx="8141464" cy="535063"/>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endParaRPr lang="en-US" sz="2000" dirty="0" smtClean="0">
              <a:solidFill>
                <a:schemeClr val="tx2"/>
              </a:solidFill>
            </a:endParaRPr>
          </a:p>
        </p:txBody>
      </p:sp>
      <p:sp>
        <p:nvSpPr>
          <p:cNvPr id="16" name="Text Placeholder 7"/>
          <p:cNvSpPr txBox="1">
            <a:spLocks/>
          </p:cNvSpPr>
          <p:nvPr/>
        </p:nvSpPr>
        <p:spPr>
          <a:xfrm>
            <a:off x="516665" y="2355227"/>
            <a:ext cx="8141464" cy="325437"/>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buFont typeface="Courier New" charset="0"/>
              <a:buChar char="o"/>
            </a:pPr>
            <a:endParaRPr lang="en-US" sz="2000" dirty="0">
              <a:solidFill>
                <a:schemeClr val="tx2"/>
              </a:solidFill>
            </a:endParaRPr>
          </a:p>
        </p:txBody>
      </p:sp>
      <p:sp>
        <p:nvSpPr>
          <p:cNvPr id="25" name="Text Placeholder 7"/>
          <p:cNvSpPr txBox="1">
            <a:spLocks/>
          </p:cNvSpPr>
          <p:nvPr/>
        </p:nvSpPr>
        <p:spPr>
          <a:xfrm>
            <a:off x="523201" y="3295211"/>
            <a:ext cx="8141464" cy="325437"/>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1600" dirty="0" smtClean="0">
                <a:solidFill>
                  <a:schemeClr val="tx2"/>
                </a:solidFill>
              </a:rPr>
              <a:t>			    </a:t>
            </a:r>
            <a:r>
              <a:rPr lang="en-US" sz="1600" dirty="0">
                <a:solidFill>
                  <a:schemeClr val="tx2"/>
                </a:solidFill>
              </a:rPr>
              <a:t> </a:t>
            </a:r>
            <a:r>
              <a:rPr lang="en-US" sz="1600" dirty="0" smtClean="0">
                <a:solidFill>
                  <a:schemeClr val="tx2"/>
                </a:solidFill>
              </a:rPr>
              <a:t>           </a:t>
            </a:r>
            <a:endParaRPr lang="en-US" sz="1600" dirty="0">
              <a:solidFill>
                <a:schemeClr val="tx2"/>
              </a:solidFill>
            </a:endParaRPr>
          </a:p>
        </p:txBody>
      </p:sp>
      <p:sp>
        <p:nvSpPr>
          <p:cNvPr id="39" name="Text Placeholder 7"/>
          <p:cNvSpPr txBox="1">
            <a:spLocks/>
          </p:cNvSpPr>
          <p:nvPr/>
        </p:nvSpPr>
        <p:spPr>
          <a:xfrm>
            <a:off x="516665" y="2873513"/>
            <a:ext cx="8141464" cy="325437"/>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buFont typeface="Courier New" charset="0"/>
              <a:buChar char="o"/>
            </a:pPr>
            <a:endParaRPr lang="en-US" sz="2000" dirty="0">
              <a:solidFill>
                <a:schemeClr val="tx2"/>
              </a:solidFill>
            </a:endParaRPr>
          </a:p>
        </p:txBody>
      </p:sp>
    </p:spTree>
    <p:extLst>
      <p:ext uri="{BB962C8B-B14F-4D97-AF65-F5344CB8AC3E}">
        <p14:creationId xmlns:p14="http://schemas.microsoft.com/office/powerpoint/2010/main" val="181771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0" y="203201"/>
            <a:ext cx="9144000" cy="4721121"/>
          </a:xfrm>
          <a:prstGeom prst="rect">
            <a:avLst/>
          </a:prstGeom>
        </p:spPr>
      </p:pic>
    </p:spTree>
    <p:extLst>
      <p:ext uri="{BB962C8B-B14F-4D97-AF65-F5344CB8AC3E}">
        <p14:creationId xmlns:p14="http://schemas.microsoft.com/office/powerpoint/2010/main" val="1523392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reeform 5"/>
          <p:cNvSpPr>
            <a:spLocks noEditPoints="1"/>
          </p:cNvSpPr>
          <p:nvPr/>
        </p:nvSpPr>
        <p:spPr bwMode="auto">
          <a:xfrm>
            <a:off x="-3982" y="1079500"/>
            <a:ext cx="9151965" cy="3648075"/>
          </a:xfrm>
          <a:prstGeom prst="rect">
            <a:avLst/>
          </a:prstGeom>
          <a:solidFill>
            <a:schemeClr val="accent5">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1" name="Freeform 5"/>
          <p:cNvSpPr>
            <a:spLocks noEditPoints="1"/>
          </p:cNvSpPr>
          <p:nvPr/>
        </p:nvSpPr>
        <p:spPr bwMode="auto">
          <a:xfrm>
            <a:off x="-3982" y="4546600"/>
            <a:ext cx="9151965" cy="171450"/>
          </a:xfrm>
          <a:prstGeom prst="rect">
            <a:avLst/>
          </a:prstGeom>
          <a:solidFill>
            <a:schemeClr val="tx1">
              <a:lumMod val="50000"/>
              <a:alpha val="50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2" name="Freeform 5"/>
          <p:cNvSpPr>
            <a:spLocks noEditPoints="1"/>
          </p:cNvSpPr>
          <p:nvPr/>
        </p:nvSpPr>
        <p:spPr bwMode="auto">
          <a:xfrm>
            <a:off x="0" y="2057087"/>
            <a:ext cx="9151965" cy="2518088"/>
          </a:xfrm>
          <a:prstGeom prst="rect">
            <a:avLst/>
          </a:prstGeom>
          <a:gradFill flip="none" rotWithShape="1">
            <a:gsLst>
              <a:gs pos="0">
                <a:schemeClr val="bg1">
                  <a:alpha val="0"/>
                </a:schemeClr>
              </a:gs>
              <a:gs pos="100000">
                <a:schemeClr val="accent4">
                  <a:lumMod val="20000"/>
                  <a:lumOff val="80000"/>
                  <a:alpha val="57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478110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dirty="0" smtClean="0"/>
              <a:t>What Do Your Customers Want from </a:t>
            </a:r>
            <a:r>
              <a:rPr dirty="0" err="1" smtClean="0"/>
              <a:t>IoT</a:t>
            </a:r>
            <a:r>
              <a:rPr dirty="0" smtClean="0"/>
              <a:t>?</a:t>
            </a:r>
            <a:endParaRPr lang="en-US" dirty="0"/>
          </a:p>
        </p:txBody>
      </p:sp>
      <p:grpSp>
        <p:nvGrpSpPr>
          <p:cNvPr id="3" name="Group 169"/>
          <p:cNvGrpSpPr/>
          <p:nvPr/>
        </p:nvGrpSpPr>
        <p:grpSpPr>
          <a:xfrm>
            <a:off x="953643" y="1168400"/>
            <a:ext cx="7569572" cy="3397249"/>
            <a:chOff x="953643" y="1168400"/>
            <a:chExt cx="7569572" cy="3397249"/>
          </a:xfrm>
        </p:grpSpPr>
        <p:sp>
          <p:nvSpPr>
            <p:cNvPr id="171" name="Freeform 8"/>
            <p:cNvSpPr>
              <a:spLocks/>
            </p:cNvSpPr>
            <p:nvPr/>
          </p:nvSpPr>
          <p:spPr bwMode="auto">
            <a:xfrm>
              <a:off x="5671619" y="2214689"/>
              <a:ext cx="1977577" cy="2188034"/>
            </a:xfrm>
            <a:custGeom>
              <a:avLst/>
              <a:gdLst>
                <a:gd name="connsiteX0" fmla="*/ 3184561 w 3924570"/>
                <a:gd name="connsiteY0" fmla="*/ 0 h 4002677"/>
                <a:gd name="connsiteX1" fmla="*/ 3230892 w 3924570"/>
                <a:gd name="connsiteY1" fmla="*/ 477408 h 4002677"/>
                <a:gd name="connsiteX2" fmla="*/ 3438485 w 3924570"/>
                <a:gd name="connsiteY2" fmla="*/ 462530 h 4002677"/>
                <a:gd name="connsiteX3" fmla="*/ 3438485 w 3924570"/>
                <a:gd name="connsiteY3" fmla="*/ 512834 h 4002677"/>
                <a:gd name="connsiteX4" fmla="*/ 3924570 w 3924570"/>
                <a:gd name="connsiteY4" fmla="*/ 4002677 h 4002677"/>
                <a:gd name="connsiteX5" fmla="*/ 0 w 3924570"/>
                <a:gd name="connsiteY5" fmla="*/ 4002677 h 4002677"/>
                <a:gd name="connsiteX6" fmla="*/ 3184561 w 3924570"/>
                <a:gd name="connsiteY6" fmla="*/ 0 h 4002677"/>
                <a:gd name="connsiteX0" fmla="*/ 3184561 w 4359118"/>
                <a:gd name="connsiteY0" fmla="*/ 126947 h 4129624"/>
                <a:gd name="connsiteX1" fmla="*/ 3230892 w 4359118"/>
                <a:gd name="connsiteY1" fmla="*/ 604355 h 4129624"/>
                <a:gd name="connsiteX2" fmla="*/ 3438485 w 4359118"/>
                <a:gd name="connsiteY2" fmla="*/ 589477 h 4129624"/>
                <a:gd name="connsiteX3" fmla="*/ 4359118 w 4359118"/>
                <a:gd name="connsiteY3" fmla="*/ 0 h 4129624"/>
                <a:gd name="connsiteX4" fmla="*/ 3924570 w 4359118"/>
                <a:gd name="connsiteY4" fmla="*/ 4129624 h 4129624"/>
                <a:gd name="connsiteX5" fmla="*/ 0 w 4359118"/>
                <a:gd name="connsiteY5" fmla="*/ 4129624 h 4129624"/>
                <a:gd name="connsiteX6" fmla="*/ 3184561 w 4359118"/>
                <a:gd name="connsiteY6" fmla="*/ 126947 h 4129624"/>
                <a:gd name="connsiteX0" fmla="*/ 3184561 w 4359118"/>
                <a:gd name="connsiteY0" fmla="*/ 126947 h 4129624"/>
                <a:gd name="connsiteX1" fmla="*/ 3230892 w 4359118"/>
                <a:gd name="connsiteY1" fmla="*/ 604355 h 4129624"/>
                <a:gd name="connsiteX2" fmla="*/ 4359118 w 4359118"/>
                <a:gd name="connsiteY2" fmla="*/ 0 h 4129624"/>
                <a:gd name="connsiteX3" fmla="*/ 3924570 w 4359118"/>
                <a:gd name="connsiteY3" fmla="*/ 4129624 h 4129624"/>
                <a:gd name="connsiteX4" fmla="*/ 0 w 4359118"/>
                <a:gd name="connsiteY4" fmla="*/ 4129624 h 4129624"/>
                <a:gd name="connsiteX5" fmla="*/ 3184561 w 4359118"/>
                <a:gd name="connsiteY5" fmla="*/ 126947 h 4129624"/>
                <a:gd name="connsiteX0" fmla="*/ 3184561 w 4359118"/>
                <a:gd name="connsiteY0" fmla="*/ 126947 h 4129624"/>
                <a:gd name="connsiteX1" fmla="*/ 4359118 w 4359118"/>
                <a:gd name="connsiteY1" fmla="*/ 0 h 4129624"/>
                <a:gd name="connsiteX2" fmla="*/ 3924570 w 4359118"/>
                <a:gd name="connsiteY2" fmla="*/ 4129624 h 4129624"/>
                <a:gd name="connsiteX3" fmla="*/ 0 w 4359118"/>
                <a:gd name="connsiteY3" fmla="*/ 4129624 h 4129624"/>
                <a:gd name="connsiteX4" fmla="*/ 3184561 w 4359118"/>
                <a:gd name="connsiteY4" fmla="*/ 126947 h 4129624"/>
                <a:gd name="connsiteX0" fmla="*/ 4047654 w 4359118"/>
                <a:gd name="connsiteY0" fmla="*/ 0 h 4303751"/>
                <a:gd name="connsiteX1" fmla="*/ 4359118 w 4359118"/>
                <a:gd name="connsiteY1" fmla="*/ 174127 h 4303751"/>
                <a:gd name="connsiteX2" fmla="*/ 3924570 w 4359118"/>
                <a:gd name="connsiteY2" fmla="*/ 4303751 h 4303751"/>
                <a:gd name="connsiteX3" fmla="*/ 0 w 4359118"/>
                <a:gd name="connsiteY3" fmla="*/ 4303751 h 4303751"/>
                <a:gd name="connsiteX4" fmla="*/ 4047654 w 4359118"/>
                <a:gd name="connsiteY4" fmla="*/ 0 h 4303751"/>
                <a:gd name="connsiteX0" fmla="*/ 4047654 w 5343878"/>
                <a:gd name="connsiteY0" fmla="*/ 0 h 4322568"/>
                <a:gd name="connsiteX1" fmla="*/ 4359118 w 5343878"/>
                <a:gd name="connsiteY1" fmla="*/ 174127 h 4322568"/>
                <a:gd name="connsiteX2" fmla="*/ 5343878 w 5343878"/>
                <a:gd name="connsiteY2" fmla="*/ 4322568 h 4322568"/>
                <a:gd name="connsiteX3" fmla="*/ 0 w 5343878"/>
                <a:gd name="connsiteY3" fmla="*/ 4303751 h 4322568"/>
                <a:gd name="connsiteX4" fmla="*/ 4047654 w 5343878"/>
                <a:gd name="connsiteY4" fmla="*/ 0 h 4322568"/>
                <a:gd name="connsiteX0" fmla="*/ 2685886 w 3982110"/>
                <a:gd name="connsiteY0" fmla="*/ 0 h 4322568"/>
                <a:gd name="connsiteX1" fmla="*/ 2997350 w 3982110"/>
                <a:gd name="connsiteY1" fmla="*/ 174127 h 4322568"/>
                <a:gd name="connsiteX2" fmla="*/ 3982110 w 3982110"/>
                <a:gd name="connsiteY2" fmla="*/ 4322568 h 4322568"/>
                <a:gd name="connsiteX3" fmla="*/ 0 w 3982110"/>
                <a:gd name="connsiteY3" fmla="*/ 3682787 h 4322568"/>
                <a:gd name="connsiteX4" fmla="*/ 2685886 w 3982110"/>
                <a:gd name="connsiteY4" fmla="*/ 0 h 4322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2110" h="4322568">
                  <a:moveTo>
                    <a:pt x="2685886" y="0"/>
                  </a:moveTo>
                  <a:lnTo>
                    <a:pt x="2997350" y="174127"/>
                  </a:lnTo>
                  <a:lnTo>
                    <a:pt x="3982110" y="4322568"/>
                  </a:lnTo>
                  <a:lnTo>
                    <a:pt x="0" y="3682787"/>
                  </a:lnTo>
                  <a:cubicBezTo>
                    <a:pt x="735463" y="2436374"/>
                    <a:pt x="1950423" y="1246413"/>
                    <a:pt x="2685886" y="0"/>
                  </a:cubicBezTo>
                  <a:close/>
                </a:path>
              </a:pathLst>
            </a:custGeom>
            <a:gradFill flip="none" rotWithShape="1">
              <a:gsLst>
                <a:gs pos="100000">
                  <a:schemeClr val="bg1">
                    <a:alpha val="0"/>
                  </a:schemeClr>
                </a:gs>
                <a:gs pos="0">
                  <a:schemeClr val="tx1">
                    <a:alpha val="18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2" name="Freeform 36"/>
            <p:cNvSpPr>
              <a:spLocks noEditPoints="1"/>
            </p:cNvSpPr>
            <p:nvPr/>
          </p:nvSpPr>
          <p:spPr bwMode="auto">
            <a:xfrm flipH="1">
              <a:off x="6550006" y="3552540"/>
              <a:ext cx="403244" cy="1013109"/>
            </a:xfrm>
            <a:custGeom>
              <a:avLst/>
              <a:gdLst>
                <a:gd name="T0" fmla="*/ 453 w 509"/>
                <a:gd name="T1" fmla="*/ 289 h 1284"/>
                <a:gd name="T2" fmla="*/ 471 w 509"/>
                <a:gd name="T3" fmla="*/ 316 h 1284"/>
                <a:gd name="T4" fmla="*/ 338 w 509"/>
                <a:gd name="T5" fmla="*/ 405 h 1284"/>
                <a:gd name="T6" fmla="*/ 320 w 509"/>
                <a:gd name="T7" fmla="*/ 378 h 1284"/>
                <a:gd name="T8" fmla="*/ 453 w 509"/>
                <a:gd name="T9" fmla="*/ 289 h 1284"/>
                <a:gd name="T10" fmla="*/ 360 w 509"/>
                <a:gd name="T11" fmla="*/ 395 h 1284"/>
                <a:gd name="T12" fmla="*/ 214 w 509"/>
                <a:gd name="T13" fmla="*/ 398 h 1284"/>
                <a:gd name="T14" fmla="*/ 215 w 509"/>
                <a:gd name="T15" fmla="*/ 365 h 1284"/>
                <a:gd name="T16" fmla="*/ 9 w 509"/>
                <a:gd name="T17" fmla="*/ 337 h 1284"/>
                <a:gd name="T18" fmla="*/ 12 w 509"/>
                <a:gd name="T19" fmla="*/ 742 h 1284"/>
                <a:gd name="T20" fmla="*/ 48 w 509"/>
                <a:gd name="T21" fmla="*/ 810 h 1284"/>
                <a:gd name="T22" fmla="*/ 51 w 509"/>
                <a:gd name="T23" fmla="*/ 1194 h 1284"/>
                <a:gd name="T24" fmla="*/ 190 w 509"/>
                <a:gd name="T25" fmla="*/ 1194 h 1284"/>
                <a:gd name="T26" fmla="*/ 187 w 509"/>
                <a:gd name="T27" fmla="*/ 802 h 1284"/>
                <a:gd name="T28" fmla="*/ 219 w 509"/>
                <a:gd name="T29" fmla="*/ 717 h 1284"/>
                <a:gd name="T30" fmla="*/ 211 w 509"/>
                <a:gd name="T31" fmla="*/ 559 h 1284"/>
                <a:gd name="T32" fmla="*/ 227 w 509"/>
                <a:gd name="T33" fmla="*/ 564 h 1284"/>
                <a:gd name="T34" fmla="*/ 430 w 509"/>
                <a:gd name="T35" fmla="*/ 516 h 1284"/>
                <a:gd name="T36" fmla="*/ 360 w 509"/>
                <a:gd name="T37" fmla="*/ 395 h 1284"/>
                <a:gd name="T38" fmla="*/ 123 w 509"/>
                <a:gd name="T39" fmla="*/ 0 h 1284"/>
                <a:gd name="T40" fmla="*/ 240 w 509"/>
                <a:gd name="T41" fmla="*/ 117 h 1284"/>
                <a:gd name="T42" fmla="*/ 123 w 509"/>
                <a:gd name="T43" fmla="*/ 234 h 1284"/>
                <a:gd name="T44" fmla="*/ 6 w 509"/>
                <a:gd name="T45" fmla="*/ 117 h 1284"/>
                <a:gd name="T46" fmla="*/ 123 w 509"/>
                <a:gd name="T47" fmla="*/ 0 h 1284"/>
                <a:gd name="T48" fmla="*/ 123 w 509"/>
                <a:gd name="T49" fmla="*/ 0 h 1284"/>
                <a:gd name="T50" fmla="*/ 123 w 509"/>
                <a:gd name="T51"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9" h="1284">
                  <a:moveTo>
                    <a:pt x="453" y="289"/>
                  </a:moveTo>
                  <a:cubicBezTo>
                    <a:pt x="471" y="316"/>
                    <a:pt x="471" y="316"/>
                    <a:pt x="471" y="316"/>
                  </a:cubicBezTo>
                  <a:cubicBezTo>
                    <a:pt x="338" y="405"/>
                    <a:pt x="338" y="405"/>
                    <a:pt x="338" y="405"/>
                  </a:cubicBezTo>
                  <a:cubicBezTo>
                    <a:pt x="320" y="378"/>
                    <a:pt x="320" y="378"/>
                    <a:pt x="320" y="378"/>
                  </a:cubicBezTo>
                  <a:lnTo>
                    <a:pt x="453" y="289"/>
                  </a:lnTo>
                  <a:close/>
                  <a:moveTo>
                    <a:pt x="360" y="395"/>
                  </a:moveTo>
                  <a:cubicBezTo>
                    <a:pt x="302" y="427"/>
                    <a:pt x="256" y="442"/>
                    <a:pt x="214" y="398"/>
                  </a:cubicBezTo>
                  <a:cubicBezTo>
                    <a:pt x="214" y="387"/>
                    <a:pt x="215" y="376"/>
                    <a:pt x="215" y="365"/>
                  </a:cubicBezTo>
                  <a:cubicBezTo>
                    <a:pt x="224" y="232"/>
                    <a:pt x="18" y="203"/>
                    <a:pt x="9" y="337"/>
                  </a:cubicBezTo>
                  <a:cubicBezTo>
                    <a:pt x="0" y="472"/>
                    <a:pt x="0" y="607"/>
                    <a:pt x="12" y="742"/>
                  </a:cubicBezTo>
                  <a:cubicBezTo>
                    <a:pt x="15" y="773"/>
                    <a:pt x="29" y="796"/>
                    <a:pt x="48" y="810"/>
                  </a:cubicBezTo>
                  <a:cubicBezTo>
                    <a:pt x="51" y="938"/>
                    <a:pt x="51" y="1066"/>
                    <a:pt x="51" y="1194"/>
                  </a:cubicBezTo>
                  <a:cubicBezTo>
                    <a:pt x="51" y="1284"/>
                    <a:pt x="190" y="1284"/>
                    <a:pt x="190" y="1194"/>
                  </a:cubicBezTo>
                  <a:cubicBezTo>
                    <a:pt x="190" y="1063"/>
                    <a:pt x="190" y="933"/>
                    <a:pt x="187" y="802"/>
                  </a:cubicBezTo>
                  <a:cubicBezTo>
                    <a:pt x="209" y="783"/>
                    <a:pt x="222" y="754"/>
                    <a:pt x="219" y="717"/>
                  </a:cubicBezTo>
                  <a:cubicBezTo>
                    <a:pt x="214" y="664"/>
                    <a:pt x="212" y="612"/>
                    <a:pt x="211" y="559"/>
                  </a:cubicBezTo>
                  <a:cubicBezTo>
                    <a:pt x="216" y="561"/>
                    <a:pt x="221" y="563"/>
                    <a:pt x="227" y="564"/>
                  </a:cubicBezTo>
                  <a:cubicBezTo>
                    <a:pt x="298" y="579"/>
                    <a:pt x="369" y="549"/>
                    <a:pt x="430" y="516"/>
                  </a:cubicBezTo>
                  <a:cubicBezTo>
                    <a:pt x="509" y="473"/>
                    <a:pt x="439" y="353"/>
                    <a:pt x="360" y="395"/>
                  </a:cubicBezTo>
                  <a:close/>
                  <a:moveTo>
                    <a:pt x="123" y="0"/>
                  </a:moveTo>
                  <a:cubicBezTo>
                    <a:pt x="188" y="0"/>
                    <a:pt x="240" y="52"/>
                    <a:pt x="240" y="117"/>
                  </a:cubicBezTo>
                  <a:cubicBezTo>
                    <a:pt x="240" y="182"/>
                    <a:pt x="188" y="234"/>
                    <a:pt x="123" y="234"/>
                  </a:cubicBezTo>
                  <a:cubicBezTo>
                    <a:pt x="59" y="234"/>
                    <a:pt x="6" y="182"/>
                    <a:pt x="6" y="117"/>
                  </a:cubicBezTo>
                  <a:cubicBezTo>
                    <a:pt x="6" y="52"/>
                    <a:pt x="59" y="0"/>
                    <a:pt x="123" y="0"/>
                  </a:cubicBezTo>
                  <a:close/>
                  <a:moveTo>
                    <a:pt x="123" y="0"/>
                  </a:moveTo>
                  <a:cubicBezTo>
                    <a:pt x="123" y="0"/>
                    <a:pt x="123" y="0"/>
                    <a:pt x="123"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3" name="Freeform 27"/>
            <p:cNvSpPr>
              <a:spLocks noEditPoints="1"/>
            </p:cNvSpPr>
            <p:nvPr/>
          </p:nvSpPr>
          <p:spPr bwMode="auto">
            <a:xfrm>
              <a:off x="6918190" y="2057400"/>
              <a:ext cx="1232232" cy="2489200"/>
            </a:xfrm>
            <a:custGeom>
              <a:avLst/>
              <a:gdLst>
                <a:gd name="T0" fmla="*/ 599 w 672"/>
                <a:gd name="T1" fmla="*/ 831 h 1360"/>
                <a:gd name="T2" fmla="*/ 599 w 672"/>
                <a:gd name="T3" fmla="*/ 819 h 1360"/>
                <a:gd name="T4" fmla="*/ 599 w 672"/>
                <a:gd name="T5" fmla="*/ 225 h 1360"/>
                <a:gd name="T6" fmla="*/ 599 w 672"/>
                <a:gd name="T7" fmla="*/ 143 h 1360"/>
                <a:gd name="T8" fmla="*/ 516 w 672"/>
                <a:gd name="T9" fmla="*/ 133 h 1360"/>
                <a:gd name="T10" fmla="*/ 50 w 672"/>
                <a:gd name="T11" fmla="*/ 9 h 1360"/>
                <a:gd name="T12" fmla="*/ 18 w 672"/>
                <a:gd name="T13" fmla="*/ 29 h 1360"/>
                <a:gd name="T14" fmla="*/ 46 w 672"/>
                <a:gd name="T15" fmla="*/ 37 h 1360"/>
                <a:gd name="T16" fmla="*/ 530 w 672"/>
                <a:gd name="T17" fmla="*/ 166 h 1360"/>
                <a:gd name="T18" fmla="*/ 573 w 672"/>
                <a:gd name="T19" fmla="*/ 220 h 1360"/>
                <a:gd name="T20" fmla="*/ 572 w 672"/>
                <a:gd name="T21" fmla="*/ 778 h 1360"/>
                <a:gd name="T22" fmla="*/ 572 w 672"/>
                <a:gd name="T23" fmla="*/ 819 h 1360"/>
                <a:gd name="T24" fmla="*/ 572 w 672"/>
                <a:gd name="T25" fmla="*/ 831 h 1360"/>
                <a:gd name="T26" fmla="*/ 568 w 672"/>
                <a:gd name="T27" fmla="*/ 836 h 1360"/>
                <a:gd name="T28" fmla="*/ 544 w 672"/>
                <a:gd name="T29" fmla="*/ 907 h 1360"/>
                <a:gd name="T30" fmla="*/ 543 w 672"/>
                <a:gd name="T31" fmla="*/ 1284 h 1360"/>
                <a:gd name="T32" fmla="*/ 543 w 672"/>
                <a:gd name="T33" fmla="*/ 1318 h 1360"/>
                <a:gd name="T34" fmla="*/ 625 w 672"/>
                <a:gd name="T35" fmla="*/ 1318 h 1360"/>
                <a:gd name="T36" fmla="*/ 628 w 672"/>
                <a:gd name="T37" fmla="*/ 1310 h 1360"/>
                <a:gd name="T38" fmla="*/ 627 w 672"/>
                <a:gd name="T39" fmla="*/ 890 h 1360"/>
                <a:gd name="T40" fmla="*/ 602 w 672"/>
                <a:gd name="T41" fmla="*/ 834 h 1360"/>
                <a:gd name="T42" fmla="*/ 599 w 672"/>
                <a:gd name="T43" fmla="*/ 831 h 1360"/>
                <a:gd name="T44" fmla="*/ 105 w 672"/>
                <a:gd name="T45" fmla="*/ 142 h 1360"/>
                <a:gd name="T46" fmla="*/ 176 w 672"/>
                <a:gd name="T47" fmla="*/ 87 h 1360"/>
                <a:gd name="T48" fmla="*/ 21 w 672"/>
                <a:gd name="T49" fmla="*/ 45 h 1360"/>
                <a:gd name="T50" fmla="*/ 105 w 672"/>
                <a:gd name="T51" fmla="*/ 142 h 1360"/>
                <a:gd name="T52" fmla="*/ 556 w 672"/>
                <a:gd name="T53" fmla="*/ 186 h 1360"/>
                <a:gd name="T54" fmla="*/ 443 w 672"/>
                <a:gd name="T55" fmla="*/ 159 h 1360"/>
                <a:gd name="T56" fmla="*/ 556 w 672"/>
                <a:gd name="T57" fmla="*/ 299 h 1360"/>
                <a:gd name="T58" fmla="*/ 556 w 672"/>
                <a:gd name="T59" fmla="*/ 186 h 1360"/>
                <a:gd name="T60" fmla="*/ 498 w 672"/>
                <a:gd name="T61" fmla="*/ 1360 h 1360"/>
                <a:gd name="T62" fmla="*/ 672 w 672"/>
                <a:gd name="T63" fmla="*/ 1360 h 1360"/>
                <a:gd name="T64" fmla="*/ 498 w 672"/>
                <a:gd name="T65" fmla="*/ 1360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2" h="1360">
                  <a:moveTo>
                    <a:pt x="599" y="831"/>
                  </a:moveTo>
                  <a:cubicBezTo>
                    <a:pt x="599" y="827"/>
                    <a:pt x="599" y="823"/>
                    <a:pt x="599" y="819"/>
                  </a:cubicBezTo>
                  <a:cubicBezTo>
                    <a:pt x="599" y="629"/>
                    <a:pt x="599" y="411"/>
                    <a:pt x="599" y="225"/>
                  </a:cubicBezTo>
                  <a:cubicBezTo>
                    <a:pt x="599" y="143"/>
                    <a:pt x="599" y="143"/>
                    <a:pt x="599" y="143"/>
                  </a:cubicBezTo>
                  <a:cubicBezTo>
                    <a:pt x="570" y="140"/>
                    <a:pt x="542" y="140"/>
                    <a:pt x="516" y="133"/>
                  </a:cubicBezTo>
                  <a:cubicBezTo>
                    <a:pt x="360" y="92"/>
                    <a:pt x="205" y="50"/>
                    <a:pt x="50" y="9"/>
                  </a:cubicBezTo>
                  <a:cubicBezTo>
                    <a:pt x="33" y="4"/>
                    <a:pt x="19" y="0"/>
                    <a:pt x="18" y="29"/>
                  </a:cubicBezTo>
                  <a:cubicBezTo>
                    <a:pt x="28" y="32"/>
                    <a:pt x="37" y="35"/>
                    <a:pt x="46" y="37"/>
                  </a:cubicBezTo>
                  <a:cubicBezTo>
                    <a:pt x="207" y="80"/>
                    <a:pt x="368" y="124"/>
                    <a:pt x="530" y="166"/>
                  </a:cubicBezTo>
                  <a:cubicBezTo>
                    <a:pt x="562" y="174"/>
                    <a:pt x="573" y="185"/>
                    <a:pt x="573" y="220"/>
                  </a:cubicBezTo>
                  <a:cubicBezTo>
                    <a:pt x="571" y="406"/>
                    <a:pt x="572" y="592"/>
                    <a:pt x="572" y="778"/>
                  </a:cubicBezTo>
                  <a:cubicBezTo>
                    <a:pt x="572" y="781"/>
                    <a:pt x="572" y="804"/>
                    <a:pt x="572" y="819"/>
                  </a:cubicBezTo>
                  <a:cubicBezTo>
                    <a:pt x="572" y="825"/>
                    <a:pt x="572" y="830"/>
                    <a:pt x="572" y="831"/>
                  </a:cubicBezTo>
                  <a:cubicBezTo>
                    <a:pt x="568" y="836"/>
                    <a:pt x="568" y="836"/>
                    <a:pt x="568" y="836"/>
                  </a:cubicBezTo>
                  <a:cubicBezTo>
                    <a:pt x="557" y="859"/>
                    <a:pt x="545" y="882"/>
                    <a:pt x="544" y="907"/>
                  </a:cubicBezTo>
                  <a:cubicBezTo>
                    <a:pt x="542" y="1033"/>
                    <a:pt x="543" y="1158"/>
                    <a:pt x="543" y="1284"/>
                  </a:cubicBezTo>
                  <a:cubicBezTo>
                    <a:pt x="543" y="1318"/>
                    <a:pt x="543" y="1318"/>
                    <a:pt x="543" y="1318"/>
                  </a:cubicBezTo>
                  <a:cubicBezTo>
                    <a:pt x="625" y="1318"/>
                    <a:pt x="625" y="1318"/>
                    <a:pt x="625" y="1318"/>
                  </a:cubicBezTo>
                  <a:cubicBezTo>
                    <a:pt x="626" y="1314"/>
                    <a:pt x="628" y="1312"/>
                    <a:pt x="628" y="1310"/>
                  </a:cubicBezTo>
                  <a:cubicBezTo>
                    <a:pt x="628" y="1170"/>
                    <a:pt x="629" y="1030"/>
                    <a:pt x="627" y="890"/>
                  </a:cubicBezTo>
                  <a:cubicBezTo>
                    <a:pt x="627" y="869"/>
                    <a:pt x="614" y="853"/>
                    <a:pt x="602" y="834"/>
                  </a:cubicBezTo>
                  <a:lnTo>
                    <a:pt x="599" y="831"/>
                  </a:lnTo>
                  <a:close/>
                  <a:moveTo>
                    <a:pt x="105" y="142"/>
                  </a:moveTo>
                  <a:cubicBezTo>
                    <a:pt x="148" y="152"/>
                    <a:pt x="165" y="138"/>
                    <a:pt x="176" y="87"/>
                  </a:cubicBezTo>
                  <a:cubicBezTo>
                    <a:pt x="125" y="73"/>
                    <a:pt x="72" y="59"/>
                    <a:pt x="21" y="45"/>
                  </a:cubicBezTo>
                  <a:cubicBezTo>
                    <a:pt x="0" y="102"/>
                    <a:pt x="53" y="131"/>
                    <a:pt x="105" y="142"/>
                  </a:cubicBezTo>
                  <a:close/>
                  <a:moveTo>
                    <a:pt x="556" y="186"/>
                  </a:moveTo>
                  <a:cubicBezTo>
                    <a:pt x="521" y="178"/>
                    <a:pt x="487" y="170"/>
                    <a:pt x="443" y="159"/>
                  </a:cubicBezTo>
                  <a:cubicBezTo>
                    <a:pt x="483" y="209"/>
                    <a:pt x="517" y="251"/>
                    <a:pt x="556" y="299"/>
                  </a:cubicBezTo>
                  <a:lnTo>
                    <a:pt x="556" y="186"/>
                  </a:lnTo>
                  <a:close/>
                  <a:moveTo>
                    <a:pt x="498" y="1360"/>
                  </a:moveTo>
                  <a:cubicBezTo>
                    <a:pt x="672" y="1360"/>
                    <a:pt x="672" y="1360"/>
                    <a:pt x="672" y="1360"/>
                  </a:cubicBezTo>
                  <a:cubicBezTo>
                    <a:pt x="643" y="1324"/>
                    <a:pt x="532" y="1323"/>
                    <a:pt x="498" y="136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4" name="Group 173"/>
            <p:cNvGrpSpPr/>
            <p:nvPr/>
          </p:nvGrpSpPr>
          <p:grpSpPr>
            <a:xfrm>
              <a:off x="953643" y="1168400"/>
              <a:ext cx="7569572" cy="2517773"/>
              <a:chOff x="953643" y="1168400"/>
              <a:chExt cx="7569572" cy="2517773"/>
            </a:xfrm>
          </p:grpSpPr>
          <p:sp>
            <p:nvSpPr>
              <p:cNvPr id="175" name="Rectangle 174"/>
              <p:cNvSpPr/>
              <p:nvPr/>
            </p:nvSpPr>
            <p:spPr>
              <a:xfrm>
                <a:off x="5326375" y="1168400"/>
                <a:ext cx="3196840" cy="572464"/>
              </a:xfrm>
              <a:prstGeom prst="rect">
                <a:avLst/>
              </a:prstGeom>
              <a:noFill/>
              <a:ln w="25400" cap="rnd" cmpd="sng" algn="ctr">
                <a:noFill/>
                <a:prstDash val="solid"/>
              </a:ln>
              <a:effectLst/>
            </p:spPr>
            <p:txBody>
              <a:bodyPr wrap="square" tIns="18288" bIns="0" rtlCol="0" anchor="t" anchorCtr="0">
                <a:spAutoFit/>
              </a:bodyPr>
              <a:lstStyle/>
              <a:p>
                <a:pPr lvl="0" algn="ctr">
                  <a:defRPr/>
                </a:pPr>
                <a:r>
                  <a:rPr lang="en-US" b="1" dirty="0">
                    <a:solidFill>
                      <a:schemeClr val="accent1"/>
                    </a:solidFill>
                    <a:latin typeface="+mj-lt"/>
                    <a:ea typeface="+mn-ea"/>
                  </a:rPr>
                  <a:t>Enhanced Customer Experience</a:t>
                </a:r>
              </a:p>
            </p:txBody>
          </p:sp>
          <p:grpSp>
            <p:nvGrpSpPr>
              <p:cNvPr id="5" name="Group 4"/>
              <p:cNvGrpSpPr/>
              <p:nvPr/>
            </p:nvGrpSpPr>
            <p:grpSpPr>
              <a:xfrm>
                <a:off x="953643" y="1168400"/>
                <a:ext cx="3465956" cy="2517773"/>
                <a:chOff x="953643" y="1168400"/>
                <a:chExt cx="3465956" cy="2517773"/>
              </a:xfrm>
            </p:grpSpPr>
            <p:pic>
              <p:nvPicPr>
                <p:cNvPr id="177" name="Picture 176"/>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2488" b="12488"/>
                <a:stretch/>
              </p:blipFill>
              <p:spPr bwMode="auto">
                <a:xfrm>
                  <a:off x="1228506" y="1543050"/>
                  <a:ext cx="2953254" cy="1661718"/>
                </a:xfrm>
                <a:prstGeom prst="rect">
                  <a:avLst/>
                </a:prstGeom>
                <a:noFill/>
                <a:ln>
                  <a:solidFill>
                    <a:schemeClr val="bg1">
                      <a:lumMod val="75000"/>
                    </a:schemeClr>
                  </a:solidFill>
                </a:ln>
              </p:spPr>
            </p:pic>
            <p:grpSp>
              <p:nvGrpSpPr>
                <p:cNvPr id="6" name="Group 19"/>
                <p:cNvGrpSpPr/>
                <p:nvPr/>
              </p:nvGrpSpPr>
              <p:grpSpPr>
                <a:xfrm>
                  <a:off x="2066009" y="2495223"/>
                  <a:ext cx="263806" cy="262114"/>
                  <a:chOff x="6000908" y="1789758"/>
                  <a:chExt cx="78628" cy="78124"/>
                </a:xfrm>
              </p:grpSpPr>
              <p:sp>
                <p:nvSpPr>
                  <p:cNvPr id="181" name="Oval 6"/>
                  <p:cNvSpPr>
                    <a:spLocks noChangeArrowheads="1"/>
                  </p:cNvSpPr>
                  <p:nvPr/>
                </p:nvSpPr>
                <p:spPr bwMode="auto">
                  <a:xfrm>
                    <a:off x="6007964" y="1796814"/>
                    <a:ext cx="64011" cy="64011"/>
                  </a:xfrm>
                  <a:prstGeom prst="ellipse">
                    <a:avLst/>
                  </a:pr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2" name="Freeform 7"/>
                  <p:cNvSpPr>
                    <a:spLocks noEditPoints="1"/>
                  </p:cNvSpPr>
                  <p:nvPr/>
                </p:nvSpPr>
                <p:spPr bwMode="auto">
                  <a:xfrm>
                    <a:off x="6000908" y="1789758"/>
                    <a:ext cx="78628" cy="78124"/>
                  </a:xfrm>
                  <a:custGeom>
                    <a:avLst/>
                    <a:gdLst>
                      <a:gd name="T0" fmla="*/ 33 w 66"/>
                      <a:gd name="T1" fmla="*/ 66 h 66"/>
                      <a:gd name="T2" fmla="*/ 0 w 66"/>
                      <a:gd name="T3" fmla="*/ 33 h 66"/>
                      <a:gd name="T4" fmla="*/ 33 w 66"/>
                      <a:gd name="T5" fmla="*/ 0 h 66"/>
                      <a:gd name="T6" fmla="*/ 66 w 66"/>
                      <a:gd name="T7" fmla="*/ 33 h 66"/>
                      <a:gd name="T8" fmla="*/ 33 w 66"/>
                      <a:gd name="T9" fmla="*/ 66 h 66"/>
                      <a:gd name="T10" fmla="*/ 33 w 66"/>
                      <a:gd name="T11" fmla="*/ 12 h 66"/>
                      <a:gd name="T12" fmla="*/ 12 w 66"/>
                      <a:gd name="T13" fmla="*/ 33 h 66"/>
                      <a:gd name="T14" fmla="*/ 33 w 66"/>
                      <a:gd name="T15" fmla="*/ 54 h 66"/>
                      <a:gd name="T16" fmla="*/ 54 w 66"/>
                      <a:gd name="T17" fmla="*/ 33 h 66"/>
                      <a:gd name="T18" fmla="*/ 33 w 66"/>
                      <a:gd name="T19"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33" y="66"/>
                        </a:moveTo>
                        <a:cubicBezTo>
                          <a:pt x="15" y="66"/>
                          <a:pt x="0" y="51"/>
                          <a:pt x="0" y="33"/>
                        </a:cubicBezTo>
                        <a:cubicBezTo>
                          <a:pt x="0" y="15"/>
                          <a:pt x="15" y="0"/>
                          <a:pt x="33" y="0"/>
                        </a:cubicBezTo>
                        <a:cubicBezTo>
                          <a:pt x="51" y="0"/>
                          <a:pt x="66" y="15"/>
                          <a:pt x="66" y="33"/>
                        </a:cubicBezTo>
                        <a:cubicBezTo>
                          <a:pt x="66" y="51"/>
                          <a:pt x="51" y="66"/>
                          <a:pt x="33" y="66"/>
                        </a:cubicBezTo>
                        <a:close/>
                        <a:moveTo>
                          <a:pt x="33" y="12"/>
                        </a:moveTo>
                        <a:cubicBezTo>
                          <a:pt x="22" y="12"/>
                          <a:pt x="12" y="21"/>
                          <a:pt x="12" y="33"/>
                        </a:cubicBezTo>
                        <a:cubicBezTo>
                          <a:pt x="12" y="44"/>
                          <a:pt x="22" y="54"/>
                          <a:pt x="33" y="54"/>
                        </a:cubicBezTo>
                        <a:cubicBezTo>
                          <a:pt x="45" y="54"/>
                          <a:pt x="54" y="44"/>
                          <a:pt x="54" y="33"/>
                        </a:cubicBezTo>
                        <a:cubicBezTo>
                          <a:pt x="54" y="21"/>
                          <a:pt x="45" y="12"/>
                          <a:pt x="33"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79" name="Isosceles Triangle 178"/>
                <p:cNvSpPr/>
                <p:nvPr/>
              </p:nvSpPr>
              <p:spPr>
                <a:xfrm rot="10800000">
                  <a:off x="953643" y="3152775"/>
                  <a:ext cx="3465956" cy="533398"/>
                </a:xfrm>
                <a:prstGeom prst="triangle">
                  <a:avLst/>
                </a:prstGeom>
                <a:gradFill flip="none" rotWithShape="1">
                  <a:gsLst>
                    <a:gs pos="100000">
                      <a:schemeClr val="bg1">
                        <a:alpha val="0"/>
                      </a:schemeClr>
                    </a:gs>
                    <a:gs pos="25000">
                      <a:schemeClr val="tx1">
                        <a:alpha val="18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solidFill>
                      <a:schemeClr val="tx1"/>
                    </a:solidFill>
                    <a:latin typeface="+mj-lt"/>
                    <a:ea typeface="ＭＳ Ｐゴシック" pitchFamily="34" charset="-128"/>
                  </a:endParaRPr>
                </a:p>
              </p:txBody>
            </p:sp>
            <p:sp>
              <p:nvSpPr>
                <p:cNvPr id="180" name="Rectangle 179"/>
                <p:cNvSpPr/>
                <p:nvPr/>
              </p:nvSpPr>
              <p:spPr>
                <a:xfrm>
                  <a:off x="1370366" y="1168400"/>
                  <a:ext cx="2669534" cy="295466"/>
                </a:xfrm>
                <a:prstGeom prst="rect">
                  <a:avLst/>
                </a:prstGeom>
                <a:noFill/>
                <a:ln w="25400" cap="rnd" cmpd="sng" algn="ctr">
                  <a:noFill/>
                  <a:prstDash val="solid"/>
                </a:ln>
                <a:effectLst/>
              </p:spPr>
              <p:txBody>
                <a:bodyPr wrap="square" tIns="18288" bIns="0" rtlCol="0" anchor="t" anchorCtr="0">
                  <a:spAutoFit/>
                </a:bodyPr>
                <a:lstStyle/>
                <a:p>
                  <a:pPr lvl="0" algn="ctr">
                    <a:defRPr/>
                  </a:pPr>
                  <a:r>
                    <a:rPr lang="en-US" b="1" dirty="0">
                      <a:solidFill>
                        <a:schemeClr val="accent1"/>
                      </a:solidFill>
                      <a:latin typeface="+mj-lt"/>
                      <a:ea typeface="+mn-ea"/>
                    </a:rPr>
                    <a:t>Productivity</a:t>
                  </a:r>
                </a:p>
              </p:txBody>
            </p:sp>
          </p:grpSp>
        </p:grpSp>
      </p:grpSp>
      <p:sp>
        <p:nvSpPr>
          <p:cNvPr id="203" name="Freeform 32"/>
          <p:cNvSpPr>
            <a:spLocks/>
          </p:cNvSpPr>
          <p:nvPr/>
        </p:nvSpPr>
        <p:spPr bwMode="auto">
          <a:xfrm>
            <a:off x="836334" y="3981495"/>
            <a:ext cx="247019" cy="566693"/>
          </a:xfrm>
          <a:custGeom>
            <a:avLst/>
            <a:gdLst>
              <a:gd name="T0" fmla="*/ 3516 w 3516"/>
              <a:gd name="T1" fmla="*/ 3824 h 4846"/>
              <a:gd name="T2" fmla="*/ 2818 w 3516"/>
              <a:gd name="T3" fmla="*/ 2823 h 4846"/>
              <a:gd name="T4" fmla="*/ 3287 w 3516"/>
              <a:gd name="T5" fmla="*/ 2823 h 4846"/>
              <a:gd name="T6" fmla="*/ 2560 w 3516"/>
              <a:gd name="T7" fmla="*/ 1782 h 4846"/>
              <a:gd name="T8" fmla="*/ 3003 w 3516"/>
              <a:gd name="T9" fmla="*/ 1782 h 4846"/>
              <a:gd name="T10" fmla="*/ 1758 w 3516"/>
              <a:gd name="T11" fmla="*/ 0 h 4846"/>
              <a:gd name="T12" fmla="*/ 513 w 3516"/>
              <a:gd name="T13" fmla="*/ 1782 h 4846"/>
              <a:gd name="T14" fmla="*/ 956 w 3516"/>
              <a:gd name="T15" fmla="*/ 1782 h 4846"/>
              <a:gd name="T16" fmla="*/ 229 w 3516"/>
              <a:gd name="T17" fmla="*/ 2823 h 4846"/>
              <a:gd name="T18" fmla="*/ 698 w 3516"/>
              <a:gd name="T19" fmla="*/ 2823 h 4846"/>
              <a:gd name="T20" fmla="*/ 0 w 3516"/>
              <a:gd name="T21" fmla="*/ 3824 h 4846"/>
              <a:gd name="T22" fmla="*/ 1251 w 3516"/>
              <a:gd name="T23" fmla="*/ 3824 h 4846"/>
              <a:gd name="T24" fmla="*/ 1251 w 3516"/>
              <a:gd name="T25" fmla="*/ 4846 h 4846"/>
              <a:gd name="T26" fmla="*/ 2155 w 3516"/>
              <a:gd name="T27" fmla="*/ 4846 h 4846"/>
              <a:gd name="T28" fmla="*/ 2155 w 3516"/>
              <a:gd name="T29" fmla="*/ 3824 h 4846"/>
              <a:gd name="T30" fmla="*/ 3516 w 3516"/>
              <a:gd name="T31" fmla="*/ 3824 h 4846"/>
              <a:gd name="T32" fmla="*/ 3516 w 3516"/>
              <a:gd name="T33" fmla="*/ 3824 h 4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16" h="4846">
                <a:moveTo>
                  <a:pt x="3516" y="3824"/>
                </a:moveTo>
                <a:lnTo>
                  <a:pt x="2818" y="2823"/>
                </a:lnTo>
                <a:lnTo>
                  <a:pt x="3287" y="2823"/>
                </a:lnTo>
                <a:lnTo>
                  <a:pt x="2560" y="1782"/>
                </a:lnTo>
                <a:lnTo>
                  <a:pt x="3003" y="1782"/>
                </a:lnTo>
                <a:lnTo>
                  <a:pt x="1758" y="0"/>
                </a:lnTo>
                <a:lnTo>
                  <a:pt x="513" y="1782"/>
                </a:lnTo>
                <a:lnTo>
                  <a:pt x="956" y="1782"/>
                </a:lnTo>
                <a:lnTo>
                  <a:pt x="229" y="2823"/>
                </a:lnTo>
                <a:lnTo>
                  <a:pt x="698" y="2823"/>
                </a:lnTo>
                <a:lnTo>
                  <a:pt x="0" y="3824"/>
                </a:lnTo>
                <a:lnTo>
                  <a:pt x="1251" y="3824"/>
                </a:lnTo>
                <a:lnTo>
                  <a:pt x="1251" y="4846"/>
                </a:lnTo>
                <a:lnTo>
                  <a:pt x="2155" y="4846"/>
                </a:lnTo>
                <a:lnTo>
                  <a:pt x="2155" y="3824"/>
                </a:lnTo>
                <a:lnTo>
                  <a:pt x="3516" y="3824"/>
                </a:lnTo>
                <a:lnTo>
                  <a:pt x="3516" y="3824"/>
                </a:lnTo>
                <a:close/>
              </a:path>
            </a:pathLst>
          </a:cu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04" name="Freeform 32"/>
          <p:cNvSpPr>
            <a:spLocks/>
          </p:cNvSpPr>
          <p:nvPr/>
        </p:nvSpPr>
        <p:spPr bwMode="auto">
          <a:xfrm>
            <a:off x="1036358" y="3430117"/>
            <a:ext cx="487363" cy="1118071"/>
          </a:xfrm>
          <a:custGeom>
            <a:avLst/>
            <a:gdLst>
              <a:gd name="T0" fmla="*/ 3516 w 3516"/>
              <a:gd name="T1" fmla="*/ 3824 h 4846"/>
              <a:gd name="T2" fmla="*/ 2818 w 3516"/>
              <a:gd name="T3" fmla="*/ 2823 h 4846"/>
              <a:gd name="T4" fmla="*/ 3287 w 3516"/>
              <a:gd name="T5" fmla="*/ 2823 h 4846"/>
              <a:gd name="T6" fmla="*/ 2560 w 3516"/>
              <a:gd name="T7" fmla="*/ 1782 h 4846"/>
              <a:gd name="T8" fmla="*/ 3003 w 3516"/>
              <a:gd name="T9" fmla="*/ 1782 h 4846"/>
              <a:gd name="T10" fmla="*/ 1758 w 3516"/>
              <a:gd name="T11" fmla="*/ 0 h 4846"/>
              <a:gd name="T12" fmla="*/ 513 w 3516"/>
              <a:gd name="T13" fmla="*/ 1782 h 4846"/>
              <a:gd name="T14" fmla="*/ 956 w 3516"/>
              <a:gd name="T15" fmla="*/ 1782 h 4846"/>
              <a:gd name="T16" fmla="*/ 229 w 3516"/>
              <a:gd name="T17" fmla="*/ 2823 h 4846"/>
              <a:gd name="T18" fmla="*/ 698 w 3516"/>
              <a:gd name="T19" fmla="*/ 2823 h 4846"/>
              <a:gd name="T20" fmla="*/ 0 w 3516"/>
              <a:gd name="T21" fmla="*/ 3824 h 4846"/>
              <a:gd name="T22" fmla="*/ 1251 w 3516"/>
              <a:gd name="T23" fmla="*/ 3824 h 4846"/>
              <a:gd name="T24" fmla="*/ 1251 w 3516"/>
              <a:gd name="T25" fmla="*/ 4846 h 4846"/>
              <a:gd name="T26" fmla="*/ 2155 w 3516"/>
              <a:gd name="T27" fmla="*/ 4846 h 4846"/>
              <a:gd name="T28" fmla="*/ 2155 w 3516"/>
              <a:gd name="T29" fmla="*/ 3824 h 4846"/>
              <a:gd name="T30" fmla="*/ 3516 w 3516"/>
              <a:gd name="T31" fmla="*/ 3824 h 4846"/>
              <a:gd name="T32" fmla="*/ 3516 w 3516"/>
              <a:gd name="T33" fmla="*/ 3824 h 4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16" h="4846">
                <a:moveTo>
                  <a:pt x="3516" y="3824"/>
                </a:moveTo>
                <a:lnTo>
                  <a:pt x="2818" y="2823"/>
                </a:lnTo>
                <a:lnTo>
                  <a:pt x="3287" y="2823"/>
                </a:lnTo>
                <a:lnTo>
                  <a:pt x="2560" y="1782"/>
                </a:lnTo>
                <a:lnTo>
                  <a:pt x="3003" y="1782"/>
                </a:lnTo>
                <a:lnTo>
                  <a:pt x="1758" y="0"/>
                </a:lnTo>
                <a:lnTo>
                  <a:pt x="513" y="1782"/>
                </a:lnTo>
                <a:lnTo>
                  <a:pt x="956" y="1782"/>
                </a:lnTo>
                <a:lnTo>
                  <a:pt x="229" y="2823"/>
                </a:lnTo>
                <a:lnTo>
                  <a:pt x="698" y="2823"/>
                </a:lnTo>
                <a:lnTo>
                  <a:pt x="0" y="3824"/>
                </a:lnTo>
                <a:lnTo>
                  <a:pt x="1251" y="3824"/>
                </a:lnTo>
                <a:lnTo>
                  <a:pt x="1251" y="4846"/>
                </a:lnTo>
                <a:lnTo>
                  <a:pt x="2155" y="4846"/>
                </a:lnTo>
                <a:lnTo>
                  <a:pt x="2155" y="3824"/>
                </a:lnTo>
                <a:lnTo>
                  <a:pt x="3516" y="3824"/>
                </a:lnTo>
                <a:lnTo>
                  <a:pt x="3516" y="38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solidFill>
                <a:schemeClr val="accent4"/>
              </a:solidFill>
              <a:latin typeface="+mj-lt"/>
            </a:endParaRPr>
          </a:p>
        </p:txBody>
      </p:sp>
      <p:sp>
        <p:nvSpPr>
          <p:cNvPr id="183" name="Freeform 9"/>
          <p:cNvSpPr>
            <a:spLocks noEditPoints="1"/>
          </p:cNvSpPr>
          <p:nvPr/>
        </p:nvSpPr>
        <p:spPr bwMode="auto">
          <a:xfrm>
            <a:off x="1440778" y="3781425"/>
            <a:ext cx="2332038" cy="654050"/>
          </a:xfrm>
          <a:custGeom>
            <a:avLst/>
            <a:gdLst>
              <a:gd name="T0" fmla="*/ 1991 w 2758"/>
              <a:gd name="T1" fmla="*/ 287 h 772"/>
              <a:gd name="T2" fmla="*/ 1564 w 2758"/>
              <a:gd name="T3" fmla="*/ 60 h 772"/>
              <a:gd name="T4" fmla="*/ 739 w 2758"/>
              <a:gd name="T5" fmla="*/ 60 h 772"/>
              <a:gd name="T6" fmla="*/ 317 w 2758"/>
              <a:gd name="T7" fmla="*/ 227 h 772"/>
              <a:gd name="T8" fmla="*/ 58 w 2758"/>
              <a:gd name="T9" fmla="*/ 293 h 772"/>
              <a:gd name="T10" fmla="*/ 20 w 2758"/>
              <a:gd name="T11" fmla="*/ 500 h 772"/>
              <a:gd name="T12" fmla="*/ 65 w 2758"/>
              <a:gd name="T13" fmla="*/ 688 h 772"/>
              <a:gd name="T14" fmla="*/ 121 w 2758"/>
              <a:gd name="T15" fmla="*/ 698 h 772"/>
              <a:gd name="T16" fmla="*/ 129 w 2758"/>
              <a:gd name="T17" fmla="*/ 724 h 772"/>
              <a:gd name="T18" fmla="*/ 334 w 2758"/>
              <a:gd name="T19" fmla="*/ 733 h 772"/>
              <a:gd name="T20" fmla="*/ 333 w 2758"/>
              <a:gd name="T21" fmla="*/ 720 h 772"/>
              <a:gd name="T22" fmla="*/ 577 w 2758"/>
              <a:gd name="T23" fmla="*/ 477 h 772"/>
              <a:gd name="T24" fmla="*/ 820 w 2758"/>
              <a:gd name="T25" fmla="*/ 720 h 772"/>
              <a:gd name="T26" fmla="*/ 814 w 2758"/>
              <a:gd name="T27" fmla="*/ 772 h 772"/>
              <a:gd name="T28" fmla="*/ 1996 w 2758"/>
              <a:gd name="T29" fmla="*/ 772 h 772"/>
              <a:gd name="T30" fmla="*/ 1990 w 2758"/>
              <a:gd name="T31" fmla="*/ 720 h 772"/>
              <a:gd name="T32" fmla="*/ 2234 w 2758"/>
              <a:gd name="T33" fmla="*/ 477 h 772"/>
              <a:gd name="T34" fmla="*/ 2477 w 2758"/>
              <a:gd name="T35" fmla="*/ 720 h 772"/>
              <a:gd name="T36" fmla="*/ 2472 w 2758"/>
              <a:gd name="T37" fmla="*/ 772 h 772"/>
              <a:gd name="T38" fmla="*/ 2646 w 2758"/>
              <a:gd name="T39" fmla="*/ 772 h 772"/>
              <a:gd name="T40" fmla="*/ 2711 w 2758"/>
              <a:gd name="T41" fmla="*/ 737 h 772"/>
              <a:gd name="T42" fmla="*/ 2756 w 2758"/>
              <a:gd name="T43" fmla="*/ 545 h 772"/>
              <a:gd name="T44" fmla="*/ 2691 w 2758"/>
              <a:gd name="T45" fmla="*/ 451 h 772"/>
              <a:gd name="T46" fmla="*/ 1991 w 2758"/>
              <a:gd name="T47" fmla="*/ 287 h 772"/>
              <a:gd name="T48" fmla="*/ 1991 w 2758"/>
              <a:gd name="T49" fmla="*/ 287 h 772"/>
              <a:gd name="T50" fmla="*/ 1991 w 2758"/>
              <a:gd name="T51" fmla="*/ 287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58" h="772">
                <a:moveTo>
                  <a:pt x="1991" y="287"/>
                </a:moveTo>
                <a:cubicBezTo>
                  <a:pt x="1991" y="287"/>
                  <a:pt x="1788" y="119"/>
                  <a:pt x="1564" y="60"/>
                </a:cubicBezTo>
                <a:cubicBezTo>
                  <a:pt x="1340" y="0"/>
                  <a:pt x="836" y="39"/>
                  <a:pt x="739" y="60"/>
                </a:cubicBezTo>
                <a:cubicBezTo>
                  <a:pt x="642" y="80"/>
                  <a:pt x="317" y="227"/>
                  <a:pt x="317" y="227"/>
                </a:cubicBezTo>
                <a:cubicBezTo>
                  <a:pt x="317" y="227"/>
                  <a:pt x="22" y="181"/>
                  <a:pt x="58" y="293"/>
                </a:cubicBezTo>
                <a:cubicBezTo>
                  <a:pt x="93" y="405"/>
                  <a:pt x="41" y="377"/>
                  <a:pt x="20" y="500"/>
                </a:cubicBezTo>
                <a:cubicBezTo>
                  <a:pt x="0" y="623"/>
                  <a:pt x="65" y="688"/>
                  <a:pt x="65" y="688"/>
                </a:cubicBezTo>
                <a:cubicBezTo>
                  <a:pt x="121" y="698"/>
                  <a:pt x="121" y="698"/>
                  <a:pt x="121" y="698"/>
                </a:cubicBezTo>
                <a:cubicBezTo>
                  <a:pt x="129" y="724"/>
                  <a:pt x="129" y="724"/>
                  <a:pt x="129" y="724"/>
                </a:cubicBezTo>
                <a:cubicBezTo>
                  <a:pt x="209" y="724"/>
                  <a:pt x="277" y="728"/>
                  <a:pt x="334" y="733"/>
                </a:cubicBezTo>
                <a:cubicBezTo>
                  <a:pt x="334" y="728"/>
                  <a:pt x="333" y="724"/>
                  <a:pt x="333" y="720"/>
                </a:cubicBezTo>
                <a:cubicBezTo>
                  <a:pt x="333" y="586"/>
                  <a:pt x="442" y="477"/>
                  <a:pt x="577" y="477"/>
                </a:cubicBezTo>
                <a:cubicBezTo>
                  <a:pt x="711" y="477"/>
                  <a:pt x="820" y="586"/>
                  <a:pt x="820" y="720"/>
                </a:cubicBezTo>
                <a:cubicBezTo>
                  <a:pt x="820" y="738"/>
                  <a:pt x="818" y="755"/>
                  <a:pt x="814" y="772"/>
                </a:cubicBezTo>
                <a:cubicBezTo>
                  <a:pt x="1996" y="772"/>
                  <a:pt x="1996" y="772"/>
                  <a:pt x="1996" y="772"/>
                </a:cubicBezTo>
                <a:cubicBezTo>
                  <a:pt x="1992" y="756"/>
                  <a:pt x="1990" y="738"/>
                  <a:pt x="1990" y="720"/>
                </a:cubicBezTo>
                <a:cubicBezTo>
                  <a:pt x="1990" y="586"/>
                  <a:pt x="2099" y="477"/>
                  <a:pt x="2234" y="477"/>
                </a:cubicBezTo>
                <a:cubicBezTo>
                  <a:pt x="2368" y="477"/>
                  <a:pt x="2477" y="586"/>
                  <a:pt x="2477" y="720"/>
                </a:cubicBezTo>
                <a:cubicBezTo>
                  <a:pt x="2477" y="738"/>
                  <a:pt x="2475" y="755"/>
                  <a:pt x="2472" y="772"/>
                </a:cubicBezTo>
                <a:cubicBezTo>
                  <a:pt x="2646" y="772"/>
                  <a:pt x="2646" y="772"/>
                  <a:pt x="2646" y="772"/>
                </a:cubicBezTo>
                <a:cubicBezTo>
                  <a:pt x="2667" y="739"/>
                  <a:pt x="2711" y="737"/>
                  <a:pt x="2711" y="737"/>
                </a:cubicBezTo>
                <a:cubicBezTo>
                  <a:pt x="2758" y="703"/>
                  <a:pt x="2758" y="573"/>
                  <a:pt x="2756" y="545"/>
                </a:cubicBezTo>
                <a:cubicBezTo>
                  <a:pt x="2754" y="517"/>
                  <a:pt x="2691" y="451"/>
                  <a:pt x="2691" y="451"/>
                </a:cubicBezTo>
                <a:cubicBezTo>
                  <a:pt x="2526" y="347"/>
                  <a:pt x="1991" y="287"/>
                  <a:pt x="1991" y="287"/>
                </a:cubicBezTo>
                <a:close/>
                <a:moveTo>
                  <a:pt x="1991" y="287"/>
                </a:moveTo>
                <a:cubicBezTo>
                  <a:pt x="1991" y="287"/>
                  <a:pt x="1991" y="287"/>
                  <a:pt x="1991" y="287"/>
                </a:cubicBezTo>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4" name="Freeform 10"/>
          <p:cNvSpPr>
            <a:spLocks noEditPoints="1"/>
          </p:cNvSpPr>
          <p:nvPr/>
        </p:nvSpPr>
        <p:spPr bwMode="auto">
          <a:xfrm>
            <a:off x="1759866" y="4222750"/>
            <a:ext cx="336550" cy="338138"/>
          </a:xfrm>
          <a:custGeom>
            <a:avLst/>
            <a:gdLst>
              <a:gd name="T0" fmla="*/ 199 w 397"/>
              <a:gd name="T1" fmla="*/ 0 h 398"/>
              <a:gd name="T2" fmla="*/ 0 w 397"/>
              <a:gd name="T3" fmla="*/ 199 h 398"/>
              <a:gd name="T4" fmla="*/ 1 w 397"/>
              <a:gd name="T5" fmla="*/ 216 h 398"/>
              <a:gd name="T6" fmla="*/ 199 w 397"/>
              <a:gd name="T7" fmla="*/ 398 h 398"/>
              <a:gd name="T8" fmla="*/ 389 w 397"/>
              <a:gd name="T9" fmla="*/ 251 h 398"/>
              <a:gd name="T10" fmla="*/ 397 w 397"/>
              <a:gd name="T11" fmla="*/ 199 h 398"/>
              <a:gd name="T12" fmla="*/ 199 w 397"/>
              <a:gd name="T13" fmla="*/ 0 h 398"/>
              <a:gd name="T14" fmla="*/ 199 w 397"/>
              <a:gd name="T15" fmla="*/ 0 h 398"/>
              <a:gd name="T16" fmla="*/ 199 w 397"/>
              <a:gd name="T17"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8">
                <a:moveTo>
                  <a:pt x="199" y="0"/>
                </a:moveTo>
                <a:cubicBezTo>
                  <a:pt x="89" y="0"/>
                  <a:pt x="0" y="89"/>
                  <a:pt x="0" y="199"/>
                </a:cubicBezTo>
                <a:cubicBezTo>
                  <a:pt x="0" y="205"/>
                  <a:pt x="1" y="211"/>
                  <a:pt x="1" y="216"/>
                </a:cubicBezTo>
                <a:cubicBezTo>
                  <a:pt x="11" y="318"/>
                  <a:pt x="95" y="398"/>
                  <a:pt x="199" y="398"/>
                </a:cubicBezTo>
                <a:cubicBezTo>
                  <a:pt x="290" y="398"/>
                  <a:pt x="366" y="336"/>
                  <a:pt x="389" y="251"/>
                </a:cubicBezTo>
                <a:cubicBezTo>
                  <a:pt x="394" y="235"/>
                  <a:pt x="397" y="217"/>
                  <a:pt x="397" y="199"/>
                </a:cubicBezTo>
                <a:cubicBezTo>
                  <a:pt x="397" y="89"/>
                  <a:pt x="308" y="0"/>
                  <a:pt x="199" y="0"/>
                </a:cubicBezTo>
                <a:close/>
                <a:moveTo>
                  <a:pt x="199" y="0"/>
                </a:moveTo>
                <a:cubicBezTo>
                  <a:pt x="199" y="0"/>
                  <a:pt x="199" y="0"/>
                  <a:pt x="199"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5" name="Freeform 11"/>
          <p:cNvSpPr>
            <a:spLocks noEditPoints="1"/>
          </p:cNvSpPr>
          <p:nvPr/>
        </p:nvSpPr>
        <p:spPr bwMode="auto">
          <a:xfrm>
            <a:off x="3161628" y="4222750"/>
            <a:ext cx="334963" cy="338138"/>
          </a:xfrm>
          <a:custGeom>
            <a:avLst/>
            <a:gdLst>
              <a:gd name="T0" fmla="*/ 199 w 397"/>
              <a:gd name="T1" fmla="*/ 0 h 398"/>
              <a:gd name="T2" fmla="*/ 0 w 397"/>
              <a:gd name="T3" fmla="*/ 199 h 398"/>
              <a:gd name="T4" fmla="*/ 8 w 397"/>
              <a:gd name="T5" fmla="*/ 251 h 398"/>
              <a:gd name="T6" fmla="*/ 199 w 397"/>
              <a:gd name="T7" fmla="*/ 398 h 398"/>
              <a:gd name="T8" fmla="*/ 390 w 397"/>
              <a:gd name="T9" fmla="*/ 251 h 398"/>
              <a:gd name="T10" fmla="*/ 397 w 397"/>
              <a:gd name="T11" fmla="*/ 199 h 398"/>
              <a:gd name="T12" fmla="*/ 199 w 397"/>
              <a:gd name="T13" fmla="*/ 0 h 398"/>
              <a:gd name="T14" fmla="*/ 199 w 397"/>
              <a:gd name="T15" fmla="*/ 0 h 398"/>
              <a:gd name="T16" fmla="*/ 199 w 397"/>
              <a:gd name="T17"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8">
                <a:moveTo>
                  <a:pt x="199" y="0"/>
                </a:moveTo>
                <a:cubicBezTo>
                  <a:pt x="89" y="0"/>
                  <a:pt x="0" y="89"/>
                  <a:pt x="0" y="199"/>
                </a:cubicBezTo>
                <a:cubicBezTo>
                  <a:pt x="0" y="217"/>
                  <a:pt x="3" y="235"/>
                  <a:pt x="8" y="251"/>
                </a:cubicBezTo>
                <a:cubicBezTo>
                  <a:pt x="31" y="336"/>
                  <a:pt x="107" y="398"/>
                  <a:pt x="199" y="398"/>
                </a:cubicBezTo>
                <a:cubicBezTo>
                  <a:pt x="290" y="398"/>
                  <a:pt x="366" y="336"/>
                  <a:pt x="390" y="251"/>
                </a:cubicBezTo>
                <a:cubicBezTo>
                  <a:pt x="394" y="235"/>
                  <a:pt x="397" y="217"/>
                  <a:pt x="397" y="199"/>
                </a:cubicBezTo>
                <a:cubicBezTo>
                  <a:pt x="397" y="89"/>
                  <a:pt x="308" y="0"/>
                  <a:pt x="199" y="0"/>
                </a:cubicBezTo>
                <a:close/>
                <a:moveTo>
                  <a:pt x="199" y="0"/>
                </a:moveTo>
                <a:cubicBezTo>
                  <a:pt x="199" y="0"/>
                  <a:pt x="199" y="0"/>
                  <a:pt x="199"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8" name="Group 105"/>
          <p:cNvGrpSpPr/>
          <p:nvPr/>
        </p:nvGrpSpPr>
        <p:grpSpPr>
          <a:xfrm>
            <a:off x="2673199" y="4321478"/>
            <a:ext cx="359411" cy="353718"/>
            <a:chOff x="1847591" y="3578520"/>
            <a:chExt cx="359411" cy="353718"/>
          </a:xfrm>
        </p:grpSpPr>
        <p:sp>
          <p:nvSpPr>
            <p:cNvPr id="187" name="Oval 186"/>
            <p:cNvSpPr/>
            <p:nvPr/>
          </p:nvSpPr>
          <p:spPr>
            <a:xfrm>
              <a:off x="1847591" y="3578520"/>
              <a:ext cx="359411" cy="353718"/>
            </a:xfrm>
            <a:prstGeom prst="ellipse">
              <a:avLst/>
            </a:prstGeom>
            <a:solidFill>
              <a:schemeClr val="accent1"/>
            </a:solidFill>
            <a:ln w="25400" cap="rnd" cmpd="sng" algn="ctr">
              <a:solidFill>
                <a:srgbClr val="FFFFFF"/>
              </a:solidFill>
              <a:prstDash val="solid"/>
            </a:ln>
            <a:effectLst/>
          </p:spPr>
          <p:txBody>
            <a:bodyPr wrap="none" rtlCol="0" anchor="ctr"/>
            <a:lstStyle/>
            <a:p>
              <a:pPr algn="ctr"/>
              <a:endParaRPr lang="en-US" sz="1500">
                <a:solidFill>
                  <a:srgbClr val="FFFFFF"/>
                </a:solidFill>
                <a:latin typeface="+mj-lt"/>
              </a:endParaRPr>
            </a:p>
          </p:txBody>
        </p:sp>
        <p:sp>
          <p:nvSpPr>
            <p:cNvPr id="188" name="Freeform 8"/>
            <p:cNvSpPr>
              <a:spLocks noEditPoints="1"/>
            </p:cNvSpPr>
            <p:nvPr/>
          </p:nvSpPr>
          <p:spPr bwMode="auto">
            <a:xfrm>
              <a:off x="1913058" y="3750095"/>
              <a:ext cx="228476" cy="115174"/>
            </a:xfrm>
            <a:custGeom>
              <a:avLst/>
              <a:gdLst>
                <a:gd name="T0" fmla="*/ 198 w 217"/>
                <a:gd name="T1" fmla="*/ 112 h 112"/>
                <a:gd name="T2" fmla="*/ 19 w 217"/>
                <a:gd name="T3" fmla="*/ 112 h 112"/>
                <a:gd name="T4" fmla="*/ 0 w 217"/>
                <a:gd name="T5" fmla="*/ 93 h 112"/>
                <a:gd name="T6" fmla="*/ 0 w 217"/>
                <a:gd name="T7" fmla="*/ 91 h 112"/>
                <a:gd name="T8" fmla="*/ 19 w 217"/>
                <a:gd name="T9" fmla="*/ 73 h 112"/>
                <a:gd name="T10" fmla="*/ 24 w 217"/>
                <a:gd name="T11" fmla="*/ 73 h 112"/>
                <a:gd name="T12" fmla="*/ 24 w 217"/>
                <a:gd name="T13" fmla="*/ 71 h 112"/>
                <a:gd name="T14" fmla="*/ 24 w 217"/>
                <a:gd name="T15" fmla="*/ 15 h 112"/>
                <a:gd name="T16" fmla="*/ 39 w 217"/>
                <a:gd name="T17" fmla="*/ 0 h 112"/>
                <a:gd name="T18" fmla="*/ 178 w 217"/>
                <a:gd name="T19" fmla="*/ 0 h 112"/>
                <a:gd name="T20" fmla="*/ 194 w 217"/>
                <a:gd name="T21" fmla="*/ 15 h 112"/>
                <a:gd name="T22" fmla="*/ 194 w 217"/>
                <a:gd name="T23" fmla="*/ 71 h 112"/>
                <a:gd name="T24" fmla="*/ 194 w 217"/>
                <a:gd name="T25" fmla="*/ 73 h 112"/>
                <a:gd name="T26" fmla="*/ 198 w 217"/>
                <a:gd name="T27" fmla="*/ 73 h 112"/>
                <a:gd name="T28" fmla="*/ 217 w 217"/>
                <a:gd name="T29" fmla="*/ 91 h 112"/>
                <a:gd name="T30" fmla="*/ 217 w 217"/>
                <a:gd name="T31" fmla="*/ 93 h 112"/>
                <a:gd name="T32" fmla="*/ 198 w 217"/>
                <a:gd name="T33" fmla="*/ 112 h 112"/>
                <a:gd name="T34" fmla="*/ 19 w 217"/>
                <a:gd name="T35" fmla="*/ 82 h 112"/>
                <a:gd name="T36" fmla="*/ 10 w 217"/>
                <a:gd name="T37" fmla="*/ 91 h 112"/>
                <a:gd name="T38" fmla="*/ 10 w 217"/>
                <a:gd name="T39" fmla="*/ 93 h 112"/>
                <a:gd name="T40" fmla="*/ 19 w 217"/>
                <a:gd name="T41" fmla="*/ 103 h 112"/>
                <a:gd name="T42" fmla="*/ 198 w 217"/>
                <a:gd name="T43" fmla="*/ 103 h 112"/>
                <a:gd name="T44" fmla="*/ 208 w 217"/>
                <a:gd name="T45" fmla="*/ 93 h 112"/>
                <a:gd name="T46" fmla="*/ 208 w 217"/>
                <a:gd name="T47" fmla="*/ 91 h 112"/>
                <a:gd name="T48" fmla="*/ 198 w 217"/>
                <a:gd name="T49" fmla="*/ 82 h 112"/>
                <a:gd name="T50" fmla="*/ 177 w 217"/>
                <a:gd name="T51" fmla="*/ 82 h 112"/>
                <a:gd name="T52" fmla="*/ 183 w 217"/>
                <a:gd name="T53" fmla="*/ 75 h 112"/>
                <a:gd name="T54" fmla="*/ 184 w 217"/>
                <a:gd name="T55" fmla="*/ 71 h 112"/>
                <a:gd name="T56" fmla="*/ 184 w 217"/>
                <a:gd name="T57" fmla="*/ 15 h 112"/>
                <a:gd name="T58" fmla="*/ 178 w 217"/>
                <a:gd name="T59" fmla="*/ 10 h 112"/>
                <a:gd name="T60" fmla="*/ 39 w 217"/>
                <a:gd name="T61" fmla="*/ 10 h 112"/>
                <a:gd name="T62" fmla="*/ 34 w 217"/>
                <a:gd name="T63" fmla="*/ 15 h 112"/>
                <a:gd name="T64" fmla="*/ 34 w 217"/>
                <a:gd name="T65" fmla="*/ 71 h 112"/>
                <a:gd name="T66" fmla="*/ 35 w 217"/>
                <a:gd name="T67" fmla="*/ 75 h 112"/>
                <a:gd name="T68" fmla="*/ 41 w 217"/>
                <a:gd name="T69" fmla="*/ 82 h 112"/>
                <a:gd name="T70" fmla="*/ 19 w 217"/>
                <a:gd name="T71" fmla="*/ 8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7" h="112">
                  <a:moveTo>
                    <a:pt x="198" y="112"/>
                  </a:moveTo>
                  <a:cubicBezTo>
                    <a:pt x="19" y="112"/>
                    <a:pt x="19" y="112"/>
                    <a:pt x="19" y="112"/>
                  </a:cubicBezTo>
                  <a:cubicBezTo>
                    <a:pt x="9" y="112"/>
                    <a:pt x="0" y="104"/>
                    <a:pt x="0" y="93"/>
                  </a:cubicBezTo>
                  <a:cubicBezTo>
                    <a:pt x="0" y="91"/>
                    <a:pt x="0" y="91"/>
                    <a:pt x="0" y="91"/>
                  </a:cubicBezTo>
                  <a:cubicBezTo>
                    <a:pt x="0" y="81"/>
                    <a:pt x="9" y="73"/>
                    <a:pt x="19" y="73"/>
                  </a:cubicBezTo>
                  <a:cubicBezTo>
                    <a:pt x="24" y="73"/>
                    <a:pt x="24" y="73"/>
                    <a:pt x="24" y="73"/>
                  </a:cubicBezTo>
                  <a:cubicBezTo>
                    <a:pt x="24" y="72"/>
                    <a:pt x="24" y="72"/>
                    <a:pt x="24" y="71"/>
                  </a:cubicBezTo>
                  <a:cubicBezTo>
                    <a:pt x="24" y="15"/>
                    <a:pt x="24" y="15"/>
                    <a:pt x="24" y="15"/>
                  </a:cubicBezTo>
                  <a:cubicBezTo>
                    <a:pt x="24" y="7"/>
                    <a:pt x="31" y="0"/>
                    <a:pt x="39" y="0"/>
                  </a:cubicBezTo>
                  <a:cubicBezTo>
                    <a:pt x="178" y="0"/>
                    <a:pt x="178" y="0"/>
                    <a:pt x="178" y="0"/>
                  </a:cubicBezTo>
                  <a:cubicBezTo>
                    <a:pt x="187" y="0"/>
                    <a:pt x="194" y="7"/>
                    <a:pt x="194" y="15"/>
                  </a:cubicBezTo>
                  <a:cubicBezTo>
                    <a:pt x="194" y="71"/>
                    <a:pt x="194" y="71"/>
                    <a:pt x="194" y="71"/>
                  </a:cubicBezTo>
                  <a:cubicBezTo>
                    <a:pt x="194" y="72"/>
                    <a:pt x="194" y="72"/>
                    <a:pt x="194" y="73"/>
                  </a:cubicBezTo>
                  <a:cubicBezTo>
                    <a:pt x="198" y="73"/>
                    <a:pt x="198" y="73"/>
                    <a:pt x="198" y="73"/>
                  </a:cubicBezTo>
                  <a:cubicBezTo>
                    <a:pt x="209" y="73"/>
                    <a:pt x="217" y="81"/>
                    <a:pt x="217" y="91"/>
                  </a:cubicBezTo>
                  <a:cubicBezTo>
                    <a:pt x="217" y="93"/>
                    <a:pt x="217" y="93"/>
                    <a:pt x="217" y="93"/>
                  </a:cubicBezTo>
                  <a:cubicBezTo>
                    <a:pt x="217" y="104"/>
                    <a:pt x="209" y="112"/>
                    <a:pt x="198" y="112"/>
                  </a:cubicBezTo>
                  <a:close/>
                  <a:moveTo>
                    <a:pt x="19" y="82"/>
                  </a:moveTo>
                  <a:cubicBezTo>
                    <a:pt x="14" y="82"/>
                    <a:pt x="10" y="86"/>
                    <a:pt x="10" y="91"/>
                  </a:cubicBezTo>
                  <a:cubicBezTo>
                    <a:pt x="10" y="93"/>
                    <a:pt x="10" y="93"/>
                    <a:pt x="10" y="93"/>
                  </a:cubicBezTo>
                  <a:cubicBezTo>
                    <a:pt x="10" y="98"/>
                    <a:pt x="14" y="103"/>
                    <a:pt x="19" y="103"/>
                  </a:cubicBezTo>
                  <a:cubicBezTo>
                    <a:pt x="198" y="103"/>
                    <a:pt x="198" y="103"/>
                    <a:pt x="198" y="103"/>
                  </a:cubicBezTo>
                  <a:cubicBezTo>
                    <a:pt x="204" y="103"/>
                    <a:pt x="208" y="98"/>
                    <a:pt x="208" y="93"/>
                  </a:cubicBezTo>
                  <a:cubicBezTo>
                    <a:pt x="208" y="91"/>
                    <a:pt x="208" y="91"/>
                    <a:pt x="208" y="91"/>
                  </a:cubicBezTo>
                  <a:cubicBezTo>
                    <a:pt x="208" y="86"/>
                    <a:pt x="204" y="82"/>
                    <a:pt x="198" y="82"/>
                  </a:cubicBezTo>
                  <a:cubicBezTo>
                    <a:pt x="177" y="82"/>
                    <a:pt x="177" y="82"/>
                    <a:pt x="177" y="82"/>
                  </a:cubicBezTo>
                  <a:cubicBezTo>
                    <a:pt x="183" y="75"/>
                    <a:pt x="183" y="75"/>
                    <a:pt x="183" y="75"/>
                  </a:cubicBezTo>
                  <a:cubicBezTo>
                    <a:pt x="183" y="74"/>
                    <a:pt x="184" y="73"/>
                    <a:pt x="184" y="71"/>
                  </a:cubicBezTo>
                  <a:cubicBezTo>
                    <a:pt x="184" y="15"/>
                    <a:pt x="184" y="15"/>
                    <a:pt x="184" y="15"/>
                  </a:cubicBezTo>
                  <a:cubicBezTo>
                    <a:pt x="184" y="12"/>
                    <a:pt x="181" y="10"/>
                    <a:pt x="178" y="10"/>
                  </a:cubicBezTo>
                  <a:cubicBezTo>
                    <a:pt x="39" y="10"/>
                    <a:pt x="39" y="10"/>
                    <a:pt x="39" y="10"/>
                  </a:cubicBezTo>
                  <a:cubicBezTo>
                    <a:pt x="36" y="10"/>
                    <a:pt x="34" y="12"/>
                    <a:pt x="34" y="15"/>
                  </a:cubicBezTo>
                  <a:cubicBezTo>
                    <a:pt x="34" y="71"/>
                    <a:pt x="34" y="71"/>
                    <a:pt x="34" y="71"/>
                  </a:cubicBezTo>
                  <a:cubicBezTo>
                    <a:pt x="34" y="73"/>
                    <a:pt x="34" y="74"/>
                    <a:pt x="35" y="75"/>
                  </a:cubicBezTo>
                  <a:cubicBezTo>
                    <a:pt x="41" y="82"/>
                    <a:pt x="41" y="82"/>
                    <a:pt x="41" y="82"/>
                  </a:cubicBezTo>
                  <a:lnTo>
                    <a:pt x="19" y="8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9" name="Group 191"/>
            <p:cNvGrpSpPr/>
            <p:nvPr/>
          </p:nvGrpSpPr>
          <p:grpSpPr>
            <a:xfrm>
              <a:off x="1946906" y="3600034"/>
              <a:ext cx="160780" cy="104745"/>
              <a:chOff x="7003411" y="4679326"/>
              <a:chExt cx="181953" cy="121470"/>
            </a:xfrm>
          </p:grpSpPr>
          <p:sp>
            <p:nvSpPr>
              <p:cNvPr id="196" name="Freeform 9"/>
              <p:cNvSpPr>
                <a:spLocks/>
              </p:cNvSpPr>
              <p:nvPr/>
            </p:nvSpPr>
            <p:spPr bwMode="auto">
              <a:xfrm>
                <a:off x="7039197" y="4762490"/>
                <a:ext cx="110381" cy="38306"/>
              </a:xfrm>
              <a:custGeom>
                <a:avLst/>
                <a:gdLst>
                  <a:gd name="T0" fmla="*/ 5 w 93"/>
                  <a:gd name="T1" fmla="*/ 32 h 32"/>
                  <a:gd name="T2" fmla="*/ 2 w 93"/>
                  <a:gd name="T3" fmla="*/ 30 h 32"/>
                  <a:gd name="T4" fmla="*/ 2 w 93"/>
                  <a:gd name="T5" fmla="*/ 25 h 32"/>
                  <a:gd name="T6" fmla="*/ 92 w 93"/>
                  <a:gd name="T7" fmla="*/ 25 h 32"/>
                  <a:gd name="T8" fmla="*/ 92 w 93"/>
                  <a:gd name="T9" fmla="*/ 30 h 32"/>
                  <a:gd name="T10" fmla="*/ 86 w 93"/>
                  <a:gd name="T11" fmla="*/ 30 h 32"/>
                  <a:gd name="T12" fmla="*/ 8 w 93"/>
                  <a:gd name="T13" fmla="*/ 30 h 32"/>
                  <a:gd name="T14" fmla="*/ 5 w 93"/>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32">
                    <a:moveTo>
                      <a:pt x="5" y="32"/>
                    </a:moveTo>
                    <a:cubicBezTo>
                      <a:pt x="4" y="32"/>
                      <a:pt x="3" y="31"/>
                      <a:pt x="2" y="30"/>
                    </a:cubicBezTo>
                    <a:cubicBezTo>
                      <a:pt x="0" y="29"/>
                      <a:pt x="0" y="26"/>
                      <a:pt x="2" y="25"/>
                    </a:cubicBezTo>
                    <a:cubicBezTo>
                      <a:pt x="27" y="0"/>
                      <a:pt x="67" y="0"/>
                      <a:pt x="92" y="25"/>
                    </a:cubicBezTo>
                    <a:cubicBezTo>
                      <a:pt x="93" y="26"/>
                      <a:pt x="93" y="29"/>
                      <a:pt x="92" y="30"/>
                    </a:cubicBezTo>
                    <a:cubicBezTo>
                      <a:pt x="90" y="32"/>
                      <a:pt x="87" y="32"/>
                      <a:pt x="86" y="30"/>
                    </a:cubicBezTo>
                    <a:cubicBezTo>
                      <a:pt x="64" y="9"/>
                      <a:pt x="29" y="9"/>
                      <a:pt x="8" y="30"/>
                    </a:cubicBezTo>
                    <a:cubicBezTo>
                      <a:pt x="7" y="31"/>
                      <a:pt x="6" y="32"/>
                      <a:pt x="5" y="3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7" name="Freeform 10"/>
              <p:cNvSpPr>
                <a:spLocks/>
              </p:cNvSpPr>
              <p:nvPr/>
            </p:nvSpPr>
            <p:spPr bwMode="auto">
              <a:xfrm>
                <a:off x="7022564" y="4729224"/>
                <a:ext cx="145159" cy="40322"/>
              </a:xfrm>
              <a:custGeom>
                <a:avLst/>
                <a:gdLst>
                  <a:gd name="T0" fmla="*/ 116 w 122"/>
                  <a:gd name="T1" fmla="*/ 33 h 34"/>
                  <a:gd name="T2" fmla="*/ 112 w 122"/>
                  <a:gd name="T3" fmla="*/ 32 h 34"/>
                  <a:gd name="T4" fmla="*/ 61 w 122"/>
                  <a:gd name="T5" fmla="*/ 11 h 34"/>
                  <a:gd name="T6" fmla="*/ 9 w 122"/>
                  <a:gd name="T7" fmla="*/ 32 h 34"/>
                  <a:gd name="T8" fmla="*/ 2 w 122"/>
                  <a:gd name="T9" fmla="*/ 32 h 34"/>
                  <a:gd name="T10" fmla="*/ 2 w 122"/>
                  <a:gd name="T11" fmla="*/ 25 h 34"/>
                  <a:gd name="T12" fmla="*/ 61 w 122"/>
                  <a:gd name="T13" fmla="*/ 0 h 34"/>
                  <a:gd name="T14" fmla="*/ 120 w 122"/>
                  <a:gd name="T15" fmla="*/ 25 h 34"/>
                  <a:gd name="T16" fmla="*/ 120 w 122"/>
                  <a:gd name="T17" fmla="*/ 32 h 34"/>
                  <a:gd name="T18" fmla="*/ 116 w 122"/>
                  <a:gd name="T19"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34">
                    <a:moveTo>
                      <a:pt x="116" y="33"/>
                    </a:moveTo>
                    <a:cubicBezTo>
                      <a:pt x="115" y="33"/>
                      <a:pt x="113" y="33"/>
                      <a:pt x="112" y="32"/>
                    </a:cubicBezTo>
                    <a:cubicBezTo>
                      <a:pt x="98" y="18"/>
                      <a:pt x="80" y="11"/>
                      <a:pt x="61" y="11"/>
                    </a:cubicBezTo>
                    <a:cubicBezTo>
                      <a:pt x="41" y="11"/>
                      <a:pt x="23" y="18"/>
                      <a:pt x="9" y="32"/>
                    </a:cubicBezTo>
                    <a:cubicBezTo>
                      <a:pt x="7" y="34"/>
                      <a:pt x="4" y="34"/>
                      <a:pt x="2" y="32"/>
                    </a:cubicBezTo>
                    <a:cubicBezTo>
                      <a:pt x="0" y="30"/>
                      <a:pt x="0" y="27"/>
                      <a:pt x="2" y="25"/>
                    </a:cubicBezTo>
                    <a:cubicBezTo>
                      <a:pt x="18" y="9"/>
                      <a:pt x="39" y="0"/>
                      <a:pt x="61" y="0"/>
                    </a:cubicBezTo>
                    <a:cubicBezTo>
                      <a:pt x="83" y="0"/>
                      <a:pt x="104" y="9"/>
                      <a:pt x="120" y="25"/>
                    </a:cubicBezTo>
                    <a:cubicBezTo>
                      <a:pt x="122" y="27"/>
                      <a:pt x="122" y="30"/>
                      <a:pt x="120" y="32"/>
                    </a:cubicBezTo>
                    <a:cubicBezTo>
                      <a:pt x="119" y="33"/>
                      <a:pt x="117" y="33"/>
                      <a:pt x="116" y="3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98" name="Freeform 11"/>
              <p:cNvSpPr>
                <a:spLocks/>
              </p:cNvSpPr>
              <p:nvPr/>
            </p:nvSpPr>
            <p:spPr bwMode="auto">
              <a:xfrm>
                <a:off x="7003411" y="4679326"/>
                <a:ext cx="181953" cy="60483"/>
              </a:xfrm>
              <a:custGeom>
                <a:avLst/>
                <a:gdLst>
                  <a:gd name="T0" fmla="*/ 148 w 153"/>
                  <a:gd name="T1" fmla="*/ 50 h 51"/>
                  <a:gd name="T2" fmla="*/ 144 w 153"/>
                  <a:gd name="T3" fmla="*/ 49 h 51"/>
                  <a:gd name="T4" fmla="*/ 10 w 153"/>
                  <a:gd name="T5" fmla="*/ 49 h 51"/>
                  <a:gd name="T6" fmla="*/ 2 w 153"/>
                  <a:gd name="T7" fmla="*/ 49 h 51"/>
                  <a:gd name="T8" fmla="*/ 2 w 153"/>
                  <a:gd name="T9" fmla="*/ 41 h 51"/>
                  <a:gd name="T10" fmla="*/ 151 w 153"/>
                  <a:gd name="T11" fmla="*/ 41 h 51"/>
                  <a:gd name="T12" fmla="*/ 151 w 153"/>
                  <a:gd name="T13" fmla="*/ 49 h 51"/>
                  <a:gd name="T14" fmla="*/ 148 w 153"/>
                  <a:gd name="T15" fmla="*/ 5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51">
                    <a:moveTo>
                      <a:pt x="148" y="50"/>
                    </a:moveTo>
                    <a:cubicBezTo>
                      <a:pt x="146" y="50"/>
                      <a:pt x="145" y="50"/>
                      <a:pt x="144" y="49"/>
                    </a:cubicBezTo>
                    <a:cubicBezTo>
                      <a:pt x="107" y="12"/>
                      <a:pt x="47" y="12"/>
                      <a:pt x="10" y="49"/>
                    </a:cubicBezTo>
                    <a:cubicBezTo>
                      <a:pt x="8" y="51"/>
                      <a:pt x="4" y="51"/>
                      <a:pt x="2" y="49"/>
                    </a:cubicBezTo>
                    <a:cubicBezTo>
                      <a:pt x="0" y="47"/>
                      <a:pt x="0" y="43"/>
                      <a:pt x="2" y="41"/>
                    </a:cubicBezTo>
                    <a:cubicBezTo>
                      <a:pt x="43" y="0"/>
                      <a:pt x="110" y="0"/>
                      <a:pt x="151" y="41"/>
                    </a:cubicBezTo>
                    <a:cubicBezTo>
                      <a:pt x="153" y="43"/>
                      <a:pt x="153" y="47"/>
                      <a:pt x="151" y="49"/>
                    </a:cubicBezTo>
                    <a:cubicBezTo>
                      <a:pt x="150" y="50"/>
                      <a:pt x="149" y="50"/>
                      <a:pt x="148" y="5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spTree>
    <p:extLst>
      <p:ext uri="{BB962C8B-B14F-4D97-AF65-F5344CB8AC3E}">
        <p14:creationId xmlns:p14="http://schemas.microsoft.com/office/powerpoint/2010/main" val="4284893946"/>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1" name="Freeform 5"/>
          <p:cNvSpPr>
            <a:spLocks noEditPoints="1"/>
          </p:cNvSpPr>
          <p:nvPr/>
        </p:nvSpPr>
        <p:spPr bwMode="auto">
          <a:xfrm>
            <a:off x="-3982" y="1079500"/>
            <a:ext cx="9151965" cy="3648075"/>
          </a:xfrm>
          <a:prstGeom prst="rect">
            <a:avLst/>
          </a:prstGeom>
          <a:solidFill>
            <a:schemeClr val="accent5">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 name="Title 1"/>
          <p:cNvSpPr>
            <a:spLocks noGrp="1"/>
          </p:cNvSpPr>
          <p:nvPr>
            <p:ph type="title"/>
          </p:nvPr>
        </p:nvSpPr>
        <p:spPr/>
        <p:txBody>
          <a:bodyPr/>
          <a:lstStyle/>
          <a:p>
            <a:r>
              <a:rPr dirty="0" smtClean="0"/>
              <a:t>What Do Your Customers Want from </a:t>
            </a:r>
            <a:r>
              <a:rPr dirty="0" err="1" smtClean="0"/>
              <a:t>IoT</a:t>
            </a:r>
            <a:r>
              <a:rPr dirty="0" smtClean="0"/>
              <a:t>?</a:t>
            </a:r>
            <a:endParaRPr lang="en-US" dirty="0"/>
          </a:p>
        </p:txBody>
      </p:sp>
      <p:sp>
        <p:nvSpPr>
          <p:cNvPr id="32" name="Freeform 5"/>
          <p:cNvSpPr>
            <a:spLocks noEditPoints="1"/>
          </p:cNvSpPr>
          <p:nvPr/>
        </p:nvSpPr>
        <p:spPr bwMode="auto">
          <a:xfrm>
            <a:off x="-3982" y="4546600"/>
            <a:ext cx="9151965" cy="171450"/>
          </a:xfrm>
          <a:prstGeom prst="rect">
            <a:avLst/>
          </a:prstGeom>
          <a:solidFill>
            <a:schemeClr val="tx1">
              <a:lumMod val="50000"/>
              <a:alpha val="50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 name="Freeform 5"/>
          <p:cNvSpPr>
            <a:spLocks noEditPoints="1"/>
          </p:cNvSpPr>
          <p:nvPr/>
        </p:nvSpPr>
        <p:spPr bwMode="auto">
          <a:xfrm>
            <a:off x="0" y="2057087"/>
            <a:ext cx="9151965" cy="2518088"/>
          </a:xfrm>
          <a:prstGeom prst="rect">
            <a:avLst/>
          </a:prstGeom>
          <a:gradFill flip="none" rotWithShape="1">
            <a:gsLst>
              <a:gs pos="0">
                <a:schemeClr val="bg1">
                  <a:alpha val="0"/>
                </a:schemeClr>
              </a:gs>
              <a:gs pos="100000">
                <a:schemeClr val="accent4">
                  <a:lumMod val="20000"/>
                  <a:lumOff val="80000"/>
                  <a:alpha val="57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 name="Rectangle 51"/>
          <p:cNvSpPr/>
          <p:nvPr/>
        </p:nvSpPr>
        <p:spPr>
          <a:xfrm>
            <a:off x="3237233" y="1149350"/>
            <a:ext cx="2669534" cy="295466"/>
          </a:xfrm>
          <a:prstGeom prst="rect">
            <a:avLst/>
          </a:prstGeom>
          <a:noFill/>
          <a:ln w="25400" cap="rnd" cmpd="sng" algn="ctr">
            <a:noFill/>
            <a:prstDash val="solid"/>
          </a:ln>
          <a:effectLst/>
        </p:spPr>
        <p:txBody>
          <a:bodyPr wrap="square" tIns="18288" bIns="0" rtlCol="0" anchor="t" anchorCtr="0">
            <a:spAutoFit/>
          </a:bodyPr>
          <a:lstStyle/>
          <a:p>
            <a:pPr lvl="0" algn="ctr">
              <a:defRPr/>
            </a:pPr>
            <a:r>
              <a:rPr lang="en-US" b="1" dirty="0">
                <a:solidFill>
                  <a:schemeClr val="accent1"/>
                </a:solidFill>
                <a:latin typeface="+mj-lt"/>
                <a:ea typeface="+mn-ea"/>
              </a:rPr>
              <a:t>Monetization</a:t>
            </a:r>
          </a:p>
        </p:txBody>
      </p:sp>
      <p:sp>
        <p:nvSpPr>
          <p:cNvPr id="111" name="Oval 449"/>
          <p:cNvSpPr>
            <a:spLocks noChangeArrowheads="1"/>
          </p:cNvSpPr>
          <p:nvPr/>
        </p:nvSpPr>
        <p:spPr bwMode="auto">
          <a:xfrm>
            <a:off x="3046571" y="3014765"/>
            <a:ext cx="3050858" cy="3048772"/>
          </a:xfrm>
          <a:prstGeom prst="pie">
            <a:avLst>
              <a:gd name="adj1" fmla="val 10772085"/>
              <a:gd name="adj2" fmla="val 35533"/>
            </a:avLst>
          </a:prstGeom>
          <a:gradFill flip="none" rotWithShape="1">
            <a:gsLst>
              <a:gs pos="0">
                <a:schemeClr val="bg1">
                  <a:lumMod val="95000"/>
                  <a:alpha val="55000"/>
                </a:schemeClr>
              </a:gs>
              <a:gs pos="100000">
                <a:srgbClr val="004BAF">
                  <a:alpha val="0"/>
                </a:srgbClr>
              </a:gs>
            </a:gsLst>
            <a:path path="circle">
              <a:fillToRect l="50000" t="50000" r="50000" b="50000"/>
            </a:path>
            <a:tileRect/>
          </a:gradFill>
          <a:ln w="6350" cap="flat">
            <a:gradFill>
              <a:gsLst>
                <a:gs pos="100000">
                  <a:schemeClr val="accent1">
                    <a:lumMod val="5000"/>
                    <a:lumOff val="95000"/>
                  </a:schemeClr>
                </a:gs>
                <a:gs pos="32000">
                  <a:schemeClr val="accent1">
                    <a:lumMod val="30000"/>
                    <a:lumOff val="70000"/>
                  </a:schemeClr>
                </a:gs>
              </a:gsLst>
              <a:lin ang="5400000" scaled="1"/>
            </a:gra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4" name="Group 126"/>
          <p:cNvGrpSpPr/>
          <p:nvPr/>
        </p:nvGrpSpPr>
        <p:grpSpPr>
          <a:xfrm>
            <a:off x="397577" y="2664711"/>
            <a:ext cx="321309" cy="321309"/>
            <a:chOff x="455903" y="2072980"/>
            <a:chExt cx="321309" cy="321309"/>
          </a:xfrm>
          <a:solidFill>
            <a:schemeClr val="accent1"/>
          </a:solidFill>
        </p:grpSpPr>
        <p:sp>
          <p:nvSpPr>
            <p:cNvPr id="128" name="Freeform 23"/>
            <p:cNvSpPr>
              <a:spLocks noEditPoints="1"/>
            </p:cNvSpPr>
            <p:nvPr/>
          </p:nvSpPr>
          <p:spPr bwMode="auto">
            <a:xfrm>
              <a:off x="455903" y="2072980"/>
              <a:ext cx="179056" cy="177640"/>
            </a:xfrm>
            <a:custGeom>
              <a:avLst/>
              <a:gdLst>
                <a:gd name="T0" fmla="*/ 107 w 107"/>
                <a:gd name="T1" fmla="*/ 53 h 106"/>
                <a:gd name="T2" fmla="*/ 53 w 107"/>
                <a:gd name="T3" fmla="*/ 0 h 106"/>
                <a:gd name="T4" fmla="*/ 0 w 107"/>
                <a:gd name="T5" fmla="*/ 53 h 106"/>
                <a:gd name="T6" fmla="*/ 53 w 107"/>
                <a:gd name="T7" fmla="*/ 106 h 106"/>
                <a:gd name="T8" fmla="*/ 107 w 107"/>
                <a:gd name="T9" fmla="*/ 53 h 106"/>
                <a:gd name="T10" fmla="*/ 8 w 107"/>
                <a:gd name="T11" fmla="*/ 53 h 106"/>
                <a:gd name="T12" fmla="*/ 53 w 107"/>
                <a:gd name="T13" fmla="*/ 8 h 106"/>
                <a:gd name="T14" fmla="*/ 99 w 107"/>
                <a:gd name="T15" fmla="*/ 53 h 106"/>
                <a:gd name="T16" fmla="*/ 53 w 107"/>
                <a:gd name="T17" fmla="*/ 99 h 106"/>
                <a:gd name="T18" fmla="*/ 8 w 107"/>
                <a:gd name="T19"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107" y="53"/>
                  </a:moveTo>
                  <a:cubicBezTo>
                    <a:pt x="107" y="24"/>
                    <a:pt x="83" y="0"/>
                    <a:pt x="53" y="0"/>
                  </a:cubicBezTo>
                  <a:cubicBezTo>
                    <a:pt x="24" y="0"/>
                    <a:pt x="0" y="24"/>
                    <a:pt x="0" y="53"/>
                  </a:cubicBezTo>
                  <a:cubicBezTo>
                    <a:pt x="0" y="83"/>
                    <a:pt x="24" y="106"/>
                    <a:pt x="53" y="106"/>
                  </a:cubicBezTo>
                  <a:cubicBezTo>
                    <a:pt x="83" y="106"/>
                    <a:pt x="107" y="83"/>
                    <a:pt x="107" y="53"/>
                  </a:cubicBezTo>
                  <a:moveTo>
                    <a:pt x="8" y="53"/>
                  </a:moveTo>
                  <a:cubicBezTo>
                    <a:pt x="8" y="28"/>
                    <a:pt x="28" y="8"/>
                    <a:pt x="53" y="8"/>
                  </a:cubicBezTo>
                  <a:cubicBezTo>
                    <a:pt x="79" y="8"/>
                    <a:pt x="99" y="28"/>
                    <a:pt x="99" y="53"/>
                  </a:cubicBezTo>
                  <a:cubicBezTo>
                    <a:pt x="99" y="78"/>
                    <a:pt x="79" y="99"/>
                    <a:pt x="53" y="99"/>
                  </a:cubicBezTo>
                  <a:cubicBezTo>
                    <a:pt x="28" y="99"/>
                    <a:pt x="8" y="78"/>
                    <a:pt x="8" y="5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9" name="Freeform 24"/>
            <p:cNvSpPr>
              <a:spLocks noEditPoints="1"/>
            </p:cNvSpPr>
            <p:nvPr/>
          </p:nvSpPr>
          <p:spPr bwMode="auto">
            <a:xfrm>
              <a:off x="516060" y="2109782"/>
              <a:ext cx="56618" cy="104036"/>
            </a:xfrm>
            <a:custGeom>
              <a:avLst/>
              <a:gdLst>
                <a:gd name="T0" fmla="*/ 20 w 34"/>
                <a:gd name="T1" fmla="*/ 60 h 62"/>
                <a:gd name="T2" fmla="*/ 20 w 34"/>
                <a:gd name="T3" fmla="*/ 57 h 62"/>
                <a:gd name="T4" fmla="*/ 34 w 34"/>
                <a:gd name="T5" fmla="*/ 42 h 62"/>
                <a:gd name="T6" fmla="*/ 20 w 34"/>
                <a:gd name="T7" fmla="*/ 26 h 62"/>
                <a:gd name="T8" fmla="*/ 20 w 34"/>
                <a:gd name="T9" fmla="*/ 10 h 62"/>
                <a:gd name="T10" fmla="*/ 29 w 34"/>
                <a:gd name="T11" fmla="*/ 13 h 62"/>
                <a:gd name="T12" fmla="*/ 32 w 34"/>
                <a:gd name="T13" fmla="*/ 9 h 62"/>
                <a:gd name="T14" fmla="*/ 20 w 34"/>
                <a:gd name="T15" fmla="*/ 3 h 62"/>
                <a:gd name="T16" fmla="*/ 20 w 34"/>
                <a:gd name="T17" fmla="*/ 1 h 62"/>
                <a:gd name="T18" fmla="*/ 18 w 34"/>
                <a:gd name="T19" fmla="*/ 0 h 62"/>
                <a:gd name="T20" fmla="*/ 15 w 34"/>
                <a:gd name="T21" fmla="*/ 1 h 62"/>
                <a:gd name="T22" fmla="*/ 15 w 34"/>
                <a:gd name="T23" fmla="*/ 4 h 62"/>
                <a:gd name="T24" fmla="*/ 1 w 34"/>
                <a:gd name="T25" fmla="*/ 18 h 62"/>
                <a:gd name="T26" fmla="*/ 15 w 34"/>
                <a:gd name="T27" fmla="*/ 33 h 62"/>
                <a:gd name="T28" fmla="*/ 15 w 34"/>
                <a:gd name="T29" fmla="*/ 50 h 62"/>
                <a:gd name="T30" fmla="*/ 3 w 34"/>
                <a:gd name="T31" fmla="*/ 44 h 62"/>
                <a:gd name="T32" fmla="*/ 0 w 34"/>
                <a:gd name="T33" fmla="*/ 49 h 62"/>
                <a:gd name="T34" fmla="*/ 15 w 34"/>
                <a:gd name="T35" fmla="*/ 58 h 62"/>
                <a:gd name="T36" fmla="*/ 15 w 34"/>
                <a:gd name="T37" fmla="*/ 60 h 62"/>
                <a:gd name="T38" fmla="*/ 18 w 34"/>
                <a:gd name="T39" fmla="*/ 62 h 62"/>
                <a:gd name="T40" fmla="*/ 20 w 34"/>
                <a:gd name="T41" fmla="*/ 60 h 62"/>
                <a:gd name="T42" fmla="*/ 19 w 34"/>
                <a:gd name="T43" fmla="*/ 34 h 62"/>
                <a:gd name="T44" fmla="*/ 26 w 34"/>
                <a:gd name="T45" fmla="*/ 43 h 62"/>
                <a:gd name="T46" fmla="*/ 19 w 34"/>
                <a:gd name="T47" fmla="*/ 50 h 62"/>
                <a:gd name="T48" fmla="*/ 19 w 34"/>
                <a:gd name="T49" fmla="*/ 34 h 62"/>
                <a:gd name="T50" fmla="*/ 16 w 34"/>
                <a:gd name="T51" fmla="*/ 24 h 62"/>
                <a:gd name="T52" fmla="*/ 8 w 34"/>
                <a:gd name="T53" fmla="*/ 17 h 62"/>
                <a:gd name="T54" fmla="*/ 16 w 34"/>
                <a:gd name="T55" fmla="*/ 10 h 62"/>
                <a:gd name="T56" fmla="*/ 16 w 34"/>
                <a:gd name="T57" fmla="*/ 2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62">
                  <a:moveTo>
                    <a:pt x="20" y="60"/>
                  </a:moveTo>
                  <a:cubicBezTo>
                    <a:pt x="20" y="57"/>
                    <a:pt x="20" y="57"/>
                    <a:pt x="20" y="57"/>
                  </a:cubicBezTo>
                  <a:cubicBezTo>
                    <a:pt x="28" y="56"/>
                    <a:pt x="34" y="51"/>
                    <a:pt x="34" y="42"/>
                  </a:cubicBezTo>
                  <a:cubicBezTo>
                    <a:pt x="34" y="32"/>
                    <a:pt x="26" y="28"/>
                    <a:pt x="20" y="26"/>
                  </a:cubicBezTo>
                  <a:cubicBezTo>
                    <a:pt x="20" y="10"/>
                    <a:pt x="20" y="10"/>
                    <a:pt x="20" y="10"/>
                  </a:cubicBezTo>
                  <a:cubicBezTo>
                    <a:pt x="25" y="11"/>
                    <a:pt x="27" y="13"/>
                    <a:pt x="29" y="13"/>
                  </a:cubicBezTo>
                  <a:cubicBezTo>
                    <a:pt x="31" y="13"/>
                    <a:pt x="32" y="10"/>
                    <a:pt x="32" y="9"/>
                  </a:cubicBezTo>
                  <a:cubicBezTo>
                    <a:pt x="32" y="5"/>
                    <a:pt x="25" y="4"/>
                    <a:pt x="20" y="3"/>
                  </a:cubicBezTo>
                  <a:cubicBezTo>
                    <a:pt x="20" y="1"/>
                    <a:pt x="20" y="1"/>
                    <a:pt x="20" y="1"/>
                  </a:cubicBezTo>
                  <a:cubicBezTo>
                    <a:pt x="20" y="0"/>
                    <a:pt x="19" y="0"/>
                    <a:pt x="18" y="0"/>
                  </a:cubicBezTo>
                  <a:cubicBezTo>
                    <a:pt x="16" y="0"/>
                    <a:pt x="15" y="0"/>
                    <a:pt x="15" y="1"/>
                  </a:cubicBezTo>
                  <a:cubicBezTo>
                    <a:pt x="15" y="4"/>
                    <a:pt x="15" y="4"/>
                    <a:pt x="15" y="4"/>
                  </a:cubicBezTo>
                  <a:cubicBezTo>
                    <a:pt x="8" y="4"/>
                    <a:pt x="1" y="8"/>
                    <a:pt x="1" y="18"/>
                  </a:cubicBezTo>
                  <a:cubicBezTo>
                    <a:pt x="1" y="27"/>
                    <a:pt x="8" y="30"/>
                    <a:pt x="15" y="33"/>
                  </a:cubicBezTo>
                  <a:cubicBezTo>
                    <a:pt x="15" y="50"/>
                    <a:pt x="15" y="50"/>
                    <a:pt x="15" y="50"/>
                  </a:cubicBezTo>
                  <a:cubicBezTo>
                    <a:pt x="8" y="50"/>
                    <a:pt x="6" y="44"/>
                    <a:pt x="3" y="44"/>
                  </a:cubicBezTo>
                  <a:cubicBezTo>
                    <a:pt x="1" y="44"/>
                    <a:pt x="0" y="47"/>
                    <a:pt x="0" y="49"/>
                  </a:cubicBezTo>
                  <a:cubicBezTo>
                    <a:pt x="0" y="52"/>
                    <a:pt x="6" y="58"/>
                    <a:pt x="15" y="58"/>
                  </a:cubicBezTo>
                  <a:cubicBezTo>
                    <a:pt x="15" y="60"/>
                    <a:pt x="15" y="60"/>
                    <a:pt x="15" y="60"/>
                  </a:cubicBezTo>
                  <a:cubicBezTo>
                    <a:pt x="15" y="61"/>
                    <a:pt x="16" y="62"/>
                    <a:pt x="18" y="62"/>
                  </a:cubicBezTo>
                  <a:cubicBezTo>
                    <a:pt x="19" y="62"/>
                    <a:pt x="20" y="61"/>
                    <a:pt x="20" y="60"/>
                  </a:cubicBezTo>
                  <a:moveTo>
                    <a:pt x="19" y="34"/>
                  </a:moveTo>
                  <a:cubicBezTo>
                    <a:pt x="23" y="36"/>
                    <a:pt x="26" y="38"/>
                    <a:pt x="26" y="43"/>
                  </a:cubicBezTo>
                  <a:cubicBezTo>
                    <a:pt x="26" y="47"/>
                    <a:pt x="23" y="49"/>
                    <a:pt x="19" y="50"/>
                  </a:cubicBezTo>
                  <a:lnTo>
                    <a:pt x="19" y="34"/>
                  </a:lnTo>
                  <a:close/>
                  <a:moveTo>
                    <a:pt x="16" y="24"/>
                  </a:moveTo>
                  <a:cubicBezTo>
                    <a:pt x="12" y="23"/>
                    <a:pt x="8" y="21"/>
                    <a:pt x="8" y="17"/>
                  </a:cubicBezTo>
                  <a:cubicBezTo>
                    <a:pt x="8" y="13"/>
                    <a:pt x="12" y="11"/>
                    <a:pt x="16" y="10"/>
                  </a:cubicBezTo>
                  <a:lnTo>
                    <a:pt x="16"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0" name="Freeform 25"/>
            <p:cNvSpPr>
              <a:spLocks noEditPoints="1"/>
            </p:cNvSpPr>
            <p:nvPr/>
          </p:nvSpPr>
          <p:spPr bwMode="auto">
            <a:xfrm>
              <a:off x="599572" y="2216649"/>
              <a:ext cx="177640" cy="177640"/>
            </a:xfrm>
            <a:custGeom>
              <a:avLst/>
              <a:gdLst>
                <a:gd name="T0" fmla="*/ 53 w 106"/>
                <a:gd name="T1" fmla="*/ 0 h 106"/>
                <a:gd name="T2" fmla="*/ 0 w 106"/>
                <a:gd name="T3" fmla="*/ 53 h 106"/>
                <a:gd name="T4" fmla="*/ 53 w 106"/>
                <a:gd name="T5" fmla="*/ 106 h 106"/>
                <a:gd name="T6" fmla="*/ 106 w 106"/>
                <a:gd name="T7" fmla="*/ 53 h 106"/>
                <a:gd name="T8" fmla="*/ 53 w 106"/>
                <a:gd name="T9" fmla="*/ 0 h 106"/>
                <a:gd name="T10" fmla="*/ 53 w 106"/>
                <a:gd name="T11" fmla="*/ 98 h 106"/>
                <a:gd name="T12" fmla="*/ 8 w 106"/>
                <a:gd name="T13" fmla="*/ 53 h 106"/>
                <a:gd name="T14" fmla="*/ 53 w 106"/>
                <a:gd name="T15" fmla="*/ 7 h 106"/>
                <a:gd name="T16" fmla="*/ 99 w 106"/>
                <a:gd name="T17" fmla="*/ 53 h 106"/>
                <a:gd name="T18" fmla="*/ 53 w 106"/>
                <a:gd name="T19" fmla="*/ 9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0"/>
                  </a:moveTo>
                  <a:cubicBezTo>
                    <a:pt x="24" y="0"/>
                    <a:pt x="0" y="23"/>
                    <a:pt x="0" y="53"/>
                  </a:cubicBezTo>
                  <a:cubicBezTo>
                    <a:pt x="0" y="82"/>
                    <a:pt x="24" y="106"/>
                    <a:pt x="53" y="106"/>
                  </a:cubicBezTo>
                  <a:cubicBezTo>
                    <a:pt x="82" y="106"/>
                    <a:pt x="106" y="82"/>
                    <a:pt x="106" y="53"/>
                  </a:cubicBezTo>
                  <a:cubicBezTo>
                    <a:pt x="106" y="23"/>
                    <a:pt x="82" y="0"/>
                    <a:pt x="53" y="0"/>
                  </a:cubicBezTo>
                  <a:moveTo>
                    <a:pt x="53" y="98"/>
                  </a:moveTo>
                  <a:cubicBezTo>
                    <a:pt x="28" y="98"/>
                    <a:pt x="8" y="78"/>
                    <a:pt x="8" y="53"/>
                  </a:cubicBezTo>
                  <a:cubicBezTo>
                    <a:pt x="8" y="28"/>
                    <a:pt x="28" y="7"/>
                    <a:pt x="53" y="7"/>
                  </a:cubicBezTo>
                  <a:cubicBezTo>
                    <a:pt x="78" y="7"/>
                    <a:pt x="99" y="28"/>
                    <a:pt x="99" y="53"/>
                  </a:cubicBezTo>
                  <a:cubicBezTo>
                    <a:pt x="99" y="78"/>
                    <a:pt x="78" y="98"/>
                    <a:pt x="53" y="9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Freeform 26"/>
            <p:cNvSpPr>
              <a:spLocks/>
            </p:cNvSpPr>
            <p:nvPr/>
          </p:nvSpPr>
          <p:spPr bwMode="auto">
            <a:xfrm>
              <a:off x="649821" y="2258405"/>
              <a:ext cx="67234" cy="94128"/>
            </a:xfrm>
            <a:custGeom>
              <a:avLst/>
              <a:gdLst>
                <a:gd name="T0" fmla="*/ 23 w 40"/>
                <a:gd name="T1" fmla="*/ 8 h 56"/>
                <a:gd name="T2" fmla="*/ 32 w 40"/>
                <a:gd name="T3" fmla="*/ 16 h 56"/>
                <a:gd name="T4" fmla="*/ 36 w 40"/>
                <a:gd name="T5" fmla="*/ 18 h 56"/>
                <a:gd name="T6" fmla="*/ 40 w 40"/>
                <a:gd name="T7" fmla="*/ 14 h 56"/>
                <a:gd name="T8" fmla="*/ 23 w 40"/>
                <a:gd name="T9" fmla="*/ 0 h 56"/>
                <a:gd name="T10" fmla="*/ 6 w 40"/>
                <a:gd name="T11" fmla="*/ 17 h 56"/>
                <a:gd name="T12" fmla="*/ 6 w 40"/>
                <a:gd name="T13" fmla="*/ 20 h 56"/>
                <a:gd name="T14" fmla="*/ 2 w 40"/>
                <a:gd name="T15" fmla="*/ 20 h 56"/>
                <a:gd name="T16" fmla="*/ 0 w 40"/>
                <a:gd name="T17" fmla="*/ 23 h 56"/>
                <a:gd name="T18" fmla="*/ 2 w 40"/>
                <a:gd name="T19" fmla="*/ 26 h 56"/>
                <a:gd name="T20" fmla="*/ 6 w 40"/>
                <a:gd name="T21" fmla="*/ 26 h 56"/>
                <a:gd name="T22" fmla="*/ 6 w 40"/>
                <a:gd name="T23" fmla="*/ 32 h 56"/>
                <a:gd name="T24" fmla="*/ 2 w 40"/>
                <a:gd name="T25" fmla="*/ 32 h 56"/>
                <a:gd name="T26" fmla="*/ 0 w 40"/>
                <a:gd name="T27" fmla="*/ 35 h 56"/>
                <a:gd name="T28" fmla="*/ 2 w 40"/>
                <a:gd name="T29" fmla="*/ 38 h 56"/>
                <a:gd name="T30" fmla="*/ 6 w 40"/>
                <a:gd name="T31" fmla="*/ 38 h 56"/>
                <a:gd name="T32" fmla="*/ 6 w 40"/>
                <a:gd name="T33" fmla="*/ 40 h 56"/>
                <a:gd name="T34" fmla="*/ 23 w 40"/>
                <a:gd name="T35" fmla="*/ 56 h 56"/>
                <a:gd name="T36" fmla="*/ 40 w 40"/>
                <a:gd name="T37" fmla="*/ 42 h 56"/>
                <a:gd name="T38" fmla="*/ 36 w 40"/>
                <a:gd name="T39" fmla="*/ 38 h 56"/>
                <a:gd name="T40" fmla="*/ 32 w 40"/>
                <a:gd name="T41" fmla="*/ 40 h 56"/>
                <a:gd name="T42" fmla="*/ 23 w 40"/>
                <a:gd name="T43" fmla="*/ 49 h 56"/>
                <a:gd name="T44" fmla="*/ 14 w 40"/>
                <a:gd name="T45" fmla="*/ 40 h 56"/>
                <a:gd name="T46" fmla="*/ 14 w 40"/>
                <a:gd name="T47" fmla="*/ 38 h 56"/>
                <a:gd name="T48" fmla="*/ 24 w 40"/>
                <a:gd name="T49" fmla="*/ 38 h 56"/>
                <a:gd name="T50" fmla="*/ 26 w 40"/>
                <a:gd name="T51" fmla="*/ 35 h 56"/>
                <a:gd name="T52" fmla="*/ 24 w 40"/>
                <a:gd name="T53" fmla="*/ 32 h 56"/>
                <a:gd name="T54" fmla="*/ 14 w 40"/>
                <a:gd name="T55" fmla="*/ 32 h 56"/>
                <a:gd name="T56" fmla="*/ 14 w 40"/>
                <a:gd name="T57" fmla="*/ 26 h 56"/>
                <a:gd name="T58" fmla="*/ 24 w 40"/>
                <a:gd name="T59" fmla="*/ 26 h 56"/>
                <a:gd name="T60" fmla="*/ 26 w 40"/>
                <a:gd name="T61" fmla="*/ 23 h 56"/>
                <a:gd name="T62" fmla="*/ 24 w 40"/>
                <a:gd name="T63" fmla="*/ 20 h 56"/>
                <a:gd name="T64" fmla="*/ 14 w 40"/>
                <a:gd name="T65" fmla="*/ 20 h 56"/>
                <a:gd name="T66" fmla="*/ 14 w 40"/>
                <a:gd name="T67" fmla="*/ 17 h 56"/>
                <a:gd name="T68" fmla="*/ 23 w 40"/>
                <a:gd name="T6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56">
                  <a:moveTo>
                    <a:pt x="23" y="8"/>
                  </a:moveTo>
                  <a:cubicBezTo>
                    <a:pt x="30" y="8"/>
                    <a:pt x="32" y="12"/>
                    <a:pt x="32" y="16"/>
                  </a:cubicBezTo>
                  <a:cubicBezTo>
                    <a:pt x="32" y="17"/>
                    <a:pt x="33" y="18"/>
                    <a:pt x="36" y="18"/>
                  </a:cubicBezTo>
                  <a:cubicBezTo>
                    <a:pt x="39" y="18"/>
                    <a:pt x="40" y="17"/>
                    <a:pt x="40" y="14"/>
                  </a:cubicBezTo>
                  <a:cubicBezTo>
                    <a:pt x="40" y="6"/>
                    <a:pt x="33" y="0"/>
                    <a:pt x="23" y="0"/>
                  </a:cubicBezTo>
                  <a:cubicBezTo>
                    <a:pt x="14" y="0"/>
                    <a:pt x="6" y="5"/>
                    <a:pt x="6" y="17"/>
                  </a:cubicBezTo>
                  <a:cubicBezTo>
                    <a:pt x="6" y="20"/>
                    <a:pt x="6" y="20"/>
                    <a:pt x="6" y="20"/>
                  </a:cubicBezTo>
                  <a:cubicBezTo>
                    <a:pt x="2" y="20"/>
                    <a:pt x="2" y="20"/>
                    <a:pt x="2" y="20"/>
                  </a:cubicBezTo>
                  <a:cubicBezTo>
                    <a:pt x="1" y="20"/>
                    <a:pt x="0" y="21"/>
                    <a:pt x="0" y="23"/>
                  </a:cubicBezTo>
                  <a:cubicBezTo>
                    <a:pt x="0" y="25"/>
                    <a:pt x="1" y="26"/>
                    <a:pt x="2" y="26"/>
                  </a:cubicBezTo>
                  <a:cubicBezTo>
                    <a:pt x="6" y="26"/>
                    <a:pt x="6" y="26"/>
                    <a:pt x="6" y="26"/>
                  </a:cubicBezTo>
                  <a:cubicBezTo>
                    <a:pt x="6" y="32"/>
                    <a:pt x="6" y="32"/>
                    <a:pt x="6" y="32"/>
                  </a:cubicBezTo>
                  <a:cubicBezTo>
                    <a:pt x="2" y="32"/>
                    <a:pt x="2" y="32"/>
                    <a:pt x="2" y="32"/>
                  </a:cubicBezTo>
                  <a:cubicBezTo>
                    <a:pt x="1" y="32"/>
                    <a:pt x="0" y="33"/>
                    <a:pt x="0" y="35"/>
                  </a:cubicBezTo>
                  <a:cubicBezTo>
                    <a:pt x="0" y="37"/>
                    <a:pt x="1" y="38"/>
                    <a:pt x="2" y="38"/>
                  </a:cubicBezTo>
                  <a:cubicBezTo>
                    <a:pt x="6" y="38"/>
                    <a:pt x="6" y="38"/>
                    <a:pt x="6" y="38"/>
                  </a:cubicBezTo>
                  <a:cubicBezTo>
                    <a:pt x="6" y="40"/>
                    <a:pt x="6" y="40"/>
                    <a:pt x="6" y="40"/>
                  </a:cubicBezTo>
                  <a:cubicBezTo>
                    <a:pt x="6" y="50"/>
                    <a:pt x="13" y="56"/>
                    <a:pt x="23" y="56"/>
                  </a:cubicBezTo>
                  <a:cubicBezTo>
                    <a:pt x="33" y="56"/>
                    <a:pt x="40" y="50"/>
                    <a:pt x="40" y="42"/>
                  </a:cubicBezTo>
                  <a:cubicBezTo>
                    <a:pt x="40" y="39"/>
                    <a:pt x="39" y="38"/>
                    <a:pt x="36" y="38"/>
                  </a:cubicBezTo>
                  <a:cubicBezTo>
                    <a:pt x="34" y="38"/>
                    <a:pt x="32" y="39"/>
                    <a:pt x="32" y="40"/>
                  </a:cubicBezTo>
                  <a:cubicBezTo>
                    <a:pt x="32" y="45"/>
                    <a:pt x="30" y="49"/>
                    <a:pt x="23" y="49"/>
                  </a:cubicBezTo>
                  <a:cubicBezTo>
                    <a:pt x="17" y="49"/>
                    <a:pt x="14" y="44"/>
                    <a:pt x="14" y="40"/>
                  </a:cubicBezTo>
                  <a:cubicBezTo>
                    <a:pt x="14" y="38"/>
                    <a:pt x="14" y="38"/>
                    <a:pt x="14" y="38"/>
                  </a:cubicBezTo>
                  <a:cubicBezTo>
                    <a:pt x="24" y="38"/>
                    <a:pt x="24" y="38"/>
                    <a:pt x="24" y="38"/>
                  </a:cubicBezTo>
                  <a:cubicBezTo>
                    <a:pt x="25" y="38"/>
                    <a:pt x="26" y="37"/>
                    <a:pt x="26" y="35"/>
                  </a:cubicBezTo>
                  <a:cubicBezTo>
                    <a:pt x="26" y="33"/>
                    <a:pt x="25" y="32"/>
                    <a:pt x="24" y="32"/>
                  </a:cubicBezTo>
                  <a:cubicBezTo>
                    <a:pt x="14" y="32"/>
                    <a:pt x="14" y="32"/>
                    <a:pt x="14" y="32"/>
                  </a:cubicBezTo>
                  <a:cubicBezTo>
                    <a:pt x="14" y="26"/>
                    <a:pt x="14" y="26"/>
                    <a:pt x="14" y="26"/>
                  </a:cubicBezTo>
                  <a:cubicBezTo>
                    <a:pt x="24" y="26"/>
                    <a:pt x="24" y="26"/>
                    <a:pt x="24" y="26"/>
                  </a:cubicBezTo>
                  <a:cubicBezTo>
                    <a:pt x="25" y="26"/>
                    <a:pt x="26" y="25"/>
                    <a:pt x="26" y="23"/>
                  </a:cubicBezTo>
                  <a:cubicBezTo>
                    <a:pt x="26" y="21"/>
                    <a:pt x="25" y="20"/>
                    <a:pt x="24" y="20"/>
                  </a:cubicBezTo>
                  <a:cubicBezTo>
                    <a:pt x="14" y="20"/>
                    <a:pt x="14" y="20"/>
                    <a:pt x="14" y="20"/>
                  </a:cubicBezTo>
                  <a:cubicBezTo>
                    <a:pt x="14" y="17"/>
                    <a:pt x="14" y="17"/>
                    <a:pt x="14" y="17"/>
                  </a:cubicBezTo>
                  <a:cubicBezTo>
                    <a:pt x="14" y="11"/>
                    <a:pt x="18" y="8"/>
                    <a:pt x="23" y="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2" name="Freeform 27"/>
            <p:cNvSpPr>
              <a:spLocks/>
            </p:cNvSpPr>
            <p:nvPr/>
          </p:nvSpPr>
          <p:spPr bwMode="auto">
            <a:xfrm>
              <a:off x="728379" y="2177016"/>
              <a:ext cx="16986" cy="19816"/>
            </a:xfrm>
            <a:custGeom>
              <a:avLst/>
              <a:gdLst>
                <a:gd name="T0" fmla="*/ 2 w 10"/>
                <a:gd name="T1" fmla="*/ 9 h 12"/>
                <a:gd name="T2" fmla="*/ 6 w 10"/>
                <a:gd name="T3" fmla="*/ 12 h 12"/>
                <a:gd name="T4" fmla="*/ 7 w 10"/>
                <a:gd name="T5" fmla="*/ 12 h 12"/>
                <a:gd name="T6" fmla="*/ 10 w 10"/>
                <a:gd name="T7" fmla="*/ 7 h 12"/>
                <a:gd name="T8" fmla="*/ 8 w 10"/>
                <a:gd name="T9" fmla="*/ 3 h 12"/>
                <a:gd name="T10" fmla="*/ 3 w 10"/>
                <a:gd name="T11" fmla="*/ 1 h 12"/>
                <a:gd name="T12" fmla="*/ 1 w 10"/>
                <a:gd name="T13" fmla="*/ 6 h 12"/>
                <a:gd name="T14" fmla="*/ 2 w 10"/>
                <a:gd name="T15" fmla="*/ 9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2" y="9"/>
                  </a:moveTo>
                  <a:cubicBezTo>
                    <a:pt x="3" y="11"/>
                    <a:pt x="4" y="12"/>
                    <a:pt x="6" y="12"/>
                  </a:cubicBezTo>
                  <a:cubicBezTo>
                    <a:pt x="6" y="12"/>
                    <a:pt x="7" y="12"/>
                    <a:pt x="7" y="12"/>
                  </a:cubicBezTo>
                  <a:cubicBezTo>
                    <a:pt x="9" y="11"/>
                    <a:pt x="10" y="9"/>
                    <a:pt x="10" y="7"/>
                  </a:cubicBezTo>
                  <a:cubicBezTo>
                    <a:pt x="9" y="6"/>
                    <a:pt x="9" y="4"/>
                    <a:pt x="8" y="3"/>
                  </a:cubicBezTo>
                  <a:cubicBezTo>
                    <a:pt x="7" y="1"/>
                    <a:pt x="5" y="0"/>
                    <a:pt x="3" y="1"/>
                  </a:cubicBezTo>
                  <a:cubicBezTo>
                    <a:pt x="1" y="2"/>
                    <a:pt x="0" y="4"/>
                    <a:pt x="1" y="6"/>
                  </a:cubicBezTo>
                  <a:cubicBezTo>
                    <a:pt x="2" y="7"/>
                    <a:pt x="2" y="8"/>
                    <a:pt x="2"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3" name="Freeform 28"/>
            <p:cNvSpPr>
              <a:spLocks/>
            </p:cNvSpPr>
            <p:nvPr/>
          </p:nvSpPr>
          <p:spPr bwMode="auto">
            <a:xfrm>
              <a:off x="641329" y="2088550"/>
              <a:ext cx="88466" cy="76435"/>
            </a:xfrm>
            <a:custGeom>
              <a:avLst/>
              <a:gdLst>
                <a:gd name="T0" fmla="*/ 10 w 53"/>
                <a:gd name="T1" fmla="*/ 31 h 46"/>
                <a:gd name="T2" fmla="*/ 13 w 53"/>
                <a:gd name="T3" fmla="*/ 33 h 46"/>
                <a:gd name="T4" fmla="*/ 15 w 53"/>
                <a:gd name="T5" fmla="*/ 33 h 46"/>
                <a:gd name="T6" fmla="*/ 17 w 53"/>
                <a:gd name="T7" fmla="*/ 28 h 46"/>
                <a:gd name="T8" fmla="*/ 12 w 53"/>
                <a:gd name="T9" fmla="*/ 19 h 46"/>
                <a:gd name="T10" fmla="*/ 45 w 53"/>
                <a:gd name="T11" fmla="*/ 45 h 46"/>
                <a:gd name="T12" fmla="*/ 49 w 53"/>
                <a:gd name="T13" fmla="*/ 46 h 46"/>
                <a:gd name="T14" fmla="*/ 51 w 53"/>
                <a:gd name="T15" fmla="*/ 46 h 46"/>
                <a:gd name="T16" fmla="*/ 52 w 53"/>
                <a:gd name="T17" fmla="*/ 40 h 46"/>
                <a:gd name="T18" fmla="*/ 15 w 53"/>
                <a:gd name="T19" fmla="*/ 12 h 46"/>
                <a:gd name="T20" fmla="*/ 22 w 53"/>
                <a:gd name="T21" fmla="*/ 7 h 46"/>
                <a:gd name="T22" fmla="*/ 24 w 53"/>
                <a:gd name="T23" fmla="*/ 2 h 46"/>
                <a:gd name="T24" fmla="*/ 19 w 53"/>
                <a:gd name="T25" fmla="*/ 1 h 46"/>
                <a:gd name="T26" fmla="*/ 2 w 53"/>
                <a:gd name="T27" fmla="*/ 10 h 46"/>
                <a:gd name="T28" fmla="*/ 0 w 53"/>
                <a:gd name="T29" fmla="*/ 12 h 46"/>
                <a:gd name="T30" fmla="*/ 1 w 53"/>
                <a:gd name="T31" fmla="*/ 15 h 46"/>
                <a:gd name="T32" fmla="*/ 10 w 53"/>
                <a:gd name="T33" fmla="*/ 3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46">
                  <a:moveTo>
                    <a:pt x="10" y="31"/>
                  </a:moveTo>
                  <a:cubicBezTo>
                    <a:pt x="11" y="33"/>
                    <a:pt x="12" y="33"/>
                    <a:pt x="13" y="33"/>
                  </a:cubicBezTo>
                  <a:cubicBezTo>
                    <a:pt x="14" y="33"/>
                    <a:pt x="15" y="33"/>
                    <a:pt x="15" y="33"/>
                  </a:cubicBezTo>
                  <a:cubicBezTo>
                    <a:pt x="17" y="32"/>
                    <a:pt x="18" y="30"/>
                    <a:pt x="17" y="28"/>
                  </a:cubicBezTo>
                  <a:cubicBezTo>
                    <a:pt x="12" y="19"/>
                    <a:pt x="12" y="19"/>
                    <a:pt x="12" y="19"/>
                  </a:cubicBezTo>
                  <a:cubicBezTo>
                    <a:pt x="25" y="24"/>
                    <a:pt x="37" y="33"/>
                    <a:pt x="45" y="45"/>
                  </a:cubicBezTo>
                  <a:cubicBezTo>
                    <a:pt x="46" y="46"/>
                    <a:pt x="47" y="46"/>
                    <a:pt x="49" y="46"/>
                  </a:cubicBezTo>
                  <a:cubicBezTo>
                    <a:pt x="49" y="46"/>
                    <a:pt x="50" y="46"/>
                    <a:pt x="51" y="46"/>
                  </a:cubicBezTo>
                  <a:cubicBezTo>
                    <a:pt x="52" y="45"/>
                    <a:pt x="53" y="42"/>
                    <a:pt x="52" y="40"/>
                  </a:cubicBezTo>
                  <a:cubicBezTo>
                    <a:pt x="43" y="27"/>
                    <a:pt x="29" y="17"/>
                    <a:pt x="15" y="12"/>
                  </a:cubicBezTo>
                  <a:cubicBezTo>
                    <a:pt x="22" y="7"/>
                    <a:pt x="22" y="7"/>
                    <a:pt x="22" y="7"/>
                  </a:cubicBezTo>
                  <a:cubicBezTo>
                    <a:pt x="24" y="6"/>
                    <a:pt x="25" y="4"/>
                    <a:pt x="24" y="2"/>
                  </a:cubicBezTo>
                  <a:cubicBezTo>
                    <a:pt x="23" y="0"/>
                    <a:pt x="20" y="0"/>
                    <a:pt x="19" y="1"/>
                  </a:cubicBezTo>
                  <a:cubicBezTo>
                    <a:pt x="2" y="10"/>
                    <a:pt x="2" y="10"/>
                    <a:pt x="2" y="10"/>
                  </a:cubicBezTo>
                  <a:cubicBezTo>
                    <a:pt x="1" y="10"/>
                    <a:pt x="1" y="11"/>
                    <a:pt x="0" y="12"/>
                  </a:cubicBezTo>
                  <a:cubicBezTo>
                    <a:pt x="0" y="13"/>
                    <a:pt x="0" y="14"/>
                    <a:pt x="1" y="15"/>
                  </a:cubicBezTo>
                  <a:lnTo>
                    <a:pt x="10" y="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4" name="Freeform 29"/>
            <p:cNvSpPr>
              <a:spLocks/>
            </p:cNvSpPr>
            <p:nvPr/>
          </p:nvSpPr>
          <p:spPr bwMode="auto">
            <a:xfrm>
              <a:off x="491290" y="2266898"/>
              <a:ext cx="101913" cy="108990"/>
            </a:xfrm>
            <a:custGeom>
              <a:avLst/>
              <a:gdLst>
                <a:gd name="T0" fmla="*/ 51 w 61"/>
                <a:gd name="T1" fmla="*/ 33 h 65"/>
                <a:gd name="T2" fmla="*/ 46 w 61"/>
                <a:gd name="T3" fmla="*/ 32 h 65"/>
                <a:gd name="T4" fmla="*/ 44 w 61"/>
                <a:gd name="T5" fmla="*/ 37 h 65"/>
                <a:gd name="T6" fmla="*/ 50 w 61"/>
                <a:gd name="T7" fmla="*/ 46 h 65"/>
                <a:gd name="T8" fmla="*/ 8 w 61"/>
                <a:gd name="T9" fmla="*/ 3 h 65"/>
                <a:gd name="T10" fmla="*/ 3 w 61"/>
                <a:gd name="T11" fmla="*/ 0 h 65"/>
                <a:gd name="T12" fmla="*/ 1 w 61"/>
                <a:gd name="T13" fmla="*/ 5 h 65"/>
                <a:gd name="T14" fmla="*/ 20 w 61"/>
                <a:gd name="T15" fmla="*/ 35 h 65"/>
                <a:gd name="T16" fmla="*/ 46 w 61"/>
                <a:gd name="T17" fmla="*/ 53 h 65"/>
                <a:gd name="T18" fmla="*/ 39 w 61"/>
                <a:gd name="T19" fmla="*/ 57 h 65"/>
                <a:gd name="T20" fmla="*/ 37 w 61"/>
                <a:gd name="T21" fmla="*/ 63 h 65"/>
                <a:gd name="T22" fmla="*/ 41 w 61"/>
                <a:gd name="T23" fmla="*/ 65 h 65"/>
                <a:gd name="T24" fmla="*/ 42 w 61"/>
                <a:gd name="T25" fmla="*/ 64 h 65"/>
                <a:gd name="T26" fmla="*/ 59 w 61"/>
                <a:gd name="T27" fmla="*/ 55 h 65"/>
                <a:gd name="T28" fmla="*/ 61 w 61"/>
                <a:gd name="T29" fmla="*/ 53 h 65"/>
                <a:gd name="T30" fmla="*/ 60 w 61"/>
                <a:gd name="T31" fmla="*/ 50 h 65"/>
                <a:gd name="T32" fmla="*/ 51 w 61"/>
                <a:gd name="T33" fmla="*/ 3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65">
                  <a:moveTo>
                    <a:pt x="51" y="33"/>
                  </a:moveTo>
                  <a:cubicBezTo>
                    <a:pt x="50" y="32"/>
                    <a:pt x="48" y="31"/>
                    <a:pt x="46" y="32"/>
                  </a:cubicBezTo>
                  <a:cubicBezTo>
                    <a:pt x="44" y="33"/>
                    <a:pt x="43" y="35"/>
                    <a:pt x="44" y="37"/>
                  </a:cubicBezTo>
                  <a:cubicBezTo>
                    <a:pt x="50" y="46"/>
                    <a:pt x="50" y="46"/>
                    <a:pt x="50" y="46"/>
                  </a:cubicBezTo>
                  <a:cubicBezTo>
                    <a:pt x="30" y="39"/>
                    <a:pt x="15" y="22"/>
                    <a:pt x="8" y="3"/>
                  </a:cubicBezTo>
                  <a:cubicBezTo>
                    <a:pt x="7" y="1"/>
                    <a:pt x="5" y="0"/>
                    <a:pt x="3" y="0"/>
                  </a:cubicBezTo>
                  <a:cubicBezTo>
                    <a:pt x="1" y="1"/>
                    <a:pt x="0" y="3"/>
                    <a:pt x="1" y="5"/>
                  </a:cubicBezTo>
                  <a:cubicBezTo>
                    <a:pt x="5" y="16"/>
                    <a:pt x="11" y="27"/>
                    <a:pt x="20" y="35"/>
                  </a:cubicBezTo>
                  <a:cubicBezTo>
                    <a:pt x="27" y="43"/>
                    <a:pt x="36" y="49"/>
                    <a:pt x="46" y="53"/>
                  </a:cubicBezTo>
                  <a:cubicBezTo>
                    <a:pt x="39" y="57"/>
                    <a:pt x="39" y="57"/>
                    <a:pt x="39" y="57"/>
                  </a:cubicBezTo>
                  <a:cubicBezTo>
                    <a:pt x="37" y="58"/>
                    <a:pt x="36" y="61"/>
                    <a:pt x="37" y="63"/>
                  </a:cubicBezTo>
                  <a:cubicBezTo>
                    <a:pt x="38" y="64"/>
                    <a:pt x="39" y="65"/>
                    <a:pt x="41" y="65"/>
                  </a:cubicBezTo>
                  <a:cubicBezTo>
                    <a:pt x="41" y="65"/>
                    <a:pt x="42" y="64"/>
                    <a:pt x="42" y="64"/>
                  </a:cubicBezTo>
                  <a:cubicBezTo>
                    <a:pt x="59" y="55"/>
                    <a:pt x="59" y="55"/>
                    <a:pt x="59" y="55"/>
                  </a:cubicBezTo>
                  <a:cubicBezTo>
                    <a:pt x="60" y="54"/>
                    <a:pt x="60" y="54"/>
                    <a:pt x="61" y="53"/>
                  </a:cubicBezTo>
                  <a:cubicBezTo>
                    <a:pt x="61" y="52"/>
                    <a:pt x="61" y="51"/>
                    <a:pt x="60" y="50"/>
                  </a:cubicBezTo>
                  <a:lnTo>
                    <a:pt x="51" y="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 name="Group 134"/>
          <p:cNvGrpSpPr/>
          <p:nvPr/>
        </p:nvGrpSpPr>
        <p:grpSpPr>
          <a:xfrm>
            <a:off x="393815" y="3280811"/>
            <a:ext cx="309696" cy="276387"/>
            <a:chOff x="452141" y="2641102"/>
            <a:chExt cx="309696" cy="276387"/>
          </a:xfrm>
          <a:solidFill>
            <a:schemeClr val="accent1"/>
          </a:solidFill>
        </p:grpSpPr>
        <p:sp>
          <p:nvSpPr>
            <p:cNvPr id="136" name="Freeform 53"/>
            <p:cNvSpPr>
              <a:spLocks noEditPoints="1"/>
            </p:cNvSpPr>
            <p:nvPr/>
          </p:nvSpPr>
          <p:spPr bwMode="auto">
            <a:xfrm>
              <a:off x="452141" y="2641102"/>
              <a:ext cx="309696" cy="276387"/>
            </a:xfrm>
            <a:custGeom>
              <a:avLst/>
              <a:gdLst>
                <a:gd name="T0" fmla="*/ 185 w 185"/>
                <a:gd name="T1" fmla="*/ 44 h 165"/>
                <a:gd name="T2" fmla="*/ 183 w 185"/>
                <a:gd name="T3" fmla="*/ 41 h 165"/>
                <a:gd name="T4" fmla="*/ 94 w 185"/>
                <a:gd name="T5" fmla="*/ 0 h 165"/>
                <a:gd name="T6" fmla="*/ 91 w 185"/>
                <a:gd name="T7" fmla="*/ 0 h 165"/>
                <a:gd name="T8" fmla="*/ 91 w 185"/>
                <a:gd name="T9" fmla="*/ 0 h 165"/>
                <a:gd name="T10" fmla="*/ 2 w 185"/>
                <a:gd name="T11" fmla="*/ 41 h 165"/>
                <a:gd name="T12" fmla="*/ 0 w 185"/>
                <a:gd name="T13" fmla="*/ 44 h 165"/>
                <a:gd name="T14" fmla="*/ 0 w 185"/>
                <a:gd name="T15" fmla="*/ 44 h 165"/>
                <a:gd name="T16" fmla="*/ 0 w 185"/>
                <a:gd name="T17" fmla="*/ 121 h 165"/>
                <a:gd name="T18" fmla="*/ 2 w 185"/>
                <a:gd name="T19" fmla="*/ 125 h 165"/>
                <a:gd name="T20" fmla="*/ 91 w 185"/>
                <a:gd name="T21" fmla="*/ 165 h 165"/>
                <a:gd name="T22" fmla="*/ 92 w 185"/>
                <a:gd name="T23" fmla="*/ 165 h 165"/>
                <a:gd name="T24" fmla="*/ 94 w 185"/>
                <a:gd name="T25" fmla="*/ 165 h 165"/>
                <a:gd name="T26" fmla="*/ 94 w 185"/>
                <a:gd name="T27" fmla="*/ 165 h 165"/>
                <a:gd name="T28" fmla="*/ 94 w 185"/>
                <a:gd name="T29" fmla="*/ 165 h 165"/>
                <a:gd name="T30" fmla="*/ 183 w 185"/>
                <a:gd name="T31" fmla="*/ 125 h 165"/>
                <a:gd name="T32" fmla="*/ 185 w 185"/>
                <a:gd name="T33" fmla="*/ 121 h 165"/>
                <a:gd name="T34" fmla="*/ 185 w 185"/>
                <a:gd name="T35" fmla="*/ 44 h 165"/>
                <a:gd name="T36" fmla="*/ 20 w 185"/>
                <a:gd name="T37" fmla="*/ 47 h 165"/>
                <a:gd name="T38" fmla="*/ 89 w 185"/>
                <a:gd name="T39" fmla="*/ 47 h 165"/>
                <a:gd name="T40" fmla="*/ 89 w 185"/>
                <a:gd name="T41" fmla="*/ 77 h 165"/>
                <a:gd name="T42" fmla="*/ 84 w 185"/>
                <a:gd name="T43" fmla="*/ 75 h 165"/>
                <a:gd name="T44" fmla="*/ 20 w 185"/>
                <a:gd name="T45" fmla="*/ 47 h 165"/>
                <a:gd name="T46" fmla="*/ 96 w 185"/>
                <a:gd name="T47" fmla="*/ 77 h 165"/>
                <a:gd name="T48" fmla="*/ 96 w 185"/>
                <a:gd name="T49" fmla="*/ 47 h 165"/>
                <a:gd name="T50" fmla="*/ 129 w 185"/>
                <a:gd name="T51" fmla="*/ 47 h 165"/>
                <a:gd name="T52" fmla="*/ 133 w 185"/>
                <a:gd name="T53" fmla="*/ 43 h 165"/>
                <a:gd name="T54" fmla="*/ 129 w 185"/>
                <a:gd name="T55" fmla="*/ 40 h 165"/>
                <a:gd name="T56" fmla="*/ 96 w 185"/>
                <a:gd name="T57" fmla="*/ 40 h 165"/>
                <a:gd name="T58" fmla="*/ 96 w 185"/>
                <a:gd name="T59" fmla="*/ 9 h 165"/>
                <a:gd name="T60" fmla="*/ 172 w 185"/>
                <a:gd name="T61" fmla="*/ 44 h 165"/>
                <a:gd name="T62" fmla="*/ 100 w 185"/>
                <a:gd name="T63" fmla="*/ 75 h 165"/>
                <a:gd name="T64" fmla="*/ 96 w 185"/>
                <a:gd name="T65" fmla="*/ 77 h 165"/>
                <a:gd name="T66" fmla="*/ 89 w 185"/>
                <a:gd name="T67" fmla="*/ 40 h 165"/>
                <a:gd name="T68" fmla="*/ 22 w 185"/>
                <a:gd name="T69" fmla="*/ 40 h 165"/>
                <a:gd name="T70" fmla="*/ 89 w 185"/>
                <a:gd name="T71" fmla="*/ 9 h 165"/>
                <a:gd name="T72" fmla="*/ 89 w 185"/>
                <a:gd name="T73" fmla="*/ 40 h 165"/>
                <a:gd name="T74" fmla="*/ 7 w 185"/>
                <a:gd name="T75" fmla="*/ 50 h 165"/>
                <a:gd name="T76" fmla="*/ 13 w 185"/>
                <a:gd name="T77" fmla="*/ 52 h 165"/>
                <a:gd name="T78" fmla="*/ 89 w 185"/>
                <a:gd name="T79" fmla="*/ 85 h 165"/>
                <a:gd name="T80" fmla="*/ 89 w 185"/>
                <a:gd name="T81" fmla="*/ 156 h 165"/>
                <a:gd name="T82" fmla="*/ 7 w 185"/>
                <a:gd name="T83" fmla="*/ 119 h 165"/>
                <a:gd name="T84" fmla="*/ 7 w 185"/>
                <a:gd name="T85" fmla="*/ 50 h 165"/>
                <a:gd name="T86" fmla="*/ 177 w 185"/>
                <a:gd name="T87" fmla="*/ 119 h 165"/>
                <a:gd name="T88" fmla="*/ 96 w 185"/>
                <a:gd name="T89" fmla="*/ 156 h 165"/>
                <a:gd name="T90" fmla="*/ 96 w 185"/>
                <a:gd name="T91" fmla="*/ 85 h 165"/>
                <a:gd name="T92" fmla="*/ 172 w 185"/>
                <a:gd name="T93" fmla="*/ 52 h 165"/>
                <a:gd name="T94" fmla="*/ 177 w 185"/>
                <a:gd name="T95" fmla="*/ 50 h 165"/>
                <a:gd name="T96" fmla="*/ 177 w 185"/>
                <a:gd name="T97" fmla="*/ 11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5" h="165">
                  <a:moveTo>
                    <a:pt x="185" y="44"/>
                  </a:moveTo>
                  <a:cubicBezTo>
                    <a:pt x="185" y="43"/>
                    <a:pt x="184" y="41"/>
                    <a:pt x="183" y="41"/>
                  </a:cubicBezTo>
                  <a:cubicBezTo>
                    <a:pt x="94" y="0"/>
                    <a:pt x="94" y="0"/>
                    <a:pt x="94" y="0"/>
                  </a:cubicBezTo>
                  <a:cubicBezTo>
                    <a:pt x="93" y="0"/>
                    <a:pt x="92" y="0"/>
                    <a:pt x="91" y="0"/>
                  </a:cubicBezTo>
                  <a:cubicBezTo>
                    <a:pt x="91" y="0"/>
                    <a:pt x="91" y="0"/>
                    <a:pt x="91" y="0"/>
                  </a:cubicBezTo>
                  <a:cubicBezTo>
                    <a:pt x="2" y="41"/>
                    <a:pt x="2" y="41"/>
                    <a:pt x="2" y="41"/>
                  </a:cubicBezTo>
                  <a:cubicBezTo>
                    <a:pt x="1" y="41"/>
                    <a:pt x="0" y="43"/>
                    <a:pt x="0" y="44"/>
                  </a:cubicBezTo>
                  <a:cubicBezTo>
                    <a:pt x="0" y="44"/>
                    <a:pt x="0" y="44"/>
                    <a:pt x="0" y="44"/>
                  </a:cubicBezTo>
                  <a:cubicBezTo>
                    <a:pt x="0" y="121"/>
                    <a:pt x="0" y="121"/>
                    <a:pt x="0" y="121"/>
                  </a:cubicBezTo>
                  <a:cubicBezTo>
                    <a:pt x="0" y="123"/>
                    <a:pt x="1" y="124"/>
                    <a:pt x="2" y="125"/>
                  </a:cubicBezTo>
                  <a:cubicBezTo>
                    <a:pt x="91" y="165"/>
                    <a:pt x="91" y="165"/>
                    <a:pt x="91" y="165"/>
                  </a:cubicBezTo>
                  <a:cubicBezTo>
                    <a:pt x="91" y="165"/>
                    <a:pt x="92" y="165"/>
                    <a:pt x="92" y="165"/>
                  </a:cubicBezTo>
                  <a:cubicBezTo>
                    <a:pt x="93" y="165"/>
                    <a:pt x="93" y="165"/>
                    <a:pt x="94" y="165"/>
                  </a:cubicBezTo>
                  <a:cubicBezTo>
                    <a:pt x="94" y="165"/>
                    <a:pt x="94" y="165"/>
                    <a:pt x="94" y="165"/>
                  </a:cubicBezTo>
                  <a:cubicBezTo>
                    <a:pt x="94" y="165"/>
                    <a:pt x="94" y="165"/>
                    <a:pt x="94" y="165"/>
                  </a:cubicBezTo>
                  <a:cubicBezTo>
                    <a:pt x="183" y="125"/>
                    <a:pt x="183" y="125"/>
                    <a:pt x="183" y="125"/>
                  </a:cubicBezTo>
                  <a:cubicBezTo>
                    <a:pt x="184" y="124"/>
                    <a:pt x="185" y="123"/>
                    <a:pt x="185" y="121"/>
                  </a:cubicBezTo>
                  <a:lnTo>
                    <a:pt x="185" y="44"/>
                  </a:lnTo>
                  <a:close/>
                  <a:moveTo>
                    <a:pt x="20" y="47"/>
                  </a:moveTo>
                  <a:cubicBezTo>
                    <a:pt x="89" y="47"/>
                    <a:pt x="89" y="47"/>
                    <a:pt x="89" y="47"/>
                  </a:cubicBezTo>
                  <a:cubicBezTo>
                    <a:pt x="89" y="77"/>
                    <a:pt x="89" y="77"/>
                    <a:pt x="89" y="77"/>
                  </a:cubicBezTo>
                  <a:cubicBezTo>
                    <a:pt x="84" y="75"/>
                    <a:pt x="84" y="75"/>
                    <a:pt x="84" y="75"/>
                  </a:cubicBezTo>
                  <a:lnTo>
                    <a:pt x="20" y="47"/>
                  </a:lnTo>
                  <a:close/>
                  <a:moveTo>
                    <a:pt x="96" y="77"/>
                  </a:moveTo>
                  <a:cubicBezTo>
                    <a:pt x="96" y="47"/>
                    <a:pt x="96" y="47"/>
                    <a:pt x="96" y="47"/>
                  </a:cubicBezTo>
                  <a:cubicBezTo>
                    <a:pt x="129" y="47"/>
                    <a:pt x="129" y="47"/>
                    <a:pt x="129" y="47"/>
                  </a:cubicBezTo>
                  <a:cubicBezTo>
                    <a:pt x="131" y="47"/>
                    <a:pt x="133" y="45"/>
                    <a:pt x="133" y="43"/>
                  </a:cubicBezTo>
                  <a:cubicBezTo>
                    <a:pt x="133" y="41"/>
                    <a:pt x="131" y="40"/>
                    <a:pt x="129" y="40"/>
                  </a:cubicBezTo>
                  <a:cubicBezTo>
                    <a:pt x="96" y="40"/>
                    <a:pt x="96" y="40"/>
                    <a:pt x="96" y="40"/>
                  </a:cubicBezTo>
                  <a:cubicBezTo>
                    <a:pt x="96" y="9"/>
                    <a:pt x="96" y="9"/>
                    <a:pt x="96" y="9"/>
                  </a:cubicBezTo>
                  <a:cubicBezTo>
                    <a:pt x="172" y="44"/>
                    <a:pt x="172" y="44"/>
                    <a:pt x="172" y="44"/>
                  </a:cubicBezTo>
                  <a:cubicBezTo>
                    <a:pt x="100" y="75"/>
                    <a:pt x="100" y="75"/>
                    <a:pt x="100" y="75"/>
                  </a:cubicBezTo>
                  <a:lnTo>
                    <a:pt x="96" y="77"/>
                  </a:lnTo>
                  <a:close/>
                  <a:moveTo>
                    <a:pt x="89" y="40"/>
                  </a:moveTo>
                  <a:cubicBezTo>
                    <a:pt x="22" y="40"/>
                    <a:pt x="22" y="40"/>
                    <a:pt x="22" y="40"/>
                  </a:cubicBezTo>
                  <a:cubicBezTo>
                    <a:pt x="89" y="9"/>
                    <a:pt x="89" y="9"/>
                    <a:pt x="89" y="9"/>
                  </a:cubicBezTo>
                  <a:lnTo>
                    <a:pt x="89" y="40"/>
                  </a:lnTo>
                  <a:close/>
                  <a:moveTo>
                    <a:pt x="7" y="50"/>
                  </a:moveTo>
                  <a:cubicBezTo>
                    <a:pt x="13" y="52"/>
                    <a:pt x="13" y="52"/>
                    <a:pt x="13" y="52"/>
                  </a:cubicBezTo>
                  <a:cubicBezTo>
                    <a:pt x="89" y="85"/>
                    <a:pt x="89" y="85"/>
                    <a:pt x="89" y="85"/>
                  </a:cubicBezTo>
                  <a:cubicBezTo>
                    <a:pt x="89" y="156"/>
                    <a:pt x="89" y="156"/>
                    <a:pt x="89" y="156"/>
                  </a:cubicBezTo>
                  <a:cubicBezTo>
                    <a:pt x="7" y="119"/>
                    <a:pt x="7" y="119"/>
                    <a:pt x="7" y="119"/>
                  </a:cubicBezTo>
                  <a:lnTo>
                    <a:pt x="7" y="50"/>
                  </a:lnTo>
                  <a:close/>
                  <a:moveTo>
                    <a:pt x="177" y="119"/>
                  </a:moveTo>
                  <a:cubicBezTo>
                    <a:pt x="96" y="156"/>
                    <a:pt x="96" y="156"/>
                    <a:pt x="96" y="156"/>
                  </a:cubicBezTo>
                  <a:cubicBezTo>
                    <a:pt x="96" y="85"/>
                    <a:pt x="96" y="85"/>
                    <a:pt x="96" y="85"/>
                  </a:cubicBezTo>
                  <a:cubicBezTo>
                    <a:pt x="172" y="52"/>
                    <a:pt x="172" y="52"/>
                    <a:pt x="172" y="52"/>
                  </a:cubicBezTo>
                  <a:cubicBezTo>
                    <a:pt x="177" y="50"/>
                    <a:pt x="177" y="50"/>
                    <a:pt x="177" y="50"/>
                  </a:cubicBezTo>
                  <a:lnTo>
                    <a:pt x="177" y="11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7" name="Freeform 54"/>
            <p:cNvSpPr>
              <a:spLocks/>
            </p:cNvSpPr>
            <p:nvPr/>
          </p:nvSpPr>
          <p:spPr bwMode="auto">
            <a:xfrm>
              <a:off x="597422" y="2728270"/>
              <a:ext cx="17008" cy="11339"/>
            </a:xfrm>
            <a:custGeom>
              <a:avLst/>
              <a:gdLst>
                <a:gd name="T0" fmla="*/ 7 w 10"/>
                <a:gd name="T1" fmla="*/ 0 h 7"/>
                <a:gd name="T2" fmla="*/ 4 w 10"/>
                <a:gd name="T3" fmla="*/ 0 h 7"/>
                <a:gd name="T4" fmla="*/ 0 w 10"/>
                <a:gd name="T5" fmla="*/ 3 h 7"/>
                <a:gd name="T6" fmla="*/ 4 w 10"/>
                <a:gd name="T7" fmla="*/ 7 h 7"/>
                <a:gd name="T8" fmla="*/ 7 w 10"/>
                <a:gd name="T9" fmla="*/ 7 h 7"/>
                <a:gd name="T10" fmla="*/ 10 w 10"/>
                <a:gd name="T11" fmla="*/ 3 h 7"/>
                <a:gd name="T12" fmla="*/ 7 w 10"/>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0" h="7">
                  <a:moveTo>
                    <a:pt x="7" y="0"/>
                  </a:moveTo>
                  <a:cubicBezTo>
                    <a:pt x="4" y="0"/>
                    <a:pt x="4" y="0"/>
                    <a:pt x="4" y="0"/>
                  </a:cubicBezTo>
                  <a:cubicBezTo>
                    <a:pt x="2" y="0"/>
                    <a:pt x="0" y="1"/>
                    <a:pt x="0" y="3"/>
                  </a:cubicBezTo>
                  <a:cubicBezTo>
                    <a:pt x="0" y="5"/>
                    <a:pt x="2" y="7"/>
                    <a:pt x="4" y="7"/>
                  </a:cubicBezTo>
                  <a:cubicBezTo>
                    <a:pt x="7" y="7"/>
                    <a:pt x="7" y="7"/>
                    <a:pt x="7" y="7"/>
                  </a:cubicBezTo>
                  <a:cubicBezTo>
                    <a:pt x="9" y="7"/>
                    <a:pt x="10" y="5"/>
                    <a:pt x="10" y="3"/>
                  </a:cubicBezTo>
                  <a:cubicBezTo>
                    <a:pt x="10" y="1"/>
                    <a:pt x="9" y="0"/>
                    <a:pt x="7"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8" name="Freeform 55"/>
            <p:cNvSpPr>
              <a:spLocks noEditPoints="1"/>
            </p:cNvSpPr>
            <p:nvPr/>
          </p:nvSpPr>
          <p:spPr bwMode="auto">
            <a:xfrm>
              <a:off x="577579" y="2794887"/>
              <a:ext cx="58821" cy="73703"/>
            </a:xfrm>
            <a:custGeom>
              <a:avLst/>
              <a:gdLst>
                <a:gd name="T0" fmla="*/ 33 w 35"/>
                <a:gd name="T1" fmla="*/ 0 h 44"/>
                <a:gd name="T2" fmla="*/ 30 w 35"/>
                <a:gd name="T3" fmla="*/ 0 h 44"/>
                <a:gd name="T4" fmla="*/ 2 w 35"/>
                <a:gd name="T5" fmla="*/ 12 h 44"/>
                <a:gd name="T6" fmla="*/ 0 w 35"/>
                <a:gd name="T7" fmla="*/ 16 h 44"/>
                <a:gd name="T8" fmla="*/ 0 w 35"/>
                <a:gd name="T9" fmla="*/ 41 h 44"/>
                <a:gd name="T10" fmla="*/ 1 w 35"/>
                <a:gd name="T11" fmla="*/ 44 h 44"/>
                <a:gd name="T12" fmla="*/ 3 w 35"/>
                <a:gd name="T13" fmla="*/ 44 h 44"/>
                <a:gd name="T14" fmla="*/ 5 w 35"/>
                <a:gd name="T15" fmla="*/ 44 h 44"/>
                <a:gd name="T16" fmla="*/ 33 w 35"/>
                <a:gd name="T17" fmla="*/ 31 h 44"/>
                <a:gd name="T18" fmla="*/ 35 w 35"/>
                <a:gd name="T19" fmla="*/ 28 h 44"/>
                <a:gd name="T20" fmla="*/ 35 w 35"/>
                <a:gd name="T21" fmla="*/ 4 h 44"/>
                <a:gd name="T22" fmla="*/ 33 w 35"/>
                <a:gd name="T23" fmla="*/ 0 h 44"/>
                <a:gd name="T24" fmla="*/ 28 w 35"/>
                <a:gd name="T25" fmla="*/ 26 h 44"/>
                <a:gd name="T26" fmla="*/ 7 w 35"/>
                <a:gd name="T27" fmla="*/ 35 h 44"/>
                <a:gd name="T28" fmla="*/ 7 w 35"/>
                <a:gd name="T29" fmla="*/ 18 h 44"/>
                <a:gd name="T30" fmla="*/ 28 w 35"/>
                <a:gd name="T31" fmla="*/ 9 h 44"/>
                <a:gd name="T32" fmla="*/ 28 w 35"/>
                <a:gd name="T33"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44">
                  <a:moveTo>
                    <a:pt x="33" y="0"/>
                  </a:moveTo>
                  <a:cubicBezTo>
                    <a:pt x="32" y="0"/>
                    <a:pt x="31" y="0"/>
                    <a:pt x="30" y="0"/>
                  </a:cubicBezTo>
                  <a:cubicBezTo>
                    <a:pt x="2" y="12"/>
                    <a:pt x="2" y="12"/>
                    <a:pt x="2" y="12"/>
                  </a:cubicBezTo>
                  <a:cubicBezTo>
                    <a:pt x="0" y="13"/>
                    <a:pt x="0" y="14"/>
                    <a:pt x="0" y="16"/>
                  </a:cubicBezTo>
                  <a:cubicBezTo>
                    <a:pt x="0" y="41"/>
                    <a:pt x="0" y="41"/>
                    <a:pt x="0" y="41"/>
                  </a:cubicBezTo>
                  <a:cubicBezTo>
                    <a:pt x="0" y="42"/>
                    <a:pt x="0" y="43"/>
                    <a:pt x="1" y="44"/>
                  </a:cubicBezTo>
                  <a:cubicBezTo>
                    <a:pt x="2" y="44"/>
                    <a:pt x="3" y="44"/>
                    <a:pt x="3" y="44"/>
                  </a:cubicBezTo>
                  <a:cubicBezTo>
                    <a:pt x="4" y="44"/>
                    <a:pt x="4" y="44"/>
                    <a:pt x="5" y="44"/>
                  </a:cubicBezTo>
                  <a:cubicBezTo>
                    <a:pt x="33" y="31"/>
                    <a:pt x="33" y="31"/>
                    <a:pt x="33" y="31"/>
                  </a:cubicBezTo>
                  <a:cubicBezTo>
                    <a:pt x="34" y="31"/>
                    <a:pt x="35" y="29"/>
                    <a:pt x="35" y="28"/>
                  </a:cubicBezTo>
                  <a:cubicBezTo>
                    <a:pt x="35" y="4"/>
                    <a:pt x="35" y="4"/>
                    <a:pt x="35" y="4"/>
                  </a:cubicBezTo>
                  <a:cubicBezTo>
                    <a:pt x="35" y="2"/>
                    <a:pt x="34" y="1"/>
                    <a:pt x="33" y="0"/>
                  </a:cubicBezTo>
                  <a:moveTo>
                    <a:pt x="28" y="26"/>
                  </a:moveTo>
                  <a:cubicBezTo>
                    <a:pt x="7" y="35"/>
                    <a:pt x="7" y="35"/>
                    <a:pt x="7" y="35"/>
                  </a:cubicBezTo>
                  <a:cubicBezTo>
                    <a:pt x="7" y="18"/>
                    <a:pt x="7" y="18"/>
                    <a:pt x="7" y="18"/>
                  </a:cubicBezTo>
                  <a:cubicBezTo>
                    <a:pt x="28" y="9"/>
                    <a:pt x="28" y="9"/>
                    <a:pt x="28" y="9"/>
                  </a:cubicBezTo>
                  <a:lnTo>
                    <a:pt x="28"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39" name="Rectangle 138"/>
          <p:cNvSpPr/>
          <p:nvPr/>
        </p:nvSpPr>
        <p:spPr>
          <a:xfrm>
            <a:off x="6902450" y="1593850"/>
            <a:ext cx="1965325" cy="307777"/>
          </a:xfrm>
          <a:prstGeom prst="rect">
            <a:avLst/>
          </a:prstGeom>
          <a:solidFill>
            <a:schemeClr val="bg2"/>
          </a:solidFill>
        </p:spPr>
        <p:txBody>
          <a:bodyPr wrap="square">
            <a:spAutoFit/>
          </a:bodyPr>
          <a:lstStyle/>
          <a:p>
            <a:pPr algn="ctr"/>
            <a:r>
              <a:rPr lang="en-US" sz="1400" dirty="0" smtClean="0">
                <a:solidFill>
                  <a:schemeClr val="bg1"/>
                </a:solidFill>
                <a:latin typeface="+mj-lt"/>
              </a:rPr>
              <a:t>To Delivering Services</a:t>
            </a:r>
            <a:endParaRPr lang="en-US" sz="1400" dirty="0">
              <a:solidFill>
                <a:schemeClr val="bg1"/>
              </a:solidFill>
              <a:latin typeface="+mj-lt"/>
            </a:endParaRPr>
          </a:p>
        </p:txBody>
      </p:sp>
      <p:sp>
        <p:nvSpPr>
          <p:cNvPr id="140" name="TextBox 139"/>
          <p:cNvSpPr txBox="1"/>
          <p:nvPr/>
        </p:nvSpPr>
        <p:spPr>
          <a:xfrm>
            <a:off x="7388718" y="1948209"/>
            <a:ext cx="1412566" cy="461665"/>
          </a:xfrm>
          <a:prstGeom prst="rect">
            <a:avLst/>
          </a:prstGeom>
          <a:noFill/>
        </p:spPr>
        <p:txBody>
          <a:bodyPr wrap="none" rtlCol="0" anchor="ctr" anchorCtr="0">
            <a:spAutoFit/>
          </a:bodyPr>
          <a:lstStyle/>
          <a:p>
            <a:r>
              <a:rPr lang="en-US" sz="1200" dirty="0">
                <a:solidFill>
                  <a:schemeClr val="bg2">
                    <a:lumMod val="75000"/>
                  </a:schemeClr>
                </a:solidFill>
                <a:latin typeface="+mj-lt"/>
              </a:rPr>
              <a:t>Multiple</a:t>
            </a:r>
            <a:br>
              <a:rPr lang="en-US" sz="1200" dirty="0">
                <a:solidFill>
                  <a:schemeClr val="bg2">
                    <a:lumMod val="75000"/>
                  </a:schemeClr>
                </a:solidFill>
                <a:latin typeface="+mj-lt"/>
              </a:rPr>
            </a:br>
            <a:r>
              <a:rPr lang="en-US" sz="1200" dirty="0">
                <a:solidFill>
                  <a:schemeClr val="bg2">
                    <a:lumMod val="75000"/>
                  </a:schemeClr>
                </a:solidFill>
                <a:latin typeface="+mj-lt"/>
              </a:rPr>
              <a:t>Revenue Streams</a:t>
            </a:r>
          </a:p>
        </p:txBody>
      </p:sp>
      <p:sp>
        <p:nvSpPr>
          <p:cNvPr id="141" name="TextBox 140"/>
          <p:cNvSpPr txBox="1"/>
          <p:nvPr/>
        </p:nvSpPr>
        <p:spPr>
          <a:xfrm>
            <a:off x="7388718" y="2589796"/>
            <a:ext cx="1053494" cy="461665"/>
          </a:xfrm>
          <a:prstGeom prst="rect">
            <a:avLst/>
          </a:prstGeom>
          <a:noFill/>
        </p:spPr>
        <p:txBody>
          <a:bodyPr wrap="none" rtlCol="0" anchor="ctr" anchorCtr="0">
            <a:spAutoFit/>
          </a:bodyPr>
          <a:lstStyle/>
          <a:p>
            <a:r>
              <a:rPr lang="en-US" sz="1200" dirty="0">
                <a:solidFill>
                  <a:schemeClr val="bg2">
                    <a:lumMod val="75000"/>
                  </a:schemeClr>
                </a:solidFill>
                <a:latin typeface="+mj-lt"/>
              </a:rPr>
              <a:t>On-going</a:t>
            </a:r>
            <a:br>
              <a:rPr lang="en-US" sz="1200" dirty="0">
                <a:solidFill>
                  <a:schemeClr val="bg2">
                    <a:lumMod val="75000"/>
                  </a:schemeClr>
                </a:solidFill>
                <a:latin typeface="+mj-lt"/>
              </a:rPr>
            </a:br>
            <a:r>
              <a:rPr lang="en-US" sz="1200" dirty="0">
                <a:solidFill>
                  <a:schemeClr val="bg2">
                    <a:lumMod val="75000"/>
                  </a:schemeClr>
                </a:solidFill>
                <a:latin typeface="+mj-lt"/>
              </a:rPr>
              <a:t>Engagement</a:t>
            </a:r>
          </a:p>
        </p:txBody>
      </p:sp>
      <p:sp>
        <p:nvSpPr>
          <p:cNvPr id="142" name="TextBox 141"/>
          <p:cNvSpPr txBox="1"/>
          <p:nvPr/>
        </p:nvSpPr>
        <p:spPr>
          <a:xfrm>
            <a:off x="7388718" y="3276675"/>
            <a:ext cx="1233030" cy="276999"/>
          </a:xfrm>
          <a:prstGeom prst="rect">
            <a:avLst/>
          </a:prstGeom>
          <a:noFill/>
        </p:spPr>
        <p:txBody>
          <a:bodyPr wrap="none" rtlCol="0" anchor="ctr" anchorCtr="0">
            <a:spAutoFit/>
          </a:bodyPr>
          <a:lstStyle/>
          <a:p>
            <a:r>
              <a:rPr lang="en-US" sz="1200" dirty="0" smtClean="0">
                <a:solidFill>
                  <a:schemeClr val="bg2">
                    <a:lumMod val="75000"/>
                  </a:schemeClr>
                </a:solidFill>
                <a:latin typeface="+mj-lt"/>
              </a:rPr>
              <a:t>Service-Centric</a:t>
            </a:r>
            <a:endParaRPr lang="en-US" sz="1200" dirty="0">
              <a:solidFill>
                <a:schemeClr val="bg2">
                  <a:lumMod val="75000"/>
                </a:schemeClr>
              </a:solidFill>
              <a:latin typeface="+mj-lt"/>
            </a:endParaRPr>
          </a:p>
        </p:txBody>
      </p:sp>
      <p:grpSp>
        <p:nvGrpSpPr>
          <p:cNvPr id="6" name="Group 143"/>
          <p:cNvGrpSpPr/>
          <p:nvPr/>
        </p:nvGrpSpPr>
        <p:grpSpPr>
          <a:xfrm>
            <a:off x="7092105" y="3266034"/>
            <a:ext cx="199580" cy="274599"/>
            <a:chOff x="517476" y="4399997"/>
            <a:chExt cx="199580" cy="274599"/>
          </a:xfrm>
          <a:solidFill>
            <a:schemeClr val="bg2"/>
          </a:solidFill>
        </p:grpSpPr>
        <p:sp>
          <p:nvSpPr>
            <p:cNvPr id="145" name="Freeform 30"/>
            <p:cNvSpPr>
              <a:spLocks noEditPoints="1"/>
            </p:cNvSpPr>
            <p:nvPr/>
          </p:nvSpPr>
          <p:spPr bwMode="auto">
            <a:xfrm>
              <a:off x="517476" y="4399997"/>
              <a:ext cx="199580" cy="274599"/>
            </a:xfrm>
            <a:custGeom>
              <a:avLst/>
              <a:gdLst>
                <a:gd name="T0" fmla="*/ 115 w 119"/>
                <a:gd name="T1" fmla="*/ 0 h 164"/>
                <a:gd name="T2" fmla="*/ 3 w 119"/>
                <a:gd name="T3" fmla="*/ 0 h 164"/>
                <a:gd name="T4" fmla="*/ 0 w 119"/>
                <a:gd name="T5" fmla="*/ 3 h 164"/>
                <a:gd name="T6" fmla="*/ 0 w 119"/>
                <a:gd name="T7" fmla="*/ 161 h 164"/>
                <a:gd name="T8" fmla="*/ 3 w 119"/>
                <a:gd name="T9" fmla="*/ 164 h 164"/>
                <a:gd name="T10" fmla="*/ 89 w 119"/>
                <a:gd name="T11" fmla="*/ 164 h 164"/>
                <a:gd name="T12" fmla="*/ 91 w 119"/>
                <a:gd name="T13" fmla="*/ 163 h 164"/>
                <a:gd name="T14" fmla="*/ 118 w 119"/>
                <a:gd name="T15" fmla="*/ 136 h 164"/>
                <a:gd name="T16" fmla="*/ 119 w 119"/>
                <a:gd name="T17" fmla="*/ 134 h 164"/>
                <a:gd name="T18" fmla="*/ 119 w 119"/>
                <a:gd name="T19" fmla="*/ 3 h 164"/>
                <a:gd name="T20" fmla="*/ 115 w 119"/>
                <a:gd name="T21" fmla="*/ 0 h 164"/>
                <a:gd name="T22" fmla="*/ 6 w 119"/>
                <a:gd name="T23" fmla="*/ 7 h 164"/>
                <a:gd name="T24" fmla="*/ 112 w 119"/>
                <a:gd name="T25" fmla="*/ 7 h 164"/>
                <a:gd name="T26" fmla="*/ 112 w 119"/>
                <a:gd name="T27" fmla="*/ 131 h 164"/>
                <a:gd name="T28" fmla="*/ 89 w 119"/>
                <a:gd name="T29" fmla="*/ 131 h 164"/>
                <a:gd name="T30" fmla="*/ 89 w 119"/>
                <a:gd name="T31" fmla="*/ 131 h 164"/>
                <a:gd name="T32" fmla="*/ 86 w 119"/>
                <a:gd name="T33" fmla="*/ 131 h 164"/>
                <a:gd name="T34" fmla="*/ 85 w 119"/>
                <a:gd name="T35" fmla="*/ 134 h 164"/>
                <a:gd name="T36" fmla="*/ 85 w 119"/>
                <a:gd name="T37" fmla="*/ 157 h 164"/>
                <a:gd name="T38" fmla="*/ 6 w 119"/>
                <a:gd name="T39" fmla="*/ 157 h 164"/>
                <a:gd name="T40" fmla="*/ 6 w 119"/>
                <a:gd name="T41" fmla="*/ 7 h 164"/>
                <a:gd name="T42" fmla="*/ 92 w 119"/>
                <a:gd name="T43" fmla="*/ 137 h 164"/>
                <a:gd name="T44" fmla="*/ 108 w 119"/>
                <a:gd name="T45" fmla="*/ 137 h 164"/>
                <a:gd name="T46" fmla="*/ 92 w 119"/>
                <a:gd name="T47" fmla="*/ 153 h 164"/>
                <a:gd name="T48" fmla="*/ 92 w 119"/>
                <a:gd name="T49" fmla="*/ 13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 h="164">
                  <a:moveTo>
                    <a:pt x="115" y="0"/>
                  </a:moveTo>
                  <a:cubicBezTo>
                    <a:pt x="3" y="0"/>
                    <a:pt x="3" y="0"/>
                    <a:pt x="3" y="0"/>
                  </a:cubicBezTo>
                  <a:cubicBezTo>
                    <a:pt x="1" y="0"/>
                    <a:pt x="0" y="1"/>
                    <a:pt x="0" y="3"/>
                  </a:cubicBezTo>
                  <a:cubicBezTo>
                    <a:pt x="0" y="161"/>
                    <a:pt x="0" y="161"/>
                    <a:pt x="0" y="161"/>
                  </a:cubicBezTo>
                  <a:cubicBezTo>
                    <a:pt x="0" y="163"/>
                    <a:pt x="1" y="164"/>
                    <a:pt x="3" y="164"/>
                  </a:cubicBezTo>
                  <a:cubicBezTo>
                    <a:pt x="89" y="164"/>
                    <a:pt x="89" y="164"/>
                    <a:pt x="89" y="164"/>
                  </a:cubicBezTo>
                  <a:cubicBezTo>
                    <a:pt x="89" y="164"/>
                    <a:pt x="90" y="164"/>
                    <a:pt x="91" y="163"/>
                  </a:cubicBezTo>
                  <a:cubicBezTo>
                    <a:pt x="118" y="136"/>
                    <a:pt x="118" y="136"/>
                    <a:pt x="118" y="136"/>
                  </a:cubicBezTo>
                  <a:cubicBezTo>
                    <a:pt x="118" y="136"/>
                    <a:pt x="119" y="135"/>
                    <a:pt x="119" y="134"/>
                  </a:cubicBezTo>
                  <a:cubicBezTo>
                    <a:pt x="119" y="3"/>
                    <a:pt x="119" y="3"/>
                    <a:pt x="119" y="3"/>
                  </a:cubicBezTo>
                  <a:cubicBezTo>
                    <a:pt x="119" y="1"/>
                    <a:pt x="117" y="0"/>
                    <a:pt x="115" y="0"/>
                  </a:cubicBezTo>
                  <a:moveTo>
                    <a:pt x="6" y="7"/>
                  </a:moveTo>
                  <a:cubicBezTo>
                    <a:pt x="112" y="7"/>
                    <a:pt x="112" y="7"/>
                    <a:pt x="112" y="7"/>
                  </a:cubicBezTo>
                  <a:cubicBezTo>
                    <a:pt x="112" y="131"/>
                    <a:pt x="112" y="131"/>
                    <a:pt x="112" y="131"/>
                  </a:cubicBezTo>
                  <a:cubicBezTo>
                    <a:pt x="89" y="131"/>
                    <a:pt x="89" y="131"/>
                    <a:pt x="89" y="131"/>
                  </a:cubicBezTo>
                  <a:cubicBezTo>
                    <a:pt x="89" y="131"/>
                    <a:pt x="89" y="131"/>
                    <a:pt x="89" y="131"/>
                  </a:cubicBezTo>
                  <a:cubicBezTo>
                    <a:pt x="88" y="131"/>
                    <a:pt x="87" y="131"/>
                    <a:pt x="86" y="131"/>
                  </a:cubicBezTo>
                  <a:cubicBezTo>
                    <a:pt x="86" y="132"/>
                    <a:pt x="85" y="133"/>
                    <a:pt x="85" y="134"/>
                  </a:cubicBezTo>
                  <a:cubicBezTo>
                    <a:pt x="85" y="157"/>
                    <a:pt x="85" y="157"/>
                    <a:pt x="85" y="157"/>
                  </a:cubicBezTo>
                  <a:cubicBezTo>
                    <a:pt x="6" y="157"/>
                    <a:pt x="6" y="157"/>
                    <a:pt x="6" y="157"/>
                  </a:cubicBezTo>
                  <a:lnTo>
                    <a:pt x="6" y="7"/>
                  </a:lnTo>
                  <a:close/>
                  <a:moveTo>
                    <a:pt x="92" y="137"/>
                  </a:moveTo>
                  <a:cubicBezTo>
                    <a:pt x="108" y="137"/>
                    <a:pt x="108" y="137"/>
                    <a:pt x="108" y="137"/>
                  </a:cubicBezTo>
                  <a:cubicBezTo>
                    <a:pt x="92" y="153"/>
                    <a:pt x="92" y="153"/>
                    <a:pt x="92" y="153"/>
                  </a:cubicBezTo>
                  <a:lnTo>
                    <a:pt x="92" y="13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 name="Freeform 31"/>
            <p:cNvSpPr>
              <a:spLocks/>
            </p:cNvSpPr>
            <p:nvPr/>
          </p:nvSpPr>
          <p:spPr bwMode="auto">
            <a:xfrm>
              <a:off x="546493" y="4443876"/>
              <a:ext cx="39633" cy="31848"/>
            </a:xfrm>
            <a:custGeom>
              <a:avLst/>
              <a:gdLst>
                <a:gd name="T0" fmla="*/ 18 w 24"/>
                <a:gd name="T1" fmla="*/ 1 h 19"/>
                <a:gd name="T2" fmla="*/ 8 w 24"/>
                <a:gd name="T3" fmla="*/ 11 h 19"/>
                <a:gd name="T4" fmla="*/ 6 w 24"/>
                <a:gd name="T5" fmla="*/ 9 h 19"/>
                <a:gd name="T6" fmla="*/ 1 w 24"/>
                <a:gd name="T7" fmla="*/ 9 h 19"/>
                <a:gd name="T8" fmla="*/ 1 w 24"/>
                <a:gd name="T9" fmla="*/ 13 h 19"/>
                <a:gd name="T10" fmla="*/ 6 w 24"/>
                <a:gd name="T11" fmla="*/ 18 h 19"/>
                <a:gd name="T12" fmla="*/ 8 w 24"/>
                <a:gd name="T13" fmla="*/ 19 h 19"/>
                <a:gd name="T14" fmla="*/ 11 w 24"/>
                <a:gd name="T15" fmla="*/ 18 h 19"/>
                <a:gd name="T16" fmla="*/ 23 w 24"/>
                <a:gd name="T17" fmla="*/ 6 h 19"/>
                <a:gd name="T18" fmla="*/ 23 w 24"/>
                <a:gd name="T19" fmla="*/ 1 h 19"/>
                <a:gd name="T20" fmla="*/ 18 w 24"/>
                <a:gd name="T21"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9">
                  <a:moveTo>
                    <a:pt x="18" y="1"/>
                  </a:moveTo>
                  <a:cubicBezTo>
                    <a:pt x="8" y="11"/>
                    <a:pt x="8" y="11"/>
                    <a:pt x="8" y="11"/>
                  </a:cubicBezTo>
                  <a:cubicBezTo>
                    <a:pt x="6" y="9"/>
                    <a:pt x="6" y="9"/>
                    <a:pt x="6" y="9"/>
                  </a:cubicBezTo>
                  <a:cubicBezTo>
                    <a:pt x="5" y="7"/>
                    <a:pt x="3" y="7"/>
                    <a:pt x="1" y="9"/>
                  </a:cubicBezTo>
                  <a:cubicBezTo>
                    <a:pt x="0" y="10"/>
                    <a:pt x="0" y="12"/>
                    <a:pt x="1" y="13"/>
                  </a:cubicBezTo>
                  <a:cubicBezTo>
                    <a:pt x="6" y="18"/>
                    <a:pt x="6" y="18"/>
                    <a:pt x="6" y="18"/>
                  </a:cubicBezTo>
                  <a:cubicBezTo>
                    <a:pt x="7" y="19"/>
                    <a:pt x="7" y="19"/>
                    <a:pt x="8" y="19"/>
                  </a:cubicBezTo>
                  <a:cubicBezTo>
                    <a:pt x="9" y="19"/>
                    <a:pt x="10" y="19"/>
                    <a:pt x="11" y="18"/>
                  </a:cubicBezTo>
                  <a:cubicBezTo>
                    <a:pt x="23" y="6"/>
                    <a:pt x="23" y="6"/>
                    <a:pt x="23" y="6"/>
                  </a:cubicBezTo>
                  <a:cubicBezTo>
                    <a:pt x="24" y="5"/>
                    <a:pt x="24" y="3"/>
                    <a:pt x="23" y="1"/>
                  </a:cubicBezTo>
                  <a:cubicBezTo>
                    <a:pt x="21" y="0"/>
                    <a:pt x="19" y="0"/>
                    <a:pt x="18"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 name="Freeform 32"/>
            <p:cNvSpPr>
              <a:spLocks/>
            </p:cNvSpPr>
            <p:nvPr/>
          </p:nvSpPr>
          <p:spPr bwMode="auto">
            <a:xfrm>
              <a:off x="674592" y="4457323"/>
              <a:ext cx="12031" cy="11324"/>
            </a:xfrm>
            <a:custGeom>
              <a:avLst/>
              <a:gdLst>
                <a:gd name="T0" fmla="*/ 3 w 7"/>
                <a:gd name="T1" fmla="*/ 7 h 7"/>
                <a:gd name="T2" fmla="*/ 4 w 7"/>
                <a:gd name="T3" fmla="*/ 7 h 7"/>
                <a:gd name="T4" fmla="*/ 7 w 7"/>
                <a:gd name="T5" fmla="*/ 3 h 7"/>
                <a:gd name="T6" fmla="*/ 4 w 7"/>
                <a:gd name="T7" fmla="*/ 0 h 7"/>
                <a:gd name="T8" fmla="*/ 3 w 7"/>
                <a:gd name="T9" fmla="*/ 0 h 7"/>
                <a:gd name="T10" fmla="*/ 0 w 7"/>
                <a:gd name="T11" fmla="*/ 3 h 7"/>
                <a:gd name="T12" fmla="*/ 3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3" y="7"/>
                  </a:moveTo>
                  <a:cubicBezTo>
                    <a:pt x="4" y="7"/>
                    <a:pt x="4" y="7"/>
                    <a:pt x="4" y="7"/>
                  </a:cubicBezTo>
                  <a:cubicBezTo>
                    <a:pt x="6" y="7"/>
                    <a:pt x="7" y="5"/>
                    <a:pt x="7" y="3"/>
                  </a:cubicBezTo>
                  <a:cubicBezTo>
                    <a:pt x="7" y="1"/>
                    <a:pt x="6" y="0"/>
                    <a:pt x="4" y="0"/>
                  </a:cubicBezTo>
                  <a:cubicBezTo>
                    <a:pt x="3" y="0"/>
                    <a:pt x="3" y="0"/>
                    <a:pt x="3" y="0"/>
                  </a:cubicBezTo>
                  <a:cubicBezTo>
                    <a:pt x="1" y="0"/>
                    <a:pt x="0" y="1"/>
                    <a:pt x="0" y="3"/>
                  </a:cubicBezTo>
                  <a:cubicBezTo>
                    <a:pt x="0" y="5"/>
                    <a:pt x="1" y="7"/>
                    <a:pt x="3" y="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 name="Freeform 33"/>
            <p:cNvSpPr>
              <a:spLocks/>
            </p:cNvSpPr>
            <p:nvPr/>
          </p:nvSpPr>
          <p:spPr bwMode="auto">
            <a:xfrm>
              <a:off x="596034" y="4457323"/>
              <a:ext cx="72188" cy="11324"/>
            </a:xfrm>
            <a:custGeom>
              <a:avLst/>
              <a:gdLst>
                <a:gd name="T0" fmla="*/ 3 w 43"/>
                <a:gd name="T1" fmla="*/ 7 h 7"/>
                <a:gd name="T2" fmla="*/ 39 w 43"/>
                <a:gd name="T3" fmla="*/ 7 h 7"/>
                <a:gd name="T4" fmla="*/ 43 w 43"/>
                <a:gd name="T5" fmla="*/ 3 h 7"/>
                <a:gd name="T6" fmla="*/ 39 w 43"/>
                <a:gd name="T7" fmla="*/ 0 h 7"/>
                <a:gd name="T8" fmla="*/ 3 w 43"/>
                <a:gd name="T9" fmla="*/ 0 h 7"/>
                <a:gd name="T10" fmla="*/ 0 w 43"/>
                <a:gd name="T11" fmla="*/ 3 h 7"/>
                <a:gd name="T12" fmla="*/ 3 w 4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3" h="7">
                  <a:moveTo>
                    <a:pt x="3" y="7"/>
                  </a:moveTo>
                  <a:cubicBezTo>
                    <a:pt x="39" y="7"/>
                    <a:pt x="39" y="7"/>
                    <a:pt x="39" y="7"/>
                  </a:cubicBezTo>
                  <a:cubicBezTo>
                    <a:pt x="41" y="7"/>
                    <a:pt x="43" y="5"/>
                    <a:pt x="43" y="3"/>
                  </a:cubicBezTo>
                  <a:cubicBezTo>
                    <a:pt x="43" y="1"/>
                    <a:pt x="41" y="0"/>
                    <a:pt x="39" y="0"/>
                  </a:cubicBezTo>
                  <a:cubicBezTo>
                    <a:pt x="3" y="0"/>
                    <a:pt x="3" y="0"/>
                    <a:pt x="3" y="0"/>
                  </a:cubicBezTo>
                  <a:cubicBezTo>
                    <a:pt x="1" y="0"/>
                    <a:pt x="0" y="1"/>
                    <a:pt x="0" y="3"/>
                  </a:cubicBezTo>
                  <a:cubicBezTo>
                    <a:pt x="0" y="5"/>
                    <a:pt x="1" y="7"/>
                    <a:pt x="3" y="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 name="Freeform 34"/>
            <p:cNvSpPr>
              <a:spLocks/>
            </p:cNvSpPr>
            <p:nvPr/>
          </p:nvSpPr>
          <p:spPr bwMode="auto">
            <a:xfrm>
              <a:off x="546493" y="4496956"/>
              <a:ext cx="39633" cy="31848"/>
            </a:xfrm>
            <a:custGeom>
              <a:avLst/>
              <a:gdLst>
                <a:gd name="T0" fmla="*/ 18 w 24"/>
                <a:gd name="T1" fmla="*/ 1 h 19"/>
                <a:gd name="T2" fmla="*/ 8 w 24"/>
                <a:gd name="T3" fmla="*/ 11 h 19"/>
                <a:gd name="T4" fmla="*/ 6 w 24"/>
                <a:gd name="T5" fmla="*/ 8 h 19"/>
                <a:gd name="T6" fmla="*/ 1 w 24"/>
                <a:gd name="T7" fmla="*/ 8 h 19"/>
                <a:gd name="T8" fmla="*/ 1 w 24"/>
                <a:gd name="T9" fmla="*/ 13 h 19"/>
                <a:gd name="T10" fmla="*/ 6 w 24"/>
                <a:gd name="T11" fmla="*/ 18 h 19"/>
                <a:gd name="T12" fmla="*/ 8 w 24"/>
                <a:gd name="T13" fmla="*/ 19 h 19"/>
                <a:gd name="T14" fmla="*/ 11 w 24"/>
                <a:gd name="T15" fmla="*/ 18 h 19"/>
                <a:gd name="T16" fmla="*/ 23 w 24"/>
                <a:gd name="T17" fmla="*/ 6 h 19"/>
                <a:gd name="T18" fmla="*/ 23 w 24"/>
                <a:gd name="T19" fmla="*/ 1 h 19"/>
                <a:gd name="T20" fmla="*/ 18 w 24"/>
                <a:gd name="T21"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9">
                  <a:moveTo>
                    <a:pt x="18" y="1"/>
                  </a:moveTo>
                  <a:cubicBezTo>
                    <a:pt x="8" y="11"/>
                    <a:pt x="8" y="11"/>
                    <a:pt x="8" y="11"/>
                  </a:cubicBezTo>
                  <a:cubicBezTo>
                    <a:pt x="6" y="8"/>
                    <a:pt x="6" y="8"/>
                    <a:pt x="6" y="8"/>
                  </a:cubicBezTo>
                  <a:cubicBezTo>
                    <a:pt x="5" y="7"/>
                    <a:pt x="3" y="7"/>
                    <a:pt x="1" y="8"/>
                  </a:cubicBezTo>
                  <a:cubicBezTo>
                    <a:pt x="0" y="10"/>
                    <a:pt x="0" y="12"/>
                    <a:pt x="1" y="13"/>
                  </a:cubicBezTo>
                  <a:cubicBezTo>
                    <a:pt x="6" y="18"/>
                    <a:pt x="6" y="18"/>
                    <a:pt x="6" y="18"/>
                  </a:cubicBezTo>
                  <a:cubicBezTo>
                    <a:pt x="7" y="18"/>
                    <a:pt x="7" y="19"/>
                    <a:pt x="8" y="19"/>
                  </a:cubicBezTo>
                  <a:cubicBezTo>
                    <a:pt x="9" y="19"/>
                    <a:pt x="10" y="18"/>
                    <a:pt x="11" y="18"/>
                  </a:cubicBezTo>
                  <a:cubicBezTo>
                    <a:pt x="23" y="6"/>
                    <a:pt x="23" y="6"/>
                    <a:pt x="23" y="6"/>
                  </a:cubicBezTo>
                  <a:cubicBezTo>
                    <a:pt x="24" y="4"/>
                    <a:pt x="24" y="2"/>
                    <a:pt x="23" y="1"/>
                  </a:cubicBezTo>
                  <a:cubicBezTo>
                    <a:pt x="21" y="0"/>
                    <a:pt x="19" y="0"/>
                    <a:pt x="18"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 name="Freeform 35"/>
            <p:cNvSpPr>
              <a:spLocks/>
            </p:cNvSpPr>
            <p:nvPr/>
          </p:nvSpPr>
          <p:spPr bwMode="auto">
            <a:xfrm>
              <a:off x="596034" y="4510403"/>
              <a:ext cx="90589" cy="10616"/>
            </a:xfrm>
            <a:custGeom>
              <a:avLst/>
              <a:gdLst>
                <a:gd name="T0" fmla="*/ 3 w 54"/>
                <a:gd name="T1" fmla="*/ 6 h 6"/>
                <a:gd name="T2" fmla="*/ 51 w 54"/>
                <a:gd name="T3" fmla="*/ 6 h 6"/>
                <a:gd name="T4" fmla="*/ 54 w 54"/>
                <a:gd name="T5" fmla="*/ 3 h 6"/>
                <a:gd name="T6" fmla="*/ 51 w 54"/>
                <a:gd name="T7" fmla="*/ 0 h 6"/>
                <a:gd name="T8" fmla="*/ 3 w 54"/>
                <a:gd name="T9" fmla="*/ 0 h 6"/>
                <a:gd name="T10" fmla="*/ 0 w 54"/>
                <a:gd name="T11" fmla="*/ 3 h 6"/>
                <a:gd name="T12" fmla="*/ 3 w 5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54" h="6">
                  <a:moveTo>
                    <a:pt x="3" y="6"/>
                  </a:moveTo>
                  <a:cubicBezTo>
                    <a:pt x="51" y="6"/>
                    <a:pt x="51" y="6"/>
                    <a:pt x="51" y="6"/>
                  </a:cubicBezTo>
                  <a:cubicBezTo>
                    <a:pt x="53" y="6"/>
                    <a:pt x="54" y="5"/>
                    <a:pt x="54" y="3"/>
                  </a:cubicBezTo>
                  <a:cubicBezTo>
                    <a:pt x="54" y="1"/>
                    <a:pt x="53" y="0"/>
                    <a:pt x="51" y="0"/>
                  </a:cubicBezTo>
                  <a:cubicBezTo>
                    <a:pt x="3" y="0"/>
                    <a:pt x="3" y="0"/>
                    <a:pt x="3" y="0"/>
                  </a:cubicBezTo>
                  <a:cubicBezTo>
                    <a:pt x="1" y="0"/>
                    <a:pt x="0" y="1"/>
                    <a:pt x="0" y="3"/>
                  </a:cubicBezTo>
                  <a:cubicBezTo>
                    <a:pt x="0" y="5"/>
                    <a:pt x="1" y="6"/>
                    <a:pt x="3"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 name="Freeform 36"/>
            <p:cNvSpPr>
              <a:spLocks/>
            </p:cNvSpPr>
            <p:nvPr/>
          </p:nvSpPr>
          <p:spPr bwMode="auto">
            <a:xfrm>
              <a:off x="546493" y="4549328"/>
              <a:ext cx="39633" cy="31848"/>
            </a:xfrm>
            <a:custGeom>
              <a:avLst/>
              <a:gdLst>
                <a:gd name="T0" fmla="*/ 18 w 24"/>
                <a:gd name="T1" fmla="*/ 2 h 19"/>
                <a:gd name="T2" fmla="*/ 8 w 24"/>
                <a:gd name="T3" fmla="*/ 11 h 19"/>
                <a:gd name="T4" fmla="*/ 6 w 24"/>
                <a:gd name="T5" fmla="*/ 9 h 19"/>
                <a:gd name="T6" fmla="*/ 1 w 24"/>
                <a:gd name="T7" fmla="*/ 9 h 19"/>
                <a:gd name="T8" fmla="*/ 1 w 24"/>
                <a:gd name="T9" fmla="*/ 13 h 19"/>
                <a:gd name="T10" fmla="*/ 6 w 24"/>
                <a:gd name="T11" fmla="*/ 18 h 19"/>
                <a:gd name="T12" fmla="*/ 8 w 24"/>
                <a:gd name="T13" fmla="*/ 19 h 19"/>
                <a:gd name="T14" fmla="*/ 11 w 24"/>
                <a:gd name="T15" fmla="*/ 18 h 19"/>
                <a:gd name="T16" fmla="*/ 23 w 24"/>
                <a:gd name="T17" fmla="*/ 6 h 19"/>
                <a:gd name="T18" fmla="*/ 23 w 24"/>
                <a:gd name="T19" fmla="*/ 2 h 19"/>
                <a:gd name="T20" fmla="*/ 18 w 24"/>
                <a:gd name="T21"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9">
                  <a:moveTo>
                    <a:pt x="18" y="2"/>
                  </a:moveTo>
                  <a:cubicBezTo>
                    <a:pt x="8" y="11"/>
                    <a:pt x="8" y="11"/>
                    <a:pt x="8" y="11"/>
                  </a:cubicBezTo>
                  <a:cubicBezTo>
                    <a:pt x="6" y="9"/>
                    <a:pt x="6" y="9"/>
                    <a:pt x="6" y="9"/>
                  </a:cubicBezTo>
                  <a:cubicBezTo>
                    <a:pt x="5" y="8"/>
                    <a:pt x="3" y="8"/>
                    <a:pt x="1" y="9"/>
                  </a:cubicBezTo>
                  <a:cubicBezTo>
                    <a:pt x="0" y="10"/>
                    <a:pt x="0" y="12"/>
                    <a:pt x="1" y="13"/>
                  </a:cubicBezTo>
                  <a:cubicBezTo>
                    <a:pt x="6" y="18"/>
                    <a:pt x="6" y="18"/>
                    <a:pt x="6" y="18"/>
                  </a:cubicBezTo>
                  <a:cubicBezTo>
                    <a:pt x="7" y="19"/>
                    <a:pt x="7" y="19"/>
                    <a:pt x="8" y="19"/>
                  </a:cubicBezTo>
                  <a:cubicBezTo>
                    <a:pt x="9" y="19"/>
                    <a:pt x="10" y="19"/>
                    <a:pt x="11" y="18"/>
                  </a:cubicBezTo>
                  <a:cubicBezTo>
                    <a:pt x="23" y="6"/>
                    <a:pt x="23" y="6"/>
                    <a:pt x="23" y="6"/>
                  </a:cubicBezTo>
                  <a:cubicBezTo>
                    <a:pt x="24" y="5"/>
                    <a:pt x="24" y="3"/>
                    <a:pt x="23" y="2"/>
                  </a:cubicBezTo>
                  <a:cubicBezTo>
                    <a:pt x="21" y="0"/>
                    <a:pt x="19" y="0"/>
                    <a:pt x="18" y="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 name="Freeform 37"/>
            <p:cNvSpPr>
              <a:spLocks/>
            </p:cNvSpPr>
            <p:nvPr/>
          </p:nvSpPr>
          <p:spPr bwMode="auto">
            <a:xfrm>
              <a:off x="596034" y="4562775"/>
              <a:ext cx="90589" cy="11324"/>
            </a:xfrm>
            <a:custGeom>
              <a:avLst/>
              <a:gdLst>
                <a:gd name="T0" fmla="*/ 54 w 54"/>
                <a:gd name="T1" fmla="*/ 3 h 7"/>
                <a:gd name="T2" fmla="*/ 51 w 54"/>
                <a:gd name="T3" fmla="*/ 0 h 7"/>
                <a:gd name="T4" fmla="*/ 3 w 54"/>
                <a:gd name="T5" fmla="*/ 0 h 7"/>
                <a:gd name="T6" fmla="*/ 0 w 54"/>
                <a:gd name="T7" fmla="*/ 3 h 7"/>
                <a:gd name="T8" fmla="*/ 3 w 54"/>
                <a:gd name="T9" fmla="*/ 7 h 7"/>
                <a:gd name="T10" fmla="*/ 51 w 54"/>
                <a:gd name="T11" fmla="*/ 7 h 7"/>
                <a:gd name="T12" fmla="*/ 54 w 5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54" h="7">
                  <a:moveTo>
                    <a:pt x="54" y="3"/>
                  </a:moveTo>
                  <a:cubicBezTo>
                    <a:pt x="54" y="2"/>
                    <a:pt x="53" y="0"/>
                    <a:pt x="51" y="0"/>
                  </a:cubicBezTo>
                  <a:cubicBezTo>
                    <a:pt x="3" y="0"/>
                    <a:pt x="3" y="0"/>
                    <a:pt x="3" y="0"/>
                  </a:cubicBezTo>
                  <a:cubicBezTo>
                    <a:pt x="1" y="0"/>
                    <a:pt x="0" y="2"/>
                    <a:pt x="0" y="3"/>
                  </a:cubicBezTo>
                  <a:cubicBezTo>
                    <a:pt x="0" y="5"/>
                    <a:pt x="1" y="7"/>
                    <a:pt x="3" y="7"/>
                  </a:cubicBezTo>
                  <a:cubicBezTo>
                    <a:pt x="51" y="7"/>
                    <a:pt x="51" y="7"/>
                    <a:pt x="51" y="7"/>
                  </a:cubicBezTo>
                  <a:cubicBezTo>
                    <a:pt x="53" y="7"/>
                    <a:pt x="54" y="5"/>
                    <a:pt x="54" y="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8" name="Group 152"/>
          <p:cNvGrpSpPr/>
          <p:nvPr/>
        </p:nvGrpSpPr>
        <p:grpSpPr>
          <a:xfrm>
            <a:off x="7020624" y="2026171"/>
            <a:ext cx="341126" cy="305740"/>
            <a:chOff x="445995" y="3598139"/>
            <a:chExt cx="341126" cy="305740"/>
          </a:xfrm>
          <a:solidFill>
            <a:schemeClr val="bg2"/>
          </a:solidFill>
        </p:grpSpPr>
        <p:sp>
          <p:nvSpPr>
            <p:cNvPr id="154" name="Freeform 38"/>
            <p:cNvSpPr>
              <a:spLocks noEditPoints="1"/>
            </p:cNvSpPr>
            <p:nvPr/>
          </p:nvSpPr>
          <p:spPr bwMode="auto">
            <a:xfrm>
              <a:off x="556401" y="3598139"/>
              <a:ext cx="121730" cy="305740"/>
            </a:xfrm>
            <a:custGeom>
              <a:avLst/>
              <a:gdLst>
                <a:gd name="T0" fmla="*/ 46 w 73"/>
                <a:gd name="T1" fmla="*/ 109 h 183"/>
                <a:gd name="T2" fmla="*/ 41 w 73"/>
                <a:gd name="T3" fmla="*/ 109 h 183"/>
                <a:gd name="T4" fmla="*/ 41 w 73"/>
                <a:gd name="T5" fmla="*/ 76 h 183"/>
                <a:gd name="T6" fmla="*/ 61 w 73"/>
                <a:gd name="T7" fmla="*/ 76 h 183"/>
                <a:gd name="T8" fmla="*/ 66 w 73"/>
                <a:gd name="T9" fmla="*/ 71 h 183"/>
                <a:gd name="T10" fmla="*/ 61 w 73"/>
                <a:gd name="T11" fmla="*/ 66 h 183"/>
                <a:gd name="T12" fmla="*/ 41 w 73"/>
                <a:gd name="T13" fmla="*/ 66 h 183"/>
                <a:gd name="T14" fmla="*/ 41 w 73"/>
                <a:gd name="T15" fmla="*/ 17 h 183"/>
                <a:gd name="T16" fmla="*/ 52 w 73"/>
                <a:gd name="T17" fmla="*/ 27 h 183"/>
                <a:gd name="T18" fmla="*/ 59 w 73"/>
                <a:gd name="T19" fmla="*/ 27 h 183"/>
                <a:gd name="T20" fmla="*/ 59 w 73"/>
                <a:gd name="T21" fmla="*/ 20 h 183"/>
                <a:gd name="T22" fmla="*/ 40 w 73"/>
                <a:gd name="T23" fmla="*/ 1 h 183"/>
                <a:gd name="T24" fmla="*/ 36 w 73"/>
                <a:gd name="T25" fmla="*/ 0 h 183"/>
                <a:gd name="T26" fmla="*/ 33 w 73"/>
                <a:gd name="T27" fmla="*/ 1 h 183"/>
                <a:gd name="T28" fmla="*/ 14 w 73"/>
                <a:gd name="T29" fmla="*/ 20 h 183"/>
                <a:gd name="T30" fmla="*/ 14 w 73"/>
                <a:gd name="T31" fmla="*/ 27 h 183"/>
                <a:gd name="T32" fmla="*/ 17 w 73"/>
                <a:gd name="T33" fmla="*/ 29 h 183"/>
                <a:gd name="T34" fmla="*/ 21 w 73"/>
                <a:gd name="T35" fmla="*/ 27 h 183"/>
                <a:gd name="T36" fmla="*/ 31 w 73"/>
                <a:gd name="T37" fmla="*/ 17 h 183"/>
                <a:gd name="T38" fmla="*/ 31 w 73"/>
                <a:gd name="T39" fmla="*/ 66 h 183"/>
                <a:gd name="T40" fmla="*/ 26 w 73"/>
                <a:gd name="T41" fmla="*/ 66 h 183"/>
                <a:gd name="T42" fmla="*/ 0 w 73"/>
                <a:gd name="T43" fmla="*/ 92 h 183"/>
                <a:gd name="T44" fmla="*/ 26 w 73"/>
                <a:gd name="T45" fmla="*/ 119 h 183"/>
                <a:gd name="T46" fmla="*/ 31 w 73"/>
                <a:gd name="T47" fmla="*/ 119 h 183"/>
                <a:gd name="T48" fmla="*/ 31 w 73"/>
                <a:gd name="T49" fmla="*/ 152 h 183"/>
                <a:gd name="T50" fmla="*/ 11 w 73"/>
                <a:gd name="T51" fmla="*/ 152 h 183"/>
                <a:gd name="T52" fmla="*/ 6 w 73"/>
                <a:gd name="T53" fmla="*/ 157 h 183"/>
                <a:gd name="T54" fmla="*/ 11 w 73"/>
                <a:gd name="T55" fmla="*/ 162 h 183"/>
                <a:gd name="T56" fmla="*/ 31 w 73"/>
                <a:gd name="T57" fmla="*/ 162 h 183"/>
                <a:gd name="T58" fmla="*/ 31 w 73"/>
                <a:gd name="T59" fmla="*/ 178 h 183"/>
                <a:gd name="T60" fmla="*/ 36 w 73"/>
                <a:gd name="T61" fmla="*/ 183 h 183"/>
                <a:gd name="T62" fmla="*/ 41 w 73"/>
                <a:gd name="T63" fmla="*/ 178 h 183"/>
                <a:gd name="T64" fmla="*/ 41 w 73"/>
                <a:gd name="T65" fmla="*/ 162 h 183"/>
                <a:gd name="T66" fmla="*/ 46 w 73"/>
                <a:gd name="T67" fmla="*/ 162 h 183"/>
                <a:gd name="T68" fmla="*/ 73 w 73"/>
                <a:gd name="T69" fmla="*/ 136 h 183"/>
                <a:gd name="T70" fmla="*/ 46 w 73"/>
                <a:gd name="T71" fmla="*/ 109 h 183"/>
                <a:gd name="T72" fmla="*/ 26 w 73"/>
                <a:gd name="T73" fmla="*/ 109 h 183"/>
                <a:gd name="T74" fmla="*/ 10 w 73"/>
                <a:gd name="T75" fmla="*/ 92 h 183"/>
                <a:gd name="T76" fmla="*/ 26 w 73"/>
                <a:gd name="T77" fmla="*/ 76 h 183"/>
                <a:gd name="T78" fmla="*/ 31 w 73"/>
                <a:gd name="T79" fmla="*/ 76 h 183"/>
                <a:gd name="T80" fmla="*/ 31 w 73"/>
                <a:gd name="T81" fmla="*/ 109 h 183"/>
                <a:gd name="T82" fmla="*/ 26 w 73"/>
                <a:gd name="T83" fmla="*/ 109 h 183"/>
                <a:gd name="T84" fmla="*/ 46 w 73"/>
                <a:gd name="T85" fmla="*/ 152 h 183"/>
                <a:gd name="T86" fmla="*/ 41 w 73"/>
                <a:gd name="T87" fmla="*/ 152 h 183"/>
                <a:gd name="T88" fmla="*/ 41 w 73"/>
                <a:gd name="T89" fmla="*/ 119 h 183"/>
                <a:gd name="T90" fmla="*/ 46 w 73"/>
                <a:gd name="T91" fmla="*/ 119 h 183"/>
                <a:gd name="T92" fmla="*/ 63 w 73"/>
                <a:gd name="T93" fmla="*/ 136 h 183"/>
                <a:gd name="T94" fmla="*/ 46 w 73"/>
                <a:gd name="T95" fmla="*/ 15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183">
                  <a:moveTo>
                    <a:pt x="46" y="109"/>
                  </a:moveTo>
                  <a:cubicBezTo>
                    <a:pt x="41" y="109"/>
                    <a:pt x="41" y="109"/>
                    <a:pt x="41" y="109"/>
                  </a:cubicBezTo>
                  <a:cubicBezTo>
                    <a:pt x="41" y="76"/>
                    <a:pt x="41" y="76"/>
                    <a:pt x="41" y="76"/>
                  </a:cubicBezTo>
                  <a:cubicBezTo>
                    <a:pt x="61" y="76"/>
                    <a:pt x="61" y="76"/>
                    <a:pt x="61" y="76"/>
                  </a:cubicBezTo>
                  <a:cubicBezTo>
                    <a:pt x="64" y="76"/>
                    <a:pt x="66" y="74"/>
                    <a:pt x="66" y="71"/>
                  </a:cubicBezTo>
                  <a:cubicBezTo>
                    <a:pt x="66" y="68"/>
                    <a:pt x="64" y="66"/>
                    <a:pt x="61" y="66"/>
                  </a:cubicBezTo>
                  <a:cubicBezTo>
                    <a:pt x="41" y="66"/>
                    <a:pt x="41" y="66"/>
                    <a:pt x="41" y="66"/>
                  </a:cubicBezTo>
                  <a:cubicBezTo>
                    <a:pt x="41" y="17"/>
                    <a:pt x="41" y="17"/>
                    <a:pt x="41" y="17"/>
                  </a:cubicBezTo>
                  <a:cubicBezTo>
                    <a:pt x="52" y="27"/>
                    <a:pt x="52" y="27"/>
                    <a:pt x="52" y="27"/>
                  </a:cubicBezTo>
                  <a:cubicBezTo>
                    <a:pt x="54" y="29"/>
                    <a:pt x="57" y="29"/>
                    <a:pt x="59" y="27"/>
                  </a:cubicBezTo>
                  <a:cubicBezTo>
                    <a:pt x="61" y="25"/>
                    <a:pt x="61" y="22"/>
                    <a:pt x="59" y="20"/>
                  </a:cubicBezTo>
                  <a:cubicBezTo>
                    <a:pt x="40" y="1"/>
                    <a:pt x="40" y="1"/>
                    <a:pt x="40" y="1"/>
                  </a:cubicBezTo>
                  <a:cubicBezTo>
                    <a:pt x="39" y="0"/>
                    <a:pt x="38" y="0"/>
                    <a:pt x="36" y="0"/>
                  </a:cubicBezTo>
                  <a:cubicBezTo>
                    <a:pt x="35" y="0"/>
                    <a:pt x="34" y="1"/>
                    <a:pt x="33" y="1"/>
                  </a:cubicBezTo>
                  <a:cubicBezTo>
                    <a:pt x="14" y="20"/>
                    <a:pt x="14" y="20"/>
                    <a:pt x="14" y="20"/>
                  </a:cubicBezTo>
                  <a:cubicBezTo>
                    <a:pt x="12" y="22"/>
                    <a:pt x="12" y="25"/>
                    <a:pt x="14" y="27"/>
                  </a:cubicBezTo>
                  <a:cubicBezTo>
                    <a:pt x="15" y="28"/>
                    <a:pt x="16" y="29"/>
                    <a:pt x="17" y="29"/>
                  </a:cubicBezTo>
                  <a:cubicBezTo>
                    <a:pt x="19" y="29"/>
                    <a:pt x="20" y="28"/>
                    <a:pt x="21" y="27"/>
                  </a:cubicBezTo>
                  <a:cubicBezTo>
                    <a:pt x="31" y="17"/>
                    <a:pt x="31" y="17"/>
                    <a:pt x="31" y="17"/>
                  </a:cubicBezTo>
                  <a:cubicBezTo>
                    <a:pt x="31" y="66"/>
                    <a:pt x="31" y="66"/>
                    <a:pt x="31" y="66"/>
                  </a:cubicBezTo>
                  <a:cubicBezTo>
                    <a:pt x="26" y="66"/>
                    <a:pt x="26" y="66"/>
                    <a:pt x="26" y="66"/>
                  </a:cubicBezTo>
                  <a:cubicBezTo>
                    <a:pt x="12" y="66"/>
                    <a:pt x="0" y="78"/>
                    <a:pt x="0" y="92"/>
                  </a:cubicBezTo>
                  <a:cubicBezTo>
                    <a:pt x="0" y="107"/>
                    <a:pt x="12" y="119"/>
                    <a:pt x="26" y="119"/>
                  </a:cubicBezTo>
                  <a:cubicBezTo>
                    <a:pt x="31" y="119"/>
                    <a:pt x="31" y="119"/>
                    <a:pt x="31" y="119"/>
                  </a:cubicBezTo>
                  <a:cubicBezTo>
                    <a:pt x="31" y="152"/>
                    <a:pt x="31" y="152"/>
                    <a:pt x="31" y="152"/>
                  </a:cubicBezTo>
                  <a:cubicBezTo>
                    <a:pt x="11" y="152"/>
                    <a:pt x="11" y="152"/>
                    <a:pt x="11" y="152"/>
                  </a:cubicBezTo>
                  <a:cubicBezTo>
                    <a:pt x="8" y="152"/>
                    <a:pt x="6" y="154"/>
                    <a:pt x="6" y="157"/>
                  </a:cubicBezTo>
                  <a:cubicBezTo>
                    <a:pt x="6" y="160"/>
                    <a:pt x="8" y="162"/>
                    <a:pt x="11" y="162"/>
                  </a:cubicBezTo>
                  <a:cubicBezTo>
                    <a:pt x="31" y="162"/>
                    <a:pt x="31" y="162"/>
                    <a:pt x="31" y="162"/>
                  </a:cubicBezTo>
                  <a:cubicBezTo>
                    <a:pt x="31" y="178"/>
                    <a:pt x="31" y="178"/>
                    <a:pt x="31" y="178"/>
                  </a:cubicBezTo>
                  <a:cubicBezTo>
                    <a:pt x="31" y="181"/>
                    <a:pt x="34" y="183"/>
                    <a:pt x="36" y="183"/>
                  </a:cubicBezTo>
                  <a:cubicBezTo>
                    <a:pt x="39" y="183"/>
                    <a:pt x="41" y="181"/>
                    <a:pt x="41" y="178"/>
                  </a:cubicBezTo>
                  <a:cubicBezTo>
                    <a:pt x="41" y="162"/>
                    <a:pt x="41" y="162"/>
                    <a:pt x="41" y="162"/>
                  </a:cubicBezTo>
                  <a:cubicBezTo>
                    <a:pt x="46" y="162"/>
                    <a:pt x="46" y="162"/>
                    <a:pt x="46" y="162"/>
                  </a:cubicBezTo>
                  <a:cubicBezTo>
                    <a:pt x="61" y="162"/>
                    <a:pt x="73" y="150"/>
                    <a:pt x="73" y="136"/>
                  </a:cubicBezTo>
                  <a:cubicBezTo>
                    <a:pt x="73" y="121"/>
                    <a:pt x="61" y="109"/>
                    <a:pt x="46" y="109"/>
                  </a:cubicBezTo>
                  <a:moveTo>
                    <a:pt x="26" y="109"/>
                  </a:moveTo>
                  <a:cubicBezTo>
                    <a:pt x="17" y="109"/>
                    <a:pt x="10" y="102"/>
                    <a:pt x="10" y="92"/>
                  </a:cubicBezTo>
                  <a:cubicBezTo>
                    <a:pt x="10" y="83"/>
                    <a:pt x="17" y="76"/>
                    <a:pt x="26" y="76"/>
                  </a:cubicBezTo>
                  <a:cubicBezTo>
                    <a:pt x="31" y="76"/>
                    <a:pt x="31" y="76"/>
                    <a:pt x="31" y="76"/>
                  </a:cubicBezTo>
                  <a:cubicBezTo>
                    <a:pt x="31" y="109"/>
                    <a:pt x="31" y="109"/>
                    <a:pt x="31" y="109"/>
                  </a:cubicBezTo>
                  <a:lnTo>
                    <a:pt x="26" y="109"/>
                  </a:lnTo>
                  <a:close/>
                  <a:moveTo>
                    <a:pt x="46" y="152"/>
                  </a:moveTo>
                  <a:cubicBezTo>
                    <a:pt x="41" y="152"/>
                    <a:pt x="41" y="152"/>
                    <a:pt x="41" y="152"/>
                  </a:cubicBezTo>
                  <a:cubicBezTo>
                    <a:pt x="41" y="119"/>
                    <a:pt x="41" y="119"/>
                    <a:pt x="41" y="119"/>
                  </a:cubicBezTo>
                  <a:cubicBezTo>
                    <a:pt x="46" y="119"/>
                    <a:pt x="46" y="119"/>
                    <a:pt x="46" y="119"/>
                  </a:cubicBezTo>
                  <a:cubicBezTo>
                    <a:pt x="55" y="119"/>
                    <a:pt x="63" y="126"/>
                    <a:pt x="63" y="136"/>
                  </a:cubicBezTo>
                  <a:cubicBezTo>
                    <a:pt x="63" y="145"/>
                    <a:pt x="55" y="152"/>
                    <a:pt x="46" y="15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5" name="Freeform 39"/>
            <p:cNvSpPr>
              <a:spLocks noEditPoints="1"/>
            </p:cNvSpPr>
            <p:nvPr/>
          </p:nvSpPr>
          <p:spPr bwMode="auto">
            <a:xfrm>
              <a:off x="688039" y="3632817"/>
              <a:ext cx="99082" cy="244167"/>
            </a:xfrm>
            <a:custGeom>
              <a:avLst/>
              <a:gdLst>
                <a:gd name="T0" fmla="*/ 37 w 59"/>
                <a:gd name="T1" fmla="*/ 86 h 146"/>
                <a:gd name="T2" fmla="*/ 35 w 59"/>
                <a:gd name="T3" fmla="*/ 86 h 146"/>
                <a:gd name="T4" fmla="*/ 35 w 59"/>
                <a:gd name="T5" fmla="*/ 62 h 146"/>
                <a:gd name="T6" fmla="*/ 49 w 59"/>
                <a:gd name="T7" fmla="*/ 62 h 146"/>
                <a:gd name="T8" fmla="*/ 54 w 59"/>
                <a:gd name="T9" fmla="*/ 57 h 146"/>
                <a:gd name="T10" fmla="*/ 49 w 59"/>
                <a:gd name="T11" fmla="*/ 52 h 146"/>
                <a:gd name="T12" fmla="*/ 35 w 59"/>
                <a:gd name="T13" fmla="*/ 52 h 146"/>
                <a:gd name="T14" fmla="*/ 35 w 59"/>
                <a:gd name="T15" fmla="*/ 18 h 146"/>
                <a:gd name="T16" fmla="*/ 41 w 59"/>
                <a:gd name="T17" fmla="*/ 24 h 146"/>
                <a:gd name="T18" fmla="*/ 48 w 59"/>
                <a:gd name="T19" fmla="*/ 24 h 146"/>
                <a:gd name="T20" fmla="*/ 48 w 59"/>
                <a:gd name="T21" fmla="*/ 17 h 146"/>
                <a:gd name="T22" fmla="*/ 33 w 59"/>
                <a:gd name="T23" fmla="*/ 2 h 146"/>
                <a:gd name="T24" fmla="*/ 26 w 59"/>
                <a:gd name="T25" fmla="*/ 2 h 146"/>
                <a:gd name="T26" fmla="*/ 11 w 59"/>
                <a:gd name="T27" fmla="*/ 17 h 146"/>
                <a:gd name="T28" fmla="*/ 11 w 59"/>
                <a:gd name="T29" fmla="*/ 24 h 146"/>
                <a:gd name="T30" fmla="*/ 15 w 59"/>
                <a:gd name="T31" fmla="*/ 25 h 146"/>
                <a:gd name="T32" fmla="*/ 18 w 59"/>
                <a:gd name="T33" fmla="*/ 24 h 146"/>
                <a:gd name="T34" fmla="*/ 25 w 59"/>
                <a:gd name="T35" fmla="*/ 18 h 146"/>
                <a:gd name="T36" fmla="*/ 25 w 59"/>
                <a:gd name="T37" fmla="*/ 52 h 146"/>
                <a:gd name="T38" fmla="*/ 22 w 59"/>
                <a:gd name="T39" fmla="*/ 52 h 146"/>
                <a:gd name="T40" fmla="*/ 0 w 59"/>
                <a:gd name="T41" fmla="*/ 74 h 146"/>
                <a:gd name="T42" fmla="*/ 22 w 59"/>
                <a:gd name="T43" fmla="*/ 96 h 146"/>
                <a:gd name="T44" fmla="*/ 25 w 59"/>
                <a:gd name="T45" fmla="*/ 96 h 146"/>
                <a:gd name="T46" fmla="*/ 25 w 59"/>
                <a:gd name="T47" fmla="*/ 119 h 146"/>
                <a:gd name="T48" fmla="*/ 10 w 59"/>
                <a:gd name="T49" fmla="*/ 119 h 146"/>
                <a:gd name="T50" fmla="*/ 5 w 59"/>
                <a:gd name="T51" fmla="*/ 124 h 146"/>
                <a:gd name="T52" fmla="*/ 10 w 59"/>
                <a:gd name="T53" fmla="*/ 129 h 146"/>
                <a:gd name="T54" fmla="*/ 25 w 59"/>
                <a:gd name="T55" fmla="*/ 129 h 146"/>
                <a:gd name="T56" fmla="*/ 25 w 59"/>
                <a:gd name="T57" fmla="*/ 141 h 146"/>
                <a:gd name="T58" fmla="*/ 30 w 59"/>
                <a:gd name="T59" fmla="*/ 146 h 146"/>
                <a:gd name="T60" fmla="*/ 35 w 59"/>
                <a:gd name="T61" fmla="*/ 141 h 146"/>
                <a:gd name="T62" fmla="*/ 35 w 59"/>
                <a:gd name="T63" fmla="*/ 129 h 146"/>
                <a:gd name="T64" fmla="*/ 37 w 59"/>
                <a:gd name="T65" fmla="*/ 129 h 146"/>
                <a:gd name="T66" fmla="*/ 59 w 59"/>
                <a:gd name="T67" fmla="*/ 107 h 146"/>
                <a:gd name="T68" fmla="*/ 37 w 59"/>
                <a:gd name="T69" fmla="*/ 86 h 146"/>
                <a:gd name="T70" fmla="*/ 22 w 59"/>
                <a:gd name="T71" fmla="*/ 86 h 146"/>
                <a:gd name="T72" fmla="*/ 10 w 59"/>
                <a:gd name="T73" fmla="*/ 74 h 146"/>
                <a:gd name="T74" fmla="*/ 22 w 59"/>
                <a:gd name="T75" fmla="*/ 62 h 146"/>
                <a:gd name="T76" fmla="*/ 25 w 59"/>
                <a:gd name="T77" fmla="*/ 62 h 146"/>
                <a:gd name="T78" fmla="*/ 25 w 59"/>
                <a:gd name="T79" fmla="*/ 86 h 146"/>
                <a:gd name="T80" fmla="*/ 22 w 59"/>
                <a:gd name="T81" fmla="*/ 86 h 146"/>
                <a:gd name="T82" fmla="*/ 37 w 59"/>
                <a:gd name="T83" fmla="*/ 119 h 146"/>
                <a:gd name="T84" fmla="*/ 35 w 59"/>
                <a:gd name="T85" fmla="*/ 119 h 146"/>
                <a:gd name="T86" fmla="*/ 35 w 59"/>
                <a:gd name="T87" fmla="*/ 96 h 146"/>
                <a:gd name="T88" fmla="*/ 37 w 59"/>
                <a:gd name="T89" fmla="*/ 96 h 146"/>
                <a:gd name="T90" fmla="*/ 49 w 59"/>
                <a:gd name="T91" fmla="*/ 108 h 146"/>
                <a:gd name="T92" fmla="*/ 37 w 59"/>
                <a:gd name="T93" fmla="*/ 11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9" h="146">
                  <a:moveTo>
                    <a:pt x="37" y="86"/>
                  </a:moveTo>
                  <a:cubicBezTo>
                    <a:pt x="35" y="86"/>
                    <a:pt x="35" y="86"/>
                    <a:pt x="35" y="86"/>
                  </a:cubicBezTo>
                  <a:cubicBezTo>
                    <a:pt x="35" y="62"/>
                    <a:pt x="35" y="62"/>
                    <a:pt x="35" y="62"/>
                  </a:cubicBezTo>
                  <a:cubicBezTo>
                    <a:pt x="49" y="62"/>
                    <a:pt x="49" y="62"/>
                    <a:pt x="49" y="62"/>
                  </a:cubicBezTo>
                  <a:cubicBezTo>
                    <a:pt x="52" y="62"/>
                    <a:pt x="54" y="60"/>
                    <a:pt x="54" y="57"/>
                  </a:cubicBezTo>
                  <a:cubicBezTo>
                    <a:pt x="54" y="54"/>
                    <a:pt x="52" y="52"/>
                    <a:pt x="49" y="52"/>
                  </a:cubicBezTo>
                  <a:cubicBezTo>
                    <a:pt x="35" y="52"/>
                    <a:pt x="35" y="52"/>
                    <a:pt x="35" y="52"/>
                  </a:cubicBezTo>
                  <a:cubicBezTo>
                    <a:pt x="35" y="18"/>
                    <a:pt x="35" y="18"/>
                    <a:pt x="35" y="18"/>
                  </a:cubicBezTo>
                  <a:cubicBezTo>
                    <a:pt x="41" y="24"/>
                    <a:pt x="41" y="24"/>
                    <a:pt x="41" y="24"/>
                  </a:cubicBezTo>
                  <a:cubicBezTo>
                    <a:pt x="43" y="26"/>
                    <a:pt x="46" y="26"/>
                    <a:pt x="48" y="24"/>
                  </a:cubicBezTo>
                  <a:cubicBezTo>
                    <a:pt x="50" y="22"/>
                    <a:pt x="50" y="19"/>
                    <a:pt x="48" y="17"/>
                  </a:cubicBezTo>
                  <a:cubicBezTo>
                    <a:pt x="33" y="2"/>
                    <a:pt x="33" y="2"/>
                    <a:pt x="33" y="2"/>
                  </a:cubicBezTo>
                  <a:cubicBezTo>
                    <a:pt x="31" y="0"/>
                    <a:pt x="28" y="0"/>
                    <a:pt x="26" y="2"/>
                  </a:cubicBezTo>
                  <a:cubicBezTo>
                    <a:pt x="11" y="17"/>
                    <a:pt x="11" y="17"/>
                    <a:pt x="11" y="17"/>
                  </a:cubicBezTo>
                  <a:cubicBezTo>
                    <a:pt x="9" y="19"/>
                    <a:pt x="9" y="22"/>
                    <a:pt x="11" y="24"/>
                  </a:cubicBezTo>
                  <a:cubicBezTo>
                    <a:pt x="12" y="25"/>
                    <a:pt x="14" y="25"/>
                    <a:pt x="15" y="25"/>
                  </a:cubicBezTo>
                  <a:cubicBezTo>
                    <a:pt x="16" y="25"/>
                    <a:pt x="17" y="25"/>
                    <a:pt x="18" y="24"/>
                  </a:cubicBezTo>
                  <a:cubicBezTo>
                    <a:pt x="25" y="18"/>
                    <a:pt x="25" y="18"/>
                    <a:pt x="25" y="18"/>
                  </a:cubicBezTo>
                  <a:cubicBezTo>
                    <a:pt x="25" y="52"/>
                    <a:pt x="25" y="52"/>
                    <a:pt x="25" y="52"/>
                  </a:cubicBezTo>
                  <a:cubicBezTo>
                    <a:pt x="22" y="52"/>
                    <a:pt x="22" y="52"/>
                    <a:pt x="22" y="52"/>
                  </a:cubicBezTo>
                  <a:cubicBezTo>
                    <a:pt x="10" y="52"/>
                    <a:pt x="0" y="62"/>
                    <a:pt x="0" y="74"/>
                  </a:cubicBezTo>
                  <a:cubicBezTo>
                    <a:pt x="0" y="86"/>
                    <a:pt x="10" y="96"/>
                    <a:pt x="22" y="96"/>
                  </a:cubicBezTo>
                  <a:cubicBezTo>
                    <a:pt x="25" y="96"/>
                    <a:pt x="25" y="96"/>
                    <a:pt x="25" y="96"/>
                  </a:cubicBezTo>
                  <a:cubicBezTo>
                    <a:pt x="25" y="119"/>
                    <a:pt x="25" y="119"/>
                    <a:pt x="25" y="119"/>
                  </a:cubicBezTo>
                  <a:cubicBezTo>
                    <a:pt x="10" y="119"/>
                    <a:pt x="10" y="119"/>
                    <a:pt x="10" y="119"/>
                  </a:cubicBezTo>
                  <a:cubicBezTo>
                    <a:pt x="7" y="119"/>
                    <a:pt x="5" y="122"/>
                    <a:pt x="5" y="124"/>
                  </a:cubicBezTo>
                  <a:cubicBezTo>
                    <a:pt x="5" y="127"/>
                    <a:pt x="7" y="129"/>
                    <a:pt x="10" y="129"/>
                  </a:cubicBezTo>
                  <a:cubicBezTo>
                    <a:pt x="25" y="129"/>
                    <a:pt x="25" y="129"/>
                    <a:pt x="25" y="129"/>
                  </a:cubicBezTo>
                  <a:cubicBezTo>
                    <a:pt x="25" y="141"/>
                    <a:pt x="25" y="141"/>
                    <a:pt x="25" y="141"/>
                  </a:cubicBezTo>
                  <a:cubicBezTo>
                    <a:pt x="25" y="143"/>
                    <a:pt x="27" y="146"/>
                    <a:pt x="30" y="146"/>
                  </a:cubicBezTo>
                  <a:cubicBezTo>
                    <a:pt x="32" y="146"/>
                    <a:pt x="35" y="143"/>
                    <a:pt x="35" y="141"/>
                  </a:cubicBezTo>
                  <a:cubicBezTo>
                    <a:pt x="35" y="129"/>
                    <a:pt x="35" y="129"/>
                    <a:pt x="35" y="129"/>
                  </a:cubicBezTo>
                  <a:cubicBezTo>
                    <a:pt x="37" y="129"/>
                    <a:pt x="37" y="129"/>
                    <a:pt x="37" y="129"/>
                  </a:cubicBezTo>
                  <a:cubicBezTo>
                    <a:pt x="49" y="129"/>
                    <a:pt x="59" y="120"/>
                    <a:pt x="59" y="107"/>
                  </a:cubicBezTo>
                  <a:cubicBezTo>
                    <a:pt x="59" y="95"/>
                    <a:pt x="49" y="86"/>
                    <a:pt x="37" y="86"/>
                  </a:cubicBezTo>
                  <a:moveTo>
                    <a:pt x="22" y="86"/>
                  </a:moveTo>
                  <a:cubicBezTo>
                    <a:pt x="15" y="86"/>
                    <a:pt x="10" y="80"/>
                    <a:pt x="10" y="74"/>
                  </a:cubicBezTo>
                  <a:cubicBezTo>
                    <a:pt x="10" y="67"/>
                    <a:pt x="15" y="62"/>
                    <a:pt x="22" y="62"/>
                  </a:cubicBezTo>
                  <a:cubicBezTo>
                    <a:pt x="25" y="62"/>
                    <a:pt x="25" y="62"/>
                    <a:pt x="25" y="62"/>
                  </a:cubicBezTo>
                  <a:cubicBezTo>
                    <a:pt x="25" y="86"/>
                    <a:pt x="25" y="86"/>
                    <a:pt x="25" y="86"/>
                  </a:cubicBezTo>
                  <a:cubicBezTo>
                    <a:pt x="22" y="86"/>
                    <a:pt x="22" y="86"/>
                    <a:pt x="22" y="86"/>
                  </a:cubicBezTo>
                  <a:close/>
                  <a:moveTo>
                    <a:pt x="37" y="119"/>
                  </a:moveTo>
                  <a:cubicBezTo>
                    <a:pt x="35" y="119"/>
                    <a:pt x="35" y="119"/>
                    <a:pt x="35" y="119"/>
                  </a:cubicBezTo>
                  <a:cubicBezTo>
                    <a:pt x="35" y="96"/>
                    <a:pt x="35" y="96"/>
                    <a:pt x="35" y="96"/>
                  </a:cubicBezTo>
                  <a:cubicBezTo>
                    <a:pt x="37" y="96"/>
                    <a:pt x="37" y="96"/>
                    <a:pt x="37" y="96"/>
                  </a:cubicBezTo>
                  <a:cubicBezTo>
                    <a:pt x="44" y="96"/>
                    <a:pt x="49" y="101"/>
                    <a:pt x="49" y="108"/>
                  </a:cubicBezTo>
                  <a:cubicBezTo>
                    <a:pt x="49" y="114"/>
                    <a:pt x="44" y="119"/>
                    <a:pt x="37" y="11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6" name="Freeform 40"/>
            <p:cNvSpPr>
              <a:spLocks noEditPoints="1"/>
            </p:cNvSpPr>
            <p:nvPr/>
          </p:nvSpPr>
          <p:spPr bwMode="auto">
            <a:xfrm>
              <a:off x="445995" y="3632817"/>
              <a:ext cx="98375" cy="244167"/>
            </a:xfrm>
            <a:custGeom>
              <a:avLst/>
              <a:gdLst>
                <a:gd name="T0" fmla="*/ 38 w 59"/>
                <a:gd name="T1" fmla="*/ 86 h 146"/>
                <a:gd name="T2" fmla="*/ 35 w 59"/>
                <a:gd name="T3" fmla="*/ 86 h 146"/>
                <a:gd name="T4" fmla="*/ 35 w 59"/>
                <a:gd name="T5" fmla="*/ 62 h 146"/>
                <a:gd name="T6" fmla="*/ 49 w 59"/>
                <a:gd name="T7" fmla="*/ 62 h 146"/>
                <a:gd name="T8" fmla="*/ 54 w 59"/>
                <a:gd name="T9" fmla="*/ 57 h 146"/>
                <a:gd name="T10" fmla="*/ 49 w 59"/>
                <a:gd name="T11" fmla="*/ 52 h 146"/>
                <a:gd name="T12" fmla="*/ 35 w 59"/>
                <a:gd name="T13" fmla="*/ 52 h 146"/>
                <a:gd name="T14" fmla="*/ 35 w 59"/>
                <a:gd name="T15" fmla="*/ 18 h 146"/>
                <a:gd name="T16" fmla="*/ 41 w 59"/>
                <a:gd name="T17" fmla="*/ 24 h 146"/>
                <a:gd name="T18" fmla="*/ 48 w 59"/>
                <a:gd name="T19" fmla="*/ 24 h 146"/>
                <a:gd name="T20" fmla="*/ 48 w 59"/>
                <a:gd name="T21" fmla="*/ 17 h 146"/>
                <a:gd name="T22" fmla="*/ 33 w 59"/>
                <a:gd name="T23" fmla="*/ 2 h 146"/>
                <a:gd name="T24" fmla="*/ 26 w 59"/>
                <a:gd name="T25" fmla="*/ 2 h 146"/>
                <a:gd name="T26" fmla="*/ 12 w 59"/>
                <a:gd name="T27" fmla="*/ 17 h 146"/>
                <a:gd name="T28" fmla="*/ 12 w 59"/>
                <a:gd name="T29" fmla="*/ 24 h 146"/>
                <a:gd name="T30" fmla="*/ 15 w 59"/>
                <a:gd name="T31" fmla="*/ 25 h 146"/>
                <a:gd name="T32" fmla="*/ 19 w 59"/>
                <a:gd name="T33" fmla="*/ 24 h 146"/>
                <a:gd name="T34" fmla="*/ 25 w 59"/>
                <a:gd name="T35" fmla="*/ 18 h 146"/>
                <a:gd name="T36" fmla="*/ 25 w 59"/>
                <a:gd name="T37" fmla="*/ 52 h 146"/>
                <a:gd name="T38" fmla="*/ 22 w 59"/>
                <a:gd name="T39" fmla="*/ 52 h 146"/>
                <a:gd name="T40" fmla="*/ 0 w 59"/>
                <a:gd name="T41" fmla="*/ 74 h 146"/>
                <a:gd name="T42" fmla="*/ 22 w 59"/>
                <a:gd name="T43" fmla="*/ 96 h 146"/>
                <a:gd name="T44" fmla="*/ 25 w 59"/>
                <a:gd name="T45" fmla="*/ 96 h 146"/>
                <a:gd name="T46" fmla="*/ 25 w 59"/>
                <a:gd name="T47" fmla="*/ 119 h 146"/>
                <a:gd name="T48" fmla="*/ 10 w 59"/>
                <a:gd name="T49" fmla="*/ 119 h 146"/>
                <a:gd name="T50" fmla="*/ 5 w 59"/>
                <a:gd name="T51" fmla="*/ 124 h 146"/>
                <a:gd name="T52" fmla="*/ 10 w 59"/>
                <a:gd name="T53" fmla="*/ 129 h 146"/>
                <a:gd name="T54" fmla="*/ 25 w 59"/>
                <a:gd name="T55" fmla="*/ 129 h 146"/>
                <a:gd name="T56" fmla="*/ 25 w 59"/>
                <a:gd name="T57" fmla="*/ 141 h 146"/>
                <a:gd name="T58" fmla="*/ 30 w 59"/>
                <a:gd name="T59" fmla="*/ 146 h 146"/>
                <a:gd name="T60" fmla="*/ 35 w 59"/>
                <a:gd name="T61" fmla="*/ 141 h 146"/>
                <a:gd name="T62" fmla="*/ 35 w 59"/>
                <a:gd name="T63" fmla="*/ 129 h 146"/>
                <a:gd name="T64" fmla="*/ 38 w 59"/>
                <a:gd name="T65" fmla="*/ 129 h 146"/>
                <a:gd name="T66" fmla="*/ 59 w 59"/>
                <a:gd name="T67" fmla="*/ 107 h 146"/>
                <a:gd name="T68" fmla="*/ 38 w 59"/>
                <a:gd name="T69" fmla="*/ 86 h 146"/>
                <a:gd name="T70" fmla="*/ 22 w 59"/>
                <a:gd name="T71" fmla="*/ 86 h 146"/>
                <a:gd name="T72" fmla="*/ 10 w 59"/>
                <a:gd name="T73" fmla="*/ 74 h 146"/>
                <a:gd name="T74" fmla="*/ 22 w 59"/>
                <a:gd name="T75" fmla="*/ 62 h 146"/>
                <a:gd name="T76" fmla="*/ 25 w 59"/>
                <a:gd name="T77" fmla="*/ 62 h 146"/>
                <a:gd name="T78" fmla="*/ 25 w 59"/>
                <a:gd name="T79" fmla="*/ 86 h 146"/>
                <a:gd name="T80" fmla="*/ 22 w 59"/>
                <a:gd name="T81" fmla="*/ 86 h 146"/>
                <a:gd name="T82" fmla="*/ 38 w 59"/>
                <a:gd name="T83" fmla="*/ 119 h 146"/>
                <a:gd name="T84" fmla="*/ 35 w 59"/>
                <a:gd name="T85" fmla="*/ 119 h 146"/>
                <a:gd name="T86" fmla="*/ 35 w 59"/>
                <a:gd name="T87" fmla="*/ 96 h 146"/>
                <a:gd name="T88" fmla="*/ 38 w 59"/>
                <a:gd name="T89" fmla="*/ 96 h 146"/>
                <a:gd name="T90" fmla="*/ 49 w 59"/>
                <a:gd name="T91" fmla="*/ 108 h 146"/>
                <a:gd name="T92" fmla="*/ 38 w 59"/>
                <a:gd name="T93" fmla="*/ 119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9" h="146">
                  <a:moveTo>
                    <a:pt x="38" y="86"/>
                  </a:moveTo>
                  <a:cubicBezTo>
                    <a:pt x="35" y="86"/>
                    <a:pt x="35" y="86"/>
                    <a:pt x="35" y="86"/>
                  </a:cubicBezTo>
                  <a:cubicBezTo>
                    <a:pt x="35" y="62"/>
                    <a:pt x="35" y="62"/>
                    <a:pt x="35" y="62"/>
                  </a:cubicBezTo>
                  <a:cubicBezTo>
                    <a:pt x="49" y="62"/>
                    <a:pt x="49" y="62"/>
                    <a:pt x="49" y="62"/>
                  </a:cubicBezTo>
                  <a:cubicBezTo>
                    <a:pt x="52" y="62"/>
                    <a:pt x="54" y="60"/>
                    <a:pt x="54" y="57"/>
                  </a:cubicBezTo>
                  <a:cubicBezTo>
                    <a:pt x="54" y="54"/>
                    <a:pt x="52" y="52"/>
                    <a:pt x="49" y="52"/>
                  </a:cubicBezTo>
                  <a:cubicBezTo>
                    <a:pt x="35" y="52"/>
                    <a:pt x="35" y="52"/>
                    <a:pt x="35" y="52"/>
                  </a:cubicBezTo>
                  <a:cubicBezTo>
                    <a:pt x="35" y="18"/>
                    <a:pt x="35" y="18"/>
                    <a:pt x="35" y="18"/>
                  </a:cubicBezTo>
                  <a:cubicBezTo>
                    <a:pt x="41" y="24"/>
                    <a:pt x="41" y="24"/>
                    <a:pt x="41" y="24"/>
                  </a:cubicBezTo>
                  <a:cubicBezTo>
                    <a:pt x="43" y="26"/>
                    <a:pt x="46" y="26"/>
                    <a:pt x="48" y="24"/>
                  </a:cubicBezTo>
                  <a:cubicBezTo>
                    <a:pt x="50" y="22"/>
                    <a:pt x="50" y="19"/>
                    <a:pt x="48" y="17"/>
                  </a:cubicBezTo>
                  <a:cubicBezTo>
                    <a:pt x="33" y="2"/>
                    <a:pt x="33" y="2"/>
                    <a:pt x="33" y="2"/>
                  </a:cubicBezTo>
                  <a:cubicBezTo>
                    <a:pt x="31" y="0"/>
                    <a:pt x="28" y="0"/>
                    <a:pt x="26" y="2"/>
                  </a:cubicBezTo>
                  <a:cubicBezTo>
                    <a:pt x="12" y="17"/>
                    <a:pt x="12" y="17"/>
                    <a:pt x="12" y="17"/>
                  </a:cubicBezTo>
                  <a:cubicBezTo>
                    <a:pt x="10" y="19"/>
                    <a:pt x="10" y="22"/>
                    <a:pt x="12" y="24"/>
                  </a:cubicBezTo>
                  <a:cubicBezTo>
                    <a:pt x="13" y="25"/>
                    <a:pt x="14" y="25"/>
                    <a:pt x="15" y="25"/>
                  </a:cubicBezTo>
                  <a:cubicBezTo>
                    <a:pt x="16" y="25"/>
                    <a:pt x="18" y="25"/>
                    <a:pt x="19" y="24"/>
                  </a:cubicBezTo>
                  <a:cubicBezTo>
                    <a:pt x="25" y="18"/>
                    <a:pt x="25" y="18"/>
                    <a:pt x="25" y="18"/>
                  </a:cubicBezTo>
                  <a:cubicBezTo>
                    <a:pt x="25" y="52"/>
                    <a:pt x="25" y="52"/>
                    <a:pt x="25" y="52"/>
                  </a:cubicBezTo>
                  <a:cubicBezTo>
                    <a:pt x="22" y="52"/>
                    <a:pt x="22" y="52"/>
                    <a:pt x="22" y="52"/>
                  </a:cubicBezTo>
                  <a:cubicBezTo>
                    <a:pt x="10" y="52"/>
                    <a:pt x="0" y="62"/>
                    <a:pt x="0" y="74"/>
                  </a:cubicBezTo>
                  <a:cubicBezTo>
                    <a:pt x="0" y="86"/>
                    <a:pt x="10" y="96"/>
                    <a:pt x="22" y="96"/>
                  </a:cubicBezTo>
                  <a:cubicBezTo>
                    <a:pt x="25" y="96"/>
                    <a:pt x="25" y="96"/>
                    <a:pt x="25" y="96"/>
                  </a:cubicBezTo>
                  <a:cubicBezTo>
                    <a:pt x="25" y="119"/>
                    <a:pt x="25" y="119"/>
                    <a:pt x="25" y="119"/>
                  </a:cubicBezTo>
                  <a:cubicBezTo>
                    <a:pt x="10" y="119"/>
                    <a:pt x="10" y="119"/>
                    <a:pt x="10" y="119"/>
                  </a:cubicBezTo>
                  <a:cubicBezTo>
                    <a:pt x="7" y="119"/>
                    <a:pt x="5" y="122"/>
                    <a:pt x="5" y="124"/>
                  </a:cubicBezTo>
                  <a:cubicBezTo>
                    <a:pt x="5" y="127"/>
                    <a:pt x="7" y="129"/>
                    <a:pt x="10" y="129"/>
                  </a:cubicBezTo>
                  <a:cubicBezTo>
                    <a:pt x="25" y="129"/>
                    <a:pt x="25" y="129"/>
                    <a:pt x="25" y="129"/>
                  </a:cubicBezTo>
                  <a:cubicBezTo>
                    <a:pt x="25" y="141"/>
                    <a:pt x="25" y="141"/>
                    <a:pt x="25" y="141"/>
                  </a:cubicBezTo>
                  <a:cubicBezTo>
                    <a:pt x="25" y="143"/>
                    <a:pt x="27" y="146"/>
                    <a:pt x="30" y="146"/>
                  </a:cubicBezTo>
                  <a:cubicBezTo>
                    <a:pt x="33" y="146"/>
                    <a:pt x="35" y="143"/>
                    <a:pt x="35" y="141"/>
                  </a:cubicBezTo>
                  <a:cubicBezTo>
                    <a:pt x="35" y="129"/>
                    <a:pt x="35" y="129"/>
                    <a:pt x="35" y="129"/>
                  </a:cubicBezTo>
                  <a:cubicBezTo>
                    <a:pt x="38" y="129"/>
                    <a:pt x="38" y="129"/>
                    <a:pt x="38" y="129"/>
                  </a:cubicBezTo>
                  <a:cubicBezTo>
                    <a:pt x="50" y="129"/>
                    <a:pt x="59" y="120"/>
                    <a:pt x="59" y="107"/>
                  </a:cubicBezTo>
                  <a:cubicBezTo>
                    <a:pt x="59" y="95"/>
                    <a:pt x="50" y="86"/>
                    <a:pt x="38" y="86"/>
                  </a:cubicBezTo>
                  <a:moveTo>
                    <a:pt x="22" y="86"/>
                  </a:moveTo>
                  <a:cubicBezTo>
                    <a:pt x="16" y="86"/>
                    <a:pt x="10" y="80"/>
                    <a:pt x="10" y="74"/>
                  </a:cubicBezTo>
                  <a:cubicBezTo>
                    <a:pt x="10" y="67"/>
                    <a:pt x="16" y="62"/>
                    <a:pt x="22" y="62"/>
                  </a:cubicBezTo>
                  <a:cubicBezTo>
                    <a:pt x="25" y="62"/>
                    <a:pt x="25" y="62"/>
                    <a:pt x="25" y="62"/>
                  </a:cubicBezTo>
                  <a:cubicBezTo>
                    <a:pt x="25" y="86"/>
                    <a:pt x="25" y="86"/>
                    <a:pt x="25" y="86"/>
                  </a:cubicBezTo>
                  <a:cubicBezTo>
                    <a:pt x="22" y="86"/>
                    <a:pt x="22" y="86"/>
                    <a:pt x="22" y="86"/>
                  </a:cubicBezTo>
                  <a:close/>
                  <a:moveTo>
                    <a:pt x="38" y="119"/>
                  </a:moveTo>
                  <a:cubicBezTo>
                    <a:pt x="35" y="119"/>
                    <a:pt x="35" y="119"/>
                    <a:pt x="35" y="119"/>
                  </a:cubicBezTo>
                  <a:cubicBezTo>
                    <a:pt x="35" y="96"/>
                    <a:pt x="35" y="96"/>
                    <a:pt x="35" y="96"/>
                  </a:cubicBezTo>
                  <a:cubicBezTo>
                    <a:pt x="38" y="96"/>
                    <a:pt x="38" y="96"/>
                    <a:pt x="38" y="96"/>
                  </a:cubicBezTo>
                  <a:cubicBezTo>
                    <a:pt x="44" y="96"/>
                    <a:pt x="49" y="101"/>
                    <a:pt x="49" y="108"/>
                  </a:cubicBezTo>
                  <a:cubicBezTo>
                    <a:pt x="49" y="114"/>
                    <a:pt x="44" y="119"/>
                    <a:pt x="38" y="11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57" name="Freeform 12"/>
          <p:cNvSpPr>
            <a:spLocks noEditPoints="1"/>
          </p:cNvSpPr>
          <p:nvPr/>
        </p:nvSpPr>
        <p:spPr bwMode="auto">
          <a:xfrm>
            <a:off x="7034071" y="2684390"/>
            <a:ext cx="315648" cy="272476"/>
          </a:xfrm>
          <a:custGeom>
            <a:avLst/>
            <a:gdLst>
              <a:gd name="T0" fmla="*/ 137 w 189"/>
              <a:gd name="T1" fmla="*/ 0 h 163"/>
              <a:gd name="T2" fmla="*/ 116 w 189"/>
              <a:gd name="T3" fmla="*/ 18 h 163"/>
              <a:gd name="T4" fmla="*/ 33 w 189"/>
              <a:gd name="T5" fmla="*/ 38 h 163"/>
              <a:gd name="T6" fmla="*/ 69 w 189"/>
              <a:gd name="T7" fmla="*/ 55 h 163"/>
              <a:gd name="T8" fmla="*/ 139 w 189"/>
              <a:gd name="T9" fmla="*/ 100 h 163"/>
              <a:gd name="T10" fmla="*/ 141 w 189"/>
              <a:gd name="T11" fmla="*/ 116 h 163"/>
              <a:gd name="T12" fmla="*/ 111 w 189"/>
              <a:gd name="T13" fmla="*/ 98 h 163"/>
              <a:gd name="T14" fmla="*/ 135 w 189"/>
              <a:gd name="T15" fmla="*/ 128 h 163"/>
              <a:gd name="T16" fmla="*/ 98 w 189"/>
              <a:gd name="T17" fmla="*/ 104 h 163"/>
              <a:gd name="T18" fmla="*/ 122 w 189"/>
              <a:gd name="T19" fmla="*/ 141 h 163"/>
              <a:gd name="T20" fmla="*/ 92 w 189"/>
              <a:gd name="T21" fmla="*/ 117 h 163"/>
              <a:gd name="T22" fmla="*/ 110 w 189"/>
              <a:gd name="T23" fmla="*/ 147 h 163"/>
              <a:gd name="T24" fmla="*/ 8 w 189"/>
              <a:gd name="T25" fmla="*/ 58 h 163"/>
              <a:gd name="T26" fmla="*/ 25 w 189"/>
              <a:gd name="T27" fmla="*/ 87 h 163"/>
              <a:gd name="T28" fmla="*/ 18 w 189"/>
              <a:gd name="T29" fmla="*/ 110 h 163"/>
              <a:gd name="T30" fmla="*/ 31 w 189"/>
              <a:gd name="T31" fmla="*/ 123 h 163"/>
              <a:gd name="T32" fmla="*/ 43 w 189"/>
              <a:gd name="T33" fmla="*/ 135 h 163"/>
              <a:gd name="T34" fmla="*/ 56 w 189"/>
              <a:gd name="T35" fmla="*/ 148 h 163"/>
              <a:gd name="T36" fmla="*/ 74 w 189"/>
              <a:gd name="T37" fmla="*/ 150 h 163"/>
              <a:gd name="T38" fmla="*/ 106 w 189"/>
              <a:gd name="T39" fmla="*/ 163 h 163"/>
              <a:gd name="T40" fmla="*/ 128 w 189"/>
              <a:gd name="T41" fmla="*/ 147 h 163"/>
              <a:gd name="T42" fmla="*/ 145 w 189"/>
              <a:gd name="T43" fmla="*/ 125 h 163"/>
              <a:gd name="T44" fmla="*/ 148 w 189"/>
              <a:gd name="T45" fmla="*/ 97 h 163"/>
              <a:gd name="T46" fmla="*/ 184 w 189"/>
              <a:gd name="T47" fmla="*/ 42 h 163"/>
              <a:gd name="T48" fmla="*/ 30 w 189"/>
              <a:gd name="T49" fmla="*/ 93 h 163"/>
              <a:gd name="T50" fmla="*/ 26 w 189"/>
              <a:gd name="T51" fmla="*/ 106 h 163"/>
              <a:gd name="T52" fmla="*/ 37 w 189"/>
              <a:gd name="T53" fmla="*/ 112 h 163"/>
              <a:gd name="T54" fmla="*/ 43 w 189"/>
              <a:gd name="T55" fmla="*/ 119 h 163"/>
              <a:gd name="T56" fmla="*/ 49 w 189"/>
              <a:gd name="T57" fmla="*/ 129 h 163"/>
              <a:gd name="T58" fmla="*/ 56 w 189"/>
              <a:gd name="T59" fmla="*/ 118 h 163"/>
              <a:gd name="T60" fmla="*/ 51 w 189"/>
              <a:gd name="T61" fmla="*/ 131 h 163"/>
              <a:gd name="T62" fmla="*/ 64 w 189"/>
              <a:gd name="T63" fmla="*/ 144 h 163"/>
              <a:gd name="T64" fmla="*/ 68 w 189"/>
              <a:gd name="T65" fmla="*/ 131 h 163"/>
              <a:gd name="T66" fmla="*/ 142 w 189"/>
              <a:gd name="T67" fmla="*/ 91 h 163"/>
              <a:gd name="T68" fmla="*/ 67 w 189"/>
              <a:gd name="T69" fmla="*/ 40 h 163"/>
              <a:gd name="T70" fmla="*/ 61 w 189"/>
              <a:gd name="T71" fmla="*/ 53 h 163"/>
              <a:gd name="T72" fmla="*/ 39 w 189"/>
              <a:gd name="T73" fmla="*/ 49 h 163"/>
              <a:gd name="T74" fmla="*/ 72 w 189"/>
              <a:gd name="T75" fmla="*/ 19 h 163"/>
              <a:gd name="T76" fmla="*/ 142 w 189"/>
              <a:gd name="T77" fmla="*/ 91 h 163"/>
              <a:gd name="T78" fmla="*/ 125 w 189"/>
              <a:gd name="T79" fmla="*/ 25 h 163"/>
              <a:gd name="T80" fmla="*/ 134 w 189"/>
              <a:gd name="T81" fmla="*/ 10 h 163"/>
              <a:gd name="T82" fmla="*/ 178 w 189"/>
              <a:gd name="T83" fmla="*/ 4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9" h="163">
                <a:moveTo>
                  <a:pt x="184" y="42"/>
                </a:moveTo>
                <a:cubicBezTo>
                  <a:pt x="146" y="4"/>
                  <a:pt x="146" y="4"/>
                  <a:pt x="146" y="4"/>
                </a:cubicBezTo>
                <a:cubicBezTo>
                  <a:pt x="144" y="2"/>
                  <a:pt x="140" y="0"/>
                  <a:pt x="137" y="0"/>
                </a:cubicBezTo>
                <a:cubicBezTo>
                  <a:pt x="133" y="0"/>
                  <a:pt x="130" y="2"/>
                  <a:pt x="128" y="4"/>
                </a:cubicBezTo>
                <a:cubicBezTo>
                  <a:pt x="119" y="13"/>
                  <a:pt x="119" y="13"/>
                  <a:pt x="119" y="13"/>
                </a:cubicBezTo>
                <a:cubicBezTo>
                  <a:pt x="118" y="15"/>
                  <a:pt x="117" y="16"/>
                  <a:pt x="116" y="18"/>
                </a:cubicBezTo>
                <a:cubicBezTo>
                  <a:pt x="74" y="10"/>
                  <a:pt x="74" y="10"/>
                  <a:pt x="74" y="10"/>
                </a:cubicBezTo>
                <a:cubicBezTo>
                  <a:pt x="74" y="10"/>
                  <a:pt x="74" y="10"/>
                  <a:pt x="74" y="10"/>
                </a:cubicBezTo>
                <a:cubicBezTo>
                  <a:pt x="55" y="7"/>
                  <a:pt x="37" y="19"/>
                  <a:pt x="33" y="38"/>
                </a:cubicBezTo>
                <a:cubicBezTo>
                  <a:pt x="31" y="47"/>
                  <a:pt x="31" y="47"/>
                  <a:pt x="31" y="47"/>
                </a:cubicBezTo>
                <a:cubicBezTo>
                  <a:pt x="29" y="58"/>
                  <a:pt x="36" y="68"/>
                  <a:pt x="46" y="70"/>
                </a:cubicBezTo>
                <a:cubicBezTo>
                  <a:pt x="57" y="73"/>
                  <a:pt x="67" y="66"/>
                  <a:pt x="69" y="55"/>
                </a:cubicBezTo>
                <a:cubicBezTo>
                  <a:pt x="71" y="49"/>
                  <a:pt x="71" y="49"/>
                  <a:pt x="71" y="49"/>
                </a:cubicBezTo>
                <a:cubicBezTo>
                  <a:pt x="89" y="51"/>
                  <a:pt x="89" y="51"/>
                  <a:pt x="89" y="51"/>
                </a:cubicBezTo>
                <a:cubicBezTo>
                  <a:pt x="139" y="100"/>
                  <a:pt x="139" y="100"/>
                  <a:pt x="139" y="100"/>
                </a:cubicBezTo>
                <a:cubicBezTo>
                  <a:pt x="147" y="109"/>
                  <a:pt x="147" y="109"/>
                  <a:pt x="147" y="109"/>
                </a:cubicBezTo>
                <a:cubicBezTo>
                  <a:pt x="149" y="111"/>
                  <a:pt x="149" y="114"/>
                  <a:pt x="147" y="116"/>
                </a:cubicBezTo>
                <a:cubicBezTo>
                  <a:pt x="146" y="117"/>
                  <a:pt x="143" y="117"/>
                  <a:pt x="141" y="116"/>
                </a:cubicBezTo>
                <a:cubicBezTo>
                  <a:pt x="117" y="92"/>
                  <a:pt x="117" y="92"/>
                  <a:pt x="117" y="92"/>
                </a:cubicBezTo>
                <a:cubicBezTo>
                  <a:pt x="115" y="90"/>
                  <a:pt x="113" y="90"/>
                  <a:pt x="111" y="92"/>
                </a:cubicBezTo>
                <a:cubicBezTo>
                  <a:pt x="109" y="93"/>
                  <a:pt x="109" y="96"/>
                  <a:pt x="111" y="98"/>
                </a:cubicBezTo>
                <a:cubicBezTo>
                  <a:pt x="135" y="122"/>
                  <a:pt x="135" y="122"/>
                  <a:pt x="135" y="122"/>
                </a:cubicBezTo>
                <a:cubicBezTo>
                  <a:pt x="136" y="122"/>
                  <a:pt x="136" y="124"/>
                  <a:pt x="136" y="125"/>
                </a:cubicBezTo>
                <a:cubicBezTo>
                  <a:pt x="136" y="126"/>
                  <a:pt x="136" y="127"/>
                  <a:pt x="135" y="128"/>
                </a:cubicBezTo>
                <a:cubicBezTo>
                  <a:pt x="133" y="130"/>
                  <a:pt x="130" y="130"/>
                  <a:pt x="128" y="128"/>
                </a:cubicBezTo>
                <a:cubicBezTo>
                  <a:pt x="104" y="104"/>
                  <a:pt x="104" y="104"/>
                  <a:pt x="104" y="104"/>
                </a:cubicBezTo>
                <a:cubicBezTo>
                  <a:pt x="103" y="103"/>
                  <a:pt x="100" y="103"/>
                  <a:pt x="98" y="104"/>
                </a:cubicBezTo>
                <a:cubicBezTo>
                  <a:pt x="97" y="106"/>
                  <a:pt x="97" y="109"/>
                  <a:pt x="98" y="110"/>
                </a:cubicBezTo>
                <a:cubicBezTo>
                  <a:pt x="122" y="134"/>
                  <a:pt x="122" y="134"/>
                  <a:pt x="122" y="134"/>
                </a:cubicBezTo>
                <a:cubicBezTo>
                  <a:pt x="124" y="136"/>
                  <a:pt x="124" y="139"/>
                  <a:pt x="122" y="141"/>
                </a:cubicBezTo>
                <a:cubicBezTo>
                  <a:pt x="121" y="142"/>
                  <a:pt x="120" y="142"/>
                  <a:pt x="119" y="142"/>
                </a:cubicBezTo>
                <a:cubicBezTo>
                  <a:pt x="118" y="142"/>
                  <a:pt x="117" y="142"/>
                  <a:pt x="116" y="141"/>
                </a:cubicBezTo>
                <a:cubicBezTo>
                  <a:pt x="92" y="117"/>
                  <a:pt x="92" y="117"/>
                  <a:pt x="92" y="117"/>
                </a:cubicBezTo>
                <a:cubicBezTo>
                  <a:pt x="90" y="115"/>
                  <a:pt x="88" y="115"/>
                  <a:pt x="86" y="117"/>
                </a:cubicBezTo>
                <a:cubicBezTo>
                  <a:pt x="84" y="118"/>
                  <a:pt x="84" y="121"/>
                  <a:pt x="86" y="123"/>
                </a:cubicBezTo>
                <a:cubicBezTo>
                  <a:pt x="110" y="147"/>
                  <a:pt x="110" y="147"/>
                  <a:pt x="110" y="147"/>
                </a:cubicBezTo>
                <a:cubicBezTo>
                  <a:pt x="112" y="148"/>
                  <a:pt x="112" y="151"/>
                  <a:pt x="110" y="153"/>
                </a:cubicBezTo>
                <a:cubicBezTo>
                  <a:pt x="108" y="155"/>
                  <a:pt x="105" y="155"/>
                  <a:pt x="103" y="153"/>
                </a:cubicBezTo>
                <a:cubicBezTo>
                  <a:pt x="8" y="58"/>
                  <a:pt x="8" y="58"/>
                  <a:pt x="8" y="58"/>
                </a:cubicBezTo>
                <a:cubicBezTo>
                  <a:pt x="6" y="56"/>
                  <a:pt x="3" y="56"/>
                  <a:pt x="2" y="58"/>
                </a:cubicBezTo>
                <a:cubicBezTo>
                  <a:pt x="0" y="59"/>
                  <a:pt x="0" y="62"/>
                  <a:pt x="2" y="64"/>
                </a:cubicBezTo>
                <a:cubicBezTo>
                  <a:pt x="25" y="87"/>
                  <a:pt x="25" y="87"/>
                  <a:pt x="25" y="87"/>
                </a:cubicBezTo>
                <a:cubicBezTo>
                  <a:pt x="18" y="94"/>
                  <a:pt x="18" y="94"/>
                  <a:pt x="18" y="94"/>
                </a:cubicBezTo>
                <a:cubicBezTo>
                  <a:pt x="16" y="96"/>
                  <a:pt x="15" y="99"/>
                  <a:pt x="15" y="102"/>
                </a:cubicBezTo>
                <a:cubicBezTo>
                  <a:pt x="15" y="105"/>
                  <a:pt x="16" y="108"/>
                  <a:pt x="18" y="110"/>
                </a:cubicBezTo>
                <a:cubicBezTo>
                  <a:pt x="20" y="112"/>
                  <a:pt x="20" y="112"/>
                  <a:pt x="20" y="112"/>
                </a:cubicBezTo>
                <a:cubicBezTo>
                  <a:pt x="22" y="114"/>
                  <a:pt x="25" y="115"/>
                  <a:pt x="27" y="116"/>
                </a:cubicBezTo>
                <a:cubicBezTo>
                  <a:pt x="28" y="118"/>
                  <a:pt x="29" y="121"/>
                  <a:pt x="31" y="123"/>
                </a:cubicBezTo>
                <a:cubicBezTo>
                  <a:pt x="33" y="125"/>
                  <a:pt x="33" y="125"/>
                  <a:pt x="33" y="125"/>
                </a:cubicBezTo>
                <a:cubicBezTo>
                  <a:pt x="35" y="127"/>
                  <a:pt x="37" y="128"/>
                  <a:pt x="40" y="128"/>
                </a:cubicBezTo>
                <a:cubicBezTo>
                  <a:pt x="40" y="131"/>
                  <a:pt x="41" y="133"/>
                  <a:pt x="43" y="135"/>
                </a:cubicBezTo>
                <a:cubicBezTo>
                  <a:pt x="45" y="137"/>
                  <a:pt x="45" y="137"/>
                  <a:pt x="45" y="137"/>
                </a:cubicBezTo>
                <a:cubicBezTo>
                  <a:pt x="47" y="139"/>
                  <a:pt x="50" y="140"/>
                  <a:pt x="52" y="141"/>
                </a:cubicBezTo>
                <a:cubicBezTo>
                  <a:pt x="53" y="143"/>
                  <a:pt x="54" y="146"/>
                  <a:pt x="56" y="148"/>
                </a:cubicBezTo>
                <a:cubicBezTo>
                  <a:pt x="58" y="150"/>
                  <a:pt x="58" y="150"/>
                  <a:pt x="58" y="150"/>
                </a:cubicBezTo>
                <a:cubicBezTo>
                  <a:pt x="60" y="152"/>
                  <a:pt x="63" y="153"/>
                  <a:pt x="66" y="153"/>
                </a:cubicBezTo>
                <a:cubicBezTo>
                  <a:pt x="69" y="153"/>
                  <a:pt x="72" y="152"/>
                  <a:pt x="74" y="150"/>
                </a:cubicBezTo>
                <a:cubicBezTo>
                  <a:pt x="81" y="143"/>
                  <a:pt x="81" y="143"/>
                  <a:pt x="81" y="143"/>
                </a:cubicBezTo>
                <a:cubicBezTo>
                  <a:pt x="97" y="159"/>
                  <a:pt x="97" y="159"/>
                  <a:pt x="97" y="159"/>
                </a:cubicBezTo>
                <a:cubicBezTo>
                  <a:pt x="100" y="162"/>
                  <a:pt x="103" y="163"/>
                  <a:pt x="106" y="163"/>
                </a:cubicBezTo>
                <a:cubicBezTo>
                  <a:pt x="110" y="163"/>
                  <a:pt x="113" y="162"/>
                  <a:pt x="116" y="159"/>
                </a:cubicBezTo>
                <a:cubicBezTo>
                  <a:pt x="118" y="157"/>
                  <a:pt x="119" y="154"/>
                  <a:pt x="120" y="150"/>
                </a:cubicBezTo>
                <a:cubicBezTo>
                  <a:pt x="123" y="150"/>
                  <a:pt x="126" y="149"/>
                  <a:pt x="128" y="147"/>
                </a:cubicBezTo>
                <a:cubicBezTo>
                  <a:pt x="131" y="144"/>
                  <a:pt x="132" y="141"/>
                  <a:pt x="132" y="138"/>
                </a:cubicBezTo>
                <a:cubicBezTo>
                  <a:pt x="135" y="138"/>
                  <a:pt x="138" y="137"/>
                  <a:pt x="141" y="134"/>
                </a:cubicBezTo>
                <a:cubicBezTo>
                  <a:pt x="143" y="132"/>
                  <a:pt x="145" y="129"/>
                  <a:pt x="145" y="125"/>
                </a:cubicBezTo>
                <a:cubicBezTo>
                  <a:pt x="148" y="125"/>
                  <a:pt x="151" y="124"/>
                  <a:pt x="153" y="122"/>
                </a:cubicBezTo>
                <a:cubicBezTo>
                  <a:pt x="159" y="116"/>
                  <a:pt x="159" y="108"/>
                  <a:pt x="153" y="103"/>
                </a:cubicBezTo>
                <a:cubicBezTo>
                  <a:pt x="148" y="97"/>
                  <a:pt x="148" y="97"/>
                  <a:pt x="148" y="97"/>
                </a:cubicBezTo>
                <a:cubicBezTo>
                  <a:pt x="169" y="75"/>
                  <a:pt x="169" y="75"/>
                  <a:pt x="169" y="75"/>
                </a:cubicBezTo>
                <a:cubicBezTo>
                  <a:pt x="184" y="60"/>
                  <a:pt x="184" y="60"/>
                  <a:pt x="184" y="60"/>
                </a:cubicBezTo>
                <a:cubicBezTo>
                  <a:pt x="189" y="55"/>
                  <a:pt x="189" y="47"/>
                  <a:pt x="184" y="42"/>
                </a:cubicBezTo>
                <a:moveTo>
                  <a:pt x="24" y="104"/>
                </a:moveTo>
                <a:cubicBezTo>
                  <a:pt x="23" y="103"/>
                  <a:pt x="23" y="101"/>
                  <a:pt x="24" y="100"/>
                </a:cubicBezTo>
                <a:cubicBezTo>
                  <a:pt x="30" y="93"/>
                  <a:pt x="30" y="93"/>
                  <a:pt x="30" y="93"/>
                </a:cubicBezTo>
                <a:cubicBezTo>
                  <a:pt x="37" y="100"/>
                  <a:pt x="37" y="100"/>
                  <a:pt x="37" y="100"/>
                </a:cubicBezTo>
                <a:cubicBezTo>
                  <a:pt x="31" y="106"/>
                  <a:pt x="31" y="106"/>
                  <a:pt x="31" y="106"/>
                </a:cubicBezTo>
                <a:cubicBezTo>
                  <a:pt x="30" y="107"/>
                  <a:pt x="28" y="107"/>
                  <a:pt x="26" y="106"/>
                </a:cubicBezTo>
                <a:lnTo>
                  <a:pt x="24" y="104"/>
                </a:lnTo>
                <a:close/>
                <a:moveTo>
                  <a:pt x="37" y="117"/>
                </a:moveTo>
                <a:cubicBezTo>
                  <a:pt x="36" y="115"/>
                  <a:pt x="36" y="113"/>
                  <a:pt x="37" y="112"/>
                </a:cubicBezTo>
                <a:cubicBezTo>
                  <a:pt x="43" y="106"/>
                  <a:pt x="43" y="106"/>
                  <a:pt x="43" y="106"/>
                </a:cubicBezTo>
                <a:cubicBezTo>
                  <a:pt x="50" y="112"/>
                  <a:pt x="50" y="112"/>
                  <a:pt x="50" y="112"/>
                </a:cubicBezTo>
                <a:cubicBezTo>
                  <a:pt x="43" y="119"/>
                  <a:pt x="43" y="119"/>
                  <a:pt x="43" y="119"/>
                </a:cubicBezTo>
                <a:cubicBezTo>
                  <a:pt x="42" y="120"/>
                  <a:pt x="40" y="120"/>
                  <a:pt x="39" y="119"/>
                </a:cubicBezTo>
                <a:lnTo>
                  <a:pt x="37" y="117"/>
                </a:lnTo>
                <a:close/>
                <a:moveTo>
                  <a:pt x="49" y="129"/>
                </a:moveTo>
                <a:cubicBezTo>
                  <a:pt x="49" y="129"/>
                  <a:pt x="48" y="128"/>
                  <a:pt x="48" y="127"/>
                </a:cubicBezTo>
                <a:cubicBezTo>
                  <a:pt x="48" y="126"/>
                  <a:pt x="49" y="125"/>
                  <a:pt x="49" y="125"/>
                </a:cubicBezTo>
                <a:cubicBezTo>
                  <a:pt x="56" y="118"/>
                  <a:pt x="56" y="118"/>
                  <a:pt x="56" y="118"/>
                </a:cubicBezTo>
                <a:cubicBezTo>
                  <a:pt x="62" y="125"/>
                  <a:pt x="62" y="125"/>
                  <a:pt x="62" y="125"/>
                </a:cubicBezTo>
                <a:cubicBezTo>
                  <a:pt x="56" y="131"/>
                  <a:pt x="56" y="131"/>
                  <a:pt x="56" y="131"/>
                </a:cubicBezTo>
                <a:cubicBezTo>
                  <a:pt x="55" y="133"/>
                  <a:pt x="53" y="133"/>
                  <a:pt x="51" y="131"/>
                </a:cubicBezTo>
                <a:lnTo>
                  <a:pt x="49" y="129"/>
                </a:lnTo>
                <a:close/>
                <a:moveTo>
                  <a:pt x="68" y="144"/>
                </a:moveTo>
                <a:cubicBezTo>
                  <a:pt x="67" y="145"/>
                  <a:pt x="65" y="145"/>
                  <a:pt x="64" y="144"/>
                </a:cubicBezTo>
                <a:cubicBezTo>
                  <a:pt x="62" y="142"/>
                  <a:pt x="62" y="142"/>
                  <a:pt x="62" y="142"/>
                </a:cubicBezTo>
                <a:cubicBezTo>
                  <a:pt x="61" y="140"/>
                  <a:pt x="61" y="139"/>
                  <a:pt x="62" y="137"/>
                </a:cubicBezTo>
                <a:cubicBezTo>
                  <a:pt x="68" y="131"/>
                  <a:pt x="68" y="131"/>
                  <a:pt x="68" y="131"/>
                </a:cubicBezTo>
                <a:cubicBezTo>
                  <a:pt x="75" y="138"/>
                  <a:pt x="75" y="138"/>
                  <a:pt x="75" y="138"/>
                </a:cubicBezTo>
                <a:lnTo>
                  <a:pt x="68" y="144"/>
                </a:lnTo>
                <a:close/>
                <a:moveTo>
                  <a:pt x="142" y="91"/>
                </a:moveTo>
                <a:cubicBezTo>
                  <a:pt x="94" y="44"/>
                  <a:pt x="94" y="44"/>
                  <a:pt x="94" y="44"/>
                </a:cubicBezTo>
                <a:cubicBezTo>
                  <a:pt x="94" y="43"/>
                  <a:pt x="93" y="43"/>
                  <a:pt x="92" y="43"/>
                </a:cubicBezTo>
                <a:cubicBezTo>
                  <a:pt x="67" y="40"/>
                  <a:pt x="67" y="40"/>
                  <a:pt x="67" y="40"/>
                </a:cubicBezTo>
                <a:cubicBezTo>
                  <a:pt x="67" y="40"/>
                  <a:pt x="67" y="40"/>
                  <a:pt x="67" y="40"/>
                </a:cubicBezTo>
                <a:cubicBezTo>
                  <a:pt x="65" y="40"/>
                  <a:pt x="63" y="42"/>
                  <a:pt x="63" y="44"/>
                </a:cubicBezTo>
                <a:cubicBezTo>
                  <a:pt x="61" y="53"/>
                  <a:pt x="61" y="53"/>
                  <a:pt x="61" y="53"/>
                </a:cubicBezTo>
                <a:cubicBezTo>
                  <a:pt x="60" y="59"/>
                  <a:pt x="54" y="63"/>
                  <a:pt x="48" y="62"/>
                </a:cubicBezTo>
                <a:cubicBezTo>
                  <a:pt x="45" y="62"/>
                  <a:pt x="42" y="60"/>
                  <a:pt x="41" y="57"/>
                </a:cubicBezTo>
                <a:cubicBezTo>
                  <a:pt x="39" y="55"/>
                  <a:pt x="39" y="52"/>
                  <a:pt x="39" y="49"/>
                </a:cubicBezTo>
                <a:cubicBezTo>
                  <a:pt x="41" y="39"/>
                  <a:pt x="41" y="39"/>
                  <a:pt x="41" y="39"/>
                </a:cubicBezTo>
                <a:cubicBezTo>
                  <a:pt x="44" y="25"/>
                  <a:pt x="58" y="16"/>
                  <a:pt x="72" y="19"/>
                </a:cubicBezTo>
                <a:cubicBezTo>
                  <a:pt x="72" y="19"/>
                  <a:pt x="72" y="19"/>
                  <a:pt x="72" y="19"/>
                </a:cubicBezTo>
                <a:cubicBezTo>
                  <a:pt x="114" y="26"/>
                  <a:pt x="114" y="26"/>
                  <a:pt x="114" y="26"/>
                </a:cubicBezTo>
                <a:cubicBezTo>
                  <a:pt x="160" y="72"/>
                  <a:pt x="160" y="72"/>
                  <a:pt x="160" y="72"/>
                </a:cubicBezTo>
                <a:lnTo>
                  <a:pt x="142" y="91"/>
                </a:lnTo>
                <a:close/>
                <a:moveTo>
                  <a:pt x="178" y="54"/>
                </a:moveTo>
                <a:cubicBezTo>
                  <a:pt x="166" y="66"/>
                  <a:pt x="166" y="66"/>
                  <a:pt x="166" y="66"/>
                </a:cubicBezTo>
                <a:cubicBezTo>
                  <a:pt x="125" y="25"/>
                  <a:pt x="125" y="25"/>
                  <a:pt x="125" y="25"/>
                </a:cubicBezTo>
                <a:cubicBezTo>
                  <a:pt x="124" y="24"/>
                  <a:pt x="124" y="23"/>
                  <a:pt x="124" y="22"/>
                </a:cubicBezTo>
                <a:cubicBezTo>
                  <a:pt x="124" y="21"/>
                  <a:pt x="124" y="20"/>
                  <a:pt x="125" y="19"/>
                </a:cubicBezTo>
                <a:cubicBezTo>
                  <a:pt x="134" y="10"/>
                  <a:pt x="134" y="10"/>
                  <a:pt x="134" y="10"/>
                </a:cubicBezTo>
                <a:cubicBezTo>
                  <a:pt x="135" y="9"/>
                  <a:pt x="136" y="9"/>
                  <a:pt x="137" y="9"/>
                </a:cubicBezTo>
                <a:cubicBezTo>
                  <a:pt x="138" y="9"/>
                  <a:pt x="139" y="9"/>
                  <a:pt x="140" y="10"/>
                </a:cubicBezTo>
                <a:cubicBezTo>
                  <a:pt x="178" y="48"/>
                  <a:pt x="178" y="48"/>
                  <a:pt x="178" y="48"/>
                </a:cubicBezTo>
                <a:cubicBezTo>
                  <a:pt x="179" y="49"/>
                  <a:pt x="179" y="50"/>
                  <a:pt x="179" y="51"/>
                </a:cubicBezTo>
                <a:cubicBezTo>
                  <a:pt x="179" y="53"/>
                  <a:pt x="179" y="54"/>
                  <a:pt x="178" y="54"/>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8" name="Rectangle 157"/>
          <p:cNvSpPr/>
          <p:nvPr/>
        </p:nvSpPr>
        <p:spPr>
          <a:xfrm>
            <a:off x="5725667" y="3268999"/>
            <a:ext cx="753411" cy="184666"/>
          </a:xfrm>
          <a:prstGeom prst="rect">
            <a:avLst/>
          </a:prstGeom>
          <a:noFill/>
          <a:ln w="3175" cap="rnd"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tx2"/>
                </a:solidFill>
                <a:effectLst/>
                <a:uLnTx/>
                <a:uFillTx/>
                <a:latin typeface="+mj-lt"/>
                <a:ea typeface="+mn-ea"/>
                <a:cs typeface="+mn-cs"/>
              </a:rPr>
              <a:t>Navigation</a:t>
            </a:r>
            <a:endParaRPr kumimoji="0" lang="en-US" sz="1200" b="0" i="0" u="none" strike="noStrike" kern="0" cap="none" spc="0" normalizeH="0" baseline="0" noProof="0" dirty="0">
              <a:ln>
                <a:noFill/>
              </a:ln>
              <a:solidFill>
                <a:schemeClr val="tx2"/>
              </a:solidFill>
              <a:effectLst/>
              <a:uLnTx/>
              <a:uFillTx/>
              <a:latin typeface="+mj-lt"/>
              <a:ea typeface="+mn-ea"/>
              <a:cs typeface="+mn-cs"/>
            </a:endParaRPr>
          </a:p>
        </p:txBody>
      </p:sp>
      <p:sp>
        <p:nvSpPr>
          <p:cNvPr id="159" name="Rectangle 158"/>
          <p:cNvSpPr/>
          <p:nvPr/>
        </p:nvSpPr>
        <p:spPr>
          <a:xfrm>
            <a:off x="2547130" y="3268999"/>
            <a:ext cx="884858" cy="184666"/>
          </a:xfrm>
          <a:prstGeom prst="rect">
            <a:avLst/>
          </a:prstGeom>
          <a:noFill/>
          <a:ln w="3175" cap="rnd"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tx2"/>
                </a:solidFill>
                <a:effectLst/>
                <a:uLnTx/>
                <a:uFillTx/>
                <a:latin typeface="+mj-lt"/>
                <a:ea typeface="+mn-ea"/>
                <a:cs typeface="+mn-cs"/>
              </a:rPr>
              <a:t>Infotainment</a:t>
            </a:r>
            <a:endParaRPr kumimoji="0" lang="en-US" sz="1200" b="0" i="0" u="none" strike="noStrike" kern="0" cap="none" spc="0" normalizeH="0" baseline="0" noProof="0" dirty="0">
              <a:ln>
                <a:noFill/>
              </a:ln>
              <a:solidFill>
                <a:schemeClr val="tx2"/>
              </a:solidFill>
              <a:effectLst/>
              <a:uLnTx/>
              <a:uFillTx/>
              <a:latin typeface="+mj-lt"/>
              <a:ea typeface="+mn-ea"/>
              <a:cs typeface="+mn-cs"/>
            </a:endParaRPr>
          </a:p>
        </p:txBody>
      </p:sp>
      <p:sp>
        <p:nvSpPr>
          <p:cNvPr id="160" name="Rectangle 159"/>
          <p:cNvSpPr/>
          <p:nvPr/>
        </p:nvSpPr>
        <p:spPr>
          <a:xfrm>
            <a:off x="6165752" y="4012583"/>
            <a:ext cx="830356" cy="184666"/>
          </a:xfrm>
          <a:prstGeom prst="rect">
            <a:avLst/>
          </a:prstGeom>
          <a:noFill/>
          <a:ln w="3175" cap="rnd"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tx2"/>
                </a:solidFill>
                <a:effectLst/>
                <a:uLnTx/>
                <a:uFillTx/>
                <a:latin typeface="+mj-lt"/>
                <a:ea typeface="+mn-ea"/>
                <a:cs typeface="+mn-cs"/>
              </a:rPr>
              <a:t>Diagnostics</a:t>
            </a:r>
            <a:endParaRPr kumimoji="0" lang="en-US" sz="1200" b="0" i="0" u="none" strike="noStrike" kern="0" cap="none" spc="0" normalizeH="0" baseline="0" noProof="0" dirty="0">
              <a:ln>
                <a:noFill/>
              </a:ln>
              <a:solidFill>
                <a:schemeClr val="tx2"/>
              </a:solidFill>
              <a:effectLst/>
              <a:uLnTx/>
              <a:uFillTx/>
              <a:latin typeface="+mj-lt"/>
              <a:ea typeface="+mn-ea"/>
              <a:cs typeface="+mn-cs"/>
            </a:endParaRPr>
          </a:p>
        </p:txBody>
      </p:sp>
      <p:sp>
        <p:nvSpPr>
          <p:cNvPr id="161" name="Rectangle 160"/>
          <p:cNvSpPr/>
          <p:nvPr/>
        </p:nvSpPr>
        <p:spPr>
          <a:xfrm>
            <a:off x="3993087" y="2759356"/>
            <a:ext cx="1149353" cy="184666"/>
          </a:xfrm>
          <a:prstGeom prst="rect">
            <a:avLst/>
          </a:prstGeom>
          <a:noFill/>
          <a:ln w="3175" cap="rnd" cmpd="sng" algn="ctr">
            <a:noFill/>
            <a:prstDash val="solid"/>
          </a:ln>
          <a:effectLst/>
        </p:spPr>
        <p:txBody>
          <a:bodyPr wrap="square" lIns="0" tIns="0" rIns="0" bIns="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chemeClr val="tx2"/>
                </a:solidFill>
                <a:effectLst/>
                <a:uLnTx/>
                <a:uFillTx/>
                <a:latin typeface="+mj-lt"/>
                <a:ea typeface="+mn-ea"/>
                <a:cs typeface="+mn-cs"/>
              </a:rPr>
              <a:t>In-vehicle Wi-Fi</a:t>
            </a:r>
            <a:endParaRPr kumimoji="0" lang="en-US" sz="1200" b="0" i="0" u="none" strike="noStrike" kern="0" cap="none" spc="0" normalizeH="0" baseline="0" noProof="0" dirty="0">
              <a:ln>
                <a:noFill/>
              </a:ln>
              <a:solidFill>
                <a:schemeClr val="tx2"/>
              </a:solidFill>
              <a:effectLst/>
              <a:uLnTx/>
              <a:uFillTx/>
              <a:latin typeface="+mj-lt"/>
              <a:ea typeface="+mn-ea"/>
              <a:cs typeface="+mn-cs"/>
            </a:endParaRPr>
          </a:p>
        </p:txBody>
      </p:sp>
      <p:sp>
        <p:nvSpPr>
          <p:cNvPr id="163" name="Oval 162"/>
          <p:cNvSpPr/>
          <p:nvPr/>
        </p:nvSpPr>
        <p:spPr>
          <a:xfrm>
            <a:off x="3527160" y="3264692"/>
            <a:ext cx="175684" cy="17568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64" name="Oval 163"/>
          <p:cNvSpPr/>
          <p:nvPr/>
        </p:nvSpPr>
        <p:spPr>
          <a:xfrm>
            <a:off x="5455020" y="3264692"/>
            <a:ext cx="175684" cy="17568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66" name="Oval 165"/>
          <p:cNvSpPr/>
          <p:nvPr/>
        </p:nvSpPr>
        <p:spPr>
          <a:xfrm>
            <a:off x="5950955" y="4034312"/>
            <a:ext cx="175684" cy="17568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67" name="Oval 166"/>
          <p:cNvSpPr/>
          <p:nvPr/>
        </p:nvSpPr>
        <p:spPr>
          <a:xfrm>
            <a:off x="4484158" y="2944652"/>
            <a:ext cx="175684" cy="17568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7" name="Freeform 9"/>
          <p:cNvSpPr>
            <a:spLocks noEditPoints="1"/>
          </p:cNvSpPr>
          <p:nvPr/>
        </p:nvSpPr>
        <p:spPr bwMode="auto">
          <a:xfrm>
            <a:off x="3460645" y="3781425"/>
            <a:ext cx="2332038" cy="654050"/>
          </a:xfrm>
          <a:custGeom>
            <a:avLst/>
            <a:gdLst>
              <a:gd name="T0" fmla="*/ 1991 w 2758"/>
              <a:gd name="T1" fmla="*/ 287 h 772"/>
              <a:gd name="T2" fmla="*/ 1564 w 2758"/>
              <a:gd name="T3" fmla="*/ 60 h 772"/>
              <a:gd name="T4" fmla="*/ 739 w 2758"/>
              <a:gd name="T5" fmla="*/ 60 h 772"/>
              <a:gd name="T6" fmla="*/ 317 w 2758"/>
              <a:gd name="T7" fmla="*/ 227 h 772"/>
              <a:gd name="T8" fmla="*/ 58 w 2758"/>
              <a:gd name="T9" fmla="*/ 293 h 772"/>
              <a:gd name="T10" fmla="*/ 20 w 2758"/>
              <a:gd name="T11" fmla="*/ 500 h 772"/>
              <a:gd name="T12" fmla="*/ 65 w 2758"/>
              <a:gd name="T13" fmla="*/ 688 h 772"/>
              <a:gd name="T14" fmla="*/ 121 w 2758"/>
              <a:gd name="T15" fmla="*/ 698 h 772"/>
              <a:gd name="T16" fmla="*/ 129 w 2758"/>
              <a:gd name="T17" fmla="*/ 724 h 772"/>
              <a:gd name="T18" fmla="*/ 334 w 2758"/>
              <a:gd name="T19" fmla="*/ 733 h 772"/>
              <a:gd name="T20" fmla="*/ 333 w 2758"/>
              <a:gd name="T21" fmla="*/ 720 h 772"/>
              <a:gd name="T22" fmla="*/ 577 w 2758"/>
              <a:gd name="T23" fmla="*/ 477 h 772"/>
              <a:gd name="T24" fmla="*/ 820 w 2758"/>
              <a:gd name="T25" fmla="*/ 720 h 772"/>
              <a:gd name="T26" fmla="*/ 814 w 2758"/>
              <a:gd name="T27" fmla="*/ 772 h 772"/>
              <a:gd name="T28" fmla="*/ 1996 w 2758"/>
              <a:gd name="T29" fmla="*/ 772 h 772"/>
              <a:gd name="T30" fmla="*/ 1990 w 2758"/>
              <a:gd name="T31" fmla="*/ 720 h 772"/>
              <a:gd name="T32" fmla="*/ 2234 w 2758"/>
              <a:gd name="T33" fmla="*/ 477 h 772"/>
              <a:gd name="T34" fmla="*/ 2477 w 2758"/>
              <a:gd name="T35" fmla="*/ 720 h 772"/>
              <a:gd name="T36" fmla="*/ 2472 w 2758"/>
              <a:gd name="T37" fmla="*/ 772 h 772"/>
              <a:gd name="T38" fmla="*/ 2646 w 2758"/>
              <a:gd name="T39" fmla="*/ 772 h 772"/>
              <a:gd name="T40" fmla="*/ 2711 w 2758"/>
              <a:gd name="T41" fmla="*/ 737 h 772"/>
              <a:gd name="T42" fmla="*/ 2756 w 2758"/>
              <a:gd name="T43" fmla="*/ 545 h 772"/>
              <a:gd name="T44" fmla="*/ 2691 w 2758"/>
              <a:gd name="T45" fmla="*/ 451 h 772"/>
              <a:gd name="T46" fmla="*/ 1991 w 2758"/>
              <a:gd name="T47" fmla="*/ 287 h 772"/>
              <a:gd name="T48" fmla="*/ 1991 w 2758"/>
              <a:gd name="T49" fmla="*/ 287 h 772"/>
              <a:gd name="T50" fmla="*/ 1991 w 2758"/>
              <a:gd name="T51" fmla="*/ 287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58" h="772">
                <a:moveTo>
                  <a:pt x="1991" y="287"/>
                </a:moveTo>
                <a:cubicBezTo>
                  <a:pt x="1991" y="287"/>
                  <a:pt x="1788" y="119"/>
                  <a:pt x="1564" y="60"/>
                </a:cubicBezTo>
                <a:cubicBezTo>
                  <a:pt x="1340" y="0"/>
                  <a:pt x="836" y="39"/>
                  <a:pt x="739" y="60"/>
                </a:cubicBezTo>
                <a:cubicBezTo>
                  <a:pt x="642" y="80"/>
                  <a:pt x="317" y="227"/>
                  <a:pt x="317" y="227"/>
                </a:cubicBezTo>
                <a:cubicBezTo>
                  <a:pt x="317" y="227"/>
                  <a:pt x="22" y="181"/>
                  <a:pt x="58" y="293"/>
                </a:cubicBezTo>
                <a:cubicBezTo>
                  <a:pt x="93" y="405"/>
                  <a:pt x="41" y="377"/>
                  <a:pt x="20" y="500"/>
                </a:cubicBezTo>
                <a:cubicBezTo>
                  <a:pt x="0" y="623"/>
                  <a:pt x="65" y="688"/>
                  <a:pt x="65" y="688"/>
                </a:cubicBezTo>
                <a:cubicBezTo>
                  <a:pt x="121" y="698"/>
                  <a:pt x="121" y="698"/>
                  <a:pt x="121" y="698"/>
                </a:cubicBezTo>
                <a:cubicBezTo>
                  <a:pt x="129" y="724"/>
                  <a:pt x="129" y="724"/>
                  <a:pt x="129" y="724"/>
                </a:cubicBezTo>
                <a:cubicBezTo>
                  <a:pt x="209" y="724"/>
                  <a:pt x="277" y="728"/>
                  <a:pt x="334" y="733"/>
                </a:cubicBezTo>
                <a:cubicBezTo>
                  <a:pt x="334" y="728"/>
                  <a:pt x="333" y="724"/>
                  <a:pt x="333" y="720"/>
                </a:cubicBezTo>
                <a:cubicBezTo>
                  <a:pt x="333" y="586"/>
                  <a:pt x="442" y="477"/>
                  <a:pt x="577" y="477"/>
                </a:cubicBezTo>
                <a:cubicBezTo>
                  <a:pt x="711" y="477"/>
                  <a:pt x="820" y="586"/>
                  <a:pt x="820" y="720"/>
                </a:cubicBezTo>
                <a:cubicBezTo>
                  <a:pt x="820" y="738"/>
                  <a:pt x="818" y="755"/>
                  <a:pt x="814" y="772"/>
                </a:cubicBezTo>
                <a:cubicBezTo>
                  <a:pt x="1996" y="772"/>
                  <a:pt x="1996" y="772"/>
                  <a:pt x="1996" y="772"/>
                </a:cubicBezTo>
                <a:cubicBezTo>
                  <a:pt x="1992" y="756"/>
                  <a:pt x="1990" y="738"/>
                  <a:pt x="1990" y="720"/>
                </a:cubicBezTo>
                <a:cubicBezTo>
                  <a:pt x="1990" y="586"/>
                  <a:pt x="2099" y="477"/>
                  <a:pt x="2234" y="477"/>
                </a:cubicBezTo>
                <a:cubicBezTo>
                  <a:pt x="2368" y="477"/>
                  <a:pt x="2477" y="586"/>
                  <a:pt x="2477" y="720"/>
                </a:cubicBezTo>
                <a:cubicBezTo>
                  <a:pt x="2477" y="738"/>
                  <a:pt x="2475" y="755"/>
                  <a:pt x="2472" y="772"/>
                </a:cubicBezTo>
                <a:cubicBezTo>
                  <a:pt x="2646" y="772"/>
                  <a:pt x="2646" y="772"/>
                  <a:pt x="2646" y="772"/>
                </a:cubicBezTo>
                <a:cubicBezTo>
                  <a:pt x="2667" y="739"/>
                  <a:pt x="2711" y="737"/>
                  <a:pt x="2711" y="737"/>
                </a:cubicBezTo>
                <a:cubicBezTo>
                  <a:pt x="2758" y="703"/>
                  <a:pt x="2758" y="573"/>
                  <a:pt x="2756" y="545"/>
                </a:cubicBezTo>
                <a:cubicBezTo>
                  <a:pt x="2754" y="517"/>
                  <a:pt x="2691" y="451"/>
                  <a:pt x="2691" y="451"/>
                </a:cubicBezTo>
                <a:cubicBezTo>
                  <a:pt x="2526" y="347"/>
                  <a:pt x="1991" y="287"/>
                  <a:pt x="1991" y="287"/>
                </a:cubicBezTo>
                <a:close/>
                <a:moveTo>
                  <a:pt x="1991" y="287"/>
                </a:moveTo>
                <a:cubicBezTo>
                  <a:pt x="1991" y="287"/>
                  <a:pt x="1991" y="287"/>
                  <a:pt x="1991" y="287"/>
                </a:cubicBezTo>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9" name="Freeform 10"/>
          <p:cNvSpPr>
            <a:spLocks noEditPoints="1"/>
          </p:cNvSpPr>
          <p:nvPr/>
        </p:nvSpPr>
        <p:spPr bwMode="auto">
          <a:xfrm>
            <a:off x="3779733" y="4222750"/>
            <a:ext cx="336550" cy="338138"/>
          </a:xfrm>
          <a:custGeom>
            <a:avLst/>
            <a:gdLst>
              <a:gd name="T0" fmla="*/ 199 w 397"/>
              <a:gd name="T1" fmla="*/ 0 h 398"/>
              <a:gd name="T2" fmla="*/ 0 w 397"/>
              <a:gd name="T3" fmla="*/ 199 h 398"/>
              <a:gd name="T4" fmla="*/ 1 w 397"/>
              <a:gd name="T5" fmla="*/ 216 h 398"/>
              <a:gd name="T6" fmla="*/ 199 w 397"/>
              <a:gd name="T7" fmla="*/ 398 h 398"/>
              <a:gd name="T8" fmla="*/ 389 w 397"/>
              <a:gd name="T9" fmla="*/ 251 h 398"/>
              <a:gd name="T10" fmla="*/ 397 w 397"/>
              <a:gd name="T11" fmla="*/ 199 h 398"/>
              <a:gd name="T12" fmla="*/ 199 w 397"/>
              <a:gd name="T13" fmla="*/ 0 h 398"/>
              <a:gd name="T14" fmla="*/ 199 w 397"/>
              <a:gd name="T15" fmla="*/ 0 h 398"/>
              <a:gd name="T16" fmla="*/ 199 w 397"/>
              <a:gd name="T17"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8">
                <a:moveTo>
                  <a:pt x="199" y="0"/>
                </a:moveTo>
                <a:cubicBezTo>
                  <a:pt x="89" y="0"/>
                  <a:pt x="0" y="89"/>
                  <a:pt x="0" y="199"/>
                </a:cubicBezTo>
                <a:cubicBezTo>
                  <a:pt x="0" y="205"/>
                  <a:pt x="1" y="211"/>
                  <a:pt x="1" y="216"/>
                </a:cubicBezTo>
                <a:cubicBezTo>
                  <a:pt x="11" y="318"/>
                  <a:pt x="95" y="398"/>
                  <a:pt x="199" y="398"/>
                </a:cubicBezTo>
                <a:cubicBezTo>
                  <a:pt x="290" y="398"/>
                  <a:pt x="366" y="336"/>
                  <a:pt x="389" y="251"/>
                </a:cubicBezTo>
                <a:cubicBezTo>
                  <a:pt x="394" y="235"/>
                  <a:pt x="397" y="217"/>
                  <a:pt x="397" y="199"/>
                </a:cubicBezTo>
                <a:cubicBezTo>
                  <a:pt x="397" y="89"/>
                  <a:pt x="308" y="0"/>
                  <a:pt x="199" y="0"/>
                </a:cubicBezTo>
                <a:close/>
                <a:moveTo>
                  <a:pt x="199" y="0"/>
                </a:moveTo>
                <a:cubicBezTo>
                  <a:pt x="199" y="0"/>
                  <a:pt x="199" y="0"/>
                  <a:pt x="199"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Freeform 11"/>
          <p:cNvSpPr>
            <a:spLocks noEditPoints="1"/>
          </p:cNvSpPr>
          <p:nvPr/>
        </p:nvSpPr>
        <p:spPr bwMode="auto">
          <a:xfrm>
            <a:off x="5181495" y="4222750"/>
            <a:ext cx="334963" cy="338138"/>
          </a:xfrm>
          <a:custGeom>
            <a:avLst/>
            <a:gdLst>
              <a:gd name="T0" fmla="*/ 199 w 397"/>
              <a:gd name="T1" fmla="*/ 0 h 398"/>
              <a:gd name="T2" fmla="*/ 0 w 397"/>
              <a:gd name="T3" fmla="*/ 199 h 398"/>
              <a:gd name="T4" fmla="*/ 8 w 397"/>
              <a:gd name="T5" fmla="*/ 251 h 398"/>
              <a:gd name="T6" fmla="*/ 199 w 397"/>
              <a:gd name="T7" fmla="*/ 398 h 398"/>
              <a:gd name="T8" fmla="*/ 390 w 397"/>
              <a:gd name="T9" fmla="*/ 251 h 398"/>
              <a:gd name="T10" fmla="*/ 397 w 397"/>
              <a:gd name="T11" fmla="*/ 199 h 398"/>
              <a:gd name="T12" fmla="*/ 199 w 397"/>
              <a:gd name="T13" fmla="*/ 0 h 398"/>
              <a:gd name="T14" fmla="*/ 199 w 397"/>
              <a:gd name="T15" fmla="*/ 0 h 398"/>
              <a:gd name="T16" fmla="*/ 199 w 397"/>
              <a:gd name="T17"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8">
                <a:moveTo>
                  <a:pt x="199" y="0"/>
                </a:moveTo>
                <a:cubicBezTo>
                  <a:pt x="89" y="0"/>
                  <a:pt x="0" y="89"/>
                  <a:pt x="0" y="199"/>
                </a:cubicBezTo>
                <a:cubicBezTo>
                  <a:pt x="0" y="217"/>
                  <a:pt x="3" y="235"/>
                  <a:pt x="8" y="251"/>
                </a:cubicBezTo>
                <a:cubicBezTo>
                  <a:pt x="31" y="336"/>
                  <a:pt x="107" y="398"/>
                  <a:pt x="199" y="398"/>
                </a:cubicBezTo>
                <a:cubicBezTo>
                  <a:pt x="290" y="398"/>
                  <a:pt x="366" y="336"/>
                  <a:pt x="390" y="251"/>
                </a:cubicBezTo>
                <a:cubicBezTo>
                  <a:pt x="394" y="235"/>
                  <a:pt x="397" y="217"/>
                  <a:pt x="397" y="199"/>
                </a:cubicBezTo>
                <a:cubicBezTo>
                  <a:pt x="397" y="89"/>
                  <a:pt x="308" y="0"/>
                  <a:pt x="199" y="0"/>
                </a:cubicBezTo>
                <a:close/>
                <a:moveTo>
                  <a:pt x="199" y="0"/>
                </a:moveTo>
                <a:cubicBezTo>
                  <a:pt x="199" y="0"/>
                  <a:pt x="199" y="0"/>
                  <a:pt x="199" y="0"/>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62" name="Rectangle 161"/>
          <p:cNvSpPr/>
          <p:nvPr/>
        </p:nvSpPr>
        <p:spPr>
          <a:xfrm>
            <a:off x="1740317" y="4012583"/>
            <a:ext cx="1269578" cy="184666"/>
          </a:xfrm>
          <a:prstGeom prst="rect">
            <a:avLst/>
          </a:prstGeom>
          <a:noFill/>
          <a:ln w="3175" cap="rnd" cmpd="sng" algn="ctr">
            <a:noFill/>
            <a:prstDash val="solid"/>
          </a:ln>
          <a:effectLst/>
        </p:spPr>
        <p:txBody>
          <a:bodyPr wrap="square" lIns="0" tIns="0" rIns="0" bIns="0" rtlCol="0" anchor="t" anchorCtr="0">
            <a:spAutoFit/>
          </a:bodyPr>
          <a:lstStyle/>
          <a:p>
            <a:pPr lvl="0" algn="ctr">
              <a:defRPr/>
            </a:pPr>
            <a:r>
              <a:rPr lang="en-US" sz="1200" kern="0" dirty="0">
                <a:solidFill>
                  <a:schemeClr val="tx2"/>
                </a:solidFill>
                <a:latin typeface="+mj-lt"/>
              </a:rPr>
              <a:t>Shared </a:t>
            </a:r>
            <a:r>
              <a:rPr lang="en-US" sz="1200" kern="0" dirty="0" smtClean="0">
                <a:solidFill>
                  <a:schemeClr val="tx2"/>
                </a:solidFill>
                <a:latin typeface="+mj-lt"/>
              </a:rPr>
              <a:t>Ownership</a:t>
            </a:r>
            <a:endParaRPr lang="en-US" sz="1200" kern="0" dirty="0">
              <a:solidFill>
                <a:schemeClr val="tx2"/>
              </a:solidFill>
              <a:latin typeface="+mj-lt"/>
            </a:endParaRPr>
          </a:p>
        </p:txBody>
      </p:sp>
      <p:sp>
        <p:nvSpPr>
          <p:cNvPr id="165" name="Oval 164"/>
          <p:cNvSpPr/>
          <p:nvPr/>
        </p:nvSpPr>
        <p:spPr>
          <a:xfrm>
            <a:off x="3029955" y="4034312"/>
            <a:ext cx="175684" cy="17568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1" name="Group 4"/>
          <p:cNvGrpSpPr/>
          <p:nvPr/>
        </p:nvGrpSpPr>
        <p:grpSpPr>
          <a:xfrm>
            <a:off x="953643" y="2495223"/>
            <a:ext cx="3465956" cy="1190950"/>
            <a:chOff x="953643" y="2495223"/>
            <a:chExt cx="3465956" cy="1190950"/>
          </a:xfrm>
        </p:grpSpPr>
        <p:sp>
          <p:nvSpPr>
            <p:cNvPr id="23" name="Freeform 7"/>
            <p:cNvSpPr>
              <a:spLocks noEditPoints="1"/>
            </p:cNvSpPr>
            <p:nvPr/>
          </p:nvSpPr>
          <p:spPr bwMode="auto">
            <a:xfrm>
              <a:off x="2066009" y="2495223"/>
              <a:ext cx="263806" cy="262114"/>
            </a:xfrm>
            <a:custGeom>
              <a:avLst/>
              <a:gdLst>
                <a:gd name="T0" fmla="*/ 33 w 66"/>
                <a:gd name="T1" fmla="*/ 66 h 66"/>
                <a:gd name="T2" fmla="*/ 0 w 66"/>
                <a:gd name="T3" fmla="*/ 33 h 66"/>
                <a:gd name="T4" fmla="*/ 33 w 66"/>
                <a:gd name="T5" fmla="*/ 0 h 66"/>
                <a:gd name="T6" fmla="*/ 66 w 66"/>
                <a:gd name="T7" fmla="*/ 33 h 66"/>
                <a:gd name="T8" fmla="*/ 33 w 66"/>
                <a:gd name="T9" fmla="*/ 66 h 66"/>
                <a:gd name="T10" fmla="*/ 33 w 66"/>
                <a:gd name="T11" fmla="*/ 12 h 66"/>
                <a:gd name="T12" fmla="*/ 12 w 66"/>
                <a:gd name="T13" fmla="*/ 33 h 66"/>
                <a:gd name="T14" fmla="*/ 33 w 66"/>
                <a:gd name="T15" fmla="*/ 54 h 66"/>
                <a:gd name="T16" fmla="*/ 54 w 66"/>
                <a:gd name="T17" fmla="*/ 33 h 66"/>
                <a:gd name="T18" fmla="*/ 33 w 66"/>
                <a:gd name="T19"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33" y="66"/>
                  </a:moveTo>
                  <a:cubicBezTo>
                    <a:pt x="15" y="66"/>
                    <a:pt x="0" y="51"/>
                    <a:pt x="0" y="33"/>
                  </a:cubicBezTo>
                  <a:cubicBezTo>
                    <a:pt x="0" y="15"/>
                    <a:pt x="15" y="0"/>
                    <a:pt x="33" y="0"/>
                  </a:cubicBezTo>
                  <a:cubicBezTo>
                    <a:pt x="51" y="0"/>
                    <a:pt x="66" y="15"/>
                    <a:pt x="66" y="33"/>
                  </a:cubicBezTo>
                  <a:cubicBezTo>
                    <a:pt x="66" y="51"/>
                    <a:pt x="51" y="66"/>
                    <a:pt x="33" y="66"/>
                  </a:cubicBezTo>
                  <a:close/>
                  <a:moveTo>
                    <a:pt x="33" y="12"/>
                  </a:moveTo>
                  <a:cubicBezTo>
                    <a:pt x="22" y="12"/>
                    <a:pt x="12" y="21"/>
                    <a:pt x="12" y="33"/>
                  </a:cubicBezTo>
                  <a:cubicBezTo>
                    <a:pt x="12" y="44"/>
                    <a:pt x="22" y="54"/>
                    <a:pt x="33" y="54"/>
                  </a:cubicBezTo>
                  <a:cubicBezTo>
                    <a:pt x="45" y="54"/>
                    <a:pt x="54" y="44"/>
                    <a:pt x="54" y="33"/>
                  </a:cubicBezTo>
                  <a:cubicBezTo>
                    <a:pt x="54" y="21"/>
                    <a:pt x="45" y="12"/>
                    <a:pt x="33"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 name="Isosceles Triangle 2"/>
            <p:cNvSpPr/>
            <p:nvPr/>
          </p:nvSpPr>
          <p:spPr>
            <a:xfrm rot="10800000">
              <a:off x="953643" y="3152775"/>
              <a:ext cx="3465956" cy="533398"/>
            </a:xfrm>
            <a:prstGeom prst="triangle">
              <a:avLst/>
            </a:prstGeom>
            <a:gradFill flip="none" rotWithShape="1">
              <a:gsLst>
                <a:gs pos="100000">
                  <a:schemeClr val="bg1">
                    <a:alpha val="0"/>
                  </a:schemeClr>
                </a:gs>
                <a:gs pos="25000">
                  <a:schemeClr val="tx1">
                    <a:alpha val="18000"/>
                  </a:schemeClr>
                </a:gs>
              </a:gsLst>
              <a:lin ang="5400000" scaled="1"/>
              <a:tileRect/>
            </a:gradFill>
            <a:ln>
              <a:noFill/>
            </a:ln>
          </p:spPr>
          <p:txBody>
            <a:bodyPr vert="horz" wrap="square" lIns="91440" tIns="45720" rIns="91440" bIns="45720" numCol="1" anchor="t" anchorCtr="0" compatLnSpc="1">
              <a:prstTxWarp prst="textNoShape">
                <a:avLst/>
              </a:prstTxWarp>
            </a:bodyPr>
            <a:lstStyle/>
            <a:p>
              <a:endParaRPr lang="en-US" dirty="0">
                <a:solidFill>
                  <a:schemeClr val="tx1"/>
                </a:solidFill>
                <a:latin typeface="+mj-lt"/>
                <a:ea typeface="ＭＳ Ｐゴシック" pitchFamily="34" charset="-128"/>
              </a:endParaRPr>
            </a:p>
          </p:txBody>
        </p:sp>
      </p:grpSp>
      <p:sp>
        <p:nvSpPr>
          <p:cNvPr id="112" name="Rectangle 111"/>
          <p:cNvSpPr/>
          <p:nvPr/>
        </p:nvSpPr>
        <p:spPr>
          <a:xfrm>
            <a:off x="273050" y="1593850"/>
            <a:ext cx="1965325" cy="307777"/>
          </a:xfrm>
          <a:prstGeom prst="rect">
            <a:avLst/>
          </a:prstGeom>
          <a:solidFill>
            <a:schemeClr val="accent1"/>
          </a:solidFill>
        </p:spPr>
        <p:txBody>
          <a:bodyPr wrap="square">
            <a:spAutoFit/>
          </a:bodyPr>
          <a:lstStyle/>
          <a:p>
            <a:pPr algn="ctr"/>
            <a:r>
              <a:rPr lang="en-US" sz="1400" dirty="0" smtClean="0">
                <a:solidFill>
                  <a:schemeClr val="bg1"/>
                </a:solidFill>
                <a:latin typeface="+mj-lt"/>
              </a:rPr>
              <a:t>From Selling Cars</a:t>
            </a:r>
            <a:endParaRPr lang="en-US" sz="1400" dirty="0">
              <a:solidFill>
                <a:schemeClr val="bg1"/>
              </a:solidFill>
              <a:latin typeface="+mj-lt"/>
            </a:endParaRPr>
          </a:p>
        </p:txBody>
      </p:sp>
      <p:sp>
        <p:nvSpPr>
          <p:cNvPr id="113" name="TextBox 112"/>
          <p:cNvSpPr txBox="1"/>
          <p:nvPr/>
        </p:nvSpPr>
        <p:spPr>
          <a:xfrm>
            <a:off x="747888" y="1948209"/>
            <a:ext cx="1326004" cy="461665"/>
          </a:xfrm>
          <a:prstGeom prst="rect">
            <a:avLst/>
          </a:prstGeom>
          <a:noFill/>
        </p:spPr>
        <p:txBody>
          <a:bodyPr wrap="none" rtlCol="0" anchor="ctr" anchorCtr="0">
            <a:spAutoFit/>
          </a:bodyPr>
          <a:lstStyle/>
          <a:p>
            <a:r>
              <a:rPr lang="en-US" sz="1200" dirty="0" smtClean="0">
                <a:solidFill>
                  <a:schemeClr val="accent1"/>
                </a:solidFill>
                <a:latin typeface="+mj-lt"/>
              </a:rPr>
              <a:t>Single</a:t>
            </a:r>
            <a:br>
              <a:rPr lang="en-US" sz="1200" dirty="0" smtClean="0">
                <a:solidFill>
                  <a:schemeClr val="accent1"/>
                </a:solidFill>
                <a:latin typeface="+mj-lt"/>
              </a:rPr>
            </a:br>
            <a:r>
              <a:rPr lang="en-US" sz="1200" dirty="0" smtClean="0">
                <a:solidFill>
                  <a:schemeClr val="accent1"/>
                </a:solidFill>
                <a:latin typeface="+mj-lt"/>
              </a:rPr>
              <a:t>Revenue</a:t>
            </a:r>
            <a:r>
              <a:rPr lang="en-US" sz="1200" dirty="0">
                <a:solidFill>
                  <a:schemeClr val="accent1"/>
                </a:solidFill>
                <a:latin typeface="+mj-lt"/>
              </a:rPr>
              <a:t> </a:t>
            </a:r>
            <a:r>
              <a:rPr lang="en-US" sz="1200" dirty="0" smtClean="0">
                <a:solidFill>
                  <a:schemeClr val="accent1"/>
                </a:solidFill>
                <a:latin typeface="+mj-lt"/>
              </a:rPr>
              <a:t>Source</a:t>
            </a:r>
            <a:endParaRPr lang="en-US" sz="1200" dirty="0">
              <a:solidFill>
                <a:schemeClr val="accent1"/>
              </a:solidFill>
              <a:latin typeface="+mj-lt"/>
            </a:endParaRPr>
          </a:p>
        </p:txBody>
      </p:sp>
      <p:sp>
        <p:nvSpPr>
          <p:cNvPr id="114" name="TextBox 113"/>
          <p:cNvSpPr txBox="1"/>
          <p:nvPr/>
        </p:nvSpPr>
        <p:spPr>
          <a:xfrm>
            <a:off x="747888" y="2589796"/>
            <a:ext cx="1466171" cy="461665"/>
          </a:xfrm>
          <a:prstGeom prst="rect">
            <a:avLst/>
          </a:prstGeom>
          <a:noFill/>
        </p:spPr>
        <p:txBody>
          <a:bodyPr wrap="none" rtlCol="0" anchor="ctr" anchorCtr="0">
            <a:spAutoFit/>
          </a:bodyPr>
          <a:lstStyle/>
          <a:p>
            <a:r>
              <a:rPr lang="en-US" sz="1200" dirty="0" smtClean="0">
                <a:solidFill>
                  <a:schemeClr val="accent1"/>
                </a:solidFill>
                <a:latin typeface="+mj-lt"/>
              </a:rPr>
              <a:t>Transaction-Based</a:t>
            </a:r>
            <a:br>
              <a:rPr lang="en-US" sz="1200" dirty="0" smtClean="0">
                <a:solidFill>
                  <a:schemeClr val="accent1"/>
                </a:solidFill>
                <a:latin typeface="+mj-lt"/>
              </a:rPr>
            </a:br>
            <a:r>
              <a:rPr lang="en-US" sz="1200" dirty="0" smtClean="0">
                <a:solidFill>
                  <a:schemeClr val="accent1"/>
                </a:solidFill>
                <a:latin typeface="+mj-lt"/>
              </a:rPr>
              <a:t>Engagement</a:t>
            </a:r>
            <a:endParaRPr lang="en-US" sz="1200" dirty="0">
              <a:solidFill>
                <a:schemeClr val="accent1"/>
              </a:solidFill>
              <a:latin typeface="+mj-lt"/>
            </a:endParaRPr>
          </a:p>
        </p:txBody>
      </p:sp>
      <p:sp>
        <p:nvSpPr>
          <p:cNvPr id="115" name="TextBox 114"/>
          <p:cNvSpPr txBox="1"/>
          <p:nvPr/>
        </p:nvSpPr>
        <p:spPr>
          <a:xfrm>
            <a:off x="747888" y="3276675"/>
            <a:ext cx="1250663" cy="276999"/>
          </a:xfrm>
          <a:prstGeom prst="rect">
            <a:avLst/>
          </a:prstGeom>
          <a:noFill/>
        </p:spPr>
        <p:txBody>
          <a:bodyPr wrap="none" rtlCol="0" anchor="ctr" anchorCtr="0">
            <a:spAutoFit/>
          </a:bodyPr>
          <a:lstStyle/>
          <a:p>
            <a:r>
              <a:rPr lang="en-US" sz="1200" dirty="0" smtClean="0">
                <a:solidFill>
                  <a:schemeClr val="accent1"/>
                </a:solidFill>
                <a:latin typeface="+mj-lt"/>
              </a:rPr>
              <a:t>Product-Centric</a:t>
            </a:r>
            <a:endParaRPr lang="en-US" sz="1200" dirty="0">
              <a:solidFill>
                <a:schemeClr val="accent1"/>
              </a:solidFill>
              <a:latin typeface="+mj-lt"/>
            </a:endParaRPr>
          </a:p>
        </p:txBody>
      </p:sp>
      <p:grpSp>
        <p:nvGrpSpPr>
          <p:cNvPr id="13" name="Group 115"/>
          <p:cNvGrpSpPr/>
          <p:nvPr/>
        </p:nvGrpSpPr>
        <p:grpSpPr>
          <a:xfrm>
            <a:off x="409609" y="2050648"/>
            <a:ext cx="297246" cy="259029"/>
            <a:chOff x="467935" y="1585353"/>
            <a:chExt cx="297246" cy="259029"/>
          </a:xfrm>
          <a:solidFill>
            <a:schemeClr val="accent1"/>
          </a:solidFill>
        </p:grpSpPr>
        <p:sp>
          <p:nvSpPr>
            <p:cNvPr id="117" name="Freeform 13"/>
            <p:cNvSpPr>
              <a:spLocks noEditPoints="1"/>
            </p:cNvSpPr>
            <p:nvPr/>
          </p:nvSpPr>
          <p:spPr bwMode="auto">
            <a:xfrm>
              <a:off x="631420" y="1585353"/>
              <a:ext cx="133761" cy="70065"/>
            </a:xfrm>
            <a:custGeom>
              <a:avLst/>
              <a:gdLst>
                <a:gd name="T0" fmla="*/ 40 w 80"/>
                <a:gd name="T1" fmla="*/ 42 h 42"/>
                <a:gd name="T2" fmla="*/ 80 w 80"/>
                <a:gd name="T3" fmla="*/ 21 h 42"/>
                <a:gd name="T4" fmla="*/ 40 w 80"/>
                <a:gd name="T5" fmla="*/ 0 h 42"/>
                <a:gd name="T6" fmla="*/ 0 w 80"/>
                <a:gd name="T7" fmla="*/ 21 h 42"/>
                <a:gd name="T8" fmla="*/ 40 w 80"/>
                <a:gd name="T9" fmla="*/ 42 h 42"/>
                <a:gd name="T10" fmla="*/ 40 w 80"/>
                <a:gd name="T11" fmla="*/ 9 h 42"/>
                <a:gd name="T12" fmla="*/ 71 w 80"/>
                <a:gd name="T13" fmla="*/ 21 h 42"/>
                <a:gd name="T14" fmla="*/ 40 w 80"/>
                <a:gd name="T15" fmla="*/ 33 h 42"/>
                <a:gd name="T16" fmla="*/ 9 w 80"/>
                <a:gd name="T17" fmla="*/ 21 h 42"/>
                <a:gd name="T18" fmla="*/ 40 w 80"/>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42">
                  <a:moveTo>
                    <a:pt x="40" y="42"/>
                  </a:moveTo>
                  <a:cubicBezTo>
                    <a:pt x="63" y="42"/>
                    <a:pt x="80" y="33"/>
                    <a:pt x="80" y="21"/>
                  </a:cubicBezTo>
                  <a:cubicBezTo>
                    <a:pt x="80" y="9"/>
                    <a:pt x="63" y="0"/>
                    <a:pt x="40" y="0"/>
                  </a:cubicBezTo>
                  <a:cubicBezTo>
                    <a:pt x="17" y="0"/>
                    <a:pt x="0" y="9"/>
                    <a:pt x="0" y="21"/>
                  </a:cubicBezTo>
                  <a:cubicBezTo>
                    <a:pt x="0" y="33"/>
                    <a:pt x="17" y="42"/>
                    <a:pt x="40" y="42"/>
                  </a:cubicBezTo>
                  <a:moveTo>
                    <a:pt x="40" y="9"/>
                  </a:moveTo>
                  <a:cubicBezTo>
                    <a:pt x="59" y="9"/>
                    <a:pt x="71" y="16"/>
                    <a:pt x="71" y="21"/>
                  </a:cubicBezTo>
                  <a:cubicBezTo>
                    <a:pt x="71" y="26"/>
                    <a:pt x="59" y="33"/>
                    <a:pt x="40" y="33"/>
                  </a:cubicBezTo>
                  <a:cubicBezTo>
                    <a:pt x="21" y="33"/>
                    <a:pt x="9" y="26"/>
                    <a:pt x="9" y="21"/>
                  </a:cubicBezTo>
                  <a:cubicBezTo>
                    <a:pt x="9" y="16"/>
                    <a:pt x="21" y="9"/>
                    <a:pt x="40"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8" name="Freeform 14"/>
            <p:cNvSpPr>
              <a:spLocks/>
            </p:cNvSpPr>
            <p:nvPr/>
          </p:nvSpPr>
          <p:spPr bwMode="auto">
            <a:xfrm>
              <a:off x="631420" y="1653295"/>
              <a:ext cx="133761" cy="38925"/>
            </a:xfrm>
            <a:custGeom>
              <a:avLst/>
              <a:gdLst>
                <a:gd name="T0" fmla="*/ 77 w 80"/>
                <a:gd name="T1" fmla="*/ 1 h 23"/>
                <a:gd name="T2" fmla="*/ 71 w 80"/>
                <a:gd name="T3" fmla="*/ 4 h 23"/>
                <a:gd name="T4" fmla="*/ 40 w 80"/>
                <a:gd name="T5" fmla="*/ 14 h 23"/>
                <a:gd name="T6" fmla="*/ 9 w 80"/>
                <a:gd name="T7" fmla="*/ 4 h 23"/>
                <a:gd name="T8" fmla="*/ 3 w 80"/>
                <a:gd name="T9" fmla="*/ 2 h 23"/>
                <a:gd name="T10" fmla="*/ 1 w 80"/>
                <a:gd name="T11" fmla="*/ 8 h 23"/>
                <a:gd name="T12" fmla="*/ 40 w 80"/>
                <a:gd name="T13" fmla="*/ 23 h 23"/>
                <a:gd name="T14" fmla="*/ 65 w 80"/>
                <a:gd name="T15" fmla="*/ 19 h 23"/>
                <a:gd name="T16" fmla="*/ 79 w 80"/>
                <a:gd name="T17" fmla="*/ 7 h 23"/>
                <a:gd name="T18" fmla="*/ 77 w 80"/>
                <a:gd name="T1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3">
                  <a:moveTo>
                    <a:pt x="77" y="1"/>
                  </a:moveTo>
                  <a:cubicBezTo>
                    <a:pt x="74" y="0"/>
                    <a:pt x="72" y="1"/>
                    <a:pt x="71" y="4"/>
                  </a:cubicBezTo>
                  <a:cubicBezTo>
                    <a:pt x="69" y="9"/>
                    <a:pt x="57" y="14"/>
                    <a:pt x="40" y="14"/>
                  </a:cubicBezTo>
                  <a:cubicBezTo>
                    <a:pt x="24" y="14"/>
                    <a:pt x="11" y="9"/>
                    <a:pt x="9" y="4"/>
                  </a:cubicBezTo>
                  <a:cubicBezTo>
                    <a:pt x="8" y="2"/>
                    <a:pt x="5" y="1"/>
                    <a:pt x="3" y="2"/>
                  </a:cubicBezTo>
                  <a:cubicBezTo>
                    <a:pt x="1" y="3"/>
                    <a:pt x="0" y="6"/>
                    <a:pt x="1" y="8"/>
                  </a:cubicBezTo>
                  <a:cubicBezTo>
                    <a:pt x="5" y="17"/>
                    <a:pt x="21" y="23"/>
                    <a:pt x="40" y="23"/>
                  </a:cubicBezTo>
                  <a:cubicBezTo>
                    <a:pt x="49" y="23"/>
                    <a:pt x="58" y="22"/>
                    <a:pt x="65" y="19"/>
                  </a:cubicBezTo>
                  <a:cubicBezTo>
                    <a:pt x="72" y="16"/>
                    <a:pt x="78" y="12"/>
                    <a:pt x="79" y="7"/>
                  </a:cubicBezTo>
                  <a:cubicBezTo>
                    <a:pt x="80" y="4"/>
                    <a:pt x="79" y="2"/>
                    <a:pt x="77"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9" name="Freeform 15"/>
            <p:cNvSpPr>
              <a:spLocks/>
            </p:cNvSpPr>
            <p:nvPr/>
          </p:nvSpPr>
          <p:spPr bwMode="auto">
            <a:xfrm>
              <a:off x="631420" y="1692221"/>
              <a:ext cx="133761" cy="38217"/>
            </a:xfrm>
            <a:custGeom>
              <a:avLst/>
              <a:gdLst>
                <a:gd name="T0" fmla="*/ 77 w 80"/>
                <a:gd name="T1" fmla="*/ 1 h 23"/>
                <a:gd name="T2" fmla="*/ 71 w 80"/>
                <a:gd name="T3" fmla="*/ 3 h 23"/>
                <a:gd name="T4" fmla="*/ 40 w 80"/>
                <a:gd name="T5" fmla="*/ 14 h 23"/>
                <a:gd name="T6" fmla="*/ 9 w 80"/>
                <a:gd name="T7" fmla="*/ 4 h 23"/>
                <a:gd name="T8" fmla="*/ 3 w 80"/>
                <a:gd name="T9" fmla="*/ 2 h 23"/>
                <a:gd name="T10" fmla="*/ 1 w 80"/>
                <a:gd name="T11" fmla="*/ 7 h 23"/>
                <a:gd name="T12" fmla="*/ 40 w 80"/>
                <a:gd name="T13" fmla="*/ 23 h 23"/>
                <a:gd name="T14" fmla="*/ 65 w 80"/>
                <a:gd name="T15" fmla="*/ 19 h 23"/>
                <a:gd name="T16" fmla="*/ 79 w 80"/>
                <a:gd name="T17" fmla="*/ 6 h 23"/>
                <a:gd name="T18" fmla="*/ 77 w 80"/>
                <a:gd name="T1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3">
                  <a:moveTo>
                    <a:pt x="77" y="1"/>
                  </a:moveTo>
                  <a:cubicBezTo>
                    <a:pt x="74" y="0"/>
                    <a:pt x="72" y="1"/>
                    <a:pt x="71" y="3"/>
                  </a:cubicBezTo>
                  <a:cubicBezTo>
                    <a:pt x="69" y="8"/>
                    <a:pt x="57" y="14"/>
                    <a:pt x="40" y="14"/>
                  </a:cubicBezTo>
                  <a:cubicBezTo>
                    <a:pt x="24" y="14"/>
                    <a:pt x="11" y="9"/>
                    <a:pt x="9" y="4"/>
                  </a:cubicBezTo>
                  <a:cubicBezTo>
                    <a:pt x="8" y="1"/>
                    <a:pt x="5" y="0"/>
                    <a:pt x="3" y="2"/>
                  </a:cubicBezTo>
                  <a:cubicBezTo>
                    <a:pt x="1" y="3"/>
                    <a:pt x="0" y="5"/>
                    <a:pt x="1" y="7"/>
                  </a:cubicBezTo>
                  <a:cubicBezTo>
                    <a:pt x="5" y="17"/>
                    <a:pt x="21" y="23"/>
                    <a:pt x="40" y="23"/>
                  </a:cubicBezTo>
                  <a:cubicBezTo>
                    <a:pt x="49" y="23"/>
                    <a:pt x="58" y="21"/>
                    <a:pt x="65" y="19"/>
                  </a:cubicBezTo>
                  <a:cubicBezTo>
                    <a:pt x="72" y="16"/>
                    <a:pt x="78" y="11"/>
                    <a:pt x="79" y="6"/>
                  </a:cubicBezTo>
                  <a:cubicBezTo>
                    <a:pt x="80" y="4"/>
                    <a:pt x="79" y="2"/>
                    <a:pt x="77"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0" name="Freeform 16"/>
            <p:cNvSpPr>
              <a:spLocks/>
            </p:cNvSpPr>
            <p:nvPr/>
          </p:nvSpPr>
          <p:spPr bwMode="auto">
            <a:xfrm>
              <a:off x="631420" y="1729023"/>
              <a:ext cx="133761" cy="38217"/>
            </a:xfrm>
            <a:custGeom>
              <a:avLst/>
              <a:gdLst>
                <a:gd name="T0" fmla="*/ 77 w 80"/>
                <a:gd name="T1" fmla="*/ 1 h 23"/>
                <a:gd name="T2" fmla="*/ 71 w 80"/>
                <a:gd name="T3" fmla="*/ 4 h 23"/>
                <a:gd name="T4" fmla="*/ 40 w 80"/>
                <a:gd name="T5" fmla="*/ 15 h 23"/>
                <a:gd name="T6" fmla="*/ 9 w 80"/>
                <a:gd name="T7" fmla="*/ 4 h 23"/>
                <a:gd name="T8" fmla="*/ 3 w 80"/>
                <a:gd name="T9" fmla="*/ 2 h 23"/>
                <a:gd name="T10" fmla="*/ 1 w 80"/>
                <a:gd name="T11" fmla="*/ 8 h 23"/>
                <a:gd name="T12" fmla="*/ 40 w 80"/>
                <a:gd name="T13" fmla="*/ 23 h 23"/>
                <a:gd name="T14" fmla="*/ 65 w 80"/>
                <a:gd name="T15" fmla="*/ 19 h 23"/>
                <a:gd name="T16" fmla="*/ 79 w 80"/>
                <a:gd name="T17" fmla="*/ 7 h 23"/>
                <a:gd name="T18" fmla="*/ 77 w 80"/>
                <a:gd name="T1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3">
                  <a:moveTo>
                    <a:pt x="77" y="1"/>
                  </a:moveTo>
                  <a:cubicBezTo>
                    <a:pt x="74" y="0"/>
                    <a:pt x="72" y="2"/>
                    <a:pt x="71" y="4"/>
                  </a:cubicBezTo>
                  <a:cubicBezTo>
                    <a:pt x="69" y="9"/>
                    <a:pt x="57" y="15"/>
                    <a:pt x="40" y="15"/>
                  </a:cubicBezTo>
                  <a:cubicBezTo>
                    <a:pt x="24" y="15"/>
                    <a:pt x="11" y="9"/>
                    <a:pt x="9" y="4"/>
                  </a:cubicBezTo>
                  <a:cubicBezTo>
                    <a:pt x="8" y="2"/>
                    <a:pt x="5" y="1"/>
                    <a:pt x="3" y="2"/>
                  </a:cubicBezTo>
                  <a:cubicBezTo>
                    <a:pt x="1" y="3"/>
                    <a:pt x="0" y="6"/>
                    <a:pt x="1" y="8"/>
                  </a:cubicBezTo>
                  <a:cubicBezTo>
                    <a:pt x="5" y="17"/>
                    <a:pt x="21" y="23"/>
                    <a:pt x="40" y="23"/>
                  </a:cubicBezTo>
                  <a:cubicBezTo>
                    <a:pt x="49" y="23"/>
                    <a:pt x="58" y="22"/>
                    <a:pt x="65" y="19"/>
                  </a:cubicBezTo>
                  <a:cubicBezTo>
                    <a:pt x="72" y="16"/>
                    <a:pt x="78" y="12"/>
                    <a:pt x="79" y="7"/>
                  </a:cubicBezTo>
                  <a:cubicBezTo>
                    <a:pt x="80" y="5"/>
                    <a:pt x="79" y="2"/>
                    <a:pt x="77"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1" name="Freeform 17"/>
            <p:cNvSpPr>
              <a:spLocks/>
            </p:cNvSpPr>
            <p:nvPr/>
          </p:nvSpPr>
          <p:spPr bwMode="auto">
            <a:xfrm>
              <a:off x="631420" y="1767240"/>
              <a:ext cx="133761" cy="38217"/>
            </a:xfrm>
            <a:custGeom>
              <a:avLst/>
              <a:gdLst>
                <a:gd name="T0" fmla="*/ 77 w 80"/>
                <a:gd name="T1" fmla="*/ 1 h 23"/>
                <a:gd name="T2" fmla="*/ 71 w 80"/>
                <a:gd name="T3" fmla="*/ 3 h 23"/>
                <a:gd name="T4" fmla="*/ 40 w 80"/>
                <a:gd name="T5" fmla="*/ 14 h 23"/>
                <a:gd name="T6" fmla="*/ 9 w 80"/>
                <a:gd name="T7" fmla="*/ 4 h 23"/>
                <a:gd name="T8" fmla="*/ 3 w 80"/>
                <a:gd name="T9" fmla="*/ 2 h 23"/>
                <a:gd name="T10" fmla="*/ 1 w 80"/>
                <a:gd name="T11" fmla="*/ 8 h 23"/>
                <a:gd name="T12" fmla="*/ 40 w 80"/>
                <a:gd name="T13" fmla="*/ 23 h 23"/>
                <a:gd name="T14" fmla="*/ 65 w 80"/>
                <a:gd name="T15" fmla="*/ 19 h 23"/>
                <a:gd name="T16" fmla="*/ 79 w 80"/>
                <a:gd name="T17" fmla="*/ 7 h 23"/>
                <a:gd name="T18" fmla="*/ 77 w 80"/>
                <a:gd name="T1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3">
                  <a:moveTo>
                    <a:pt x="77" y="1"/>
                  </a:moveTo>
                  <a:cubicBezTo>
                    <a:pt x="74" y="0"/>
                    <a:pt x="72" y="1"/>
                    <a:pt x="71" y="3"/>
                  </a:cubicBezTo>
                  <a:cubicBezTo>
                    <a:pt x="69" y="9"/>
                    <a:pt x="57" y="14"/>
                    <a:pt x="40" y="14"/>
                  </a:cubicBezTo>
                  <a:cubicBezTo>
                    <a:pt x="24" y="14"/>
                    <a:pt x="11" y="9"/>
                    <a:pt x="9" y="4"/>
                  </a:cubicBezTo>
                  <a:cubicBezTo>
                    <a:pt x="8" y="2"/>
                    <a:pt x="5" y="1"/>
                    <a:pt x="3" y="2"/>
                  </a:cubicBezTo>
                  <a:cubicBezTo>
                    <a:pt x="1" y="3"/>
                    <a:pt x="0" y="5"/>
                    <a:pt x="1" y="8"/>
                  </a:cubicBezTo>
                  <a:cubicBezTo>
                    <a:pt x="5" y="17"/>
                    <a:pt x="21" y="23"/>
                    <a:pt x="40" y="23"/>
                  </a:cubicBezTo>
                  <a:cubicBezTo>
                    <a:pt x="49" y="23"/>
                    <a:pt x="58" y="22"/>
                    <a:pt x="65" y="19"/>
                  </a:cubicBezTo>
                  <a:cubicBezTo>
                    <a:pt x="72" y="16"/>
                    <a:pt x="78" y="12"/>
                    <a:pt x="79" y="7"/>
                  </a:cubicBezTo>
                  <a:cubicBezTo>
                    <a:pt x="80" y="4"/>
                    <a:pt x="79" y="2"/>
                    <a:pt x="77"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2" name="Freeform 18"/>
            <p:cNvSpPr>
              <a:spLocks/>
            </p:cNvSpPr>
            <p:nvPr/>
          </p:nvSpPr>
          <p:spPr bwMode="auto">
            <a:xfrm>
              <a:off x="631420" y="1805457"/>
              <a:ext cx="133761" cy="38925"/>
            </a:xfrm>
            <a:custGeom>
              <a:avLst/>
              <a:gdLst>
                <a:gd name="T0" fmla="*/ 77 w 80"/>
                <a:gd name="T1" fmla="*/ 0 h 23"/>
                <a:gd name="T2" fmla="*/ 71 w 80"/>
                <a:gd name="T3" fmla="*/ 3 h 23"/>
                <a:gd name="T4" fmla="*/ 40 w 80"/>
                <a:gd name="T5" fmla="*/ 14 h 23"/>
                <a:gd name="T6" fmla="*/ 9 w 80"/>
                <a:gd name="T7" fmla="*/ 3 h 23"/>
                <a:gd name="T8" fmla="*/ 3 w 80"/>
                <a:gd name="T9" fmla="*/ 1 h 23"/>
                <a:gd name="T10" fmla="*/ 1 w 80"/>
                <a:gd name="T11" fmla="*/ 7 h 23"/>
                <a:gd name="T12" fmla="*/ 40 w 80"/>
                <a:gd name="T13" fmla="*/ 23 h 23"/>
                <a:gd name="T14" fmla="*/ 65 w 80"/>
                <a:gd name="T15" fmla="*/ 18 h 23"/>
                <a:gd name="T16" fmla="*/ 79 w 80"/>
                <a:gd name="T17" fmla="*/ 6 h 23"/>
                <a:gd name="T18" fmla="*/ 77 w 80"/>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3">
                  <a:moveTo>
                    <a:pt x="77" y="0"/>
                  </a:moveTo>
                  <a:cubicBezTo>
                    <a:pt x="74" y="0"/>
                    <a:pt x="72" y="1"/>
                    <a:pt x="71" y="3"/>
                  </a:cubicBezTo>
                  <a:cubicBezTo>
                    <a:pt x="69" y="8"/>
                    <a:pt x="57" y="14"/>
                    <a:pt x="40" y="14"/>
                  </a:cubicBezTo>
                  <a:cubicBezTo>
                    <a:pt x="24" y="14"/>
                    <a:pt x="11" y="8"/>
                    <a:pt x="9" y="3"/>
                  </a:cubicBezTo>
                  <a:cubicBezTo>
                    <a:pt x="8" y="1"/>
                    <a:pt x="5" y="0"/>
                    <a:pt x="3" y="1"/>
                  </a:cubicBezTo>
                  <a:cubicBezTo>
                    <a:pt x="1" y="2"/>
                    <a:pt x="0" y="5"/>
                    <a:pt x="1" y="7"/>
                  </a:cubicBezTo>
                  <a:cubicBezTo>
                    <a:pt x="5" y="16"/>
                    <a:pt x="21" y="23"/>
                    <a:pt x="40" y="23"/>
                  </a:cubicBezTo>
                  <a:cubicBezTo>
                    <a:pt x="49" y="23"/>
                    <a:pt x="58" y="21"/>
                    <a:pt x="65" y="18"/>
                  </a:cubicBezTo>
                  <a:cubicBezTo>
                    <a:pt x="72" y="15"/>
                    <a:pt x="78" y="11"/>
                    <a:pt x="79" y="6"/>
                  </a:cubicBezTo>
                  <a:cubicBezTo>
                    <a:pt x="80" y="4"/>
                    <a:pt x="79" y="1"/>
                    <a:pt x="77"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3" name="Freeform 19"/>
            <p:cNvSpPr>
              <a:spLocks/>
            </p:cNvSpPr>
            <p:nvPr/>
          </p:nvSpPr>
          <p:spPr bwMode="auto">
            <a:xfrm>
              <a:off x="469350" y="1729023"/>
              <a:ext cx="133761" cy="38217"/>
            </a:xfrm>
            <a:custGeom>
              <a:avLst/>
              <a:gdLst>
                <a:gd name="T0" fmla="*/ 76 w 80"/>
                <a:gd name="T1" fmla="*/ 1 h 23"/>
                <a:gd name="T2" fmla="*/ 71 w 80"/>
                <a:gd name="T3" fmla="*/ 4 h 23"/>
                <a:gd name="T4" fmla="*/ 40 w 80"/>
                <a:gd name="T5" fmla="*/ 15 h 23"/>
                <a:gd name="T6" fmla="*/ 9 w 80"/>
                <a:gd name="T7" fmla="*/ 4 h 23"/>
                <a:gd name="T8" fmla="*/ 3 w 80"/>
                <a:gd name="T9" fmla="*/ 2 h 23"/>
                <a:gd name="T10" fmla="*/ 1 w 80"/>
                <a:gd name="T11" fmla="*/ 8 h 23"/>
                <a:gd name="T12" fmla="*/ 40 w 80"/>
                <a:gd name="T13" fmla="*/ 23 h 23"/>
                <a:gd name="T14" fmla="*/ 64 w 80"/>
                <a:gd name="T15" fmla="*/ 19 h 23"/>
                <a:gd name="T16" fmla="*/ 79 w 80"/>
                <a:gd name="T17" fmla="*/ 7 h 23"/>
                <a:gd name="T18" fmla="*/ 76 w 80"/>
                <a:gd name="T1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3">
                  <a:moveTo>
                    <a:pt x="76" y="1"/>
                  </a:moveTo>
                  <a:cubicBezTo>
                    <a:pt x="74" y="0"/>
                    <a:pt x="71" y="2"/>
                    <a:pt x="71" y="4"/>
                  </a:cubicBezTo>
                  <a:cubicBezTo>
                    <a:pt x="69" y="9"/>
                    <a:pt x="56" y="15"/>
                    <a:pt x="40" y="15"/>
                  </a:cubicBezTo>
                  <a:cubicBezTo>
                    <a:pt x="23" y="15"/>
                    <a:pt x="11" y="9"/>
                    <a:pt x="9" y="4"/>
                  </a:cubicBezTo>
                  <a:cubicBezTo>
                    <a:pt x="8" y="2"/>
                    <a:pt x="5" y="1"/>
                    <a:pt x="3" y="2"/>
                  </a:cubicBezTo>
                  <a:cubicBezTo>
                    <a:pt x="1" y="3"/>
                    <a:pt x="0" y="6"/>
                    <a:pt x="1" y="8"/>
                  </a:cubicBezTo>
                  <a:cubicBezTo>
                    <a:pt x="5" y="17"/>
                    <a:pt x="21" y="23"/>
                    <a:pt x="40" y="23"/>
                  </a:cubicBezTo>
                  <a:cubicBezTo>
                    <a:pt x="49" y="23"/>
                    <a:pt x="57" y="22"/>
                    <a:pt x="64" y="19"/>
                  </a:cubicBezTo>
                  <a:cubicBezTo>
                    <a:pt x="72" y="16"/>
                    <a:pt x="77" y="12"/>
                    <a:pt x="79" y="7"/>
                  </a:cubicBezTo>
                  <a:cubicBezTo>
                    <a:pt x="80" y="5"/>
                    <a:pt x="79" y="2"/>
                    <a:pt x="76"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4" name="Freeform 20"/>
            <p:cNvSpPr>
              <a:spLocks/>
            </p:cNvSpPr>
            <p:nvPr/>
          </p:nvSpPr>
          <p:spPr bwMode="auto">
            <a:xfrm>
              <a:off x="469350" y="1767240"/>
              <a:ext cx="133761" cy="38217"/>
            </a:xfrm>
            <a:custGeom>
              <a:avLst/>
              <a:gdLst>
                <a:gd name="T0" fmla="*/ 76 w 80"/>
                <a:gd name="T1" fmla="*/ 1 h 23"/>
                <a:gd name="T2" fmla="*/ 71 w 80"/>
                <a:gd name="T3" fmla="*/ 3 h 23"/>
                <a:gd name="T4" fmla="*/ 40 w 80"/>
                <a:gd name="T5" fmla="*/ 14 h 23"/>
                <a:gd name="T6" fmla="*/ 9 w 80"/>
                <a:gd name="T7" fmla="*/ 4 h 23"/>
                <a:gd name="T8" fmla="*/ 3 w 80"/>
                <a:gd name="T9" fmla="*/ 2 h 23"/>
                <a:gd name="T10" fmla="*/ 1 w 80"/>
                <a:gd name="T11" fmla="*/ 8 h 23"/>
                <a:gd name="T12" fmla="*/ 40 w 80"/>
                <a:gd name="T13" fmla="*/ 23 h 23"/>
                <a:gd name="T14" fmla="*/ 64 w 80"/>
                <a:gd name="T15" fmla="*/ 19 h 23"/>
                <a:gd name="T16" fmla="*/ 79 w 80"/>
                <a:gd name="T17" fmla="*/ 7 h 23"/>
                <a:gd name="T18" fmla="*/ 76 w 80"/>
                <a:gd name="T1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3">
                  <a:moveTo>
                    <a:pt x="76" y="1"/>
                  </a:moveTo>
                  <a:cubicBezTo>
                    <a:pt x="74" y="0"/>
                    <a:pt x="71" y="1"/>
                    <a:pt x="71" y="3"/>
                  </a:cubicBezTo>
                  <a:cubicBezTo>
                    <a:pt x="69" y="9"/>
                    <a:pt x="56" y="14"/>
                    <a:pt x="40" y="14"/>
                  </a:cubicBezTo>
                  <a:cubicBezTo>
                    <a:pt x="23" y="14"/>
                    <a:pt x="11" y="9"/>
                    <a:pt x="9" y="4"/>
                  </a:cubicBezTo>
                  <a:cubicBezTo>
                    <a:pt x="8" y="2"/>
                    <a:pt x="5" y="1"/>
                    <a:pt x="3" y="2"/>
                  </a:cubicBezTo>
                  <a:cubicBezTo>
                    <a:pt x="1" y="3"/>
                    <a:pt x="0" y="5"/>
                    <a:pt x="1" y="8"/>
                  </a:cubicBezTo>
                  <a:cubicBezTo>
                    <a:pt x="5" y="17"/>
                    <a:pt x="21" y="23"/>
                    <a:pt x="40" y="23"/>
                  </a:cubicBezTo>
                  <a:cubicBezTo>
                    <a:pt x="49" y="23"/>
                    <a:pt x="57" y="22"/>
                    <a:pt x="64" y="19"/>
                  </a:cubicBezTo>
                  <a:cubicBezTo>
                    <a:pt x="72" y="16"/>
                    <a:pt x="77" y="12"/>
                    <a:pt x="79" y="7"/>
                  </a:cubicBezTo>
                  <a:cubicBezTo>
                    <a:pt x="80" y="4"/>
                    <a:pt x="79" y="2"/>
                    <a:pt x="76" y="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5" name="Freeform 21"/>
            <p:cNvSpPr>
              <a:spLocks/>
            </p:cNvSpPr>
            <p:nvPr/>
          </p:nvSpPr>
          <p:spPr bwMode="auto">
            <a:xfrm>
              <a:off x="469350" y="1805457"/>
              <a:ext cx="133761" cy="38925"/>
            </a:xfrm>
            <a:custGeom>
              <a:avLst/>
              <a:gdLst>
                <a:gd name="T0" fmla="*/ 76 w 80"/>
                <a:gd name="T1" fmla="*/ 0 h 23"/>
                <a:gd name="T2" fmla="*/ 71 w 80"/>
                <a:gd name="T3" fmla="*/ 3 h 23"/>
                <a:gd name="T4" fmla="*/ 40 w 80"/>
                <a:gd name="T5" fmla="*/ 14 h 23"/>
                <a:gd name="T6" fmla="*/ 9 w 80"/>
                <a:gd name="T7" fmla="*/ 3 h 23"/>
                <a:gd name="T8" fmla="*/ 3 w 80"/>
                <a:gd name="T9" fmla="*/ 1 h 23"/>
                <a:gd name="T10" fmla="*/ 1 w 80"/>
                <a:gd name="T11" fmla="*/ 7 h 23"/>
                <a:gd name="T12" fmla="*/ 40 w 80"/>
                <a:gd name="T13" fmla="*/ 23 h 23"/>
                <a:gd name="T14" fmla="*/ 64 w 80"/>
                <a:gd name="T15" fmla="*/ 18 h 23"/>
                <a:gd name="T16" fmla="*/ 79 w 80"/>
                <a:gd name="T17" fmla="*/ 6 h 23"/>
                <a:gd name="T18" fmla="*/ 76 w 80"/>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3">
                  <a:moveTo>
                    <a:pt x="76" y="0"/>
                  </a:moveTo>
                  <a:cubicBezTo>
                    <a:pt x="74" y="0"/>
                    <a:pt x="71" y="1"/>
                    <a:pt x="71" y="3"/>
                  </a:cubicBezTo>
                  <a:cubicBezTo>
                    <a:pt x="69" y="8"/>
                    <a:pt x="56" y="14"/>
                    <a:pt x="40" y="14"/>
                  </a:cubicBezTo>
                  <a:cubicBezTo>
                    <a:pt x="23" y="14"/>
                    <a:pt x="11" y="8"/>
                    <a:pt x="9" y="3"/>
                  </a:cubicBezTo>
                  <a:cubicBezTo>
                    <a:pt x="8" y="1"/>
                    <a:pt x="5" y="0"/>
                    <a:pt x="3" y="1"/>
                  </a:cubicBezTo>
                  <a:cubicBezTo>
                    <a:pt x="1" y="2"/>
                    <a:pt x="0" y="5"/>
                    <a:pt x="1" y="7"/>
                  </a:cubicBezTo>
                  <a:cubicBezTo>
                    <a:pt x="5" y="16"/>
                    <a:pt x="21" y="23"/>
                    <a:pt x="40" y="23"/>
                  </a:cubicBezTo>
                  <a:cubicBezTo>
                    <a:pt x="49" y="23"/>
                    <a:pt x="57" y="21"/>
                    <a:pt x="64" y="18"/>
                  </a:cubicBezTo>
                  <a:cubicBezTo>
                    <a:pt x="72" y="15"/>
                    <a:pt x="77" y="11"/>
                    <a:pt x="79" y="6"/>
                  </a:cubicBezTo>
                  <a:cubicBezTo>
                    <a:pt x="80" y="4"/>
                    <a:pt x="79" y="1"/>
                    <a:pt x="7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6" name="Freeform 22"/>
            <p:cNvSpPr>
              <a:spLocks noEditPoints="1"/>
            </p:cNvSpPr>
            <p:nvPr/>
          </p:nvSpPr>
          <p:spPr bwMode="auto">
            <a:xfrm>
              <a:off x="467935" y="1660373"/>
              <a:ext cx="135176" cy="70065"/>
            </a:xfrm>
            <a:custGeom>
              <a:avLst/>
              <a:gdLst>
                <a:gd name="T0" fmla="*/ 41 w 81"/>
                <a:gd name="T1" fmla="*/ 0 h 42"/>
                <a:gd name="T2" fmla="*/ 0 w 81"/>
                <a:gd name="T3" fmla="*/ 21 h 42"/>
                <a:gd name="T4" fmla="*/ 41 w 81"/>
                <a:gd name="T5" fmla="*/ 42 h 42"/>
                <a:gd name="T6" fmla="*/ 81 w 81"/>
                <a:gd name="T7" fmla="*/ 21 h 42"/>
                <a:gd name="T8" fmla="*/ 41 w 81"/>
                <a:gd name="T9" fmla="*/ 0 h 42"/>
                <a:gd name="T10" fmla="*/ 41 w 81"/>
                <a:gd name="T11" fmla="*/ 33 h 42"/>
                <a:gd name="T12" fmla="*/ 9 w 81"/>
                <a:gd name="T13" fmla="*/ 21 h 42"/>
                <a:gd name="T14" fmla="*/ 41 w 81"/>
                <a:gd name="T15" fmla="*/ 9 h 42"/>
                <a:gd name="T16" fmla="*/ 72 w 81"/>
                <a:gd name="T17" fmla="*/ 21 h 42"/>
                <a:gd name="T18" fmla="*/ 41 w 81"/>
                <a:gd name="T19"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42">
                  <a:moveTo>
                    <a:pt x="41" y="0"/>
                  </a:moveTo>
                  <a:cubicBezTo>
                    <a:pt x="18" y="0"/>
                    <a:pt x="0" y="9"/>
                    <a:pt x="0" y="21"/>
                  </a:cubicBezTo>
                  <a:cubicBezTo>
                    <a:pt x="0" y="33"/>
                    <a:pt x="18" y="42"/>
                    <a:pt x="41" y="42"/>
                  </a:cubicBezTo>
                  <a:cubicBezTo>
                    <a:pt x="63" y="42"/>
                    <a:pt x="81" y="33"/>
                    <a:pt x="81" y="21"/>
                  </a:cubicBezTo>
                  <a:cubicBezTo>
                    <a:pt x="81" y="9"/>
                    <a:pt x="63" y="0"/>
                    <a:pt x="41" y="0"/>
                  </a:cubicBezTo>
                  <a:moveTo>
                    <a:pt x="41" y="33"/>
                  </a:moveTo>
                  <a:cubicBezTo>
                    <a:pt x="21" y="33"/>
                    <a:pt x="9" y="26"/>
                    <a:pt x="9" y="21"/>
                  </a:cubicBezTo>
                  <a:cubicBezTo>
                    <a:pt x="9" y="16"/>
                    <a:pt x="21" y="9"/>
                    <a:pt x="41" y="9"/>
                  </a:cubicBezTo>
                  <a:cubicBezTo>
                    <a:pt x="60" y="9"/>
                    <a:pt x="72" y="16"/>
                    <a:pt x="72" y="21"/>
                  </a:cubicBezTo>
                  <a:cubicBezTo>
                    <a:pt x="72" y="26"/>
                    <a:pt x="60" y="33"/>
                    <a:pt x="41" y="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cxnSp>
        <p:nvCxnSpPr>
          <p:cNvPr id="143" name="Straight Connector 142"/>
          <p:cNvCxnSpPr>
            <a:stCxn id="112" idx="3"/>
            <a:endCxn id="139" idx="1"/>
          </p:cNvCxnSpPr>
          <p:nvPr/>
        </p:nvCxnSpPr>
        <p:spPr>
          <a:xfrm>
            <a:off x="2238375" y="1747739"/>
            <a:ext cx="4664075" cy="0"/>
          </a:xfrm>
          <a:prstGeom prst="line">
            <a:avLst/>
          </a:prstGeom>
          <a:ln w="12700" cap="rnd">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819176"/>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30"/>
          <p:cNvGrpSpPr/>
          <p:nvPr/>
        </p:nvGrpSpPr>
        <p:grpSpPr>
          <a:xfrm>
            <a:off x="4166175" y="2817490"/>
            <a:ext cx="4893171" cy="1473988"/>
            <a:chOff x="4249995" y="2817490"/>
            <a:chExt cx="4893171" cy="1473988"/>
          </a:xfrm>
        </p:grpSpPr>
        <p:sp>
          <p:nvSpPr>
            <p:cNvPr id="198" name="Freeform 6"/>
            <p:cNvSpPr>
              <a:spLocks noEditPoints="1"/>
            </p:cNvSpPr>
            <p:nvPr/>
          </p:nvSpPr>
          <p:spPr bwMode="auto">
            <a:xfrm>
              <a:off x="4249995" y="2817490"/>
              <a:ext cx="4893171" cy="1473988"/>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199" name="Rectangle 198"/>
            <p:cNvSpPr/>
            <p:nvPr/>
          </p:nvSpPr>
          <p:spPr>
            <a:xfrm>
              <a:off x="8568031" y="4128319"/>
              <a:ext cx="574774" cy="59546"/>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sz="900" dirty="0" smtClean="0">
                <a:solidFill>
                  <a:schemeClr val="tx1"/>
                </a:solidFill>
                <a:latin typeface="+mj-lt"/>
                <a:ea typeface="ＭＳ Ｐゴシック" pitchFamily="34" charset="-128"/>
              </a:endParaRPr>
            </a:p>
          </p:txBody>
        </p:sp>
        <p:grpSp>
          <p:nvGrpSpPr>
            <p:cNvPr id="4" name="Group 300"/>
            <p:cNvGrpSpPr/>
            <p:nvPr/>
          </p:nvGrpSpPr>
          <p:grpSpPr>
            <a:xfrm>
              <a:off x="4351495" y="3151870"/>
              <a:ext cx="4267144" cy="1035995"/>
              <a:chOff x="4351495" y="3151870"/>
              <a:chExt cx="4267144" cy="1035995"/>
            </a:xfrm>
          </p:grpSpPr>
          <p:sp>
            <p:nvSpPr>
              <p:cNvPr id="200" name="Freeform 29"/>
              <p:cNvSpPr>
                <a:spLocks noEditPoints="1"/>
              </p:cNvSpPr>
              <p:nvPr/>
            </p:nvSpPr>
            <p:spPr bwMode="auto">
              <a:xfrm>
                <a:off x="4742807" y="3473039"/>
                <a:ext cx="208128" cy="71482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5" name="Group 28"/>
              <p:cNvGrpSpPr/>
              <p:nvPr/>
            </p:nvGrpSpPr>
            <p:grpSpPr>
              <a:xfrm>
                <a:off x="4611308" y="3779759"/>
                <a:ext cx="171727" cy="408106"/>
                <a:chOff x="1790700" y="2979738"/>
                <a:chExt cx="539750" cy="1282700"/>
              </a:xfrm>
            </p:grpSpPr>
            <p:sp>
              <p:nvSpPr>
                <p:cNvPr id="202"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03"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6" name="Group 58"/>
              <p:cNvGrpSpPr/>
              <p:nvPr/>
            </p:nvGrpSpPr>
            <p:grpSpPr>
              <a:xfrm>
                <a:off x="4351495" y="3551470"/>
                <a:ext cx="286085" cy="636395"/>
                <a:chOff x="50589" y="3098960"/>
                <a:chExt cx="550863" cy="1225389"/>
              </a:xfrm>
            </p:grpSpPr>
            <p:sp>
              <p:nvSpPr>
                <p:cNvPr id="205"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06"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7" name="Group 56"/>
              <p:cNvGrpSpPr/>
              <p:nvPr/>
            </p:nvGrpSpPr>
            <p:grpSpPr>
              <a:xfrm>
                <a:off x="4912233" y="3769867"/>
                <a:ext cx="1634068" cy="417998"/>
                <a:chOff x="1130300" y="3522663"/>
                <a:chExt cx="3146425" cy="804862"/>
              </a:xfrm>
            </p:grpSpPr>
            <p:sp>
              <p:nvSpPr>
                <p:cNvPr id="208"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09"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8" name="Group 55"/>
              <p:cNvGrpSpPr/>
              <p:nvPr/>
            </p:nvGrpSpPr>
            <p:grpSpPr>
              <a:xfrm>
                <a:off x="6493052" y="3787180"/>
                <a:ext cx="646636" cy="400684"/>
                <a:chOff x="4127500" y="2292350"/>
                <a:chExt cx="889000" cy="550863"/>
              </a:xfrm>
            </p:grpSpPr>
            <p:sp>
              <p:nvSpPr>
                <p:cNvPr id="211"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2"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3"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14"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215" name="Freeform 70"/>
              <p:cNvSpPr>
                <a:spLocks noEditPoints="1"/>
              </p:cNvSpPr>
              <p:nvPr/>
            </p:nvSpPr>
            <p:spPr bwMode="auto">
              <a:xfrm>
                <a:off x="7992084" y="3304916"/>
                <a:ext cx="251948" cy="882947"/>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9" name="Group 89"/>
              <p:cNvGrpSpPr/>
              <p:nvPr/>
            </p:nvGrpSpPr>
            <p:grpSpPr>
              <a:xfrm>
                <a:off x="7139689" y="3556518"/>
                <a:ext cx="878259" cy="631346"/>
                <a:chOff x="5820057" y="3111857"/>
                <a:chExt cx="1691103" cy="1215668"/>
              </a:xfrm>
            </p:grpSpPr>
            <p:grpSp>
              <p:nvGrpSpPr>
                <p:cNvPr id="10" name="Group 81"/>
                <p:cNvGrpSpPr/>
                <p:nvPr/>
              </p:nvGrpSpPr>
              <p:grpSpPr>
                <a:xfrm>
                  <a:off x="5850148" y="3367629"/>
                  <a:ext cx="1642959" cy="959896"/>
                  <a:chOff x="9172575" y="1344613"/>
                  <a:chExt cx="1733551" cy="1012825"/>
                </a:xfrm>
                <a:solidFill>
                  <a:schemeClr val="bg1"/>
                </a:solidFill>
              </p:grpSpPr>
              <p:sp>
                <p:nvSpPr>
                  <p:cNvPr id="219" name="Rectangle 218"/>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latin typeface="+mj-lt"/>
                    </a:endParaRPr>
                  </a:p>
                </p:txBody>
              </p:sp>
              <p:grpSp>
                <p:nvGrpSpPr>
                  <p:cNvPr id="11" name="Group 79"/>
                  <p:cNvGrpSpPr/>
                  <p:nvPr/>
                </p:nvGrpSpPr>
                <p:grpSpPr>
                  <a:xfrm>
                    <a:off x="9172575" y="1344613"/>
                    <a:ext cx="1733551" cy="1012825"/>
                    <a:chOff x="9172575" y="1344613"/>
                    <a:chExt cx="1733551" cy="1012825"/>
                  </a:xfrm>
                  <a:grpFill/>
                </p:grpSpPr>
                <p:sp>
                  <p:nvSpPr>
                    <p:cNvPr id="221"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2" name="Rectangle 221"/>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latin typeface="+mj-lt"/>
                      </a:endParaRPr>
                    </a:p>
                  </p:txBody>
                </p:sp>
              </p:grpSp>
            </p:grpSp>
            <p:sp>
              <p:nvSpPr>
                <p:cNvPr id="218"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12" name="Group 223"/>
              <p:cNvGrpSpPr/>
              <p:nvPr/>
            </p:nvGrpSpPr>
            <p:grpSpPr>
              <a:xfrm>
                <a:off x="8245399" y="3151870"/>
                <a:ext cx="373240" cy="1035678"/>
                <a:chOff x="7291388" y="2198688"/>
                <a:chExt cx="655637" cy="1819275"/>
              </a:xfrm>
            </p:grpSpPr>
            <p:sp>
              <p:nvSpPr>
                <p:cNvPr id="225"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226"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3" name="Group 301"/>
            <p:cNvGrpSpPr/>
            <p:nvPr/>
          </p:nvGrpSpPr>
          <p:grpSpPr>
            <a:xfrm>
              <a:off x="4351495" y="3151870"/>
              <a:ext cx="4267144" cy="1035995"/>
              <a:chOff x="4351495" y="3151870"/>
              <a:chExt cx="4267144" cy="1035995"/>
            </a:xfrm>
          </p:grpSpPr>
          <p:sp>
            <p:nvSpPr>
              <p:cNvPr id="303" name="Freeform 29"/>
              <p:cNvSpPr>
                <a:spLocks noEditPoints="1"/>
              </p:cNvSpPr>
              <p:nvPr/>
            </p:nvSpPr>
            <p:spPr bwMode="auto">
              <a:xfrm>
                <a:off x="4742807" y="3473039"/>
                <a:ext cx="208128" cy="71482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nvGrpSpPr>
              <p:cNvPr id="14" name="Group 28"/>
              <p:cNvGrpSpPr/>
              <p:nvPr/>
            </p:nvGrpSpPr>
            <p:grpSpPr>
              <a:xfrm>
                <a:off x="4611308" y="3779759"/>
                <a:ext cx="171727" cy="408106"/>
                <a:chOff x="1790700" y="2979738"/>
                <a:chExt cx="539750" cy="1282700"/>
              </a:xfrm>
            </p:grpSpPr>
            <p:sp>
              <p:nvSpPr>
                <p:cNvPr id="327" name="Rectangle 23"/>
                <p:cNvSpPr>
                  <a:spLocks noChangeArrowheads="1"/>
                </p:cNvSpPr>
                <p:nvPr/>
              </p:nvSpPr>
              <p:spPr bwMode="auto">
                <a:xfrm>
                  <a:off x="1790700" y="2986088"/>
                  <a:ext cx="525463" cy="1276350"/>
                </a:xfrm>
                <a:prstGeom prst="rect">
                  <a:avLst/>
                </a:pr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8"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5" name="Group 58"/>
              <p:cNvGrpSpPr/>
              <p:nvPr/>
            </p:nvGrpSpPr>
            <p:grpSpPr>
              <a:xfrm>
                <a:off x="4351495" y="3551470"/>
                <a:ext cx="286085" cy="636395"/>
                <a:chOff x="50589" y="3098960"/>
                <a:chExt cx="550863" cy="1225389"/>
              </a:xfrm>
            </p:grpSpPr>
            <p:sp>
              <p:nvSpPr>
                <p:cNvPr id="325"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6"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6" name="Group 56"/>
              <p:cNvGrpSpPr/>
              <p:nvPr/>
            </p:nvGrpSpPr>
            <p:grpSpPr>
              <a:xfrm>
                <a:off x="4912233" y="3769867"/>
                <a:ext cx="1634068" cy="417998"/>
                <a:chOff x="1130300" y="3522663"/>
                <a:chExt cx="3146425" cy="804862"/>
              </a:xfrm>
            </p:grpSpPr>
            <p:sp>
              <p:nvSpPr>
                <p:cNvPr id="323"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4"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7" name="Group 55"/>
              <p:cNvGrpSpPr/>
              <p:nvPr/>
            </p:nvGrpSpPr>
            <p:grpSpPr>
              <a:xfrm>
                <a:off x="6493052" y="3787180"/>
                <a:ext cx="646636" cy="400684"/>
                <a:chOff x="4127500" y="2292350"/>
                <a:chExt cx="889000" cy="550863"/>
              </a:xfrm>
            </p:grpSpPr>
            <p:sp>
              <p:nvSpPr>
                <p:cNvPr id="319"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0"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1"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22"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sp>
            <p:nvSpPr>
              <p:cNvPr id="308" name="Freeform 70"/>
              <p:cNvSpPr>
                <a:spLocks noEditPoints="1"/>
              </p:cNvSpPr>
              <p:nvPr/>
            </p:nvSpPr>
            <p:spPr bwMode="auto">
              <a:xfrm>
                <a:off x="7992084" y="3304916"/>
                <a:ext cx="251948" cy="882947"/>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nvGrpSpPr>
              <p:cNvPr id="18" name="Group 89"/>
              <p:cNvGrpSpPr/>
              <p:nvPr/>
            </p:nvGrpSpPr>
            <p:grpSpPr>
              <a:xfrm>
                <a:off x="7139689" y="3556518"/>
                <a:ext cx="878259" cy="631346"/>
                <a:chOff x="5820057" y="3111857"/>
                <a:chExt cx="1691103" cy="1215668"/>
              </a:xfrm>
            </p:grpSpPr>
            <p:grpSp>
              <p:nvGrpSpPr>
                <p:cNvPr id="19" name="Group 81"/>
                <p:cNvGrpSpPr/>
                <p:nvPr/>
              </p:nvGrpSpPr>
              <p:grpSpPr>
                <a:xfrm>
                  <a:off x="5850148" y="3367629"/>
                  <a:ext cx="1642959" cy="959896"/>
                  <a:chOff x="9172575" y="1344613"/>
                  <a:chExt cx="1733551" cy="1012825"/>
                </a:xfrm>
                <a:solidFill>
                  <a:schemeClr val="bg1"/>
                </a:solidFill>
              </p:grpSpPr>
              <p:sp>
                <p:nvSpPr>
                  <p:cNvPr id="315" name="Rectangle 314"/>
                  <p:cNvSpPr/>
                  <p:nvPr/>
                </p:nvSpPr>
                <p:spPr>
                  <a:xfrm>
                    <a:off x="9527381" y="1344613"/>
                    <a:ext cx="1226344" cy="327025"/>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spc="-30" dirty="0" smtClean="0">
                      <a:solidFill>
                        <a:schemeClr val="bg1"/>
                      </a:solidFill>
                      <a:latin typeface="+mj-lt"/>
                      <a:ea typeface="ＭＳ Ｐゴシック" pitchFamily="34" charset="-128"/>
                    </a:endParaRPr>
                  </a:p>
                </p:txBody>
              </p:sp>
              <p:grpSp>
                <p:nvGrpSpPr>
                  <p:cNvPr id="20" name="Group 79"/>
                  <p:cNvGrpSpPr/>
                  <p:nvPr/>
                </p:nvGrpSpPr>
                <p:grpSpPr>
                  <a:xfrm>
                    <a:off x="9172575" y="1344613"/>
                    <a:ext cx="1733551" cy="1012825"/>
                    <a:chOff x="9172575" y="1344613"/>
                    <a:chExt cx="1733551" cy="1012825"/>
                  </a:xfrm>
                  <a:grpFill/>
                </p:grpSpPr>
                <p:sp>
                  <p:nvSpPr>
                    <p:cNvPr id="317"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318" name="Rectangle 317"/>
                    <p:cNvSpPr/>
                    <p:nvPr/>
                  </p:nvSpPr>
                  <p:spPr>
                    <a:xfrm>
                      <a:off x="9172575" y="1985963"/>
                      <a:ext cx="1454944" cy="371475"/>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spc="-30" dirty="0" smtClean="0">
                        <a:solidFill>
                          <a:schemeClr val="bg1"/>
                        </a:solidFill>
                        <a:latin typeface="+mj-lt"/>
                        <a:ea typeface="ＭＳ Ｐゴシック" pitchFamily="34" charset="-128"/>
                      </a:endParaRPr>
                    </a:p>
                  </p:txBody>
                </p:sp>
              </p:grpSp>
            </p:grpSp>
            <p:sp>
              <p:nvSpPr>
                <p:cNvPr id="314"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21" name="Group 223"/>
              <p:cNvGrpSpPr/>
              <p:nvPr/>
            </p:nvGrpSpPr>
            <p:grpSpPr>
              <a:xfrm>
                <a:off x="8245399" y="3151870"/>
                <a:ext cx="373240" cy="1035678"/>
                <a:chOff x="7291388" y="2198688"/>
                <a:chExt cx="655637" cy="1819275"/>
              </a:xfrm>
            </p:grpSpPr>
            <p:sp>
              <p:nvSpPr>
                <p:cNvPr id="311"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sp>
              <p:nvSpPr>
                <p:cNvPr id="312"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grpSp>
        </p:grpSp>
        <p:sp>
          <p:nvSpPr>
            <p:cNvPr id="329" name="Rectangle 328"/>
            <p:cNvSpPr/>
            <p:nvPr/>
          </p:nvSpPr>
          <p:spPr>
            <a:xfrm>
              <a:off x="8568031" y="4128319"/>
              <a:ext cx="574774" cy="59546"/>
            </a:xfrm>
            <a:prstGeom prst="rect">
              <a:avLst/>
            </a:pr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grpSp>
      <p:sp>
        <p:nvSpPr>
          <p:cNvPr id="2" name="Title 1"/>
          <p:cNvSpPr>
            <a:spLocks noGrp="1"/>
          </p:cNvSpPr>
          <p:nvPr>
            <p:ph type="title"/>
          </p:nvPr>
        </p:nvSpPr>
        <p:spPr/>
        <p:txBody>
          <a:bodyPr/>
          <a:lstStyle/>
          <a:p>
            <a:r>
              <a:rPr lang="en-US" smtClean="0"/>
              <a:t>Cisco Ultra Services Platform</a:t>
            </a:r>
            <a:endParaRPr lang="en-US" dirty="0"/>
          </a:p>
        </p:txBody>
      </p:sp>
      <p:sp>
        <p:nvSpPr>
          <p:cNvPr id="197" name="Rectangle 196"/>
          <p:cNvSpPr/>
          <p:nvPr/>
        </p:nvSpPr>
        <p:spPr>
          <a:xfrm>
            <a:off x="265429" y="1152009"/>
            <a:ext cx="4377676" cy="338554"/>
          </a:xfrm>
          <a:prstGeom prst="rect">
            <a:avLst/>
          </a:prstGeom>
          <a:solidFill>
            <a:schemeClr val="accent1"/>
          </a:solidFill>
        </p:spPr>
        <p:txBody>
          <a:bodyPr wrap="square">
            <a:spAutoFit/>
          </a:bodyPr>
          <a:lstStyle/>
          <a:p>
            <a:r>
              <a:rPr lang="en-US" sz="1600" dirty="0" smtClean="0">
                <a:solidFill>
                  <a:srgbClr val="FFFFFF"/>
                </a:solidFill>
                <a:latin typeface="+mj-lt"/>
              </a:rPr>
              <a:t>Multi-Access Cloud Scale Mobile Core for </a:t>
            </a:r>
            <a:r>
              <a:rPr lang="en-US" sz="1600" dirty="0" err="1" smtClean="0">
                <a:solidFill>
                  <a:srgbClr val="FFFFFF"/>
                </a:solidFill>
                <a:latin typeface="+mj-lt"/>
              </a:rPr>
              <a:t>IoT</a:t>
            </a:r>
            <a:endParaRPr lang="en-US" sz="1600" dirty="0">
              <a:solidFill>
                <a:srgbClr val="FFFFFF"/>
              </a:solidFill>
              <a:latin typeface="+mj-lt"/>
            </a:endParaRPr>
          </a:p>
        </p:txBody>
      </p:sp>
      <p:sp>
        <p:nvSpPr>
          <p:cNvPr id="265" name="Rectangle 264"/>
          <p:cNvSpPr/>
          <p:nvPr/>
        </p:nvSpPr>
        <p:spPr>
          <a:xfrm>
            <a:off x="3623624" y="4187717"/>
            <a:ext cx="5276536" cy="17914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68" name="Rectangle 11"/>
          <p:cNvSpPr>
            <a:spLocks noChangeArrowheads="1"/>
          </p:cNvSpPr>
          <p:nvPr/>
        </p:nvSpPr>
        <p:spPr bwMode="auto">
          <a:xfrm>
            <a:off x="265429" y="4187035"/>
            <a:ext cx="8878571" cy="546711"/>
          </a:xfrm>
          <a:prstGeom prst="rect">
            <a:avLst/>
          </a:prstGeom>
          <a:solidFill>
            <a:schemeClr val="accent2"/>
          </a:solidFill>
          <a:ln w="9525">
            <a:noFill/>
            <a:miter lim="800000"/>
            <a:headEnd/>
            <a:tailEnd/>
          </a:ln>
        </p:spPr>
        <p:txBody>
          <a:bodyPr vert="horz" wrap="square" lIns="274320" tIns="0" rIns="91440" bIns="0" numCol="1" anchor="ctr" anchorCtr="0" compatLnSpc="1">
            <a:prstTxWarp prst="textNoShape">
              <a:avLst/>
            </a:prstTxWarp>
          </a:bodyPr>
          <a:lstStyle/>
          <a:p>
            <a:pPr>
              <a:spcBef>
                <a:spcPts val="600"/>
              </a:spcBef>
            </a:pPr>
            <a:r>
              <a:rPr lang="en-US" sz="1300" dirty="0" smtClean="0">
                <a:solidFill>
                  <a:srgbClr val="FFFFFF"/>
                </a:solidFill>
                <a:latin typeface="+mj-lt"/>
              </a:rPr>
              <a:t>Virtualized network core resources can be automatically provisioned and optimized to meet widely varying requirements of </a:t>
            </a:r>
            <a:r>
              <a:rPr lang="en-US" sz="1300" dirty="0" err="1" smtClean="0">
                <a:solidFill>
                  <a:srgbClr val="FFFFFF"/>
                </a:solidFill>
                <a:latin typeface="+mj-lt"/>
              </a:rPr>
              <a:t>IoT</a:t>
            </a:r>
            <a:r>
              <a:rPr lang="en-US" sz="1300" dirty="0" smtClean="0">
                <a:solidFill>
                  <a:srgbClr val="FFFFFF"/>
                </a:solidFill>
                <a:latin typeface="+mj-lt"/>
              </a:rPr>
              <a:t> applications for bandwidth, speed, latency</a:t>
            </a:r>
            <a:endParaRPr lang="en-US" sz="1300" dirty="0">
              <a:solidFill>
                <a:srgbClr val="FFFFFF"/>
              </a:solidFill>
              <a:latin typeface="+mj-lt"/>
            </a:endParaRPr>
          </a:p>
        </p:txBody>
      </p:sp>
      <p:sp>
        <p:nvSpPr>
          <p:cNvPr id="332" name="Oval 2"/>
          <p:cNvSpPr/>
          <p:nvPr/>
        </p:nvSpPr>
        <p:spPr>
          <a:xfrm>
            <a:off x="4237864" y="3707334"/>
            <a:ext cx="951835" cy="480530"/>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3" name="Oval 2"/>
          <p:cNvSpPr/>
          <p:nvPr/>
        </p:nvSpPr>
        <p:spPr>
          <a:xfrm>
            <a:off x="5601117" y="2817490"/>
            <a:ext cx="3156579" cy="1370374"/>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4" name="Oval 2"/>
          <p:cNvSpPr/>
          <p:nvPr/>
        </p:nvSpPr>
        <p:spPr>
          <a:xfrm>
            <a:off x="4726232" y="3356765"/>
            <a:ext cx="1646243" cy="83109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5" name="Oval 2"/>
          <p:cNvSpPr/>
          <p:nvPr/>
        </p:nvSpPr>
        <p:spPr>
          <a:xfrm>
            <a:off x="7497123" y="3750631"/>
            <a:ext cx="866072" cy="437233"/>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6" name="Oval 2"/>
          <p:cNvSpPr/>
          <p:nvPr/>
        </p:nvSpPr>
        <p:spPr>
          <a:xfrm>
            <a:off x="8370996" y="3840534"/>
            <a:ext cx="687990" cy="34732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2" name="Group 359"/>
          <p:cNvGrpSpPr/>
          <p:nvPr/>
        </p:nvGrpSpPr>
        <p:grpSpPr>
          <a:xfrm>
            <a:off x="6316177" y="3458023"/>
            <a:ext cx="292608" cy="292608"/>
            <a:chOff x="6309991" y="3586785"/>
            <a:chExt cx="292608" cy="292608"/>
          </a:xfrm>
        </p:grpSpPr>
        <p:sp>
          <p:nvSpPr>
            <p:cNvPr id="358" name="Oval 357"/>
            <p:cNvSpPr/>
            <p:nvPr/>
          </p:nvSpPr>
          <p:spPr>
            <a:xfrm>
              <a:off x="6309991" y="3586785"/>
              <a:ext cx="292608" cy="292608"/>
            </a:xfrm>
            <a:prstGeom prst="ellipse">
              <a:avLst/>
            </a:prstGeom>
            <a:solidFill>
              <a:schemeClr val="bg2">
                <a:lumMod val="75000"/>
              </a:schemeClr>
            </a:solid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7350" name="Freeform 6"/>
            <p:cNvSpPr>
              <a:spLocks noEditPoints="1"/>
            </p:cNvSpPr>
            <p:nvPr/>
          </p:nvSpPr>
          <p:spPr bwMode="auto">
            <a:xfrm>
              <a:off x="6346601" y="3649137"/>
              <a:ext cx="196761" cy="150586"/>
            </a:xfrm>
            <a:custGeom>
              <a:avLst/>
              <a:gdLst/>
              <a:ahLst/>
              <a:cxnLst>
                <a:cxn ang="0">
                  <a:pos x="1949" y="744"/>
                </a:cxn>
                <a:cxn ang="0">
                  <a:pos x="1846" y="1024"/>
                </a:cxn>
                <a:cxn ang="0">
                  <a:pos x="1232" y="956"/>
                </a:cxn>
                <a:cxn ang="0">
                  <a:pos x="1090" y="834"/>
                </a:cxn>
                <a:cxn ang="0">
                  <a:pos x="1488" y="389"/>
                </a:cxn>
                <a:cxn ang="0">
                  <a:pos x="1300" y="194"/>
                </a:cxn>
                <a:cxn ang="0">
                  <a:pos x="1119" y="10"/>
                </a:cxn>
                <a:cxn ang="0">
                  <a:pos x="1071" y="10"/>
                </a:cxn>
                <a:cxn ang="0">
                  <a:pos x="88" y="983"/>
                </a:cxn>
                <a:cxn ang="0">
                  <a:pos x="122" y="1031"/>
                </a:cxn>
                <a:cxn ang="0">
                  <a:pos x="44" y="1123"/>
                </a:cxn>
                <a:cxn ang="0">
                  <a:pos x="80" y="1172"/>
                </a:cxn>
                <a:cxn ang="0">
                  <a:pos x="13" y="1287"/>
                </a:cxn>
                <a:cxn ang="0">
                  <a:pos x="232" y="1492"/>
                </a:cxn>
                <a:cxn ang="0">
                  <a:pos x="320" y="1413"/>
                </a:cxn>
                <a:cxn ang="0">
                  <a:pos x="368" y="1447"/>
                </a:cxn>
                <a:cxn ang="0">
                  <a:pos x="460" y="1369"/>
                </a:cxn>
                <a:cxn ang="0">
                  <a:pos x="508" y="1403"/>
                </a:cxn>
                <a:cxn ang="0">
                  <a:pos x="899" y="1026"/>
                </a:cxn>
                <a:cxn ang="0">
                  <a:pos x="1027" y="1160"/>
                </a:cxn>
                <a:cxn ang="0">
                  <a:pos x="1384" y="1297"/>
                </a:cxn>
                <a:cxn ang="0">
                  <a:pos x="1846" y="1468"/>
                </a:cxn>
                <a:cxn ang="0">
                  <a:pos x="2017" y="1570"/>
                </a:cxn>
                <a:cxn ang="0">
                  <a:pos x="2051" y="778"/>
                </a:cxn>
                <a:cxn ang="0">
                  <a:pos x="228" y="1406"/>
                </a:cxn>
                <a:cxn ang="0">
                  <a:pos x="129" y="1222"/>
                </a:cxn>
                <a:cxn ang="0">
                  <a:pos x="228" y="1406"/>
                </a:cxn>
                <a:cxn ang="0">
                  <a:pos x="249" y="1244"/>
                </a:cxn>
                <a:cxn ang="0">
                  <a:pos x="150" y="1144"/>
                </a:cxn>
                <a:cxn ang="0">
                  <a:pos x="170" y="1079"/>
                </a:cxn>
                <a:cxn ang="0">
                  <a:pos x="368" y="1365"/>
                </a:cxn>
                <a:cxn ang="0">
                  <a:pos x="484" y="1297"/>
                </a:cxn>
                <a:cxn ang="0">
                  <a:pos x="170" y="983"/>
                </a:cxn>
                <a:cxn ang="0">
                  <a:pos x="1228" y="219"/>
                </a:cxn>
                <a:cxn ang="0">
                  <a:pos x="1153" y="341"/>
                </a:cxn>
                <a:cxn ang="0">
                  <a:pos x="1201" y="341"/>
                </a:cxn>
                <a:cxn ang="0">
                  <a:pos x="1322" y="316"/>
                </a:cxn>
                <a:cxn ang="0">
                  <a:pos x="1201" y="485"/>
                </a:cxn>
                <a:cxn ang="0">
                  <a:pos x="1249" y="485"/>
                </a:cxn>
                <a:cxn ang="0">
                  <a:pos x="1416" y="413"/>
                </a:cxn>
                <a:cxn ang="0">
                  <a:pos x="1045" y="1076"/>
                </a:cxn>
                <a:cxn ang="0">
                  <a:pos x="1044" y="884"/>
                </a:cxn>
                <a:cxn ang="0">
                  <a:pos x="1045" y="1076"/>
                </a:cxn>
                <a:cxn ang="0">
                  <a:pos x="1368" y="1167"/>
                </a:cxn>
                <a:cxn ang="0">
                  <a:pos x="1368" y="1173"/>
                </a:cxn>
                <a:cxn ang="0">
                  <a:pos x="1367" y="1179"/>
                </a:cxn>
                <a:cxn ang="0">
                  <a:pos x="1366" y="1184"/>
                </a:cxn>
                <a:cxn ang="0">
                  <a:pos x="1232" y="1297"/>
                </a:cxn>
                <a:cxn ang="0">
                  <a:pos x="1175" y="1036"/>
                </a:cxn>
                <a:cxn ang="0">
                  <a:pos x="1210" y="1026"/>
                </a:cxn>
                <a:cxn ang="0">
                  <a:pos x="1345" y="1084"/>
                </a:cxn>
                <a:cxn ang="0">
                  <a:pos x="1367" y="1139"/>
                </a:cxn>
                <a:cxn ang="0">
                  <a:pos x="1367" y="1145"/>
                </a:cxn>
                <a:cxn ang="0">
                  <a:pos x="1368" y="1152"/>
                </a:cxn>
                <a:cxn ang="0">
                  <a:pos x="1368" y="1160"/>
                </a:cxn>
                <a:cxn ang="0">
                  <a:pos x="1846" y="1229"/>
                </a:cxn>
                <a:cxn ang="0">
                  <a:pos x="1440" y="1160"/>
                </a:cxn>
                <a:cxn ang="0">
                  <a:pos x="1846" y="1092"/>
                </a:cxn>
                <a:cxn ang="0">
                  <a:pos x="1983" y="1502"/>
                </a:cxn>
                <a:cxn ang="0">
                  <a:pos x="1914" y="1468"/>
                </a:cxn>
                <a:cxn ang="0">
                  <a:pos x="1949" y="812"/>
                </a:cxn>
                <a:cxn ang="0">
                  <a:pos x="1983" y="1502"/>
                </a:cxn>
              </a:cxnLst>
              <a:rect l="0" t="0" r="r" b="b"/>
              <a:pathLst>
                <a:path w="2051" h="1570">
                  <a:moveTo>
                    <a:pt x="2017" y="744"/>
                  </a:moveTo>
                  <a:cubicBezTo>
                    <a:pt x="1949" y="744"/>
                    <a:pt x="1949" y="744"/>
                    <a:pt x="1949" y="744"/>
                  </a:cubicBezTo>
                  <a:cubicBezTo>
                    <a:pt x="1891" y="744"/>
                    <a:pt x="1846" y="788"/>
                    <a:pt x="1846" y="846"/>
                  </a:cubicBezTo>
                  <a:cubicBezTo>
                    <a:pt x="1846" y="1024"/>
                    <a:pt x="1846" y="1024"/>
                    <a:pt x="1846" y="1024"/>
                  </a:cubicBezTo>
                  <a:cubicBezTo>
                    <a:pt x="1384" y="1024"/>
                    <a:pt x="1384" y="1024"/>
                    <a:pt x="1384" y="1024"/>
                  </a:cubicBezTo>
                  <a:cubicBezTo>
                    <a:pt x="1347" y="982"/>
                    <a:pt x="1292" y="956"/>
                    <a:pt x="1232" y="956"/>
                  </a:cubicBezTo>
                  <a:cubicBezTo>
                    <a:pt x="1225" y="956"/>
                    <a:pt x="1219" y="956"/>
                    <a:pt x="1212" y="957"/>
                  </a:cubicBezTo>
                  <a:cubicBezTo>
                    <a:pt x="1090" y="834"/>
                    <a:pt x="1090" y="834"/>
                    <a:pt x="1090" y="834"/>
                  </a:cubicBezTo>
                  <a:cubicBezTo>
                    <a:pt x="1488" y="437"/>
                    <a:pt x="1488" y="437"/>
                    <a:pt x="1488" y="437"/>
                  </a:cubicBezTo>
                  <a:cubicBezTo>
                    <a:pt x="1501" y="423"/>
                    <a:pt x="1501" y="403"/>
                    <a:pt x="1488" y="389"/>
                  </a:cubicBezTo>
                  <a:cubicBezTo>
                    <a:pt x="1306" y="202"/>
                    <a:pt x="1306" y="202"/>
                    <a:pt x="1306" y="202"/>
                  </a:cubicBezTo>
                  <a:cubicBezTo>
                    <a:pt x="1304" y="199"/>
                    <a:pt x="1302" y="197"/>
                    <a:pt x="1300" y="194"/>
                  </a:cubicBezTo>
                  <a:cubicBezTo>
                    <a:pt x="1298" y="192"/>
                    <a:pt x="1296" y="191"/>
                    <a:pt x="1293" y="189"/>
                  </a:cubicBezTo>
                  <a:cubicBezTo>
                    <a:pt x="1119" y="10"/>
                    <a:pt x="1119" y="10"/>
                    <a:pt x="1119" y="10"/>
                  </a:cubicBezTo>
                  <a:cubicBezTo>
                    <a:pt x="1112" y="3"/>
                    <a:pt x="1106" y="0"/>
                    <a:pt x="1095" y="0"/>
                  </a:cubicBezTo>
                  <a:cubicBezTo>
                    <a:pt x="1085" y="0"/>
                    <a:pt x="1078" y="3"/>
                    <a:pt x="1071" y="10"/>
                  </a:cubicBezTo>
                  <a:cubicBezTo>
                    <a:pt x="99" y="959"/>
                    <a:pt x="99" y="959"/>
                    <a:pt x="99" y="959"/>
                  </a:cubicBezTo>
                  <a:cubicBezTo>
                    <a:pt x="92" y="966"/>
                    <a:pt x="88" y="973"/>
                    <a:pt x="88" y="983"/>
                  </a:cubicBezTo>
                  <a:cubicBezTo>
                    <a:pt x="88" y="993"/>
                    <a:pt x="92" y="1000"/>
                    <a:pt x="99" y="1007"/>
                  </a:cubicBezTo>
                  <a:cubicBezTo>
                    <a:pt x="122" y="1031"/>
                    <a:pt x="122" y="1031"/>
                    <a:pt x="122" y="1031"/>
                  </a:cubicBezTo>
                  <a:cubicBezTo>
                    <a:pt x="54" y="1099"/>
                    <a:pt x="54" y="1099"/>
                    <a:pt x="54" y="1099"/>
                  </a:cubicBezTo>
                  <a:cubicBezTo>
                    <a:pt x="47" y="1106"/>
                    <a:pt x="44" y="1113"/>
                    <a:pt x="44" y="1123"/>
                  </a:cubicBezTo>
                  <a:cubicBezTo>
                    <a:pt x="44" y="1133"/>
                    <a:pt x="47" y="1140"/>
                    <a:pt x="54" y="1147"/>
                  </a:cubicBezTo>
                  <a:cubicBezTo>
                    <a:pt x="80" y="1172"/>
                    <a:pt x="80" y="1172"/>
                    <a:pt x="80" y="1172"/>
                  </a:cubicBezTo>
                  <a:cubicBezTo>
                    <a:pt x="13" y="1239"/>
                    <a:pt x="13" y="1239"/>
                    <a:pt x="13" y="1239"/>
                  </a:cubicBezTo>
                  <a:cubicBezTo>
                    <a:pt x="0" y="1253"/>
                    <a:pt x="0" y="1273"/>
                    <a:pt x="13" y="1287"/>
                  </a:cubicBezTo>
                  <a:cubicBezTo>
                    <a:pt x="208" y="1481"/>
                    <a:pt x="208" y="1481"/>
                    <a:pt x="208" y="1481"/>
                  </a:cubicBezTo>
                  <a:cubicBezTo>
                    <a:pt x="215" y="1488"/>
                    <a:pt x="221" y="1492"/>
                    <a:pt x="232" y="1492"/>
                  </a:cubicBezTo>
                  <a:cubicBezTo>
                    <a:pt x="239" y="1492"/>
                    <a:pt x="249" y="1488"/>
                    <a:pt x="252" y="1481"/>
                  </a:cubicBezTo>
                  <a:cubicBezTo>
                    <a:pt x="320" y="1413"/>
                    <a:pt x="320" y="1413"/>
                    <a:pt x="320" y="1413"/>
                  </a:cubicBezTo>
                  <a:cubicBezTo>
                    <a:pt x="344" y="1437"/>
                    <a:pt x="344" y="1437"/>
                    <a:pt x="344" y="1437"/>
                  </a:cubicBezTo>
                  <a:cubicBezTo>
                    <a:pt x="351" y="1444"/>
                    <a:pt x="358" y="1447"/>
                    <a:pt x="368" y="1447"/>
                  </a:cubicBezTo>
                  <a:cubicBezTo>
                    <a:pt x="378" y="1447"/>
                    <a:pt x="389" y="1444"/>
                    <a:pt x="392" y="1437"/>
                  </a:cubicBezTo>
                  <a:cubicBezTo>
                    <a:pt x="460" y="1369"/>
                    <a:pt x="460" y="1369"/>
                    <a:pt x="460" y="1369"/>
                  </a:cubicBezTo>
                  <a:cubicBezTo>
                    <a:pt x="484" y="1393"/>
                    <a:pt x="484" y="1393"/>
                    <a:pt x="484" y="1393"/>
                  </a:cubicBezTo>
                  <a:cubicBezTo>
                    <a:pt x="491" y="1399"/>
                    <a:pt x="498" y="1403"/>
                    <a:pt x="508" y="1403"/>
                  </a:cubicBezTo>
                  <a:cubicBezTo>
                    <a:pt x="518" y="1403"/>
                    <a:pt x="525" y="1399"/>
                    <a:pt x="532" y="1393"/>
                  </a:cubicBezTo>
                  <a:cubicBezTo>
                    <a:pt x="899" y="1026"/>
                    <a:pt x="899" y="1026"/>
                    <a:pt x="899" y="1026"/>
                  </a:cubicBezTo>
                  <a:cubicBezTo>
                    <a:pt x="1027" y="1154"/>
                    <a:pt x="1027" y="1154"/>
                    <a:pt x="1027" y="1154"/>
                  </a:cubicBezTo>
                  <a:cubicBezTo>
                    <a:pt x="1027" y="1156"/>
                    <a:pt x="1027" y="1158"/>
                    <a:pt x="1027" y="1160"/>
                  </a:cubicBezTo>
                  <a:cubicBezTo>
                    <a:pt x="1027" y="1273"/>
                    <a:pt x="1119" y="1365"/>
                    <a:pt x="1232" y="1365"/>
                  </a:cubicBezTo>
                  <a:cubicBezTo>
                    <a:pt x="1292" y="1365"/>
                    <a:pt x="1347" y="1339"/>
                    <a:pt x="1384" y="1297"/>
                  </a:cubicBezTo>
                  <a:cubicBezTo>
                    <a:pt x="1846" y="1297"/>
                    <a:pt x="1846" y="1297"/>
                    <a:pt x="1846" y="1297"/>
                  </a:cubicBezTo>
                  <a:cubicBezTo>
                    <a:pt x="1846" y="1468"/>
                    <a:pt x="1846" y="1468"/>
                    <a:pt x="1846" y="1468"/>
                  </a:cubicBezTo>
                  <a:cubicBezTo>
                    <a:pt x="1846" y="1526"/>
                    <a:pt x="1891" y="1570"/>
                    <a:pt x="1949" y="1570"/>
                  </a:cubicBezTo>
                  <a:cubicBezTo>
                    <a:pt x="2017" y="1570"/>
                    <a:pt x="2017" y="1570"/>
                    <a:pt x="2017" y="1570"/>
                  </a:cubicBezTo>
                  <a:cubicBezTo>
                    <a:pt x="2037" y="1570"/>
                    <a:pt x="2051" y="1556"/>
                    <a:pt x="2051" y="1536"/>
                  </a:cubicBezTo>
                  <a:cubicBezTo>
                    <a:pt x="2051" y="778"/>
                    <a:pt x="2051" y="778"/>
                    <a:pt x="2051" y="778"/>
                  </a:cubicBezTo>
                  <a:cubicBezTo>
                    <a:pt x="2051" y="758"/>
                    <a:pt x="2037" y="744"/>
                    <a:pt x="2017" y="744"/>
                  </a:cubicBezTo>
                  <a:close/>
                  <a:moveTo>
                    <a:pt x="228" y="1406"/>
                  </a:moveTo>
                  <a:cubicBezTo>
                    <a:pt x="85" y="1263"/>
                    <a:pt x="85" y="1263"/>
                    <a:pt x="85" y="1263"/>
                  </a:cubicBezTo>
                  <a:cubicBezTo>
                    <a:pt x="129" y="1222"/>
                    <a:pt x="129" y="1222"/>
                    <a:pt x="129" y="1222"/>
                  </a:cubicBezTo>
                  <a:cubicBezTo>
                    <a:pt x="273" y="1365"/>
                    <a:pt x="273" y="1365"/>
                    <a:pt x="273" y="1365"/>
                  </a:cubicBezTo>
                  <a:lnTo>
                    <a:pt x="228" y="1406"/>
                  </a:lnTo>
                  <a:close/>
                  <a:moveTo>
                    <a:pt x="368" y="1365"/>
                  </a:moveTo>
                  <a:cubicBezTo>
                    <a:pt x="249" y="1244"/>
                    <a:pt x="249" y="1244"/>
                    <a:pt x="249" y="1244"/>
                  </a:cubicBezTo>
                  <a:cubicBezTo>
                    <a:pt x="153" y="1147"/>
                    <a:pt x="153" y="1147"/>
                    <a:pt x="153" y="1147"/>
                  </a:cubicBezTo>
                  <a:cubicBezTo>
                    <a:pt x="152" y="1146"/>
                    <a:pt x="151" y="1145"/>
                    <a:pt x="150" y="1144"/>
                  </a:cubicBezTo>
                  <a:cubicBezTo>
                    <a:pt x="129" y="1123"/>
                    <a:pt x="129" y="1123"/>
                    <a:pt x="129" y="1123"/>
                  </a:cubicBezTo>
                  <a:cubicBezTo>
                    <a:pt x="170" y="1079"/>
                    <a:pt x="170" y="1079"/>
                    <a:pt x="170" y="1079"/>
                  </a:cubicBezTo>
                  <a:cubicBezTo>
                    <a:pt x="413" y="1321"/>
                    <a:pt x="413" y="1321"/>
                    <a:pt x="413" y="1321"/>
                  </a:cubicBezTo>
                  <a:lnTo>
                    <a:pt x="368" y="1365"/>
                  </a:lnTo>
                  <a:close/>
                  <a:moveTo>
                    <a:pt x="508" y="1321"/>
                  </a:moveTo>
                  <a:cubicBezTo>
                    <a:pt x="484" y="1297"/>
                    <a:pt x="484" y="1297"/>
                    <a:pt x="484" y="1297"/>
                  </a:cubicBezTo>
                  <a:cubicBezTo>
                    <a:pt x="194" y="1007"/>
                    <a:pt x="194" y="1007"/>
                    <a:pt x="194" y="1007"/>
                  </a:cubicBezTo>
                  <a:cubicBezTo>
                    <a:pt x="170" y="983"/>
                    <a:pt x="170" y="983"/>
                    <a:pt x="170" y="983"/>
                  </a:cubicBezTo>
                  <a:cubicBezTo>
                    <a:pt x="1095" y="82"/>
                    <a:pt x="1095" y="82"/>
                    <a:pt x="1095" y="82"/>
                  </a:cubicBezTo>
                  <a:cubicBezTo>
                    <a:pt x="1228" y="219"/>
                    <a:pt x="1228" y="219"/>
                    <a:pt x="1228" y="219"/>
                  </a:cubicBezTo>
                  <a:cubicBezTo>
                    <a:pt x="1153" y="293"/>
                    <a:pt x="1153" y="293"/>
                    <a:pt x="1153" y="293"/>
                  </a:cubicBezTo>
                  <a:cubicBezTo>
                    <a:pt x="1140" y="307"/>
                    <a:pt x="1140" y="328"/>
                    <a:pt x="1153" y="341"/>
                  </a:cubicBezTo>
                  <a:cubicBezTo>
                    <a:pt x="1160" y="348"/>
                    <a:pt x="1167" y="352"/>
                    <a:pt x="1177" y="352"/>
                  </a:cubicBezTo>
                  <a:cubicBezTo>
                    <a:pt x="1184" y="352"/>
                    <a:pt x="1194" y="348"/>
                    <a:pt x="1201" y="341"/>
                  </a:cubicBezTo>
                  <a:cubicBezTo>
                    <a:pt x="1275" y="267"/>
                    <a:pt x="1275" y="267"/>
                    <a:pt x="1275" y="267"/>
                  </a:cubicBezTo>
                  <a:cubicBezTo>
                    <a:pt x="1322" y="316"/>
                    <a:pt x="1322" y="316"/>
                    <a:pt x="1322" y="316"/>
                  </a:cubicBezTo>
                  <a:cubicBezTo>
                    <a:pt x="1201" y="437"/>
                    <a:pt x="1201" y="437"/>
                    <a:pt x="1201" y="437"/>
                  </a:cubicBezTo>
                  <a:cubicBezTo>
                    <a:pt x="1187" y="450"/>
                    <a:pt x="1187" y="471"/>
                    <a:pt x="1201" y="485"/>
                  </a:cubicBezTo>
                  <a:cubicBezTo>
                    <a:pt x="1208" y="491"/>
                    <a:pt x="1215" y="495"/>
                    <a:pt x="1225" y="495"/>
                  </a:cubicBezTo>
                  <a:cubicBezTo>
                    <a:pt x="1232" y="495"/>
                    <a:pt x="1242" y="491"/>
                    <a:pt x="1249" y="485"/>
                  </a:cubicBezTo>
                  <a:cubicBezTo>
                    <a:pt x="1369" y="364"/>
                    <a:pt x="1369" y="364"/>
                    <a:pt x="1369" y="364"/>
                  </a:cubicBezTo>
                  <a:cubicBezTo>
                    <a:pt x="1416" y="413"/>
                    <a:pt x="1416" y="413"/>
                    <a:pt x="1416" y="413"/>
                  </a:cubicBezTo>
                  <a:lnTo>
                    <a:pt x="508" y="1321"/>
                  </a:lnTo>
                  <a:close/>
                  <a:moveTo>
                    <a:pt x="1045" y="1076"/>
                  </a:moveTo>
                  <a:cubicBezTo>
                    <a:pt x="948" y="980"/>
                    <a:pt x="948" y="980"/>
                    <a:pt x="948" y="980"/>
                  </a:cubicBezTo>
                  <a:cubicBezTo>
                    <a:pt x="1044" y="884"/>
                    <a:pt x="1044" y="884"/>
                    <a:pt x="1044" y="884"/>
                  </a:cubicBezTo>
                  <a:cubicBezTo>
                    <a:pt x="1138" y="978"/>
                    <a:pt x="1138" y="978"/>
                    <a:pt x="1138" y="978"/>
                  </a:cubicBezTo>
                  <a:cubicBezTo>
                    <a:pt x="1097" y="1000"/>
                    <a:pt x="1064" y="1034"/>
                    <a:pt x="1045" y="1076"/>
                  </a:cubicBezTo>
                  <a:close/>
                  <a:moveTo>
                    <a:pt x="1368" y="1161"/>
                  </a:moveTo>
                  <a:cubicBezTo>
                    <a:pt x="1368" y="1163"/>
                    <a:pt x="1368" y="1165"/>
                    <a:pt x="1368" y="1167"/>
                  </a:cubicBezTo>
                  <a:cubicBezTo>
                    <a:pt x="1368" y="1168"/>
                    <a:pt x="1368" y="1168"/>
                    <a:pt x="1368" y="1169"/>
                  </a:cubicBezTo>
                  <a:cubicBezTo>
                    <a:pt x="1368" y="1170"/>
                    <a:pt x="1368" y="1172"/>
                    <a:pt x="1368" y="1173"/>
                  </a:cubicBezTo>
                  <a:cubicBezTo>
                    <a:pt x="1368" y="1174"/>
                    <a:pt x="1368" y="1175"/>
                    <a:pt x="1367" y="1176"/>
                  </a:cubicBezTo>
                  <a:cubicBezTo>
                    <a:pt x="1367" y="1177"/>
                    <a:pt x="1367" y="1178"/>
                    <a:pt x="1367" y="1179"/>
                  </a:cubicBezTo>
                  <a:cubicBezTo>
                    <a:pt x="1367" y="1180"/>
                    <a:pt x="1367" y="1181"/>
                    <a:pt x="1367" y="1182"/>
                  </a:cubicBezTo>
                  <a:cubicBezTo>
                    <a:pt x="1366" y="1183"/>
                    <a:pt x="1366" y="1184"/>
                    <a:pt x="1366" y="1184"/>
                  </a:cubicBezTo>
                  <a:cubicBezTo>
                    <a:pt x="1363" y="1203"/>
                    <a:pt x="1355" y="1221"/>
                    <a:pt x="1345" y="1237"/>
                  </a:cubicBezTo>
                  <a:cubicBezTo>
                    <a:pt x="1320" y="1273"/>
                    <a:pt x="1279" y="1297"/>
                    <a:pt x="1232" y="1297"/>
                  </a:cubicBezTo>
                  <a:cubicBezTo>
                    <a:pt x="1157" y="1297"/>
                    <a:pt x="1095" y="1236"/>
                    <a:pt x="1095" y="1160"/>
                  </a:cubicBezTo>
                  <a:cubicBezTo>
                    <a:pt x="1095" y="1105"/>
                    <a:pt x="1128" y="1058"/>
                    <a:pt x="1175" y="1036"/>
                  </a:cubicBezTo>
                  <a:cubicBezTo>
                    <a:pt x="1185" y="1032"/>
                    <a:pt x="1194" y="1029"/>
                    <a:pt x="1204" y="1027"/>
                  </a:cubicBezTo>
                  <a:cubicBezTo>
                    <a:pt x="1206" y="1027"/>
                    <a:pt x="1208" y="1026"/>
                    <a:pt x="1210" y="1026"/>
                  </a:cubicBezTo>
                  <a:cubicBezTo>
                    <a:pt x="1217" y="1025"/>
                    <a:pt x="1224" y="1024"/>
                    <a:pt x="1232" y="1024"/>
                  </a:cubicBezTo>
                  <a:cubicBezTo>
                    <a:pt x="1279" y="1024"/>
                    <a:pt x="1320" y="1048"/>
                    <a:pt x="1345" y="1084"/>
                  </a:cubicBezTo>
                  <a:cubicBezTo>
                    <a:pt x="1355" y="1100"/>
                    <a:pt x="1363" y="1118"/>
                    <a:pt x="1366" y="1137"/>
                  </a:cubicBezTo>
                  <a:cubicBezTo>
                    <a:pt x="1366" y="1137"/>
                    <a:pt x="1366" y="1138"/>
                    <a:pt x="1367" y="1139"/>
                  </a:cubicBezTo>
                  <a:cubicBezTo>
                    <a:pt x="1367" y="1140"/>
                    <a:pt x="1367" y="1141"/>
                    <a:pt x="1367" y="1142"/>
                  </a:cubicBezTo>
                  <a:cubicBezTo>
                    <a:pt x="1367" y="1143"/>
                    <a:pt x="1367" y="1144"/>
                    <a:pt x="1367" y="1145"/>
                  </a:cubicBezTo>
                  <a:cubicBezTo>
                    <a:pt x="1368" y="1146"/>
                    <a:pt x="1368" y="1147"/>
                    <a:pt x="1368" y="1148"/>
                  </a:cubicBezTo>
                  <a:cubicBezTo>
                    <a:pt x="1368" y="1149"/>
                    <a:pt x="1368" y="1151"/>
                    <a:pt x="1368" y="1152"/>
                  </a:cubicBezTo>
                  <a:cubicBezTo>
                    <a:pt x="1368" y="1153"/>
                    <a:pt x="1368" y="1153"/>
                    <a:pt x="1368" y="1154"/>
                  </a:cubicBezTo>
                  <a:cubicBezTo>
                    <a:pt x="1368" y="1156"/>
                    <a:pt x="1368" y="1158"/>
                    <a:pt x="1368" y="1160"/>
                  </a:cubicBezTo>
                  <a:lnTo>
                    <a:pt x="1368" y="1161"/>
                  </a:lnTo>
                  <a:close/>
                  <a:moveTo>
                    <a:pt x="1846" y="1229"/>
                  </a:moveTo>
                  <a:cubicBezTo>
                    <a:pt x="1426" y="1229"/>
                    <a:pt x="1426" y="1229"/>
                    <a:pt x="1426" y="1229"/>
                  </a:cubicBezTo>
                  <a:cubicBezTo>
                    <a:pt x="1433" y="1208"/>
                    <a:pt x="1440" y="1184"/>
                    <a:pt x="1440" y="1160"/>
                  </a:cubicBezTo>
                  <a:cubicBezTo>
                    <a:pt x="1440" y="1137"/>
                    <a:pt x="1433" y="1113"/>
                    <a:pt x="1426" y="1092"/>
                  </a:cubicBezTo>
                  <a:cubicBezTo>
                    <a:pt x="1846" y="1092"/>
                    <a:pt x="1846" y="1092"/>
                    <a:pt x="1846" y="1092"/>
                  </a:cubicBezTo>
                  <a:lnTo>
                    <a:pt x="1846" y="1229"/>
                  </a:lnTo>
                  <a:close/>
                  <a:moveTo>
                    <a:pt x="1983" y="1502"/>
                  </a:moveTo>
                  <a:cubicBezTo>
                    <a:pt x="1949" y="1502"/>
                    <a:pt x="1949" y="1502"/>
                    <a:pt x="1949" y="1502"/>
                  </a:cubicBezTo>
                  <a:cubicBezTo>
                    <a:pt x="1928" y="1502"/>
                    <a:pt x="1914" y="1488"/>
                    <a:pt x="1914" y="1468"/>
                  </a:cubicBezTo>
                  <a:cubicBezTo>
                    <a:pt x="1914" y="846"/>
                    <a:pt x="1914" y="846"/>
                    <a:pt x="1914" y="846"/>
                  </a:cubicBezTo>
                  <a:cubicBezTo>
                    <a:pt x="1914" y="826"/>
                    <a:pt x="1928" y="812"/>
                    <a:pt x="1949" y="812"/>
                  </a:cubicBezTo>
                  <a:cubicBezTo>
                    <a:pt x="1983" y="812"/>
                    <a:pt x="1983" y="812"/>
                    <a:pt x="1983" y="812"/>
                  </a:cubicBezTo>
                  <a:lnTo>
                    <a:pt x="1983" y="150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4" name="Group 360"/>
          <p:cNvGrpSpPr/>
          <p:nvPr/>
        </p:nvGrpSpPr>
        <p:grpSpPr>
          <a:xfrm>
            <a:off x="4479057" y="3219903"/>
            <a:ext cx="469448" cy="469448"/>
            <a:chOff x="682652" y="2569917"/>
            <a:chExt cx="679152" cy="679152"/>
          </a:xfrm>
        </p:grpSpPr>
        <p:sp>
          <p:nvSpPr>
            <p:cNvPr id="362" name="Teardrop 361"/>
            <p:cNvSpPr/>
            <p:nvPr/>
          </p:nvSpPr>
          <p:spPr>
            <a:xfrm rot="8100000">
              <a:off x="682652" y="2569917"/>
              <a:ext cx="679152" cy="679152"/>
            </a:xfrm>
            <a:prstGeom prst="teardrop">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63" name="Rectangle 362"/>
            <p:cNvSpPr/>
            <p:nvPr/>
          </p:nvSpPr>
          <p:spPr>
            <a:xfrm>
              <a:off x="734891" y="2742273"/>
              <a:ext cx="574677" cy="311684"/>
            </a:xfrm>
            <a:prstGeom prst="rect">
              <a:avLst/>
            </a:prstGeom>
          </p:spPr>
          <p:txBody>
            <a:bodyPr wrap="square" lIns="0" tIns="0" rIns="0" bIns="0">
              <a:spAutoFit/>
            </a:bodyPr>
            <a:lstStyle/>
            <a:p>
              <a:pPr algn="ctr"/>
              <a:r>
                <a:rPr lang="en-US" sz="700" b="1" dirty="0" err="1" smtClean="0">
                  <a:solidFill>
                    <a:schemeClr val="bg1"/>
                  </a:solidFill>
                  <a:latin typeface="+mj-lt"/>
                </a:rPr>
                <a:t>LoRa</a:t>
              </a:r>
              <a:endParaRPr lang="en-US" sz="700" b="1" dirty="0" smtClean="0">
                <a:solidFill>
                  <a:schemeClr val="bg1"/>
                </a:solidFill>
                <a:latin typeface="+mj-lt"/>
              </a:endParaRPr>
            </a:p>
            <a:p>
              <a:pPr algn="ctr"/>
              <a:r>
                <a:rPr lang="en-US" sz="700" b="1" dirty="0" smtClean="0">
                  <a:solidFill>
                    <a:schemeClr val="bg1"/>
                  </a:solidFill>
                  <a:latin typeface="+mj-lt"/>
                </a:rPr>
                <a:t>WAN</a:t>
              </a:r>
              <a:endParaRPr lang="en-US" sz="700" b="1" dirty="0">
                <a:solidFill>
                  <a:schemeClr val="bg1"/>
                </a:solidFill>
                <a:latin typeface="+mj-lt"/>
              </a:endParaRPr>
            </a:p>
          </p:txBody>
        </p:sp>
      </p:grpSp>
      <p:grpSp>
        <p:nvGrpSpPr>
          <p:cNvPr id="25" name="Group 363"/>
          <p:cNvGrpSpPr/>
          <p:nvPr/>
        </p:nvGrpSpPr>
        <p:grpSpPr>
          <a:xfrm>
            <a:off x="5316181" y="2872696"/>
            <a:ext cx="466344" cy="466344"/>
            <a:chOff x="2209800" y="1885950"/>
            <a:chExt cx="679152" cy="679152"/>
          </a:xfrm>
        </p:grpSpPr>
        <p:sp>
          <p:nvSpPr>
            <p:cNvPr id="365" name="Teardrop 364"/>
            <p:cNvSpPr/>
            <p:nvPr/>
          </p:nvSpPr>
          <p:spPr>
            <a:xfrm rot="8100000">
              <a:off x="2209800" y="1885950"/>
              <a:ext cx="679152" cy="679152"/>
            </a:xfrm>
            <a:prstGeom prst="teardrop">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66" name="Rectangle 365"/>
            <p:cNvSpPr/>
            <p:nvPr/>
          </p:nvSpPr>
          <p:spPr>
            <a:xfrm>
              <a:off x="2260201" y="2150207"/>
              <a:ext cx="569106" cy="179291"/>
            </a:xfrm>
            <a:prstGeom prst="rect">
              <a:avLst/>
            </a:prstGeom>
          </p:spPr>
          <p:txBody>
            <a:bodyPr wrap="square" lIns="0" tIns="0" rIns="0" bIns="0">
              <a:spAutoFit/>
            </a:bodyPr>
            <a:lstStyle/>
            <a:p>
              <a:pPr algn="ctr"/>
              <a:r>
                <a:rPr lang="en-US" sz="800" b="1" dirty="0" smtClean="0">
                  <a:solidFill>
                    <a:schemeClr val="bg1"/>
                  </a:solidFill>
                  <a:latin typeface="+mj-lt"/>
                </a:rPr>
                <a:t>Wi-Fi</a:t>
              </a:r>
            </a:p>
          </p:txBody>
        </p:sp>
      </p:grpSp>
      <p:grpSp>
        <p:nvGrpSpPr>
          <p:cNvPr id="26" name="Group 375"/>
          <p:cNvGrpSpPr/>
          <p:nvPr/>
        </p:nvGrpSpPr>
        <p:grpSpPr>
          <a:xfrm>
            <a:off x="6946234" y="2349791"/>
            <a:ext cx="466344" cy="466344"/>
            <a:chOff x="2209800" y="1885950"/>
            <a:chExt cx="679152" cy="679152"/>
          </a:xfrm>
        </p:grpSpPr>
        <p:sp>
          <p:nvSpPr>
            <p:cNvPr id="377" name="Teardrop 376"/>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78" name="Rectangle 377"/>
            <p:cNvSpPr/>
            <p:nvPr/>
          </p:nvSpPr>
          <p:spPr>
            <a:xfrm>
              <a:off x="2260201" y="2113217"/>
              <a:ext cx="569106" cy="358580"/>
            </a:xfrm>
            <a:prstGeom prst="rect">
              <a:avLst/>
            </a:prstGeom>
          </p:spPr>
          <p:txBody>
            <a:bodyPr wrap="square" lIns="0" tIns="0" rIns="0" bIns="0">
              <a:spAutoFit/>
            </a:bodyPr>
            <a:lstStyle/>
            <a:p>
              <a:pPr algn="ctr"/>
              <a:r>
                <a:rPr lang="en-US" sz="800" b="1" dirty="0" smtClean="0">
                  <a:solidFill>
                    <a:schemeClr val="bg1"/>
                  </a:solidFill>
                  <a:latin typeface="+mj-lt"/>
                </a:rPr>
                <a:t>2G, 3G,</a:t>
              </a:r>
              <a:br>
                <a:rPr lang="en-US" sz="800" b="1" dirty="0" smtClean="0">
                  <a:solidFill>
                    <a:schemeClr val="bg1"/>
                  </a:solidFill>
                  <a:latin typeface="+mj-lt"/>
                </a:rPr>
              </a:br>
              <a:r>
                <a:rPr lang="en-US" sz="800" b="1" dirty="0" smtClean="0">
                  <a:solidFill>
                    <a:schemeClr val="bg1"/>
                  </a:solidFill>
                  <a:latin typeface="+mj-lt"/>
                </a:rPr>
                <a:t>LTE</a:t>
              </a:r>
            </a:p>
          </p:txBody>
        </p:sp>
      </p:grpSp>
      <p:grpSp>
        <p:nvGrpSpPr>
          <p:cNvPr id="27" name="Group 378"/>
          <p:cNvGrpSpPr/>
          <p:nvPr/>
        </p:nvGrpSpPr>
        <p:grpSpPr>
          <a:xfrm>
            <a:off x="7696987" y="3257550"/>
            <a:ext cx="466344" cy="466344"/>
            <a:chOff x="2209800" y="1885950"/>
            <a:chExt cx="679152" cy="679152"/>
          </a:xfrm>
        </p:grpSpPr>
        <p:sp>
          <p:nvSpPr>
            <p:cNvPr id="380" name="Teardrop 379"/>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81" name="Rectangle 380"/>
            <p:cNvSpPr/>
            <p:nvPr/>
          </p:nvSpPr>
          <p:spPr>
            <a:xfrm>
              <a:off x="2260201" y="2039235"/>
              <a:ext cx="569106" cy="358580"/>
            </a:xfrm>
            <a:prstGeom prst="rect">
              <a:avLst/>
            </a:prstGeom>
          </p:spPr>
          <p:txBody>
            <a:bodyPr wrap="square" lIns="0" tIns="0" rIns="0" bIns="0">
              <a:spAutoFit/>
            </a:bodyPr>
            <a:lstStyle/>
            <a:p>
              <a:pPr algn="ctr"/>
              <a:r>
                <a:rPr lang="en-US" sz="800" b="1" dirty="0" smtClean="0">
                  <a:solidFill>
                    <a:schemeClr val="bg1"/>
                  </a:solidFill>
                  <a:latin typeface="+mj-lt"/>
                </a:rPr>
                <a:t>LTE/</a:t>
              </a:r>
              <a:br>
                <a:rPr lang="en-US" sz="800" b="1" dirty="0" smtClean="0">
                  <a:solidFill>
                    <a:schemeClr val="bg1"/>
                  </a:solidFill>
                  <a:latin typeface="+mj-lt"/>
                </a:rPr>
              </a:br>
              <a:r>
                <a:rPr lang="en-US" sz="800" b="1" dirty="0" smtClean="0">
                  <a:solidFill>
                    <a:schemeClr val="bg1"/>
                  </a:solidFill>
                  <a:latin typeface="+mj-lt"/>
                </a:rPr>
                <a:t>CAT-M1</a:t>
              </a:r>
            </a:p>
          </p:txBody>
        </p:sp>
      </p:grpSp>
      <p:grpSp>
        <p:nvGrpSpPr>
          <p:cNvPr id="28" name="Group 381"/>
          <p:cNvGrpSpPr/>
          <p:nvPr/>
        </p:nvGrpSpPr>
        <p:grpSpPr>
          <a:xfrm>
            <a:off x="8481819" y="3297690"/>
            <a:ext cx="466344" cy="466344"/>
            <a:chOff x="2209800" y="1885950"/>
            <a:chExt cx="679152" cy="679152"/>
          </a:xfrm>
        </p:grpSpPr>
        <p:sp>
          <p:nvSpPr>
            <p:cNvPr id="383" name="Teardrop 382"/>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384" name="Rectangle 383"/>
            <p:cNvSpPr/>
            <p:nvPr/>
          </p:nvSpPr>
          <p:spPr>
            <a:xfrm>
              <a:off x="2260201" y="2113217"/>
              <a:ext cx="569106" cy="358580"/>
            </a:xfrm>
            <a:prstGeom prst="rect">
              <a:avLst/>
            </a:prstGeom>
          </p:spPr>
          <p:txBody>
            <a:bodyPr wrap="square" lIns="0" tIns="0" rIns="0" bIns="0">
              <a:spAutoFit/>
            </a:bodyPr>
            <a:lstStyle/>
            <a:p>
              <a:pPr algn="ctr"/>
              <a:r>
                <a:rPr lang="en-US" sz="800" b="1" dirty="0" smtClean="0">
                  <a:solidFill>
                    <a:schemeClr val="bg1"/>
                  </a:solidFill>
                  <a:latin typeface="+mj-lt"/>
                </a:rPr>
                <a:t>NB-</a:t>
              </a:r>
              <a:br>
                <a:rPr lang="en-US" sz="800" b="1" dirty="0" smtClean="0">
                  <a:solidFill>
                    <a:schemeClr val="bg1"/>
                  </a:solidFill>
                  <a:latin typeface="+mj-lt"/>
                </a:rPr>
              </a:br>
              <a:r>
                <a:rPr lang="en-US" sz="800" b="1" dirty="0" err="1" smtClean="0">
                  <a:solidFill>
                    <a:schemeClr val="bg1"/>
                  </a:solidFill>
                  <a:latin typeface="+mj-lt"/>
                </a:rPr>
                <a:t>IoT</a:t>
              </a:r>
              <a:endParaRPr lang="en-US" sz="800" b="1" dirty="0" smtClean="0">
                <a:solidFill>
                  <a:schemeClr val="bg1"/>
                </a:solidFill>
                <a:latin typeface="+mj-lt"/>
              </a:endParaRPr>
            </a:p>
          </p:txBody>
        </p:sp>
      </p:grpSp>
      <p:cxnSp>
        <p:nvCxnSpPr>
          <p:cNvPr id="405" name="Straight Connector 404"/>
          <p:cNvCxnSpPr>
            <a:endCxn id="377" idx="3"/>
          </p:cNvCxnSpPr>
          <p:nvPr/>
        </p:nvCxnSpPr>
        <p:spPr>
          <a:xfrm>
            <a:off x="2866176" y="1791068"/>
            <a:ext cx="4313229" cy="558723"/>
          </a:xfrm>
          <a:prstGeom prst="line">
            <a:avLst/>
          </a:prstGeom>
        </p:spPr>
        <p:style>
          <a:lnRef idx="1">
            <a:schemeClr val="accent1"/>
          </a:lnRef>
          <a:fillRef idx="0">
            <a:schemeClr val="accent1"/>
          </a:fillRef>
          <a:effectRef idx="0">
            <a:schemeClr val="accent1"/>
          </a:effectRef>
          <a:fontRef idx="minor">
            <a:schemeClr val="tx1"/>
          </a:fontRef>
        </p:style>
      </p:cxnSp>
      <p:cxnSp>
        <p:nvCxnSpPr>
          <p:cNvPr id="407" name="Straight Connector 406"/>
          <p:cNvCxnSpPr>
            <a:endCxn id="365" idx="3"/>
          </p:cNvCxnSpPr>
          <p:nvPr/>
        </p:nvCxnSpPr>
        <p:spPr>
          <a:xfrm>
            <a:off x="2866176" y="1791068"/>
            <a:ext cx="2683176" cy="108162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9" name="Straight Connector 408"/>
          <p:cNvCxnSpPr>
            <a:endCxn id="362" idx="3"/>
          </p:cNvCxnSpPr>
          <p:nvPr/>
        </p:nvCxnSpPr>
        <p:spPr>
          <a:xfrm>
            <a:off x="2866176" y="1791068"/>
            <a:ext cx="1847605" cy="1428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5" name="Straight Connector 414"/>
          <p:cNvCxnSpPr>
            <a:endCxn id="380" idx="3"/>
          </p:cNvCxnSpPr>
          <p:nvPr/>
        </p:nvCxnSpPr>
        <p:spPr>
          <a:xfrm>
            <a:off x="2866176" y="1791068"/>
            <a:ext cx="5063982" cy="1466482"/>
          </a:xfrm>
          <a:prstGeom prst="line">
            <a:avLst/>
          </a:prstGeom>
        </p:spPr>
        <p:style>
          <a:lnRef idx="1">
            <a:schemeClr val="accent1"/>
          </a:lnRef>
          <a:fillRef idx="0">
            <a:schemeClr val="accent1"/>
          </a:fillRef>
          <a:effectRef idx="0">
            <a:schemeClr val="accent1"/>
          </a:effectRef>
          <a:fontRef idx="minor">
            <a:schemeClr val="tx1"/>
          </a:fontRef>
        </p:style>
      </p:cxnSp>
      <p:sp>
        <p:nvSpPr>
          <p:cNvPr id="269" name="Freeform 6"/>
          <p:cNvSpPr>
            <a:spLocks/>
          </p:cNvSpPr>
          <p:nvPr/>
        </p:nvSpPr>
        <p:spPr bwMode="auto">
          <a:xfrm>
            <a:off x="265429" y="1561951"/>
            <a:ext cx="3657744" cy="2341127"/>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270" name="TextBox 269"/>
          <p:cNvSpPr txBox="1"/>
          <p:nvPr/>
        </p:nvSpPr>
        <p:spPr>
          <a:xfrm>
            <a:off x="807033" y="3227678"/>
            <a:ext cx="2797541" cy="592470"/>
          </a:xfrm>
          <a:prstGeom prst="rect">
            <a:avLst/>
          </a:prstGeom>
          <a:noFill/>
        </p:spPr>
        <p:txBody>
          <a:bodyPr wrap="square" lIns="0" tIns="0" rIns="0" bIns="0" rtlCol="0">
            <a:spAutoFit/>
          </a:bodyPr>
          <a:lstStyle/>
          <a:p>
            <a:pPr marL="137160" indent="-137160">
              <a:spcBef>
                <a:spcPts val="100"/>
              </a:spcBef>
              <a:buFont typeface="Wingdings" panose="05000000000000000000" pitchFamily="2" charset="2"/>
              <a:buChar char="§"/>
            </a:pPr>
            <a:r>
              <a:rPr lang="en-US" sz="900" dirty="0">
                <a:latin typeface="+mj-lt"/>
              </a:rPr>
              <a:t>Virtualized, </a:t>
            </a:r>
            <a:r>
              <a:rPr lang="en-US" sz="900" dirty="0" smtClean="0">
                <a:latin typeface="+mj-lt"/>
              </a:rPr>
              <a:t>5G-Ready Core</a:t>
            </a:r>
          </a:p>
          <a:p>
            <a:pPr marL="137160" indent="-137160">
              <a:spcBef>
                <a:spcPts val="100"/>
              </a:spcBef>
              <a:buFont typeface="Wingdings" panose="05000000000000000000" pitchFamily="2" charset="2"/>
              <a:buChar char="§"/>
            </a:pPr>
            <a:r>
              <a:rPr lang="en-US" sz="900" dirty="0" smtClean="0">
                <a:latin typeface="+mj-lt"/>
              </a:rPr>
              <a:t>Supports 2G, 3G, LTE, LTE-M</a:t>
            </a:r>
            <a:r>
              <a:rPr lang="en-US" sz="900" dirty="0">
                <a:latin typeface="+mj-lt"/>
              </a:rPr>
              <a:t>, NB-IoT, </a:t>
            </a:r>
            <a:r>
              <a:rPr lang="en-US" sz="900" dirty="0" smtClean="0">
                <a:latin typeface="+mj-lt"/>
              </a:rPr>
              <a:t>Wi-Fi, LoRa</a:t>
            </a:r>
            <a:endParaRPr lang="en-US" sz="900" dirty="0">
              <a:latin typeface="+mj-lt"/>
            </a:endParaRPr>
          </a:p>
          <a:p>
            <a:pPr marL="137160" indent="-137160">
              <a:spcBef>
                <a:spcPts val="100"/>
              </a:spcBef>
              <a:buFont typeface="Wingdings" panose="05000000000000000000" pitchFamily="2" charset="2"/>
              <a:buChar char="§"/>
            </a:pPr>
            <a:r>
              <a:rPr lang="en-US" sz="900" dirty="0" smtClean="0">
                <a:latin typeface="+mj-lt"/>
              </a:rPr>
              <a:t>Simplifies, Automates IoT Connectivity</a:t>
            </a:r>
          </a:p>
          <a:p>
            <a:pPr marL="137160" indent="-137160">
              <a:spcBef>
                <a:spcPts val="100"/>
              </a:spcBef>
              <a:buFont typeface="Wingdings" panose="05000000000000000000" pitchFamily="2" charset="2"/>
              <a:buChar char="§"/>
            </a:pPr>
            <a:r>
              <a:rPr lang="en-US" sz="900" dirty="0">
                <a:latin typeface="+mj-lt"/>
              </a:rPr>
              <a:t>Network Slicing </a:t>
            </a:r>
            <a:r>
              <a:rPr lang="en-US" sz="900" dirty="0" smtClean="0">
                <a:latin typeface="+mj-lt"/>
              </a:rPr>
              <a:t>for Logical Networks</a:t>
            </a:r>
            <a:endParaRPr lang="en-US" sz="900" dirty="0">
              <a:latin typeface="+mj-lt"/>
            </a:endParaRPr>
          </a:p>
        </p:txBody>
      </p:sp>
      <p:sp>
        <p:nvSpPr>
          <p:cNvPr id="417" name="Rectangle 416"/>
          <p:cNvSpPr/>
          <p:nvPr/>
        </p:nvSpPr>
        <p:spPr>
          <a:xfrm>
            <a:off x="1428750" y="1824750"/>
            <a:ext cx="1628880" cy="623248"/>
          </a:xfrm>
          <a:prstGeom prst="rect">
            <a:avLst/>
          </a:prstGeom>
          <a:noFill/>
          <a:ln w="25400" cap="rnd" cmpd="sng" algn="ctr">
            <a:noFill/>
            <a:prstDash val="solid"/>
          </a:ln>
          <a:effectLst/>
        </p:spPr>
        <p:txBody>
          <a:bodyPr wrap="square" lIns="0" tIns="0" rIns="0" bIns="0" rtlCol="0" anchor="t" anchorCtr="0">
            <a:spAutoFit/>
          </a:bodyPr>
          <a:lstStyle/>
          <a:p>
            <a:pPr lvl="0" algn="ctr">
              <a:lnSpc>
                <a:spcPct val="90000"/>
              </a:lnSpc>
            </a:pPr>
            <a:r>
              <a:rPr lang="en-US" sz="1500" kern="0" dirty="0" smtClean="0">
                <a:solidFill>
                  <a:schemeClr val="accent1"/>
                </a:solidFill>
                <a:latin typeface="+mj-lt"/>
              </a:rPr>
              <a:t>Cisco </a:t>
            </a:r>
            <a:br>
              <a:rPr lang="en-US" sz="1500" kern="0" dirty="0" smtClean="0">
                <a:solidFill>
                  <a:schemeClr val="accent1"/>
                </a:solidFill>
                <a:latin typeface="+mj-lt"/>
              </a:rPr>
            </a:br>
            <a:r>
              <a:rPr lang="en-US" sz="1500" kern="0" dirty="0" smtClean="0">
                <a:solidFill>
                  <a:schemeClr val="accent1"/>
                </a:solidFill>
                <a:latin typeface="+mj-lt"/>
              </a:rPr>
              <a:t>Ultra Services</a:t>
            </a:r>
            <a:br>
              <a:rPr lang="en-US" sz="1500" kern="0" dirty="0" smtClean="0">
                <a:solidFill>
                  <a:schemeClr val="accent1"/>
                </a:solidFill>
                <a:latin typeface="+mj-lt"/>
              </a:rPr>
            </a:br>
            <a:r>
              <a:rPr lang="en-US" sz="1500" kern="0" dirty="0" smtClean="0">
                <a:solidFill>
                  <a:schemeClr val="accent1"/>
                </a:solidFill>
                <a:latin typeface="+mj-lt"/>
              </a:rPr>
              <a:t>Platform for </a:t>
            </a:r>
            <a:r>
              <a:rPr lang="en-US" sz="1500" kern="0" dirty="0" err="1" smtClean="0">
                <a:solidFill>
                  <a:schemeClr val="accent1"/>
                </a:solidFill>
                <a:latin typeface="+mj-lt"/>
              </a:rPr>
              <a:t>IoT</a:t>
            </a:r>
            <a:endParaRPr kumimoji="0" lang="en-US" sz="1500" b="0" i="0" u="none" strike="noStrike" kern="0" cap="none" spc="0" normalizeH="0" baseline="0" noProof="0" dirty="0">
              <a:ln>
                <a:noFill/>
              </a:ln>
              <a:solidFill>
                <a:schemeClr val="accent1"/>
              </a:solidFill>
              <a:effectLst/>
              <a:uLnTx/>
              <a:uFillTx/>
              <a:latin typeface="+mj-lt"/>
            </a:endParaRPr>
          </a:p>
        </p:txBody>
      </p:sp>
      <p:grpSp>
        <p:nvGrpSpPr>
          <p:cNvPr id="29" name="Group 423"/>
          <p:cNvGrpSpPr/>
          <p:nvPr/>
        </p:nvGrpSpPr>
        <p:grpSpPr>
          <a:xfrm>
            <a:off x="746914" y="2519461"/>
            <a:ext cx="2857660" cy="640080"/>
            <a:chOff x="765964" y="2621061"/>
            <a:chExt cx="2857660" cy="640080"/>
          </a:xfrm>
        </p:grpSpPr>
        <p:sp>
          <p:nvSpPr>
            <p:cNvPr id="418" name="Rounded Rectangle 417"/>
            <p:cNvSpPr/>
            <p:nvPr/>
          </p:nvSpPr>
          <p:spPr>
            <a:xfrm>
              <a:off x="810414" y="2846953"/>
              <a:ext cx="885036" cy="367799"/>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Ultra Packet Core</a:t>
              </a:r>
            </a:p>
          </p:txBody>
        </p:sp>
        <p:sp>
          <p:nvSpPr>
            <p:cNvPr id="419" name="Rounded Rectangle 418"/>
            <p:cNvSpPr/>
            <p:nvPr/>
          </p:nvSpPr>
          <p:spPr>
            <a:xfrm>
              <a:off x="1752600" y="2846953"/>
              <a:ext cx="885036" cy="367799"/>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Ultra Policy Platform</a:t>
              </a:r>
            </a:p>
          </p:txBody>
        </p:sp>
        <p:sp>
          <p:nvSpPr>
            <p:cNvPr id="420" name="Rounded Rectangle 419"/>
            <p:cNvSpPr/>
            <p:nvPr/>
          </p:nvSpPr>
          <p:spPr>
            <a:xfrm>
              <a:off x="2694786" y="2846953"/>
              <a:ext cx="885036" cy="367799"/>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b="1" dirty="0" smtClean="0">
                  <a:latin typeface="+mj-lt"/>
                </a:rPr>
                <a:t>Ultra Services Framework</a:t>
              </a:r>
            </a:p>
          </p:txBody>
        </p:sp>
        <p:sp>
          <p:nvSpPr>
            <p:cNvPr id="421" name="Rounded Rectangle 420"/>
            <p:cNvSpPr/>
            <p:nvPr/>
          </p:nvSpPr>
          <p:spPr>
            <a:xfrm>
              <a:off x="765964" y="2621061"/>
              <a:ext cx="2857660" cy="640080"/>
            </a:xfrm>
            <a:prstGeom prst="roundRect">
              <a:avLst/>
            </a:prstGeom>
            <a:no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23" name="Rectangle 422"/>
            <p:cNvSpPr/>
            <p:nvPr/>
          </p:nvSpPr>
          <p:spPr>
            <a:xfrm>
              <a:off x="1420544" y="2674779"/>
              <a:ext cx="1548502" cy="169277"/>
            </a:xfrm>
            <a:prstGeom prst="rect">
              <a:avLst/>
            </a:prstGeom>
          </p:spPr>
          <p:txBody>
            <a:bodyPr wrap="none" lIns="0" tIns="0" rIns="0" bIns="0">
              <a:spAutoFit/>
            </a:bodyPr>
            <a:lstStyle/>
            <a:p>
              <a:pPr algn="ctr"/>
              <a:r>
                <a:rPr lang="en-GB" sz="1100" b="1" dirty="0" smtClean="0">
                  <a:solidFill>
                    <a:schemeClr val="bg2"/>
                  </a:solidFill>
                  <a:latin typeface="+mj-lt"/>
                </a:rPr>
                <a:t>Ultra Services Platform</a:t>
              </a:r>
              <a:endParaRPr lang="en-GB" sz="1100" b="1" dirty="0">
                <a:solidFill>
                  <a:schemeClr val="bg2"/>
                </a:solidFill>
                <a:latin typeface="+mj-lt"/>
              </a:endParaRPr>
            </a:p>
          </p:txBody>
        </p:sp>
      </p:grpSp>
      <p:sp>
        <p:nvSpPr>
          <p:cNvPr id="425" name="TextBox 424"/>
          <p:cNvSpPr txBox="1"/>
          <p:nvPr/>
        </p:nvSpPr>
        <p:spPr>
          <a:xfrm>
            <a:off x="1488769" y="3892844"/>
            <a:ext cx="1297150" cy="261610"/>
          </a:xfrm>
          <a:prstGeom prst="rect">
            <a:avLst/>
          </a:prstGeom>
          <a:noFill/>
        </p:spPr>
        <p:txBody>
          <a:bodyPr wrap="none" rtlCol="0">
            <a:spAutoFit/>
          </a:bodyPr>
          <a:lstStyle/>
          <a:p>
            <a:pPr algn="ctr"/>
            <a:r>
              <a:rPr lang="en-US" sz="1100" b="1" dirty="0" smtClean="0">
                <a:solidFill>
                  <a:schemeClr val="accent1"/>
                </a:solidFill>
                <a:latin typeface="+mj-lt"/>
              </a:rPr>
              <a:t>Service Provider</a:t>
            </a:r>
            <a:endParaRPr lang="en-US" sz="1100" b="1" dirty="0">
              <a:solidFill>
                <a:schemeClr val="accent1"/>
              </a:solidFill>
              <a:latin typeface="+mj-lt"/>
            </a:endParaRPr>
          </a:p>
        </p:txBody>
      </p:sp>
      <p:grpSp>
        <p:nvGrpSpPr>
          <p:cNvPr id="30" name="Group 447"/>
          <p:cNvGrpSpPr/>
          <p:nvPr/>
        </p:nvGrpSpPr>
        <p:grpSpPr>
          <a:xfrm>
            <a:off x="527617" y="1557823"/>
            <a:ext cx="3395556" cy="184666"/>
            <a:chOff x="527617" y="1573063"/>
            <a:chExt cx="3395556" cy="184666"/>
          </a:xfrm>
        </p:grpSpPr>
        <p:grpSp>
          <p:nvGrpSpPr>
            <p:cNvPr id="31" name="Group 433"/>
            <p:cNvGrpSpPr/>
            <p:nvPr/>
          </p:nvGrpSpPr>
          <p:grpSpPr>
            <a:xfrm>
              <a:off x="527617" y="1573063"/>
              <a:ext cx="771785" cy="184666"/>
              <a:chOff x="365777" y="1630677"/>
              <a:chExt cx="771785" cy="184666"/>
            </a:xfrm>
          </p:grpSpPr>
          <p:sp>
            <p:nvSpPr>
              <p:cNvPr id="427" name="Rectangle 426"/>
              <p:cNvSpPr/>
              <p:nvPr/>
            </p:nvSpPr>
            <p:spPr>
              <a:xfrm>
                <a:off x="550863" y="1630677"/>
                <a:ext cx="586699" cy="184666"/>
              </a:xfrm>
              <a:prstGeom prst="rect">
                <a:avLst/>
              </a:prstGeom>
            </p:spPr>
            <p:txBody>
              <a:bodyPr wrap="none" lIns="0" tIns="0" rIns="0" bIns="0">
                <a:spAutoFit/>
              </a:bodyPr>
              <a:lstStyle/>
              <a:p>
                <a:r>
                  <a:rPr lang="en-GB" sz="1200" dirty="0" smtClean="0">
                    <a:solidFill>
                      <a:schemeClr val="accent6"/>
                    </a:solidFill>
                    <a:latin typeface="+mj-lt"/>
                  </a:rPr>
                  <a:t>Scalable</a:t>
                </a:r>
                <a:endParaRPr lang="en-GB" sz="1400" dirty="0">
                  <a:solidFill>
                    <a:schemeClr val="accent6"/>
                  </a:solidFill>
                  <a:latin typeface="+mj-lt"/>
                </a:endParaRPr>
              </a:p>
            </p:txBody>
          </p:sp>
          <p:sp>
            <p:nvSpPr>
              <p:cNvPr id="430" name="Freeform 23"/>
              <p:cNvSpPr>
                <a:spLocks noEditPoints="1"/>
              </p:cNvSpPr>
              <p:nvPr/>
            </p:nvSpPr>
            <p:spPr bwMode="auto">
              <a:xfrm>
                <a:off x="365777" y="1656913"/>
                <a:ext cx="132943" cy="132195"/>
              </a:xfrm>
              <a:custGeom>
                <a:avLst/>
                <a:gdLst/>
                <a:ahLst/>
                <a:cxnLst>
                  <a:cxn ang="0">
                    <a:pos x="460" y="270"/>
                  </a:cxn>
                  <a:cxn ang="0">
                    <a:pos x="444" y="286"/>
                  </a:cxn>
                  <a:cxn ang="0">
                    <a:pos x="444" y="492"/>
                  </a:cxn>
                  <a:cxn ang="0">
                    <a:pos x="32" y="492"/>
                  </a:cxn>
                  <a:cxn ang="0">
                    <a:pos x="32" y="80"/>
                  </a:cxn>
                  <a:cxn ang="0">
                    <a:pos x="238" y="80"/>
                  </a:cxn>
                  <a:cxn ang="0">
                    <a:pos x="254" y="64"/>
                  </a:cxn>
                  <a:cxn ang="0">
                    <a:pos x="238" y="48"/>
                  </a:cxn>
                  <a:cxn ang="0">
                    <a:pos x="16" y="48"/>
                  </a:cxn>
                  <a:cxn ang="0">
                    <a:pos x="0" y="64"/>
                  </a:cxn>
                  <a:cxn ang="0">
                    <a:pos x="0" y="508"/>
                  </a:cxn>
                  <a:cxn ang="0">
                    <a:pos x="16" y="524"/>
                  </a:cxn>
                  <a:cxn ang="0">
                    <a:pos x="460" y="524"/>
                  </a:cxn>
                  <a:cxn ang="0">
                    <a:pos x="476" y="508"/>
                  </a:cxn>
                  <a:cxn ang="0">
                    <a:pos x="476" y="286"/>
                  </a:cxn>
                  <a:cxn ang="0">
                    <a:pos x="460" y="270"/>
                  </a:cxn>
                  <a:cxn ang="0">
                    <a:pos x="511" y="0"/>
                  </a:cxn>
                  <a:cxn ang="0">
                    <a:pos x="361" y="0"/>
                  </a:cxn>
                  <a:cxn ang="0">
                    <a:pos x="353" y="2"/>
                  </a:cxn>
                  <a:cxn ang="0">
                    <a:pos x="348" y="5"/>
                  </a:cxn>
                  <a:cxn ang="0">
                    <a:pos x="348" y="25"/>
                  </a:cxn>
                  <a:cxn ang="0">
                    <a:pos x="349" y="26"/>
                  </a:cxn>
                  <a:cxn ang="0">
                    <a:pos x="351" y="28"/>
                  </a:cxn>
                  <a:cxn ang="0">
                    <a:pos x="412" y="89"/>
                  </a:cxn>
                  <a:cxn ang="0">
                    <a:pos x="314" y="187"/>
                  </a:cxn>
                  <a:cxn ang="0">
                    <a:pos x="250" y="123"/>
                  </a:cxn>
                  <a:cxn ang="0">
                    <a:pos x="236" y="120"/>
                  </a:cxn>
                  <a:cxn ang="0">
                    <a:pos x="222" y="136"/>
                  </a:cxn>
                  <a:cxn ang="0">
                    <a:pos x="222" y="286"/>
                  </a:cxn>
                  <a:cxn ang="0">
                    <a:pos x="222" y="289"/>
                  </a:cxn>
                  <a:cxn ang="0">
                    <a:pos x="223" y="290"/>
                  </a:cxn>
                  <a:cxn ang="0">
                    <a:pos x="223" y="292"/>
                  </a:cxn>
                  <a:cxn ang="0">
                    <a:pos x="224" y="294"/>
                  </a:cxn>
                  <a:cxn ang="0">
                    <a:pos x="225" y="295"/>
                  </a:cxn>
                  <a:cxn ang="0">
                    <a:pos x="227" y="297"/>
                  </a:cxn>
                  <a:cxn ang="0">
                    <a:pos x="227" y="297"/>
                  </a:cxn>
                  <a:cxn ang="0">
                    <a:pos x="229" y="299"/>
                  </a:cxn>
                  <a:cxn ang="0">
                    <a:pos x="230" y="300"/>
                  </a:cxn>
                  <a:cxn ang="0">
                    <a:pos x="232" y="301"/>
                  </a:cxn>
                  <a:cxn ang="0">
                    <a:pos x="234" y="301"/>
                  </a:cxn>
                  <a:cxn ang="0">
                    <a:pos x="235" y="302"/>
                  </a:cxn>
                  <a:cxn ang="0">
                    <a:pos x="238" y="302"/>
                  </a:cxn>
                  <a:cxn ang="0">
                    <a:pos x="388" y="302"/>
                  </a:cxn>
                  <a:cxn ang="0">
                    <a:pos x="404" y="289"/>
                  </a:cxn>
                  <a:cxn ang="0">
                    <a:pos x="401" y="274"/>
                  </a:cxn>
                  <a:cxn ang="0">
                    <a:pos x="337" y="210"/>
                  </a:cxn>
                  <a:cxn ang="0">
                    <a:pos x="435" y="112"/>
                  </a:cxn>
                  <a:cxn ang="0">
                    <a:pos x="499" y="176"/>
                  </a:cxn>
                  <a:cxn ang="0">
                    <a:pos x="499" y="176"/>
                  </a:cxn>
                  <a:cxn ang="0">
                    <a:pos x="511" y="182"/>
                  </a:cxn>
                  <a:cxn ang="0">
                    <a:pos x="527" y="166"/>
                  </a:cxn>
                  <a:cxn ang="0">
                    <a:pos x="527" y="16"/>
                  </a:cxn>
                  <a:cxn ang="0">
                    <a:pos x="511" y="0"/>
                  </a:cxn>
                </a:cxnLst>
                <a:rect l="0" t="0" r="r" b="b"/>
                <a:pathLst>
                  <a:path w="527" h="524">
                    <a:moveTo>
                      <a:pt x="460" y="270"/>
                    </a:moveTo>
                    <a:cubicBezTo>
                      <a:pt x="451" y="270"/>
                      <a:pt x="444" y="277"/>
                      <a:pt x="444" y="286"/>
                    </a:cubicBezTo>
                    <a:cubicBezTo>
                      <a:pt x="444" y="492"/>
                      <a:pt x="444" y="492"/>
                      <a:pt x="444" y="492"/>
                    </a:cubicBezTo>
                    <a:cubicBezTo>
                      <a:pt x="32" y="492"/>
                      <a:pt x="32" y="492"/>
                      <a:pt x="32" y="492"/>
                    </a:cubicBezTo>
                    <a:cubicBezTo>
                      <a:pt x="32" y="80"/>
                      <a:pt x="32" y="80"/>
                      <a:pt x="32" y="80"/>
                    </a:cubicBezTo>
                    <a:cubicBezTo>
                      <a:pt x="238" y="80"/>
                      <a:pt x="238" y="80"/>
                      <a:pt x="238" y="80"/>
                    </a:cubicBezTo>
                    <a:cubicBezTo>
                      <a:pt x="247" y="80"/>
                      <a:pt x="254" y="73"/>
                      <a:pt x="254" y="64"/>
                    </a:cubicBezTo>
                    <a:cubicBezTo>
                      <a:pt x="254" y="55"/>
                      <a:pt x="247" y="48"/>
                      <a:pt x="238" y="48"/>
                    </a:cubicBezTo>
                    <a:cubicBezTo>
                      <a:pt x="16" y="48"/>
                      <a:pt x="16" y="48"/>
                      <a:pt x="16" y="48"/>
                    </a:cubicBezTo>
                    <a:cubicBezTo>
                      <a:pt x="7" y="48"/>
                      <a:pt x="0" y="55"/>
                      <a:pt x="0" y="64"/>
                    </a:cubicBezTo>
                    <a:cubicBezTo>
                      <a:pt x="0" y="508"/>
                      <a:pt x="0" y="508"/>
                      <a:pt x="0" y="508"/>
                    </a:cubicBezTo>
                    <a:cubicBezTo>
                      <a:pt x="0" y="517"/>
                      <a:pt x="7" y="524"/>
                      <a:pt x="16" y="524"/>
                    </a:cubicBezTo>
                    <a:cubicBezTo>
                      <a:pt x="460" y="524"/>
                      <a:pt x="460" y="524"/>
                      <a:pt x="460" y="524"/>
                    </a:cubicBezTo>
                    <a:cubicBezTo>
                      <a:pt x="469" y="524"/>
                      <a:pt x="476" y="517"/>
                      <a:pt x="476" y="508"/>
                    </a:cubicBezTo>
                    <a:cubicBezTo>
                      <a:pt x="476" y="286"/>
                      <a:pt x="476" y="286"/>
                      <a:pt x="476" y="286"/>
                    </a:cubicBezTo>
                    <a:cubicBezTo>
                      <a:pt x="476" y="277"/>
                      <a:pt x="469" y="270"/>
                      <a:pt x="460" y="270"/>
                    </a:cubicBezTo>
                    <a:close/>
                    <a:moveTo>
                      <a:pt x="511" y="0"/>
                    </a:moveTo>
                    <a:cubicBezTo>
                      <a:pt x="361" y="0"/>
                      <a:pt x="361" y="0"/>
                      <a:pt x="361" y="0"/>
                    </a:cubicBezTo>
                    <a:cubicBezTo>
                      <a:pt x="358" y="0"/>
                      <a:pt x="355" y="1"/>
                      <a:pt x="353" y="2"/>
                    </a:cubicBezTo>
                    <a:cubicBezTo>
                      <a:pt x="351" y="3"/>
                      <a:pt x="350" y="4"/>
                      <a:pt x="348" y="5"/>
                    </a:cubicBezTo>
                    <a:cubicBezTo>
                      <a:pt x="343" y="11"/>
                      <a:pt x="343" y="20"/>
                      <a:pt x="348" y="25"/>
                    </a:cubicBezTo>
                    <a:cubicBezTo>
                      <a:pt x="349" y="26"/>
                      <a:pt x="349" y="26"/>
                      <a:pt x="349" y="26"/>
                    </a:cubicBezTo>
                    <a:cubicBezTo>
                      <a:pt x="351" y="28"/>
                      <a:pt x="351" y="28"/>
                      <a:pt x="351" y="28"/>
                    </a:cubicBezTo>
                    <a:cubicBezTo>
                      <a:pt x="412" y="89"/>
                      <a:pt x="412" y="89"/>
                      <a:pt x="412" y="89"/>
                    </a:cubicBezTo>
                    <a:cubicBezTo>
                      <a:pt x="314" y="187"/>
                      <a:pt x="314" y="187"/>
                      <a:pt x="314" y="187"/>
                    </a:cubicBezTo>
                    <a:cubicBezTo>
                      <a:pt x="250" y="123"/>
                      <a:pt x="250" y="123"/>
                      <a:pt x="250" y="123"/>
                    </a:cubicBezTo>
                    <a:cubicBezTo>
                      <a:pt x="246" y="119"/>
                      <a:pt x="241" y="118"/>
                      <a:pt x="236" y="120"/>
                    </a:cubicBezTo>
                    <a:cubicBezTo>
                      <a:pt x="228" y="121"/>
                      <a:pt x="222" y="128"/>
                      <a:pt x="222" y="136"/>
                    </a:cubicBezTo>
                    <a:cubicBezTo>
                      <a:pt x="222" y="286"/>
                      <a:pt x="222" y="286"/>
                      <a:pt x="222" y="286"/>
                    </a:cubicBezTo>
                    <a:cubicBezTo>
                      <a:pt x="222" y="287"/>
                      <a:pt x="222" y="288"/>
                      <a:pt x="222" y="289"/>
                    </a:cubicBezTo>
                    <a:cubicBezTo>
                      <a:pt x="222" y="290"/>
                      <a:pt x="223" y="290"/>
                      <a:pt x="223" y="290"/>
                    </a:cubicBezTo>
                    <a:cubicBezTo>
                      <a:pt x="223" y="291"/>
                      <a:pt x="223" y="292"/>
                      <a:pt x="223" y="292"/>
                    </a:cubicBezTo>
                    <a:cubicBezTo>
                      <a:pt x="223" y="293"/>
                      <a:pt x="224" y="293"/>
                      <a:pt x="224" y="294"/>
                    </a:cubicBezTo>
                    <a:cubicBezTo>
                      <a:pt x="224" y="294"/>
                      <a:pt x="224" y="294"/>
                      <a:pt x="225" y="295"/>
                    </a:cubicBezTo>
                    <a:cubicBezTo>
                      <a:pt x="225" y="296"/>
                      <a:pt x="226" y="297"/>
                      <a:pt x="227" y="297"/>
                    </a:cubicBezTo>
                    <a:cubicBezTo>
                      <a:pt x="227" y="297"/>
                      <a:pt x="227" y="297"/>
                      <a:pt x="227" y="297"/>
                    </a:cubicBezTo>
                    <a:cubicBezTo>
                      <a:pt x="227" y="298"/>
                      <a:pt x="228" y="299"/>
                      <a:pt x="229" y="299"/>
                    </a:cubicBezTo>
                    <a:cubicBezTo>
                      <a:pt x="230" y="300"/>
                      <a:pt x="230" y="300"/>
                      <a:pt x="230" y="300"/>
                    </a:cubicBezTo>
                    <a:cubicBezTo>
                      <a:pt x="231" y="300"/>
                      <a:pt x="231" y="301"/>
                      <a:pt x="232" y="301"/>
                    </a:cubicBezTo>
                    <a:cubicBezTo>
                      <a:pt x="232" y="301"/>
                      <a:pt x="233" y="301"/>
                      <a:pt x="234" y="301"/>
                    </a:cubicBezTo>
                    <a:cubicBezTo>
                      <a:pt x="234" y="301"/>
                      <a:pt x="234" y="302"/>
                      <a:pt x="235" y="302"/>
                    </a:cubicBezTo>
                    <a:cubicBezTo>
                      <a:pt x="236" y="302"/>
                      <a:pt x="237" y="302"/>
                      <a:pt x="238" y="302"/>
                    </a:cubicBezTo>
                    <a:cubicBezTo>
                      <a:pt x="388" y="302"/>
                      <a:pt x="388" y="302"/>
                      <a:pt x="388" y="302"/>
                    </a:cubicBezTo>
                    <a:cubicBezTo>
                      <a:pt x="396" y="302"/>
                      <a:pt x="402" y="297"/>
                      <a:pt x="404" y="289"/>
                    </a:cubicBezTo>
                    <a:cubicBezTo>
                      <a:pt x="406" y="284"/>
                      <a:pt x="405" y="278"/>
                      <a:pt x="401" y="274"/>
                    </a:cubicBezTo>
                    <a:cubicBezTo>
                      <a:pt x="337" y="210"/>
                      <a:pt x="337" y="210"/>
                      <a:pt x="337" y="210"/>
                    </a:cubicBezTo>
                    <a:cubicBezTo>
                      <a:pt x="435" y="112"/>
                      <a:pt x="435" y="112"/>
                      <a:pt x="435" y="112"/>
                    </a:cubicBezTo>
                    <a:cubicBezTo>
                      <a:pt x="499" y="176"/>
                      <a:pt x="499" y="176"/>
                      <a:pt x="499" y="176"/>
                    </a:cubicBezTo>
                    <a:cubicBezTo>
                      <a:pt x="499" y="176"/>
                      <a:pt x="499" y="176"/>
                      <a:pt x="499" y="176"/>
                    </a:cubicBezTo>
                    <a:cubicBezTo>
                      <a:pt x="502" y="180"/>
                      <a:pt x="506" y="182"/>
                      <a:pt x="511" y="182"/>
                    </a:cubicBezTo>
                    <a:cubicBezTo>
                      <a:pt x="520" y="182"/>
                      <a:pt x="527" y="175"/>
                      <a:pt x="527" y="166"/>
                    </a:cubicBezTo>
                    <a:cubicBezTo>
                      <a:pt x="527" y="16"/>
                      <a:pt x="527" y="16"/>
                      <a:pt x="527" y="16"/>
                    </a:cubicBezTo>
                    <a:cubicBezTo>
                      <a:pt x="527" y="7"/>
                      <a:pt x="520" y="0"/>
                      <a:pt x="511" y="0"/>
                    </a:cubicBez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sz="1600" dirty="0">
                  <a:solidFill>
                    <a:schemeClr val="accent6"/>
                  </a:solidFill>
                  <a:latin typeface="+mj-lt"/>
                </a:endParaRPr>
              </a:p>
            </p:txBody>
          </p:sp>
        </p:grpSp>
        <p:grpSp>
          <p:nvGrpSpPr>
            <p:cNvPr id="128" name="Group 439"/>
            <p:cNvGrpSpPr/>
            <p:nvPr/>
          </p:nvGrpSpPr>
          <p:grpSpPr>
            <a:xfrm>
              <a:off x="3286040" y="1573063"/>
              <a:ext cx="637133" cy="184666"/>
              <a:chOff x="3286040" y="1606401"/>
              <a:chExt cx="637133" cy="184666"/>
            </a:xfrm>
          </p:grpSpPr>
          <p:sp>
            <p:nvSpPr>
              <p:cNvPr id="436" name="Rectangle 435"/>
              <p:cNvSpPr/>
              <p:nvPr/>
            </p:nvSpPr>
            <p:spPr>
              <a:xfrm>
                <a:off x="3471126" y="1606401"/>
                <a:ext cx="452047" cy="184666"/>
              </a:xfrm>
              <a:prstGeom prst="rect">
                <a:avLst/>
              </a:prstGeom>
            </p:spPr>
            <p:txBody>
              <a:bodyPr wrap="none" lIns="0" tIns="0" rIns="0" bIns="0">
                <a:spAutoFit/>
              </a:bodyPr>
              <a:lstStyle/>
              <a:p>
                <a:r>
                  <a:rPr lang="en-GB" sz="1200" dirty="0" smtClean="0">
                    <a:solidFill>
                      <a:schemeClr val="accent6"/>
                    </a:solidFill>
                    <a:latin typeface="+mj-lt"/>
                  </a:rPr>
                  <a:t>Elastic</a:t>
                </a:r>
              </a:p>
            </p:txBody>
          </p:sp>
          <p:sp>
            <p:nvSpPr>
              <p:cNvPr id="439" name="Freeform 6"/>
              <p:cNvSpPr>
                <a:spLocks/>
              </p:cNvSpPr>
              <p:nvPr/>
            </p:nvSpPr>
            <p:spPr bwMode="auto">
              <a:xfrm>
                <a:off x="3286040" y="1618191"/>
                <a:ext cx="132943" cy="161087"/>
              </a:xfrm>
              <a:custGeom>
                <a:avLst/>
                <a:gdLst/>
                <a:ahLst/>
                <a:cxnLst>
                  <a:cxn ang="0">
                    <a:pos x="36" y="298"/>
                  </a:cxn>
                  <a:cxn ang="0">
                    <a:pos x="25" y="291"/>
                  </a:cxn>
                  <a:cxn ang="0">
                    <a:pos x="32" y="277"/>
                  </a:cxn>
                  <a:cxn ang="0">
                    <a:pos x="170" y="245"/>
                  </a:cxn>
                  <a:cxn ang="0">
                    <a:pos x="26" y="209"/>
                  </a:cxn>
                  <a:cxn ang="0">
                    <a:pos x="16" y="199"/>
                  </a:cxn>
                  <a:cxn ang="0">
                    <a:pos x="24" y="187"/>
                  </a:cxn>
                  <a:cxn ang="0">
                    <a:pos x="171" y="169"/>
                  </a:cxn>
                  <a:cxn ang="0">
                    <a:pos x="17" y="124"/>
                  </a:cxn>
                  <a:cxn ang="0">
                    <a:pos x="8" y="113"/>
                  </a:cxn>
                  <a:cxn ang="0">
                    <a:pos x="17" y="102"/>
                  </a:cxn>
                  <a:cxn ang="0">
                    <a:pos x="163" y="93"/>
                  </a:cxn>
                  <a:cxn ang="0">
                    <a:pos x="11" y="54"/>
                  </a:cxn>
                  <a:cxn ang="0">
                    <a:pos x="1" y="44"/>
                  </a:cxn>
                  <a:cxn ang="0">
                    <a:pos x="9" y="32"/>
                  </a:cxn>
                  <a:cxn ang="0">
                    <a:pos x="235" y="2"/>
                  </a:cxn>
                  <a:cxn ang="0">
                    <a:pos x="245" y="14"/>
                  </a:cxn>
                  <a:cxn ang="0">
                    <a:pos x="234" y="25"/>
                  </a:cxn>
                  <a:cxn ang="0">
                    <a:pos x="65" y="40"/>
                  </a:cxn>
                  <a:cxn ang="0">
                    <a:pos x="236" y="102"/>
                  </a:cxn>
                  <a:cxn ang="0">
                    <a:pos x="241" y="116"/>
                  </a:cxn>
                  <a:cxn ang="0">
                    <a:pos x="229" y="123"/>
                  </a:cxn>
                  <a:cxn ang="0">
                    <a:pos x="87" y="116"/>
                  </a:cxn>
                  <a:cxn ang="0">
                    <a:pos x="229" y="173"/>
                  </a:cxn>
                  <a:cxn ang="0">
                    <a:pos x="234" y="186"/>
                  </a:cxn>
                  <a:cxn ang="0">
                    <a:pos x="222" y="194"/>
                  </a:cxn>
                  <a:cxn ang="0">
                    <a:pos x="90" y="197"/>
                  </a:cxn>
                  <a:cxn ang="0">
                    <a:pos x="221" y="244"/>
                  </a:cxn>
                  <a:cxn ang="0">
                    <a:pos x="227" y="257"/>
                  </a:cxn>
                  <a:cxn ang="0">
                    <a:pos x="216" y="265"/>
                  </a:cxn>
                  <a:cxn ang="0">
                    <a:pos x="40" y="298"/>
                  </a:cxn>
                  <a:cxn ang="0">
                    <a:pos x="36" y="298"/>
                  </a:cxn>
                </a:cxnLst>
                <a:rect l="0" t="0" r="r" b="b"/>
                <a:pathLst>
                  <a:path w="246" h="298">
                    <a:moveTo>
                      <a:pt x="36" y="298"/>
                    </a:moveTo>
                    <a:cubicBezTo>
                      <a:pt x="31" y="298"/>
                      <a:pt x="27" y="295"/>
                      <a:pt x="25" y="291"/>
                    </a:cubicBezTo>
                    <a:cubicBezTo>
                      <a:pt x="23" y="285"/>
                      <a:pt x="26" y="279"/>
                      <a:pt x="32" y="277"/>
                    </a:cubicBezTo>
                    <a:cubicBezTo>
                      <a:pt x="77" y="260"/>
                      <a:pt x="123" y="250"/>
                      <a:pt x="170" y="245"/>
                    </a:cubicBezTo>
                    <a:cubicBezTo>
                      <a:pt x="124" y="227"/>
                      <a:pt x="75" y="214"/>
                      <a:pt x="26" y="209"/>
                    </a:cubicBezTo>
                    <a:cubicBezTo>
                      <a:pt x="20" y="208"/>
                      <a:pt x="16" y="204"/>
                      <a:pt x="16" y="199"/>
                    </a:cubicBezTo>
                    <a:cubicBezTo>
                      <a:pt x="16" y="193"/>
                      <a:pt x="19" y="188"/>
                      <a:pt x="24" y="187"/>
                    </a:cubicBezTo>
                    <a:cubicBezTo>
                      <a:pt x="73" y="175"/>
                      <a:pt x="122" y="169"/>
                      <a:pt x="171" y="169"/>
                    </a:cubicBezTo>
                    <a:cubicBezTo>
                      <a:pt x="122" y="147"/>
                      <a:pt x="70" y="132"/>
                      <a:pt x="17" y="124"/>
                    </a:cubicBezTo>
                    <a:cubicBezTo>
                      <a:pt x="12" y="123"/>
                      <a:pt x="8" y="118"/>
                      <a:pt x="8" y="113"/>
                    </a:cubicBezTo>
                    <a:cubicBezTo>
                      <a:pt x="8" y="107"/>
                      <a:pt x="11" y="103"/>
                      <a:pt x="17" y="102"/>
                    </a:cubicBezTo>
                    <a:cubicBezTo>
                      <a:pt x="65" y="93"/>
                      <a:pt x="114" y="90"/>
                      <a:pt x="163" y="93"/>
                    </a:cubicBezTo>
                    <a:cubicBezTo>
                      <a:pt x="114" y="74"/>
                      <a:pt x="63" y="60"/>
                      <a:pt x="11" y="54"/>
                    </a:cubicBezTo>
                    <a:cubicBezTo>
                      <a:pt x="5" y="53"/>
                      <a:pt x="1" y="49"/>
                      <a:pt x="1" y="44"/>
                    </a:cubicBezTo>
                    <a:cubicBezTo>
                      <a:pt x="0" y="39"/>
                      <a:pt x="4" y="34"/>
                      <a:pt x="9" y="32"/>
                    </a:cubicBezTo>
                    <a:cubicBezTo>
                      <a:pt x="82" y="10"/>
                      <a:pt x="158" y="0"/>
                      <a:pt x="235" y="2"/>
                    </a:cubicBezTo>
                    <a:cubicBezTo>
                      <a:pt x="241" y="3"/>
                      <a:pt x="246" y="8"/>
                      <a:pt x="245" y="14"/>
                    </a:cubicBezTo>
                    <a:cubicBezTo>
                      <a:pt x="245" y="20"/>
                      <a:pt x="240" y="25"/>
                      <a:pt x="234" y="25"/>
                    </a:cubicBezTo>
                    <a:cubicBezTo>
                      <a:pt x="177" y="23"/>
                      <a:pt x="120" y="28"/>
                      <a:pt x="65" y="40"/>
                    </a:cubicBezTo>
                    <a:cubicBezTo>
                      <a:pt x="124" y="53"/>
                      <a:pt x="181" y="73"/>
                      <a:pt x="236" y="102"/>
                    </a:cubicBezTo>
                    <a:cubicBezTo>
                      <a:pt x="240" y="105"/>
                      <a:pt x="243" y="110"/>
                      <a:pt x="241" y="116"/>
                    </a:cubicBezTo>
                    <a:cubicBezTo>
                      <a:pt x="239" y="121"/>
                      <a:pt x="234" y="124"/>
                      <a:pt x="229" y="123"/>
                    </a:cubicBezTo>
                    <a:cubicBezTo>
                      <a:pt x="182" y="115"/>
                      <a:pt x="134" y="112"/>
                      <a:pt x="87" y="116"/>
                    </a:cubicBezTo>
                    <a:cubicBezTo>
                      <a:pt x="136" y="129"/>
                      <a:pt x="184" y="148"/>
                      <a:pt x="229" y="173"/>
                    </a:cubicBezTo>
                    <a:cubicBezTo>
                      <a:pt x="233" y="176"/>
                      <a:pt x="236" y="181"/>
                      <a:pt x="234" y="186"/>
                    </a:cubicBezTo>
                    <a:cubicBezTo>
                      <a:pt x="232" y="192"/>
                      <a:pt x="227" y="195"/>
                      <a:pt x="222" y="194"/>
                    </a:cubicBezTo>
                    <a:cubicBezTo>
                      <a:pt x="178" y="190"/>
                      <a:pt x="134" y="191"/>
                      <a:pt x="90" y="197"/>
                    </a:cubicBezTo>
                    <a:cubicBezTo>
                      <a:pt x="135" y="207"/>
                      <a:pt x="179" y="223"/>
                      <a:pt x="221" y="244"/>
                    </a:cubicBezTo>
                    <a:cubicBezTo>
                      <a:pt x="226" y="247"/>
                      <a:pt x="228" y="252"/>
                      <a:pt x="227" y="257"/>
                    </a:cubicBezTo>
                    <a:cubicBezTo>
                      <a:pt x="226" y="262"/>
                      <a:pt x="222" y="265"/>
                      <a:pt x="216" y="265"/>
                    </a:cubicBezTo>
                    <a:cubicBezTo>
                      <a:pt x="156" y="266"/>
                      <a:pt x="97" y="277"/>
                      <a:pt x="40" y="298"/>
                    </a:cubicBezTo>
                    <a:cubicBezTo>
                      <a:pt x="38" y="298"/>
                      <a:pt x="37" y="298"/>
                      <a:pt x="36" y="298"/>
                    </a:cubicBez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latin typeface="+mj-lt"/>
                </a:endParaRPr>
              </a:p>
            </p:txBody>
          </p:sp>
        </p:grpSp>
        <p:sp>
          <p:nvSpPr>
            <p:cNvPr id="441" name="Freeform 6"/>
            <p:cNvSpPr>
              <a:spLocks/>
            </p:cNvSpPr>
            <p:nvPr/>
          </p:nvSpPr>
          <p:spPr bwMode="auto">
            <a:xfrm>
              <a:off x="3286040" y="1584853"/>
              <a:ext cx="132943" cy="161087"/>
            </a:xfrm>
            <a:custGeom>
              <a:avLst/>
              <a:gdLst/>
              <a:ahLst/>
              <a:cxnLst>
                <a:cxn ang="0">
                  <a:pos x="36" y="298"/>
                </a:cxn>
                <a:cxn ang="0">
                  <a:pos x="25" y="291"/>
                </a:cxn>
                <a:cxn ang="0">
                  <a:pos x="32" y="277"/>
                </a:cxn>
                <a:cxn ang="0">
                  <a:pos x="170" y="245"/>
                </a:cxn>
                <a:cxn ang="0">
                  <a:pos x="26" y="209"/>
                </a:cxn>
                <a:cxn ang="0">
                  <a:pos x="16" y="199"/>
                </a:cxn>
                <a:cxn ang="0">
                  <a:pos x="24" y="187"/>
                </a:cxn>
                <a:cxn ang="0">
                  <a:pos x="171" y="169"/>
                </a:cxn>
                <a:cxn ang="0">
                  <a:pos x="17" y="124"/>
                </a:cxn>
                <a:cxn ang="0">
                  <a:pos x="8" y="113"/>
                </a:cxn>
                <a:cxn ang="0">
                  <a:pos x="17" y="102"/>
                </a:cxn>
                <a:cxn ang="0">
                  <a:pos x="163" y="93"/>
                </a:cxn>
                <a:cxn ang="0">
                  <a:pos x="11" y="54"/>
                </a:cxn>
                <a:cxn ang="0">
                  <a:pos x="1" y="44"/>
                </a:cxn>
                <a:cxn ang="0">
                  <a:pos x="9" y="32"/>
                </a:cxn>
                <a:cxn ang="0">
                  <a:pos x="235" y="2"/>
                </a:cxn>
                <a:cxn ang="0">
                  <a:pos x="245" y="14"/>
                </a:cxn>
                <a:cxn ang="0">
                  <a:pos x="234" y="25"/>
                </a:cxn>
                <a:cxn ang="0">
                  <a:pos x="65" y="40"/>
                </a:cxn>
                <a:cxn ang="0">
                  <a:pos x="236" y="102"/>
                </a:cxn>
                <a:cxn ang="0">
                  <a:pos x="241" y="116"/>
                </a:cxn>
                <a:cxn ang="0">
                  <a:pos x="229" y="123"/>
                </a:cxn>
                <a:cxn ang="0">
                  <a:pos x="87" y="116"/>
                </a:cxn>
                <a:cxn ang="0">
                  <a:pos x="229" y="173"/>
                </a:cxn>
                <a:cxn ang="0">
                  <a:pos x="234" y="186"/>
                </a:cxn>
                <a:cxn ang="0">
                  <a:pos x="222" y="194"/>
                </a:cxn>
                <a:cxn ang="0">
                  <a:pos x="90" y="197"/>
                </a:cxn>
                <a:cxn ang="0">
                  <a:pos x="221" y="244"/>
                </a:cxn>
                <a:cxn ang="0">
                  <a:pos x="227" y="257"/>
                </a:cxn>
                <a:cxn ang="0">
                  <a:pos x="216" y="265"/>
                </a:cxn>
                <a:cxn ang="0">
                  <a:pos x="40" y="298"/>
                </a:cxn>
                <a:cxn ang="0">
                  <a:pos x="36" y="298"/>
                </a:cxn>
              </a:cxnLst>
              <a:rect l="0" t="0" r="r" b="b"/>
              <a:pathLst>
                <a:path w="246" h="298">
                  <a:moveTo>
                    <a:pt x="36" y="298"/>
                  </a:moveTo>
                  <a:cubicBezTo>
                    <a:pt x="31" y="298"/>
                    <a:pt x="27" y="295"/>
                    <a:pt x="25" y="291"/>
                  </a:cubicBezTo>
                  <a:cubicBezTo>
                    <a:pt x="23" y="285"/>
                    <a:pt x="26" y="279"/>
                    <a:pt x="32" y="277"/>
                  </a:cubicBezTo>
                  <a:cubicBezTo>
                    <a:pt x="77" y="260"/>
                    <a:pt x="123" y="250"/>
                    <a:pt x="170" y="245"/>
                  </a:cubicBezTo>
                  <a:cubicBezTo>
                    <a:pt x="124" y="227"/>
                    <a:pt x="75" y="214"/>
                    <a:pt x="26" y="209"/>
                  </a:cubicBezTo>
                  <a:cubicBezTo>
                    <a:pt x="20" y="208"/>
                    <a:pt x="16" y="204"/>
                    <a:pt x="16" y="199"/>
                  </a:cubicBezTo>
                  <a:cubicBezTo>
                    <a:pt x="16" y="193"/>
                    <a:pt x="19" y="188"/>
                    <a:pt x="24" y="187"/>
                  </a:cubicBezTo>
                  <a:cubicBezTo>
                    <a:pt x="73" y="175"/>
                    <a:pt x="122" y="169"/>
                    <a:pt x="171" y="169"/>
                  </a:cubicBezTo>
                  <a:cubicBezTo>
                    <a:pt x="122" y="147"/>
                    <a:pt x="70" y="132"/>
                    <a:pt x="17" y="124"/>
                  </a:cubicBezTo>
                  <a:cubicBezTo>
                    <a:pt x="12" y="123"/>
                    <a:pt x="8" y="118"/>
                    <a:pt x="8" y="113"/>
                  </a:cubicBezTo>
                  <a:cubicBezTo>
                    <a:pt x="8" y="107"/>
                    <a:pt x="11" y="103"/>
                    <a:pt x="17" y="102"/>
                  </a:cubicBezTo>
                  <a:cubicBezTo>
                    <a:pt x="65" y="93"/>
                    <a:pt x="114" y="90"/>
                    <a:pt x="163" y="93"/>
                  </a:cubicBezTo>
                  <a:cubicBezTo>
                    <a:pt x="114" y="74"/>
                    <a:pt x="63" y="60"/>
                    <a:pt x="11" y="54"/>
                  </a:cubicBezTo>
                  <a:cubicBezTo>
                    <a:pt x="5" y="53"/>
                    <a:pt x="1" y="49"/>
                    <a:pt x="1" y="44"/>
                  </a:cubicBezTo>
                  <a:cubicBezTo>
                    <a:pt x="0" y="39"/>
                    <a:pt x="4" y="34"/>
                    <a:pt x="9" y="32"/>
                  </a:cubicBezTo>
                  <a:cubicBezTo>
                    <a:pt x="82" y="10"/>
                    <a:pt x="158" y="0"/>
                    <a:pt x="235" y="2"/>
                  </a:cubicBezTo>
                  <a:cubicBezTo>
                    <a:pt x="241" y="3"/>
                    <a:pt x="246" y="8"/>
                    <a:pt x="245" y="14"/>
                  </a:cubicBezTo>
                  <a:cubicBezTo>
                    <a:pt x="245" y="20"/>
                    <a:pt x="240" y="25"/>
                    <a:pt x="234" y="25"/>
                  </a:cubicBezTo>
                  <a:cubicBezTo>
                    <a:pt x="177" y="23"/>
                    <a:pt x="120" y="28"/>
                    <a:pt x="65" y="40"/>
                  </a:cubicBezTo>
                  <a:cubicBezTo>
                    <a:pt x="124" y="53"/>
                    <a:pt x="181" y="73"/>
                    <a:pt x="236" y="102"/>
                  </a:cubicBezTo>
                  <a:cubicBezTo>
                    <a:pt x="240" y="105"/>
                    <a:pt x="243" y="110"/>
                    <a:pt x="241" y="116"/>
                  </a:cubicBezTo>
                  <a:cubicBezTo>
                    <a:pt x="239" y="121"/>
                    <a:pt x="234" y="124"/>
                    <a:pt x="229" y="123"/>
                  </a:cubicBezTo>
                  <a:cubicBezTo>
                    <a:pt x="182" y="115"/>
                    <a:pt x="134" y="112"/>
                    <a:pt x="87" y="116"/>
                  </a:cubicBezTo>
                  <a:cubicBezTo>
                    <a:pt x="136" y="129"/>
                    <a:pt x="184" y="148"/>
                    <a:pt x="229" y="173"/>
                  </a:cubicBezTo>
                  <a:cubicBezTo>
                    <a:pt x="233" y="176"/>
                    <a:pt x="236" y="181"/>
                    <a:pt x="234" y="186"/>
                  </a:cubicBezTo>
                  <a:cubicBezTo>
                    <a:pt x="232" y="192"/>
                    <a:pt x="227" y="195"/>
                    <a:pt x="222" y="194"/>
                  </a:cubicBezTo>
                  <a:cubicBezTo>
                    <a:pt x="178" y="190"/>
                    <a:pt x="134" y="191"/>
                    <a:pt x="90" y="197"/>
                  </a:cubicBezTo>
                  <a:cubicBezTo>
                    <a:pt x="135" y="207"/>
                    <a:pt x="179" y="223"/>
                    <a:pt x="221" y="244"/>
                  </a:cubicBezTo>
                  <a:cubicBezTo>
                    <a:pt x="226" y="247"/>
                    <a:pt x="228" y="252"/>
                    <a:pt x="227" y="257"/>
                  </a:cubicBezTo>
                  <a:cubicBezTo>
                    <a:pt x="226" y="262"/>
                    <a:pt x="222" y="265"/>
                    <a:pt x="216" y="265"/>
                  </a:cubicBezTo>
                  <a:cubicBezTo>
                    <a:pt x="156" y="266"/>
                    <a:pt x="97" y="277"/>
                    <a:pt x="40" y="298"/>
                  </a:cubicBezTo>
                  <a:cubicBezTo>
                    <a:pt x="38" y="298"/>
                    <a:pt x="37" y="298"/>
                    <a:pt x="36" y="298"/>
                  </a:cubicBez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chemeClr val="accent6"/>
                </a:solidFill>
                <a:latin typeface="+mj-lt"/>
              </a:endParaRPr>
            </a:p>
          </p:txBody>
        </p:sp>
      </p:grpSp>
      <p:grpSp>
        <p:nvGrpSpPr>
          <p:cNvPr id="129" name="Group 444"/>
          <p:cNvGrpSpPr/>
          <p:nvPr/>
        </p:nvGrpSpPr>
        <p:grpSpPr>
          <a:xfrm>
            <a:off x="8380538" y="3807154"/>
            <a:ext cx="292608" cy="292608"/>
            <a:chOff x="8376516" y="3864204"/>
            <a:chExt cx="292608" cy="292608"/>
          </a:xfrm>
        </p:grpSpPr>
        <p:sp>
          <p:nvSpPr>
            <p:cNvPr id="446" name="Oval 445"/>
            <p:cNvSpPr/>
            <p:nvPr/>
          </p:nvSpPr>
          <p:spPr>
            <a:xfrm>
              <a:off x="8376516" y="3864204"/>
              <a:ext cx="292608" cy="292608"/>
            </a:xfrm>
            <a:prstGeom prst="ellipse">
              <a:avLst/>
            </a:prstGeom>
            <a:solidFill>
              <a:schemeClr val="bg2">
                <a:lumMod val="75000"/>
              </a:schemeClr>
            </a:solid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47" name="Freeform 11"/>
            <p:cNvSpPr>
              <a:spLocks noEditPoints="1"/>
            </p:cNvSpPr>
            <p:nvPr/>
          </p:nvSpPr>
          <p:spPr bwMode="auto">
            <a:xfrm>
              <a:off x="8413012" y="3952154"/>
              <a:ext cx="219617" cy="147607"/>
            </a:xfrm>
            <a:custGeom>
              <a:avLst/>
              <a:gdLst/>
              <a:ahLst/>
              <a:cxnLst>
                <a:cxn ang="0">
                  <a:pos x="1184" y="960"/>
                </a:cxn>
                <a:cxn ang="0">
                  <a:pos x="864" y="960"/>
                </a:cxn>
                <a:cxn ang="0">
                  <a:pos x="1024" y="864"/>
                </a:cxn>
                <a:cxn ang="0">
                  <a:pos x="1024" y="1056"/>
                </a:cxn>
                <a:cxn ang="0">
                  <a:pos x="1024" y="864"/>
                </a:cxn>
                <a:cxn ang="0">
                  <a:pos x="0" y="64"/>
                </a:cxn>
                <a:cxn ang="0">
                  <a:pos x="160" y="384"/>
                </a:cxn>
                <a:cxn ang="0">
                  <a:pos x="288" y="512"/>
                </a:cxn>
                <a:cxn ang="0">
                  <a:pos x="320" y="672"/>
                </a:cxn>
                <a:cxn ang="0">
                  <a:pos x="1728" y="672"/>
                </a:cxn>
                <a:cxn ang="0">
                  <a:pos x="1760" y="512"/>
                </a:cxn>
                <a:cxn ang="0">
                  <a:pos x="1888" y="384"/>
                </a:cxn>
                <a:cxn ang="0">
                  <a:pos x="2048" y="64"/>
                </a:cxn>
                <a:cxn ang="0">
                  <a:pos x="0" y="0"/>
                </a:cxn>
                <a:cxn ang="0">
                  <a:pos x="1024" y="1312"/>
                </a:cxn>
                <a:cxn ang="0">
                  <a:pos x="384" y="512"/>
                </a:cxn>
                <a:cxn ang="0">
                  <a:pos x="1664" y="672"/>
                </a:cxn>
                <a:cxn ang="0">
                  <a:pos x="352" y="448"/>
                </a:cxn>
                <a:cxn ang="0">
                  <a:pos x="1696" y="384"/>
                </a:cxn>
                <a:cxn ang="0">
                  <a:pos x="1824" y="320"/>
                </a:cxn>
                <a:cxn ang="0">
                  <a:pos x="224" y="64"/>
                </a:cxn>
                <a:cxn ang="0">
                  <a:pos x="1824" y="320"/>
                </a:cxn>
                <a:cxn ang="0">
                  <a:pos x="1033" y="905"/>
                </a:cxn>
                <a:cxn ang="0">
                  <a:pos x="1015" y="1015"/>
                </a:cxn>
                <a:cxn ang="0">
                  <a:pos x="928" y="160"/>
                </a:cxn>
                <a:cxn ang="0">
                  <a:pos x="864" y="224"/>
                </a:cxn>
                <a:cxn ang="0">
                  <a:pos x="928" y="160"/>
                </a:cxn>
                <a:cxn ang="0">
                  <a:pos x="1312" y="960"/>
                </a:cxn>
                <a:cxn ang="0">
                  <a:pos x="736" y="960"/>
                </a:cxn>
                <a:cxn ang="0">
                  <a:pos x="1024" y="736"/>
                </a:cxn>
                <a:cxn ang="0">
                  <a:pos x="1024" y="1184"/>
                </a:cxn>
                <a:cxn ang="0">
                  <a:pos x="1024" y="736"/>
                </a:cxn>
                <a:cxn ang="0">
                  <a:pos x="1120" y="160"/>
                </a:cxn>
                <a:cxn ang="0">
                  <a:pos x="1184" y="224"/>
                </a:cxn>
                <a:cxn ang="0">
                  <a:pos x="1056" y="160"/>
                </a:cxn>
                <a:cxn ang="0">
                  <a:pos x="992" y="224"/>
                </a:cxn>
                <a:cxn ang="0">
                  <a:pos x="1056" y="160"/>
                </a:cxn>
              </a:cxnLst>
              <a:rect l="0" t="0" r="r" b="b"/>
              <a:pathLst>
                <a:path w="2048" h="1376">
                  <a:moveTo>
                    <a:pt x="1024" y="1120"/>
                  </a:moveTo>
                  <a:cubicBezTo>
                    <a:pt x="1112" y="1120"/>
                    <a:pt x="1184" y="1048"/>
                    <a:pt x="1184" y="960"/>
                  </a:cubicBezTo>
                  <a:cubicBezTo>
                    <a:pt x="1184" y="872"/>
                    <a:pt x="1112" y="800"/>
                    <a:pt x="1024" y="800"/>
                  </a:cubicBezTo>
                  <a:cubicBezTo>
                    <a:pt x="936" y="800"/>
                    <a:pt x="864" y="872"/>
                    <a:pt x="864" y="960"/>
                  </a:cubicBezTo>
                  <a:cubicBezTo>
                    <a:pt x="864" y="1048"/>
                    <a:pt x="936" y="1120"/>
                    <a:pt x="1024" y="1120"/>
                  </a:cubicBezTo>
                  <a:close/>
                  <a:moveTo>
                    <a:pt x="1024" y="864"/>
                  </a:moveTo>
                  <a:cubicBezTo>
                    <a:pt x="1077" y="864"/>
                    <a:pt x="1120" y="907"/>
                    <a:pt x="1120" y="960"/>
                  </a:cubicBezTo>
                  <a:cubicBezTo>
                    <a:pt x="1120" y="1013"/>
                    <a:pt x="1077" y="1056"/>
                    <a:pt x="1024" y="1056"/>
                  </a:cubicBezTo>
                  <a:cubicBezTo>
                    <a:pt x="971" y="1056"/>
                    <a:pt x="928" y="1013"/>
                    <a:pt x="928" y="960"/>
                  </a:cubicBezTo>
                  <a:cubicBezTo>
                    <a:pt x="928" y="907"/>
                    <a:pt x="971" y="864"/>
                    <a:pt x="1024" y="864"/>
                  </a:cubicBezTo>
                  <a:close/>
                  <a:moveTo>
                    <a:pt x="0" y="0"/>
                  </a:moveTo>
                  <a:cubicBezTo>
                    <a:pt x="0" y="64"/>
                    <a:pt x="0" y="64"/>
                    <a:pt x="0" y="64"/>
                  </a:cubicBezTo>
                  <a:cubicBezTo>
                    <a:pt x="160" y="64"/>
                    <a:pt x="160" y="64"/>
                    <a:pt x="160" y="64"/>
                  </a:cubicBezTo>
                  <a:cubicBezTo>
                    <a:pt x="160" y="384"/>
                    <a:pt x="160" y="384"/>
                    <a:pt x="160" y="384"/>
                  </a:cubicBezTo>
                  <a:cubicBezTo>
                    <a:pt x="288" y="384"/>
                    <a:pt x="288" y="384"/>
                    <a:pt x="288" y="384"/>
                  </a:cubicBezTo>
                  <a:cubicBezTo>
                    <a:pt x="288" y="512"/>
                    <a:pt x="288" y="512"/>
                    <a:pt x="288" y="512"/>
                  </a:cubicBezTo>
                  <a:cubicBezTo>
                    <a:pt x="320" y="512"/>
                    <a:pt x="320" y="512"/>
                    <a:pt x="320" y="512"/>
                  </a:cubicBezTo>
                  <a:cubicBezTo>
                    <a:pt x="320" y="672"/>
                    <a:pt x="320" y="672"/>
                    <a:pt x="320" y="672"/>
                  </a:cubicBezTo>
                  <a:cubicBezTo>
                    <a:pt x="320" y="1060"/>
                    <a:pt x="636" y="1376"/>
                    <a:pt x="1024" y="1376"/>
                  </a:cubicBezTo>
                  <a:cubicBezTo>
                    <a:pt x="1412" y="1376"/>
                    <a:pt x="1728" y="1060"/>
                    <a:pt x="1728" y="672"/>
                  </a:cubicBezTo>
                  <a:cubicBezTo>
                    <a:pt x="1728" y="512"/>
                    <a:pt x="1728" y="512"/>
                    <a:pt x="1728" y="512"/>
                  </a:cubicBezTo>
                  <a:cubicBezTo>
                    <a:pt x="1760" y="512"/>
                    <a:pt x="1760" y="512"/>
                    <a:pt x="1760" y="512"/>
                  </a:cubicBezTo>
                  <a:cubicBezTo>
                    <a:pt x="1760" y="384"/>
                    <a:pt x="1760" y="384"/>
                    <a:pt x="1760" y="384"/>
                  </a:cubicBezTo>
                  <a:cubicBezTo>
                    <a:pt x="1888" y="384"/>
                    <a:pt x="1888" y="384"/>
                    <a:pt x="1888" y="384"/>
                  </a:cubicBezTo>
                  <a:cubicBezTo>
                    <a:pt x="1888" y="64"/>
                    <a:pt x="1888" y="64"/>
                    <a:pt x="1888" y="64"/>
                  </a:cubicBezTo>
                  <a:cubicBezTo>
                    <a:pt x="2048" y="64"/>
                    <a:pt x="2048" y="64"/>
                    <a:pt x="2048" y="64"/>
                  </a:cubicBezTo>
                  <a:cubicBezTo>
                    <a:pt x="2048" y="0"/>
                    <a:pt x="2048" y="0"/>
                    <a:pt x="2048" y="0"/>
                  </a:cubicBezTo>
                  <a:lnTo>
                    <a:pt x="0" y="0"/>
                  </a:lnTo>
                  <a:close/>
                  <a:moveTo>
                    <a:pt x="1664" y="672"/>
                  </a:moveTo>
                  <a:cubicBezTo>
                    <a:pt x="1664" y="1025"/>
                    <a:pt x="1377" y="1312"/>
                    <a:pt x="1024" y="1312"/>
                  </a:cubicBezTo>
                  <a:cubicBezTo>
                    <a:pt x="671" y="1312"/>
                    <a:pt x="384" y="1025"/>
                    <a:pt x="384" y="672"/>
                  </a:cubicBezTo>
                  <a:cubicBezTo>
                    <a:pt x="384" y="512"/>
                    <a:pt x="384" y="512"/>
                    <a:pt x="384" y="512"/>
                  </a:cubicBezTo>
                  <a:cubicBezTo>
                    <a:pt x="1664" y="512"/>
                    <a:pt x="1664" y="512"/>
                    <a:pt x="1664" y="512"/>
                  </a:cubicBezTo>
                  <a:lnTo>
                    <a:pt x="1664" y="672"/>
                  </a:lnTo>
                  <a:close/>
                  <a:moveTo>
                    <a:pt x="1696" y="448"/>
                  </a:moveTo>
                  <a:cubicBezTo>
                    <a:pt x="352" y="448"/>
                    <a:pt x="352" y="448"/>
                    <a:pt x="352" y="448"/>
                  </a:cubicBezTo>
                  <a:cubicBezTo>
                    <a:pt x="352" y="384"/>
                    <a:pt x="352" y="384"/>
                    <a:pt x="352" y="384"/>
                  </a:cubicBezTo>
                  <a:cubicBezTo>
                    <a:pt x="1696" y="384"/>
                    <a:pt x="1696" y="384"/>
                    <a:pt x="1696" y="384"/>
                  </a:cubicBezTo>
                  <a:lnTo>
                    <a:pt x="1696" y="448"/>
                  </a:lnTo>
                  <a:close/>
                  <a:moveTo>
                    <a:pt x="1824" y="320"/>
                  </a:moveTo>
                  <a:cubicBezTo>
                    <a:pt x="224" y="320"/>
                    <a:pt x="224" y="320"/>
                    <a:pt x="224" y="320"/>
                  </a:cubicBezTo>
                  <a:cubicBezTo>
                    <a:pt x="224" y="64"/>
                    <a:pt x="224" y="64"/>
                    <a:pt x="224" y="64"/>
                  </a:cubicBezTo>
                  <a:cubicBezTo>
                    <a:pt x="1824" y="64"/>
                    <a:pt x="1824" y="64"/>
                    <a:pt x="1824" y="64"/>
                  </a:cubicBezTo>
                  <a:lnTo>
                    <a:pt x="1824" y="320"/>
                  </a:lnTo>
                  <a:close/>
                  <a:moveTo>
                    <a:pt x="1079" y="951"/>
                  </a:moveTo>
                  <a:cubicBezTo>
                    <a:pt x="1033" y="905"/>
                    <a:pt x="1033" y="905"/>
                    <a:pt x="1033" y="905"/>
                  </a:cubicBezTo>
                  <a:cubicBezTo>
                    <a:pt x="969" y="969"/>
                    <a:pt x="969" y="969"/>
                    <a:pt x="969" y="969"/>
                  </a:cubicBezTo>
                  <a:cubicBezTo>
                    <a:pt x="1015" y="1015"/>
                    <a:pt x="1015" y="1015"/>
                    <a:pt x="1015" y="1015"/>
                  </a:cubicBezTo>
                  <a:lnTo>
                    <a:pt x="1079" y="951"/>
                  </a:lnTo>
                  <a:close/>
                  <a:moveTo>
                    <a:pt x="928" y="160"/>
                  </a:moveTo>
                  <a:cubicBezTo>
                    <a:pt x="864" y="160"/>
                    <a:pt x="864" y="160"/>
                    <a:pt x="864" y="160"/>
                  </a:cubicBezTo>
                  <a:cubicBezTo>
                    <a:pt x="864" y="224"/>
                    <a:pt x="864" y="224"/>
                    <a:pt x="864" y="224"/>
                  </a:cubicBezTo>
                  <a:cubicBezTo>
                    <a:pt x="928" y="224"/>
                    <a:pt x="928" y="224"/>
                    <a:pt x="928" y="224"/>
                  </a:cubicBezTo>
                  <a:lnTo>
                    <a:pt x="928" y="160"/>
                  </a:lnTo>
                  <a:close/>
                  <a:moveTo>
                    <a:pt x="1024" y="1248"/>
                  </a:moveTo>
                  <a:cubicBezTo>
                    <a:pt x="1183" y="1248"/>
                    <a:pt x="1312" y="1119"/>
                    <a:pt x="1312" y="960"/>
                  </a:cubicBezTo>
                  <a:cubicBezTo>
                    <a:pt x="1312" y="801"/>
                    <a:pt x="1183" y="672"/>
                    <a:pt x="1024" y="672"/>
                  </a:cubicBezTo>
                  <a:cubicBezTo>
                    <a:pt x="865" y="672"/>
                    <a:pt x="736" y="801"/>
                    <a:pt x="736" y="960"/>
                  </a:cubicBezTo>
                  <a:cubicBezTo>
                    <a:pt x="736" y="1119"/>
                    <a:pt x="865" y="1248"/>
                    <a:pt x="1024" y="1248"/>
                  </a:cubicBezTo>
                  <a:close/>
                  <a:moveTo>
                    <a:pt x="1024" y="736"/>
                  </a:moveTo>
                  <a:cubicBezTo>
                    <a:pt x="1148" y="736"/>
                    <a:pt x="1248" y="836"/>
                    <a:pt x="1248" y="960"/>
                  </a:cubicBezTo>
                  <a:cubicBezTo>
                    <a:pt x="1248" y="1084"/>
                    <a:pt x="1148" y="1184"/>
                    <a:pt x="1024" y="1184"/>
                  </a:cubicBezTo>
                  <a:cubicBezTo>
                    <a:pt x="900" y="1184"/>
                    <a:pt x="800" y="1084"/>
                    <a:pt x="800" y="960"/>
                  </a:cubicBezTo>
                  <a:cubicBezTo>
                    <a:pt x="800" y="836"/>
                    <a:pt x="900" y="736"/>
                    <a:pt x="1024" y="736"/>
                  </a:cubicBezTo>
                  <a:close/>
                  <a:moveTo>
                    <a:pt x="1184" y="160"/>
                  </a:moveTo>
                  <a:cubicBezTo>
                    <a:pt x="1120" y="160"/>
                    <a:pt x="1120" y="160"/>
                    <a:pt x="1120" y="160"/>
                  </a:cubicBezTo>
                  <a:cubicBezTo>
                    <a:pt x="1120" y="224"/>
                    <a:pt x="1120" y="224"/>
                    <a:pt x="1120" y="224"/>
                  </a:cubicBezTo>
                  <a:cubicBezTo>
                    <a:pt x="1184" y="224"/>
                    <a:pt x="1184" y="224"/>
                    <a:pt x="1184" y="224"/>
                  </a:cubicBezTo>
                  <a:lnTo>
                    <a:pt x="1184" y="160"/>
                  </a:lnTo>
                  <a:close/>
                  <a:moveTo>
                    <a:pt x="1056" y="160"/>
                  </a:moveTo>
                  <a:cubicBezTo>
                    <a:pt x="992" y="160"/>
                    <a:pt x="992" y="160"/>
                    <a:pt x="992" y="160"/>
                  </a:cubicBezTo>
                  <a:cubicBezTo>
                    <a:pt x="992" y="224"/>
                    <a:pt x="992" y="224"/>
                    <a:pt x="992" y="224"/>
                  </a:cubicBezTo>
                  <a:cubicBezTo>
                    <a:pt x="1056" y="224"/>
                    <a:pt x="1056" y="224"/>
                    <a:pt x="1056" y="224"/>
                  </a:cubicBezTo>
                  <a:lnTo>
                    <a:pt x="1056" y="16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30" name="Group 155"/>
          <p:cNvGrpSpPr/>
          <p:nvPr/>
        </p:nvGrpSpPr>
        <p:grpSpPr>
          <a:xfrm>
            <a:off x="6849993" y="3827628"/>
            <a:ext cx="292608" cy="292608"/>
            <a:chOff x="6849993" y="3827628"/>
            <a:chExt cx="292608" cy="292608"/>
          </a:xfrm>
        </p:grpSpPr>
        <p:sp>
          <p:nvSpPr>
            <p:cNvPr id="339" name="Oval 338"/>
            <p:cNvSpPr/>
            <p:nvPr/>
          </p:nvSpPr>
          <p:spPr>
            <a:xfrm>
              <a:off x="6849993" y="3827628"/>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46" name="Freeform 15"/>
            <p:cNvSpPr>
              <a:spLocks noEditPoints="1"/>
            </p:cNvSpPr>
            <p:nvPr/>
          </p:nvSpPr>
          <p:spPr bwMode="auto">
            <a:xfrm>
              <a:off x="6912832" y="3890449"/>
              <a:ext cx="166931" cy="166966"/>
            </a:xfrm>
            <a:custGeom>
              <a:avLst/>
              <a:gdLst/>
              <a:ahLst/>
              <a:cxnLst>
                <a:cxn ang="0">
                  <a:pos x="1420" y="1718"/>
                </a:cxn>
                <a:cxn ang="0">
                  <a:pos x="1354" y="1453"/>
                </a:cxn>
                <a:cxn ang="0">
                  <a:pos x="1212" y="1156"/>
                </a:cxn>
                <a:cxn ang="0">
                  <a:pos x="1652" y="567"/>
                </a:cxn>
                <a:cxn ang="0">
                  <a:pos x="1718" y="231"/>
                </a:cxn>
                <a:cxn ang="0">
                  <a:pos x="793" y="132"/>
                </a:cxn>
                <a:cxn ang="0">
                  <a:pos x="157" y="0"/>
                </a:cxn>
                <a:cxn ang="0">
                  <a:pos x="264" y="198"/>
                </a:cxn>
                <a:cxn ang="0">
                  <a:pos x="0" y="384"/>
                </a:cxn>
                <a:cxn ang="0">
                  <a:pos x="661" y="330"/>
                </a:cxn>
                <a:cxn ang="0">
                  <a:pos x="1268" y="396"/>
                </a:cxn>
                <a:cxn ang="0">
                  <a:pos x="593" y="1267"/>
                </a:cxn>
                <a:cxn ang="0">
                  <a:pos x="892" y="1519"/>
                </a:cxn>
                <a:cxn ang="0">
                  <a:pos x="892" y="1718"/>
                </a:cxn>
                <a:cxn ang="0">
                  <a:pos x="529" y="2048"/>
                </a:cxn>
                <a:cxn ang="0">
                  <a:pos x="1354" y="1784"/>
                </a:cxn>
                <a:cxn ang="0">
                  <a:pos x="66" y="343"/>
                </a:cxn>
                <a:cxn ang="0">
                  <a:pos x="330" y="132"/>
                </a:cxn>
                <a:cxn ang="0">
                  <a:pos x="173" y="66"/>
                </a:cxn>
                <a:cxn ang="0">
                  <a:pos x="595" y="396"/>
                </a:cxn>
                <a:cxn ang="0">
                  <a:pos x="595" y="66"/>
                </a:cxn>
                <a:cxn ang="0">
                  <a:pos x="661" y="264"/>
                </a:cxn>
                <a:cxn ang="0">
                  <a:pos x="793" y="264"/>
                </a:cxn>
                <a:cxn ang="0">
                  <a:pos x="1288" y="1586"/>
                </a:cxn>
                <a:cxn ang="0">
                  <a:pos x="1288" y="1718"/>
                </a:cxn>
                <a:cxn ang="0">
                  <a:pos x="958" y="1718"/>
                </a:cxn>
                <a:cxn ang="0">
                  <a:pos x="1024" y="1586"/>
                </a:cxn>
                <a:cxn ang="0">
                  <a:pos x="1024" y="1652"/>
                </a:cxn>
                <a:cxn ang="0">
                  <a:pos x="1222" y="1586"/>
                </a:cxn>
                <a:cxn ang="0">
                  <a:pos x="958" y="1519"/>
                </a:cxn>
                <a:cxn ang="0">
                  <a:pos x="1288" y="1519"/>
                </a:cxn>
                <a:cxn ang="0">
                  <a:pos x="1551" y="774"/>
                </a:cxn>
                <a:cxn ang="0">
                  <a:pos x="1040" y="1092"/>
                </a:cxn>
                <a:cxn ang="0">
                  <a:pos x="925" y="330"/>
                </a:cxn>
                <a:cxn ang="0">
                  <a:pos x="925" y="132"/>
                </a:cxn>
                <a:cxn ang="0">
                  <a:pos x="991" y="132"/>
                </a:cxn>
                <a:cxn ang="0">
                  <a:pos x="1652" y="330"/>
                </a:cxn>
                <a:cxn ang="0">
                  <a:pos x="1652" y="396"/>
                </a:cxn>
                <a:cxn ang="0">
                  <a:pos x="993" y="1045"/>
                </a:cxn>
                <a:cxn ang="0">
                  <a:pos x="1367" y="396"/>
                </a:cxn>
                <a:cxn ang="0">
                  <a:pos x="595" y="1112"/>
                </a:cxn>
                <a:cxn ang="0">
                  <a:pos x="1076" y="1222"/>
                </a:cxn>
                <a:cxn ang="0">
                  <a:pos x="806" y="1387"/>
                </a:cxn>
                <a:cxn ang="0">
                  <a:pos x="958" y="1652"/>
                </a:cxn>
                <a:cxn ang="0">
                  <a:pos x="1982" y="1982"/>
                </a:cxn>
                <a:cxn ang="0">
                  <a:pos x="1850" y="1916"/>
                </a:cxn>
                <a:cxn ang="0">
                  <a:pos x="1784" y="1916"/>
                </a:cxn>
                <a:cxn ang="0">
                  <a:pos x="1652" y="1982"/>
                </a:cxn>
                <a:cxn ang="0">
                  <a:pos x="1586" y="1982"/>
                </a:cxn>
                <a:cxn ang="0">
                  <a:pos x="1453" y="1916"/>
                </a:cxn>
                <a:cxn ang="0">
                  <a:pos x="1387" y="1916"/>
                </a:cxn>
                <a:cxn ang="0">
                  <a:pos x="1255" y="1982"/>
                </a:cxn>
                <a:cxn ang="0">
                  <a:pos x="1189" y="1982"/>
                </a:cxn>
                <a:cxn ang="0">
                  <a:pos x="1057" y="1916"/>
                </a:cxn>
                <a:cxn ang="0">
                  <a:pos x="991" y="1916"/>
                </a:cxn>
                <a:cxn ang="0">
                  <a:pos x="859" y="1982"/>
                </a:cxn>
                <a:cxn ang="0">
                  <a:pos x="793" y="1982"/>
                </a:cxn>
                <a:cxn ang="0">
                  <a:pos x="661" y="1916"/>
                </a:cxn>
                <a:cxn ang="0">
                  <a:pos x="595" y="1850"/>
                </a:cxn>
                <a:cxn ang="0">
                  <a:pos x="743" y="1024"/>
                </a:cxn>
                <a:cxn ang="0">
                  <a:pos x="826" y="1107"/>
                </a:cxn>
                <a:cxn ang="0">
                  <a:pos x="727" y="1107"/>
                </a:cxn>
                <a:cxn ang="0">
                  <a:pos x="743" y="1123"/>
                </a:cxn>
              </a:cxnLst>
              <a:rect l="0" t="0" r="r" b="b"/>
              <a:pathLst>
                <a:path w="2048" h="2048">
                  <a:moveTo>
                    <a:pt x="1354" y="1784"/>
                  </a:moveTo>
                  <a:cubicBezTo>
                    <a:pt x="1354" y="1718"/>
                    <a:pt x="1354" y="1718"/>
                    <a:pt x="1354" y="1718"/>
                  </a:cubicBezTo>
                  <a:cubicBezTo>
                    <a:pt x="1420" y="1718"/>
                    <a:pt x="1420" y="1718"/>
                    <a:pt x="1420" y="1718"/>
                  </a:cubicBezTo>
                  <a:cubicBezTo>
                    <a:pt x="1420" y="1519"/>
                    <a:pt x="1420" y="1519"/>
                    <a:pt x="1420" y="1519"/>
                  </a:cubicBezTo>
                  <a:cubicBezTo>
                    <a:pt x="1354" y="1519"/>
                    <a:pt x="1354" y="1519"/>
                    <a:pt x="1354" y="1519"/>
                  </a:cubicBezTo>
                  <a:cubicBezTo>
                    <a:pt x="1354" y="1453"/>
                    <a:pt x="1354" y="1453"/>
                    <a:pt x="1354" y="1453"/>
                  </a:cubicBezTo>
                  <a:cubicBezTo>
                    <a:pt x="1486" y="1453"/>
                    <a:pt x="1486" y="1453"/>
                    <a:pt x="1486" y="1453"/>
                  </a:cubicBezTo>
                  <a:cubicBezTo>
                    <a:pt x="1486" y="1156"/>
                    <a:pt x="1486" y="1156"/>
                    <a:pt x="1486" y="1156"/>
                  </a:cubicBezTo>
                  <a:cubicBezTo>
                    <a:pt x="1212" y="1156"/>
                    <a:pt x="1212" y="1156"/>
                    <a:pt x="1212" y="1156"/>
                  </a:cubicBezTo>
                  <a:cubicBezTo>
                    <a:pt x="1595" y="824"/>
                    <a:pt x="1595" y="824"/>
                    <a:pt x="1595" y="824"/>
                  </a:cubicBezTo>
                  <a:cubicBezTo>
                    <a:pt x="1631" y="793"/>
                    <a:pt x="1652" y="747"/>
                    <a:pt x="1652" y="699"/>
                  </a:cubicBezTo>
                  <a:cubicBezTo>
                    <a:pt x="1652" y="567"/>
                    <a:pt x="1652" y="567"/>
                    <a:pt x="1652" y="567"/>
                  </a:cubicBezTo>
                  <a:cubicBezTo>
                    <a:pt x="1683" y="540"/>
                    <a:pt x="1683" y="540"/>
                    <a:pt x="1683" y="540"/>
                  </a:cubicBezTo>
                  <a:cubicBezTo>
                    <a:pt x="1705" y="521"/>
                    <a:pt x="1718" y="494"/>
                    <a:pt x="1718" y="465"/>
                  </a:cubicBezTo>
                  <a:cubicBezTo>
                    <a:pt x="1718" y="231"/>
                    <a:pt x="1718" y="231"/>
                    <a:pt x="1718" y="231"/>
                  </a:cubicBezTo>
                  <a:cubicBezTo>
                    <a:pt x="1718" y="140"/>
                    <a:pt x="1644" y="66"/>
                    <a:pt x="1553" y="66"/>
                  </a:cubicBezTo>
                  <a:cubicBezTo>
                    <a:pt x="793" y="66"/>
                    <a:pt x="793" y="66"/>
                    <a:pt x="793" y="66"/>
                  </a:cubicBezTo>
                  <a:cubicBezTo>
                    <a:pt x="793" y="132"/>
                    <a:pt x="793" y="132"/>
                    <a:pt x="793" y="132"/>
                  </a:cubicBezTo>
                  <a:cubicBezTo>
                    <a:pt x="661" y="132"/>
                    <a:pt x="661" y="132"/>
                    <a:pt x="661" y="132"/>
                  </a:cubicBezTo>
                  <a:cubicBezTo>
                    <a:pt x="661" y="0"/>
                    <a:pt x="661" y="0"/>
                    <a:pt x="661" y="0"/>
                  </a:cubicBezTo>
                  <a:cubicBezTo>
                    <a:pt x="157" y="0"/>
                    <a:pt x="157" y="0"/>
                    <a:pt x="157" y="0"/>
                  </a:cubicBezTo>
                  <a:cubicBezTo>
                    <a:pt x="0" y="79"/>
                    <a:pt x="0" y="79"/>
                    <a:pt x="0" y="79"/>
                  </a:cubicBezTo>
                  <a:cubicBezTo>
                    <a:pt x="0" y="198"/>
                    <a:pt x="0" y="198"/>
                    <a:pt x="0" y="198"/>
                  </a:cubicBezTo>
                  <a:cubicBezTo>
                    <a:pt x="264" y="198"/>
                    <a:pt x="264" y="198"/>
                    <a:pt x="264" y="198"/>
                  </a:cubicBezTo>
                  <a:cubicBezTo>
                    <a:pt x="264" y="264"/>
                    <a:pt x="264" y="264"/>
                    <a:pt x="264" y="264"/>
                  </a:cubicBezTo>
                  <a:cubicBezTo>
                    <a:pt x="0" y="264"/>
                    <a:pt x="0" y="264"/>
                    <a:pt x="0" y="264"/>
                  </a:cubicBezTo>
                  <a:cubicBezTo>
                    <a:pt x="0" y="384"/>
                    <a:pt x="0" y="384"/>
                    <a:pt x="0" y="384"/>
                  </a:cubicBezTo>
                  <a:cubicBezTo>
                    <a:pt x="157" y="462"/>
                    <a:pt x="157" y="462"/>
                    <a:pt x="157" y="462"/>
                  </a:cubicBezTo>
                  <a:cubicBezTo>
                    <a:pt x="661" y="462"/>
                    <a:pt x="661" y="462"/>
                    <a:pt x="661" y="462"/>
                  </a:cubicBezTo>
                  <a:cubicBezTo>
                    <a:pt x="661" y="330"/>
                    <a:pt x="661" y="330"/>
                    <a:pt x="661" y="330"/>
                  </a:cubicBezTo>
                  <a:cubicBezTo>
                    <a:pt x="793" y="330"/>
                    <a:pt x="793" y="330"/>
                    <a:pt x="793" y="330"/>
                  </a:cubicBezTo>
                  <a:cubicBezTo>
                    <a:pt x="793" y="396"/>
                    <a:pt x="793" y="396"/>
                    <a:pt x="793" y="396"/>
                  </a:cubicBezTo>
                  <a:cubicBezTo>
                    <a:pt x="1268" y="396"/>
                    <a:pt x="1268" y="396"/>
                    <a:pt x="1268" y="396"/>
                  </a:cubicBezTo>
                  <a:cubicBezTo>
                    <a:pt x="710" y="895"/>
                    <a:pt x="710" y="895"/>
                    <a:pt x="710" y="895"/>
                  </a:cubicBezTo>
                  <a:cubicBezTo>
                    <a:pt x="607" y="914"/>
                    <a:pt x="529" y="1004"/>
                    <a:pt x="529" y="1112"/>
                  </a:cubicBezTo>
                  <a:cubicBezTo>
                    <a:pt x="529" y="1170"/>
                    <a:pt x="551" y="1226"/>
                    <a:pt x="593" y="1267"/>
                  </a:cubicBezTo>
                  <a:cubicBezTo>
                    <a:pt x="779" y="1453"/>
                    <a:pt x="779" y="1453"/>
                    <a:pt x="779" y="1453"/>
                  </a:cubicBezTo>
                  <a:cubicBezTo>
                    <a:pt x="892" y="1453"/>
                    <a:pt x="892" y="1453"/>
                    <a:pt x="892" y="1453"/>
                  </a:cubicBezTo>
                  <a:cubicBezTo>
                    <a:pt x="892" y="1519"/>
                    <a:pt x="892" y="1519"/>
                    <a:pt x="892" y="1519"/>
                  </a:cubicBezTo>
                  <a:cubicBezTo>
                    <a:pt x="826" y="1519"/>
                    <a:pt x="826" y="1519"/>
                    <a:pt x="826" y="1519"/>
                  </a:cubicBezTo>
                  <a:cubicBezTo>
                    <a:pt x="826" y="1718"/>
                    <a:pt x="826" y="1718"/>
                    <a:pt x="826" y="1718"/>
                  </a:cubicBezTo>
                  <a:cubicBezTo>
                    <a:pt x="892" y="1718"/>
                    <a:pt x="892" y="1718"/>
                    <a:pt x="892" y="1718"/>
                  </a:cubicBezTo>
                  <a:cubicBezTo>
                    <a:pt x="892" y="1784"/>
                    <a:pt x="892" y="1784"/>
                    <a:pt x="892" y="1784"/>
                  </a:cubicBezTo>
                  <a:cubicBezTo>
                    <a:pt x="529" y="1784"/>
                    <a:pt x="529" y="1784"/>
                    <a:pt x="529" y="1784"/>
                  </a:cubicBezTo>
                  <a:cubicBezTo>
                    <a:pt x="529" y="2048"/>
                    <a:pt x="529" y="2048"/>
                    <a:pt x="529" y="2048"/>
                  </a:cubicBezTo>
                  <a:cubicBezTo>
                    <a:pt x="2048" y="2048"/>
                    <a:pt x="2048" y="2048"/>
                    <a:pt x="2048" y="2048"/>
                  </a:cubicBezTo>
                  <a:cubicBezTo>
                    <a:pt x="2048" y="1784"/>
                    <a:pt x="2048" y="1784"/>
                    <a:pt x="2048" y="1784"/>
                  </a:cubicBezTo>
                  <a:lnTo>
                    <a:pt x="1354" y="1784"/>
                  </a:lnTo>
                  <a:close/>
                  <a:moveTo>
                    <a:pt x="396" y="396"/>
                  </a:moveTo>
                  <a:cubicBezTo>
                    <a:pt x="173" y="396"/>
                    <a:pt x="173" y="396"/>
                    <a:pt x="173" y="396"/>
                  </a:cubicBezTo>
                  <a:cubicBezTo>
                    <a:pt x="66" y="343"/>
                    <a:pt x="66" y="343"/>
                    <a:pt x="66" y="343"/>
                  </a:cubicBezTo>
                  <a:cubicBezTo>
                    <a:pt x="66" y="330"/>
                    <a:pt x="66" y="330"/>
                    <a:pt x="66" y="330"/>
                  </a:cubicBezTo>
                  <a:cubicBezTo>
                    <a:pt x="330" y="330"/>
                    <a:pt x="330" y="330"/>
                    <a:pt x="330" y="330"/>
                  </a:cubicBezTo>
                  <a:cubicBezTo>
                    <a:pt x="330" y="132"/>
                    <a:pt x="330" y="132"/>
                    <a:pt x="330" y="132"/>
                  </a:cubicBezTo>
                  <a:cubicBezTo>
                    <a:pt x="66" y="132"/>
                    <a:pt x="66" y="132"/>
                    <a:pt x="66" y="132"/>
                  </a:cubicBezTo>
                  <a:cubicBezTo>
                    <a:pt x="66" y="120"/>
                    <a:pt x="66" y="120"/>
                    <a:pt x="66" y="120"/>
                  </a:cubicBezTo>
                  <a:cubicBezTo>
                    <a:pt x="173" y="66"/>
                    <a:pt x="173" y="66"/>
                    <a:pt x="173" y="66"/>
                  </a:cubicBezTo>
                  <a:cubicBezTo>
                    <a:pt x="396" y="66"/>
                    <a:pt x="396" y="66"/>
                    <a:pt x="396" y="66"/>
                  </a:cubicBezTo>
                  <a:lnTo>
                    <a:pt x="396" y="396"/>
                  </a:lnTo>
                  <a:close/>
                  <a:moveTo>
                    <a:pt x="595" y="396"/>
                  </a:moveTo>
                  <a:cubicBezTo>
                    <a:pt x="462" y="396"/>
                    <a:pt x="462" y="396"/>
                    <a:pt x="462" y="396"/>
                  </a:cubicBezTo>
                  <a:cubicBezTo>
                    <a:pt x="462" y="66"/>
                    <a:pt x="462" y="66"/>
                    <a:pt x="462" y="66"/>
                  </a:cubicBezTo>
                  <a:cubicBezTo>
                    <a:pt x="595" y="66"/>
                    <a:pt x="595" y="66"/>
                    <a:pt x="595" y="66"/>
                  </a:cubicBezTo>
                  <a:lnTo>
                    <a:pt x="595" y="396"/>
                  </a:lnTo>
                  <a:close/>
                  <a:moveTo>
                    <a:pt x="793" y="264"/>
                  </a:moveTo>
                  <a:cubicBezTo>
                    <a:pt x="661" y="264"/>
                    <a:pt x="661" y="264"/>
                    <a:pt x="661" y="264"/>
                  </a:cubicBezTo>
                  <a:cubicBezTo>
                    <a:pt x="661" y="198"/>
                    <a:pt x="661" y="198"/>
                    <a:pt x="661" y="198"/>
                  </a:cubicBezTo>
                  <a:cubicBezTo>
                    <a:pt x="793" y="198"/>
                    <a:pt x="793" y="198"/>
                    <a:pt x="793" y="198"/>
                  </a:cubicBezTo>
                  <a:lnTo>
                    <a:pt x="793" y="264"/>
                  </a:lnTo>
                  <a:close/>
                  <a:moveTo>
                    <a:pt x="1354" y="1652"/>
                  </a:moveTo>
                  <a:cubicBezTo>
                    <a:pt x="1288" y="1652"/>
                    <a:pt x="1288" y="1652"/>
                    <a:pt x="1288" y="1652"/>
                  </a:cubicBezTo>
                  <a:cubicBezTo>
                    <a:pt x="1288" y="1586"/>
                    <a:pt x="1288" y="1586"/>
                    <a:pt x="1288" y="1586"/>
                  </a:cubicBezTo>
                  <a:cubicBezTo>
                    <a:pt x="1354" y="1586"/>
                    <a:pt x="1354" y="1586"/>
                    <a:pt x="1354" y="1586"/>
                  </a:cubicBezTo>
                  <a:lnTo>
                    <a:pt x="1354" y="1652"/>
                  </a:lnTo>
                  <a:close/>
                  <a:moveTo>
                    <a:pt x="1288" y="1718"/>
                  </a:moveTo>
                  <a:cubicBezTo>
                    <a:pt x="1288" y="1784"/>
                    <a:pt x="1288" y="1784"/>
                    <a:pt x="1288" y="1784"/>
                  </a:cubicBezTo>
                  <a:cubicBezTo>
                    <a:pt x="958" y="1784"/>
                    <a:pt x="958" y="1784"/>
                    <a:pt x="958" y="1784"/>
                  </a:cubicBezTo>
                  <a:cubicBezTo>
                    <a:pt x="958" y="1718"/>
                    <a:pt x="958" y="1718"/>
                    <a:pt x="958" y="1718"/>
                  </a:cubicBezTo>
                  <a:lnTo>
                    <a:pt x="1288" y="1718"/>
                  </a:lnTo>
                  <a:close/>
                  <a:moveTo>
                    <a:pt x="1024" y="1652"/>
                  </a:moveTo>
                  <a:cubicBezTo>
                    <a:pt x="1024" y="1586"/>
                    <a:pt x="1024" y="1586"/>
                    <a:pt x="1024" y="1586"/>
                  </a:cubicBezTo>
                  <a:cubicBezTo>
                    <a:pt x="1090" y="1586"/>
                    <a:pt x="1090" y="1586"/>
                    <a:pt x="1090" y="1586"/>
                  </a:cubicBezTo>
                  <a:cubicBezTo>
                    <a:pt x="1090" y="1652"/>
                    <a:pt x="1090" y="1652"/>
                    <a:pt x="1090" y="1652"/>
                  </a:cubicBezTo>
                  <a:lnTo>
                    <a:pt x="1024" y="1652"/>
                  </a:lnTo>
                  <a:close/>
                  <a:moveTo>
                    <a:pt x="1156" y="1652"/>
                  </a:moveTo>
                  <a:cubicBezTo>
                    <a:pt x="1156" y="1586"/>
                    <a:pt x="1156" y="1586"/>
                    <a:pt x="1156" y="1586"/>
                  </a:cubicBezTo>
                  <a:cubicBezTo>
                    <a:pt x="1222" y="1586"/>
                    <a:pt x="1222" y="1586"/>
                    <a:pt x="1222" y="1586"/>
                  </a:cubicBezTo>
                  <a:cubicBezTo>
                    <a:pt x="1222" y="1652"/>
                    <a:pt x="1222" y="1652"/>
                    <a:pt x="1222" y="1652"/>
                  </a:cubicBezTo>
                  <a:lnTo>
                    <a:pt x="1156" y="1652"/>
                  </a:lnTo>
                  <a:close/>
                  <a:moveTo>
                    <a:pt x="958" y="1519"/>
                  </a:moveTo>
                  <a:cubicBezTo>
                    <a:pt x="958" y="1453"/>
                    <a:pt x="958" y="1453"/>
                    <a:pt x="958" y="1453"/>
                  </a:cubicBezTo>
                  <a:cubicBezTo>
                    <a:pt x="1288" y="1453"/>
                    <a:pt x="1288" y="1453"/>
                    <a:pt x="1288" y="1453"/>
                  </a:cubicBezTo>
                  <a:cubicBezTo>
                    <a:pt x="1288" y="1519"/>
                    <a:pt x="1288" y="1519"/>
                    <a:pt x="1288" y="1519"/>
                  </a:cubicBezTo>
                  <a:lnTo>
                    <a:pt x="958" y="1519"/>
                  </a:lnTo>
                  <a:close/>
                  <a:moveTo>
                    <a:pt x="1586" y="699"/>
                  </a:moveTo>
                  <a:cubicBezTo>
                    <a:pt x="1586" y="728"/>
                    <a:pt x="1573" y="755"/>
                    <a:pt x="1551" y="774"/>
                  </a:cubicBezTo>
                  <a:cubicBezTo>
                    <a:pt x="1111" y="1156"/>
                    <a:pt x="1111" y="1156"/>
                    <a:pt x="1111" y="1156"/>
                  </a:cubicBezTo>
                  <a:cubicBezTo>
                    <a:pt x="1104" y="1156"/>
                    <a:pt x="1104" y="1156"/>
                    <a:pt x="1104" y="1156"/>
                  </a:cubicBezTo>
                  <a:cubicBezTo>
                    <a:pt x="1040" y="1092"/>
                    <a:pt x="1040" y="1092"/>
                    <a:pt x="1040" y="1092"/>
                  </a:cubicBezTo>
                  <a:cubicBezTo>
                    <a:pt x="1586" y="624"/>
                    <a:pt x="1586" y="624"/>
                    <a:pt x="1586" y="624"/>
                  </a:cubicBezTo>
                  <a:lnTo>
                    <a:pt x="1586" y="699"/>
                  </a:lnTo>
                  <a:close/>
                  <a:moveTo>
                    <a:pt x="925" y="330"/>
                  </a:moveTo>
                  <a:cubicBezTo>
                    <a:pt x="859" y="330"/>
                    <a:pt x="859" y="330"/>
                    <a:pt x="859" y="330"/>
                  </a:cubicBezTo>
                  <a:cubicBezTo>
                    <a:pt x="859" y="132"/>
                    <a:pt x="859" y="132"/>
                    <a:pt x="859" y="132"/>
                  </a:cubicBezTo>
                  <a:cubicBezTo>
                    <a:pt x="925" y="132"/>
                    <a:pt x="925" y="132"/>
                    <a:pt x="925" y="132"/>
                  </a:cubicBezTo>
                  <a:lnTo>
                    <a:pt x="925" y="330"/>
                  </a:lnTo>
                  <a:close/>
                  <a:moveTo>
                    <a:pt x="991" y="330"/>
                  </a:moveTo>
                  <a:cubicBezTo>
                    <a:pt x="991" y="132"/>
                    <a:pt x="991" y="132"/>
                    <a:pt x="991" y="132"/>
                  </a:cubicBezTo>
                  <a:cubicBezTo>
                    <a:pt x="1553" y="132"/>
                    <a:pt x="1553" y="132"/>
                    <a:pt x="1553" y="132"/>
                  </a:cubicBezTo>
                  <a:cubicBezTo>
                    <a:pt x="1607" y="132"/>
                    <a:pt x="1652" y="177"/>
                    <a:pt x="1652" y="231"/>
                  </a:cubicBezTo>
                  <a:cubicBezTo>
                    <a:pt x="1652" y="330"/>
                    <a:pt x="1652" y="330"/>
                    <a:pt x="1652" y="330"/>
                  </a:cubicBezTo>
                  <a:lnTo>
                    <a:pt x="991" y="330"/>
                  </a:lnTo>
                  <a:close/>
                  <a:moveTo>
                    <a:pt x="1367" y="396"/>
                  </a:moveTo>
                  <a:cubicBezTo>
                    <a:pt x="1652" y="396"/>
                    <a:pt x="1652" y="396"/>
                    <a:pt x="1652" y="396"/>
                  </a:cubicBezTo>
                  <a:cubicBezTo>
                    <a:pt x="1652" y="465"/>
                    <a:pt x="1652" y="465"/>
                    <a:pt x="1652" y="465"/>
                  </a:cubicBezTo>
                  <a:cubicBezTo>
                    <a:pt x="1652" y="475"/>
                    <a:pt x="1647" y="484"/>
                    <a:pt x="1640" y="490"/>
                  </a:cubicBezTo>
                  <a:cubicBezTo>
                    <a:pt x="993" y="1045"/>
                    <a:pt x="993" y="1045"/>
                    <a:pt x="993" y="1045"/>
                  </a:cubicBezTo>
                  <a:cubicBezTo>
                    <a:pt x="904" y="956"/>
                    <a:pt x="904" y="956"/>
                    <a:pt x="904" y="956"/>
                  </a:cubicBezTo>
                  <a:cubicBezTo>
                    <a:pt x="876" y="928"/>
                    <a:pt x="842" y="909"/>
                    <a:pt x="805" y="899"/>
                  </a:cubicBezTo>
                  <a:lnTo>
                    <a:pt x="1367" y="396"/>
                  </a:lnTo>
                  <a:close/>
                  <a:moveTo>
                    <a:pt x="806" y="1387"/>
                  </a:moveTo>
                  <a:cubicBezTo>
                    <a:pt x="640" y="1221"/>
                    <a:pt x="640" y="1221"/>
                    <a:pt x="640" y="1221"/>
                  </a:cubicBezTo>
                  <a:cubicBezTo>
                    <a:pt x="611" y="1191"/>
                    <a:pt x="595" y="1153"/>
                    <a:pt x="595" y="1112"/>
                  </a:cubicBezTo>
                  <a:cubicBezTo>
                    <a:pt x="595" y="1027"/>
                    <a:pt x="664" y="958"/>
                    <a:pt x="748" y="958"/>
                  </a:cubicBezTo>
                  <a:cubicBezTo>
                    <a:pt x="790" y="958"/>
                    <a:pt x="828" y="974"/>
                    <a:pt x="857" y="1003"/>
                  </a:cubicBezTo>
                  <a:cubicBezTo>
                    <a:pt x="1076" y="1222"/>
                    <a:pt x="1076" y="1222"/>
                    <a:pt x="1076" y="1222"/>
                  </a:cubicBezTo>
                  <a:cubicBezTo>
                    <a:pt x="1420" y="1222"/>
                    <a:pt x="1420" y="1222"/>
                    <a:pt x="1420" y="1222"/>
                  </a:cubicBezTo>
                  <a:cubicBezTo>
                    <a:pt x="1420" y="1387"/>
                    <a:pt x="1420" y="1387"/>
                    <a:pt x="1420" y="1387"/>
                  </a:cubicBezTo>
                  <a:lnTo>
                    <a:pt x="806" y="1387"/>
                  </a:lnTo>
                  <a:close/>
                  <a:moveTo>
                    <a:pt x="892" y="1586"/>
                  </a:moveTo>
                  <a:cubicBezTo>
                    <a:pt x="958" y="1586"/>
                    <a:pt x="958" y="1586"/>
                    <a:pt x="958" y="1586"/>
                  </a:cubicBezTo>
                  <a:cubicBezTo>
                    <a:pt x="958" y="1652"/>
                    <a:pt x="958" y="1652"/>
                    <a:pt x="958" y="1652"/>
                  </a:cubicBezTo>
                  <a:cubicBezTo>
                    <a:pt x="892" y="1652"/>
                    <a:pt x="892" y="1652"/>
                    <a:pt x="892" y="1652"/>
                  </a:cubicBezTo>
                  <a:lnTo>
                    <a:pt x="892" y="1586"/>
                  </a:lnTo>
                  <a:close/>
                  <a:moveTo>
                    <a:pt x="1982" y="1982"/>
                  </a:moveTo>
                  <a:cubicBezTo>
                    <a:pt x="1916" y="1982"/>
                    <a:pt x="1916" y="1982"/>
                    <a:pt x="1916" y="1982"/>
                  </a:cubicBezTo>
                  <a:cubicBezTo>
                    <a:pt x="1916" y="1916"/>
                    <a:pt x="1916" y="1916"/>
                    <a:pt x="1916" y="1916"/>
                  </a:cubicBezTo>
                  <a:cubicBezTo>
                    <a:pt x="1850" y="1916"/>
                    <a:pt x="1850" y="1916"/>
                    <a:pt x="1850" y="1916"/>
                  </a:cubicBezTo>
                  <a:cubicBezTo>
                    <a:pt x="1850" y="1982"/>
                    <a:pt x="1850" y="1982"/>
                    <a:pt x="1850" y="1982"/>
                  </a:cubicBezTo>
                  <a:cubicBezTo>
                    <a:pt x="1784" y="1982"/>
                    <a:pt x="1784" y="1982"/>
                    <a:pt x="1784" y="1982"/>
                  </a:cubicBezTo>
                  <a:cubicBezTo>
                    <a:pt x="1784" y="1916"/>
                    <a:pt x="1784" y="1916"/>
                    <a:pt x="1784" y="1916"/>
                  </a:cubicBezTo>
                  <a:cubicBezTo>
                    <a:pt x="1718" y="1916"/>
                    <a:pt x="1718" y="1916"/>
                    <a:pt x="1718" y="1916"/>
                  </a:cubicBezTo>
                  <a:cubicBezTo>
                    <a:pt x="1718" y="1982"/>
                    <a:pt x="1718" y="1982"/>
                    <a:pt x="1718" y="1982"/>
                  </a:cubicBezTo>
                  <a:cubicBezTo>
                    <a:pt x="1652" y="1982"/>
                    <a:pt x="1652" y="1982"/>
                    <a:pt x="1652" y="1982"/>
                  </a:cubicBezTo>
                  <a:cubicBezTo>
                    <a:pt x="1652" y="1916"/>
                    <a:pt x="1652" y="1916"/>
                    <a:pt x="1652" y="1916"/>
                  </a:cubicBezTo>
                  <a:cubicBezTo>
                    <a:pt x="1586" y="1916"/>
                    <a:pt x="1586" y="1916"/>
                    <a:pt x="1586" y="1916"/>
                  </a:cubicBezTo>
                  <a:cubicBezTo>
                    <a:pt x="1586" y="1982"/>
                    <a:pt x="1586" y="1982"/>
                    <a:pt x="1586" y="1982"/>
                  </a:cubicBezTo>
                  <a:cubicBezTo>
                    <a:pt x="1519" y="1982"/>
                    <a:pt x="1519" y="1982"/>
                    <a:pt x="1519" y="1982"/>
                  </a:cubicBezTo>
                  <a:cubicBezTo>
                    <a:pt x="1519" y="1916"/>
                    <a:pt x="1519" y="1916"/>
                    <a:pt x="1519" y="1916"/>
                  </a:cubicBezTo>
                  <a:cubicBezTo>
                    <a:pt x="1453" y="1916"/>
                    <a:pt x="1453" y="1916"/>
                    <a:pt x="1453" y="1916"/>
                  </a:cubicBezTo>
                  <a:cubicBezTo>
                    <a:pt x="1453" y="1982"/>
                    <a:pt x="1453" y="1982"/>
                    <a:pt x="1453" y="1982"/>
                  </a:cubicBezTo>
                  <a:cubicBezTo>
                    <a:pt x="1387" y="1982"/>
                    <a:pt x="1387" y="1982"/>
                    <a:pt x="1387" y="1982"/>
                  </a:cubicBezTo>
                  <a:cubicBezTo>
                    <a:pt x="1387" y="1916"/>
                    <a:pt x="1387" y="1916"/>
                    <a:pt x="1387" y="1916"/>
                  </a:cubicBezTo>
                  <a:cubicBezTo>
                    <a:pt x="1321" y="1916"/>
                    <a:pt x="1321" y="1916"/>
                    <a:pt x="1321" y="1916"/>
                  </a:cubicBezTo>
                  <a:cubicBezTo>
                    <a:pt x="1321" y="1982"/>
                    <a:pt x="1321" y="1982"/>
                    <a:pt x="1321" y="1982"/>
                  </a:cubicBezTo>
                  <a:cubicBezTo>
                    <a:pt x="1255" y="1982"/>
                    <a:pt x="1255" y="1982"/>
                    <a:pt x="1255" y="1982"/>
                  </a:cubicBezTo>
                  <a:cubicBezTo>
                    <a:pt x="1255" y="1916"/>
                    <a:pt x="1255" y="1916"/>
                    <a:pt x="1255" y="1916"/>
                  </a:cubicBezTo>
                  <a:cubicBezTo>
                    <a:pt x="1189" y="1916"/>
                    <a:pt x="1189" y="1916"/>
                    <a:pt x="1189" y="1916"/>
                  </a:cubicBezTo>
                  <a:cubicBezTo>
                    <a:pt x="1189" y="1982"/>
                    <a:pt x="1189" y="1982"/>
                    <a:pt x="1189" y="1982"/>
                  </a:cubicBezTo>
                  <a:cubicBezTo>
                    <a:pt x="1123" y="1982"/>
                    <a:pt x="1123" y="1982"/>
                    <a:pt x="1123" y="1982"/>
                  </a:cubicBezTo>
                  <a:cubicBezTo>
                    <a:pt x="1123" y="1916"/>
                    <a:pt x="1123" y="1916"/>
                    <a:pt x="1123" y="1916"/>
                  </a:cubicBezTo>
                  <a:cubicBezTo>
                    <a:pt x="1057" y="1916"/>
                    <a:pt x="1057" y="1916"/>
                    <a:pt x="1057" y="1916"/>
                  </a:cubicBezTo>
                  <a:cubicBezTo>
                    <a:pt x="1057" y="1982"/>
                    <a:pt x="1057" y="1982"/>
                    <a:pt x="1057" y="1982"/>
                  </a:cubicBezTo>
                  <a:cubicBezTo>
                    <a:pt x="991" y="1982"/>
                    <a:pt x="991" y="1982"/>
                    <a:pt x="991" y="1982"/>
                  </a:cubicBezTo>
                  <a:cubicBezTo>
                    <a:pt x="991" y="1916"/>
                    <a:pt x="991" y="1916"/>
                    <a:pt x="991" y="1916"/>
                  </a:cubicBezTo>
                  <a:cubicBezTo>
                    <a:pt x="925" y="1916"/>
                    <a:pt x="925" y="1916"/>
                    <a:pt x="925" y="1916"/>
                  </a:cubicBezTo>
                  <a:cubicBezTo>
                    <a:pt x="925" y="1982"/>
                    <a:pt x="925" y="1982"/>
                    <a:pt x="925" y="1982"/>
                  </a:cubicBezTo>
                  <a:cubicBezTo>
                    <a:pt x="859" y="1982"/>
                    <a:pt x="859" y="1982"/>
                    <a:pt x="859" y="1982"/>
                  </a:cubicBezTo>
                  <a:cubicBezTo>
                    <a:pt x="859" y="1916"/>
                    <a:pt x="859" y="1916"/>
                    <a:pt x="859" y="1916"/>
                  </a:cubicBezTo>
                  <a:cubicBezTo>
                    <a:pt x="793" y="1916"/>
                    <a:pt x="793" y="1916"/>
                    <a:pt x="793" y="1916"/>
                  </a:cubicBezTo>
                  <a:cubicBezTo>
                    <a:pt x="793" y="1982"/>
                    <a:pt x="793" y="1982"/>
                    <a:pt x="793" y="1982"/>
                  </a:cubicBezTo>
                  <a:cubicBezTo>
                    <a:pt x="727" y="1982"/>
                    <a:pt x="727" y="1982"/>
                    <a:pt x="727" y="1982"/>
                  </a:cubicBezTo>
                  <a:cubicBezTo>
                    <a:pt x="727" y="1916"/>
                    <a:pt x="727" y="1916"/>
                    <a:pt x="727" y="1916"/>
                  </a:cubicBezTo>
                  <a:cubicBezTo>
                    <a:pt x="661" y="1916"/>
                    <a:pt x="661" y="1916"/>
                    <a:pt x="661" y="1916"/>
                  </a:cubicBezTo>
                  <a:cubicBezTo>
                    <a:pt x="661" y="1982"/>
                    <a:pt x="661" y="1982"/>
                    <a:pt x="661" y="1982"/>
                  </a:cubicBezTo>
                  <a:cubicBezTo>
                    <a:pt x="595" y="1982"/>
                    <a:pt x="595" y="1982"/>
                    <a:pt x="595" y="1982"/>
                  </a:cubicBezTo>
                  <a:cubicBezTo>
                    <a:pt x="595" y="1850"/>
                    <a:pt x="595" y="1850"/>
                    <a:pt x="595" y="1850"/>
                  </a:cubicBezTo>
                  <a:cubicBezTo>
                    <a:pt x="1982" y="1850"/>
                    <a:pt x="1982" y="1850"/>
                    <a:pt x="1982" y="1850"/>
                  </a:cubicBezTo>
                  <a:lnTo>
                    <a:pt x="1982" y="1982"/>
                  </a:lnTo>
                  <a:close/>
                  <a:moveTo>
                    <a:pt x="743" y="1024"/>
                  </a:moveTo>
                  <a:cubicBezTo>
                    <a:pt x="698" y="1024"/>
                    <a:pt x="661" y="1061"/>
                    <a:pt x="661" y="1107"/>
                  </a:cubicBezTo>
                  <a:cubicBezTo>
                    <a:pt x="661" y="1152"/>
                    <a:pt x="698" y="1189"/>
                    <a:pt x="743" y="1189"/>
                  </a:cubicBezTo>
                  <a:cubicBezTo>
                    <a:pt x="789" y="1189"/>
                    <a:pt x="826" y="1152"/>
                    <a:pt x="826" y="1107"/>
                  </a:cubicBezTo>
                  <a:cubicBezTo>
                    <a:pt x="826" y="1061"/>
                    <a:pt x="789" y="1024"/>
                    <a:pt x="743" y="1024"/>
                  </a:cubicBezTo>
                  <a:close/>
                  <a:moveTo>
                    <a:pt x="743" y="1123"/>
                  </a:moveTo>
                  <a:cubicBezTo>
                    <a:pt x="734" y="1123"/>
                    <a:pt x="727" y="1116"/>
                    <a:pt x="727" y="1107"/>
                  </a:cubicBezTo>
                  <a:cubicBezTo>
                    <a:pt x="727" y="1097"/>
                    <a:pt x="734" y="1090"/>
                    <a:pt x="743" y="1090"/>
                  </a:cubicBezTo>
                  <a:cubicBezTo>
                    <a:pt x="752" y="1090"/>
                    <a:pt x="760" y="1097"/>
                    <a:pt x="760" y="1107"/>
                  </a:cubicBezTo>
                  <a:cubicBezTo>
                    <a:pt x="760" y="1116"/>
                    <a:pt x="752" y="1123"/>
                    <a:pt x="743" y="1123"/>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131" name="Group 157"/>
          <p:cNvGrpSpPr/>
          <p:nvPr/>
        </p:nvGrpSpPr>
        <p:grpSpPr>
          <a:xfrm>
            <a:off x="7666444" y="3840534"/>
            <a:ext cx="292608" cy="292608"/>
            <a:chOff x="7666444" y="3840534"/>
            <a:chExt cx="292608" cy="292608"/>
          </a:xfrm>
        </p:grpSpPr>
        <p:sp>
          <p:nvSpPr>
            <p:cNvPr id="342" name="Oval 341"/>
            <p:cNvSpPr/>
            <p:nvPr/>
          </p:nvSpPr>
          <p:spPr>
            <a:xfrm>
              <a:off x="7666444" y="3840534"/>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49" name="Freeform 22"/>
            <p:cNvSpPr>
              <a:spLocks noEditPoints="1"/>
            </p:cNvSpPr>
            <p:nvPr/>
          </p:nvSpPr>
          <p:spPr bwMode="auto">
            <a:xfrm>
              <a:off x="7730976" y="3907771"/>
              <a:ext cx="163545" cy="158135"/>
            </a:xfrm>
            <a:custGeom>
              <a:avLst/>
              <a:gdLst/>
              <a:ahLst/>
              <a:cxnLst>
                <a:cxn ang="0">
                  <a:pos x="341" y="819"/>
                </a:cxn>
                <a:cxn ang="0">
                  <a:pos x="273" y="888"/>
                </a:cxn>
                <a:cxn ang="0">
                  <a:pos x="273" y="751"/>
                </a:cxn>
                <a:cxn ang="0">
                  <a:pos x="273" y="546"/>
                </a:cxn>
                <a:cxn ang="0">
                  <a:pos x="341" y="615"/>
                </a:cxn>
                <a:cxn ang="0">
                  <a:pos x="341" y="1297"/>
                </a:cxn>
                <a:cxn ang="0">
                  <a:pos x="205" y="1161"/>
                </a:cxn>
                <a:cxn ang="0">
                  <a:pos x="341" y="1229"/>
                </a:cxn>
                <a:cxn ang="0">
                  <a:pos x="410" y="1502"/>
                </a:cxn>
                <a:cxn ang="0">
                  <a:pos x="205" y="1502"/>
                </a:cxn>
                <a:cxn ang="0">
                  <a:pos x="273" y="1502"/>
                </a:cxn>
                <a:cxn ang="0">
                  <a:pos x="1843" y="888"/>
                </a:cxn>
                <a:cxn ang="0">
                  <a:pos x="1707" y="1024"/>
                </a:cxn>
                <a:cxn ang="0">
                  <a:pos x="1707" y="888"/>
                </a:cxn>
                <a:cxn ang="0">
                  <a:pos x="887" y="1127"/>
                </a:cxn>
                <a:cxn ang="0">
                  <a:pos x="819" y="1195"/>
                </a:cxn>
                <a:cxn ang="0">
                  <a:pos x="1707" y="751"/>
                </a:cxn>
                <a:cxn ang="0">
                  <a:pos x="1707" y="546"/>
                </a:cxn>
                <a:cxn ang="0">
                  <a:pos x="1775" y="615"/>
                </a:cxn>
                <a:cxn ang="0">
                  <a:pos x="1775" y="1297"/>
                </a:cxn>
                <a:cxn ang="0">
                  <a:pos x="1638" y="1161"/>
                </a:cxn>
                <a:cxn ang="0">
                  <a:pos x="1775" y="1229"/>
                </a:cxn>
                <a:cxn ang="0">
                  <a:pos x="1297" y="444"/>
                </a:cxn>
                <a:cxn ang="0">
                  <a:pos x="1092" y="444"/>
                </a:cxn>
                <a:cxn ang="0">
                  <a:pos x="1161" y="444"/>
                </a:cxn>
                <a:cxn ang="0">
                  <a:pos x="1843" y="1434"/>
                </a:cxn>
                <a:cxn ang="0">
                  <a:pos x="1707" y="1570"/>
                </a:cxn>
                <a:cxn ang="0">
                  <a:pos x="1707" y="1434"/>
                </a:cxn>
                <a:cxn ang="0">
                  <a:pos x="1843" y="376"/>
                </a:cxn>
                <a:cxn ang="0">
                  <a:pos x="1638" y="376"/>
                </a:cxn>
                <a:cxn ang="0">
                  <a:pos x="1161" y="68"/>
                </a:cxn>
                <a:cxn ang="0">
                  <a:pos x="956" y="68"/>
                </a:cxn>
                <a:cxn ang="0">
                  <a:pos x="580" y="68"/>
                </a:cxn>
                <a:cxn ang="0">
                  <a:pos x="375" y="341"/>
                </a:cxn>
                <a:cxn ang="0">
                  <a:pos x="171" y="341"/>
                </a:cxn>
                <a:cxn ang="0">
                  <a:pos x="0" y="1946"/>
                </a:cxn>
                <a:cxn ang="0">
                  <a:pos x="2014" y="410"/>
                </a:cxn>
                <a:cxn ang="0">
                  <a:pos x="546" y="1912"/>
                </a:cxn>
                <a:cxn ang="0">
                  <a:pos x="546" y="1639"/>
                </a:cxn>
                <a:cxn ang="0">
                  <a:pos x="990" y="1912"/>
                </a:cxn>
                <a:cxn ang="0">
                  <a:pos x="1263" y="1912"/>
                </a:cxn>
                <a:cxn ang="0">
                  <a:pos x="751" y="1570"/>
                </a:cxn>
                <a:cxn ang="0">
                  <a:pos x="614" y="1673"/>
                </a:cxn>
                <a:cxn ang="0">
                  <a:pos x="1502" y="1912"/>
                </a:cxn>
                <a:cxn ang="0">
                  <a:pos x="1502" y="1639"/>
                </a:cxn>
                <a:cxn ang="0">
                  <a:pos x="1229" y="1058"/>
                </a:cxn>
                <a:cxn ang="0">
                  <a:pos x="1092" y="922"/>
                </a:cxn>
                <a:cxn ang="0">
                  <a:pos x="1229" y="990"/>
                </a:cxn>
                <a:cxn ang="0">
                  <a:pos x="956" y="990"/>
                </a:cxn>
                <a:cxn ang="0">
                  <a:pos x="751" y="990"/>
                </a:cxn>
                <a:cxn ang="0">
                  <a:pos x="819" y="990"/>
                </a:cxn>
                <a:cxn ang="0">
                  <a:pos x="1297" y="649"/>
                </a:cxn>
                <a:cxn ang="0">
                  <a:pos x="1161" y="785"/>
                </a:cxn>
                <a:cxn ang="0">
                  <a:pos x="1161" y="649"/>
                </a:cxn>
                <a:cxn ang="0">
                  <a:pos x="1229" y="1127"/>
                </a:cxn>
                <a:cxn ang="0">
                  <a:pos x="1161" y="1195"/>
                </a:cxn>
                <a:cxn ang="0">
                  <a:pos x="819" y="785"/>
                </a:cxn>
                <a:cxn ang="0">
                  <a:pos x="819" y="580"/>
                </a:cxn>
                <a:cxn ang="0">
                  <a:pos x="887" y="649"/>
                </a:cxn>
                <a:cxn ang="0">
                  <a:pos x="887" y="512"/>
                </a:cxn>
                <a:cxn ang="0">
                  <a:pos x="751" y="376"/>
                </a:cxn>
                <a:cxn ang="0">
                  <a:pos x="887" y="444"/>
                </a:cxn>
              </a:cxnLst>
              <a:rect l="0" t="0" r="r" b="b"/>
              <a:pathLst>
                <a:path w="2048" h="1980">
                  <a:moveTo>
                    <a:pt x="273" y="1024"/>
                  </a:moveTo>
                  <a:cubicBezTo>
                    <a:pt x="341" y="1024"/>
                    <a:pt x="341" y="1024"/>
                    <a:pt x="341" y="1024"/>
                  </a:cubicBezTo>
                  <a:cubicBezTo>
                    <a:pt x="379" y="1024"/>
                    <a:pt x="410" y="993"/>
                    <a:pt x="410" y="956"/>
                  </a:cubicBezTo>
                  <a:cubicBezTo>
                    <a:pt x="410" y="888"/>
                    <a:pt x="410" y="888"/>
                    <a:pt x="410" y="888"/>
                  </a:cubicBezTo>
                  <a:cubicBezTo>
                    <a:pt x="410" y="850"/>
                    <a:pt x="379" y="819"/>
                    <a:pt x="341" y="819"/>
                  </a:cubicBezTo>
                  <a:cubicBezTo>
                    <a:pt x="273" y="819"/>
                    <a:pt x="273" y="819"/>
                    <a:pt x="273" y="819"/>
                  </a:cubicBezTo>
                  <a:cubicBezTo>
                    <a:pt x="236" y="819"/>
                    <a:pt x="205" y="850"/>
                    <a:pt x="205" y="888"/>
                  </a:cubicBezTo>
                  <a:cubicBezTo>
                    <a:pt x="205" y="956"/>
                    <a:pt x="205" y="956"/>
                    <a:pt x="205" y="956"/>
                  </a:cubicBezTo>
                  <a:cubicBezTo>
                    <a:pt x="205" y="993"/>
                    <a:pt x="236" y="1024"/>
                    <a:pt x="273" y="1024"/>
                  </a:cubicBezTo>
                  <a:close/>
                  <a:moveTo>
                    <a:pt x="273" y="888"/>
                  </a:moveTo>
                  <a:cubicBezTo>
                    <a:pt x="341" y="888"/>
                    <a:pt x="341" y="888"/>
                    <a:pt x="341" y="888"/>
                  </a:cubicBezTo>
                  <a:cubicBezTo>
                    <a:pt x="341" y="956"/>
                    <a:pt x="341" y="956"/>
                    <a:pt x="341" y="956"/>
                  </a:cubicBezTo>
                  <a:cubicBezTo>
                    <a:pt x="273" y="956"/>
                    <a:pt x="273" y="956"/>
                    <a:pt x="273" y="956"/>
                  </a:cubicBezTo>
                  <a:lnTo>
                    <a:pt x="273" y="888"/>
                  </a:lnTo>
                  <a:close/>
                  <a:moveTo>
                    <a:pt x="273" y="751"/>
                  </a:moveTo>
                  <a:cubicBezTo>
                    <a:pt x="341" y="751"/>
                    <a:pt x="341" y="751"/>
                    <a:pt x="341" y="751"/>
                  </a:cubicBezTo>
                  <a:cubicBezTo>
                    <a:pt x="379" y="751"/>
                    <a:pt x="410" y="720"/>
                    <a:pt x="410" y="683"/>
                  </a:cubicBezTo>
                  <a:cubicBezTo>
                    <a:pt x="410" y="615"/>
                    <a:pt x="410" y="615"/>
                    <a:pt x="410" y="615"/>
                  </a:cubicBezTo>
                  <a:cubicBezTo>
                    <a:pt x="410" y="577"/>
                    <a:pt x="379" y="546"/>
                    <a:pt x="341" y="546"/>
                  </a:cubicBezTo>
                  <a:cubicBezTo>
                    <a:pt x="273" y="546"/>
                    <a:pt x="273" y="546"/>
                    <a:pt x="273" y="546"/>
                  </a:cubicBezTo>
                  <a:cubicBezTo>
                    <a:pt x="236" y="546"/>
                    <a:pt x="205" y="577"/>
                    <a:pt x="205" y="615"/>
                  </a:cubicBezTo>
                  <a:cubicBezTo>
                    <a:pt x="205" y="683"/>
                    <a:pt x="205" y="683"/>
                    <a:pt x="205" y="683"/>
                  </a:cubicBezTo>
                  <a:cubicBezTo>
                    <a:pt x="205" y="720"/>
                    <a:pt x="236" y="751"/>
                    <a:pt x="273" y="751"/>
                  </a:cubicBezTo>
                  <a:close/>
                  <a:moveTo>
                    <a:pt x="273" y="615"/>
                  </a:moveTo>
                  <a:cubicBezTo>
                    <a:pt x="341" y="615"/>
                    <a:pt x="341" y="615"/>
                    <a:pt x="341" y="615"/>
                  </a:cubicBezTo>
                  <a:cubicBezTo>
                    <a:pt x="341" y="683"/>
                    <a:pt x="341" y="683"/>
                    <a:pt x="341" y="683"/>
                  </a:cubicBezTo>
                  <a:cubicBezTo>
                    <a:pt x="273" y="683"/>
                    <a:pt x="273" y="683"/>
                    <a:pt x="273" y="683"/>
                  </a:cubicBezTo>
                  <a:lnTo>
                    <a:pt x="273" y="615"/>
                  </a:lnTo>
                  <a:close/>
                  <a:moveTo>
                    <a:pt x="273" y="1297"/>
                  </a:moveTo>
                  <a:cubicBezTo>
                    <a:pt x="341" y="1297"/>
                    <a:pt x="341" y="1297"/>
                    <a:pt x="341" y="1297"/>
                  </a:cubicBezTo>
                  <a:cubicBezTo>
                    <a:pt x="379" y="1297"/>
                    <a:pt x="410" y="1266"/>
                    <a:pt x="410" y="1229"/>
                  </a:cubicBezTo>
                  <a:cubicBezTo>
                    <a:pt x="410" y="1161"/>
                    <a:pt x="410" y="1161"/>
                    <a:pt x="410" y="1161"/>
                  </a:cubicBezTo>
                  <a:cubicBezTo>
                    <a:pt x="410" y="1123"/>
                    <a:pt x="379" y="1092"/>
                    <a:pt x="341" y="1092"/>
                  </a:cubicBezTo>
                  <a:cubicBezTo>
                    <a:pt x="273" y="1092"/>
                    <a:pt x="273" y="1092"/>
                    <a:pt x="273" y="1092"/>
                  </a:cubicBezTo>
                  <a:cubicBezTo>
                    <a:pt x="236" y="1092"/>
                    <a:pt x="205" y="1123"/>
                    <a:pt x="205" y="1161"/>
                  </a:cubicBezTo>
                  <a:cubicBezTo>
                    <a:pt x="205" y="1229"/>
                    <a:pt x="205" y="1229"/>
                    <a:pt x="205" y="1229"/>
                  </a:cubicBezTo>
                  <a:cubicBezTo>
                    <a:pt x="205" y="1266"/>
                    <a:pt x="236" y="1297"/>
                    <a:pt x="273" y="1297"/>
                  </a:cubicBezTo>
                  <a:close/>
                  <a:moveTo>
                    <a:pt x="273" y="1161"/>
                  </a:moveTo>
                  <a:cubicBezTo>
                    <a:pt x="341" y="1161"/>
                    <a:pt x="341" y="1161"/>
                    <a:pt x="341" y="1161"/>
                  </a:cubicBezTo>
                  <a:cubicBezTo>
                    <a:pt x="341" y="1229"/>
                    <a:pt x="341" y="1229"/>
                    <a:pt x="341" y="1229"/>
                  </a:cubicBezTo>
                  <a:cubicBezTo>
                    <a:pt x="273" y="1229"/>
                    <a:pt x="273" y="1229"/>
                    <a:pt x="273" y="1229"/>
                  </a:cubicBezTo>
                  <a:lnTo>
                    <a:pt x="273" y="1161"/>
                  </a:lnTo>
                  <a:close/>
                  <a:moveTo>
                    <a:pt x="273" y="1570"/>
                  </a:moveTo>
                  <a:cubicBezTo>
                    <a:pt x="341" y="1570"/>
                    <a:pt x="341" y="1570"/>
                    <a:pt x="341" y="1570"/>
                  </a:cubicBezTo>
                  <a:cubicBezTo>
                    <a:pt x="379" y="1570"/>
                    <a:pt x="410" y="1540"/>
                    <a:pt x="410" y="1502"/>
                  </a:cubicBezTo>
                  <a:cubicBezTo>
                    <a:pt x="410" y="1434"/>
                    <a:pt x="410" y="1434"/>
                    <a:pt x="410" y="1434"/>
                  </a:cubicBezTo>
                  <a:cubicBezTo>
                    <a:pt x="410" y="1396"/>
                    <a:pt x="379" y="1365"/>
                    <a:pt x="341" y="1365"/>
                  </a:cubicBezTo>
                  <a:cubicBezTo>
                    <a:pt x="273" y="1365"/>
                    <a:pt x="273" y="1365"/>
                    <a:pt x="273" y="1365"/>
                  </a:cubicBezTo>
                  <a:cubicBezTo>
                    <a:pt x="236" y="1365"/>
                    <a:pt x="205" y="1396"/>
                    <a:pt x="205" y="1434"/>
                  </a:cubicBezTo>
                  <a:cubicBezTo>
                    <a:pt x="205" y="1502"/>
                    <a:pt x="205" y="1502"/>
                    <a:pt x="205" y="1502"/>
                  </a:cubicBezTo>
                  <a:cubicBezTo>
                    <a:pt x="205" y="1540"/>
                    <a:pt x="236" y="1570"/>
                    <a:pt x="273" y="1570"/>
                  </a:cubicBezTo>
                  <a:close/>
                  <a:moveTo>
                    <a:pt x="273" y="1434"/>
                  </a:moveTo>
                  <a:cubicBezTo>
                    <a:pt x="341" y="1434"/>
                    <a:pt x="341" y="1434"/>
                    <a:pt x="341" y="1434"/>
                  </a:cubicBezTo>
                  <a:cubicBezTo>
                    <a:pt x="341" y="1502"/>
                    <a:pt x="341" y="1502"/>
                    <a:pt x="341" y="1502"/>
                  </a:cubicBezTo>
                  <a:cubicBezTo>
                    <a:pt x="273" y="1502"/>
                    <a:pt x="273" y="1502"/>
                    <a:pt x="273" y="1502"/>
                  </a:cubicBezTo>
                  <a:lnTo>
                    <a:pt x="273" y="1434"/>
                  </a:lnTo>
                  <a:close/>
                  <a:moveTo>
                    <a:pt x="1707" y="1024"/>
                  </a:moveTo>
                  <a:cubicBezTo>
                    <a:pt x="1775" y="1024"/>
                    <a:pt x="1775" y="1024"/>
                    <a:pt x="1775" y="1024"/>
                  </a:cubicBezTo>
                  <a:cubicBezTo>
                    <a:pt x="1812" y="1024"/>
                    <a:pt x="1843" y="993"/>
                    <a:pt x="1843" y="956"/>
                  </a:cubicBezTo>
                  <a:cubicBezTo>
                    <a:pt x="1843" y="888"/>
                    <a:pt x="1843" y="888"/>
                    <a:pt x="1843" y="888"/>
                  </a:cubicBezTo>
                  <a:cubicBezTo>
                    <a:pt x="1843" y="850"/>
                    <a:pt x="1812" y="819"/>
                    <a:pt x="1775" y="819"/>
                  </a:cubicBezTo>
                  <a:cubicBezTo>
                    <a:pt x="1707" y="819"/>
                    <a:pt x="1707" y="819"/>
                    <a:pt x="1707" y="819"/>
                  </a:cubicBezTo>
                  <a:cubicBezTo>
                    <a:pt x="1669" y="819"/>
                    <a:pt x="1638" y="850"/>
                    <a:pt x="1638" y="888"/>
                  </a:cubicBezTo>
                  <a:cubicBezTo>
                    <a:pt x="1638" y="956"/>
                    <a:pt x="1638" y="956"/>
                    <a:pt x="1638" y="956"/>
                  </a:cubicBezTo>
                  <a:cubicBezTo>
                    <a:pt x="1638" y="993"/>
                    <a:pt x="1669" y="1024"/>
                    <a:pt x="1707" y="1024"/>
                  </a:cubicBezTo>
                  <a:close/>
                  <a:moveTo>
                    <a:pt x="1707" y="888"/>
                  </a:moveTo>
                  <a:cubicBezTo>
                    <a:pt x="1775" y="888"/>
                    <a:pt x="1775" y="888"/>
                    <a:pt x="1775" y="888"/>
                  </a:cubicBezTo>
                  <a:cubicBezTo>
                    <a:pt x="1775" y="956"/>
                    <a:pt x="1775" y="956"/>
                    <a:pt x="1775" y="956"/>
                  </a:cubicBezTo>
                  <a:cubicBezTo>
                    <a:pt x="1707" y="956"/>
                    <a:pt x="1707" y="956"/>
                    <a:pt x="1707" y="956"/>
                  </a:cubicBezTo>
                  <a:lnTo>
                    <a:pt x="1707" y="888"/>
                  </a:lnTo>
                  <a:close/>
                  <a:moveTo>
                    <a:pt x="819" y="1331"/>
                  </a:moveTo>
                  <a:cubicBezTo>
                    <a:pt x="887" y="1331"/>
                    <a:pt x="887" y="1331"/>
                    <a:pt x="887" y="1331"/>
                  </a:cubicBezTo>
                  <a:cubicBezTo>
                    <a:pt x="925" y="1331"/>
                    <a:pt x="956" y="1301"/>
                    <a:pt x="956" y="1263"/>
                  </a:cubicBezTo>
                  <a:cubicBezTo>
                    <a:pt x="956" y="1195"/>
                    <a:pt x="956" y="1195"/>
                    <a:pt x="956" y="1195"/>
                  </a:cubicBezTo>
                  <a:cubicBezTo>
                    <a:pt x="956" y="1157"/>
                    <a:pt x="925" y="1127"/>
                    <a:pt x="887" y="1127"/>
                  </a:cubicBezTo>
                  <a:cubicBezTo>
                    <a:pt x="819" y="1127"/>
                    <a:pt x="819" y="1127"/>
                    <a:pt x="819" y="1127"/>
                  </a:cubicBezTo>
                  <a:cubicBezTo>
                    <a:pt x="782" y="1127"/>
                    <a:pt x="751" y="1157"/>
                    <a:pt x="751" y="1195"/>
                  </a:cubicBezTo>
                  <a:cubicBezTo>
                    <a:pt x="751" y="1263"/>
                    <a:pt x="751" y="1263"/>
                    <a:pt x="751" y="1263"/>
                  </a:cubicBezTo>
                  <a:cubicBezTo>
                    <a:pt x="751" y="1301"/>
                    <a:pt x="782" y="1331"/>
                    <a:pt x="819" y="1331"/>
                  </a:cubicBezTo>
                  <a:close/>
                  <a:moveTo>
                    <a:pt x="819" y="1195"/>
                  </a:moveTo>
                  <a:cubicBezTo>
                    <a:pt x="887" y="1195"/>
                    <a:pt x="887" y="1195"/>
                    <a:pt x="887" y="1195"/>
                  </a:cubicBezTo>
                  <a:cubicBezTo>
                    <a:pt x="887" y="1263"/>
                    <a:pt x="887" y="1263"/>
                    <a:pt x="887" y="1263"/>
                  </a:cubicBezTo>
                  <a:cubicBezTo>
                    <a:pt x="819" y="1263"/>
                    <a:pt x="819" y="1263"/>
                    <a:pt x="819" y="1263"/>
                  </a:cubicBezTo>
                  <a:lnTo>
                    <a:pt x="819" y="1195"/>
                  </a:lnTo>
                  <a:close/>
                  <a:moveTo>
                    <a:pt x="1707" y="751"/>
                  </a:moveTo>
                  <a:cubicBezTo>
                    <a:pt x="1775" y="751"/>
                    <a:pt x="1775" y="751"/>
                    <a:pt x="1775" y="751"/>
                  </a:cubicBezTo>
                  <a:cubicBezTo>
                    <a:pt x="1812" y="751"/>
                    <a:pt x="1843" y="720"/>
                    <a:pt x="1843" y="683"/>
                  </a:cubicBezTo>
                  <a:cubicBezTo>
                    <a:pt x="1843" y="615"/>
                    <a:pt x="1843" y="615"/>
                    <a:pt x="1843" y="615"/>
                  </a:cubicBezTo>
                  <a:cubicBezTo>
                    <a:pt x="1843" y="577"/>
                    <a:pt x="1812" y="546"/>
                    <a:pt x="1775" y="546"/>
                  </a:cubicBezTo>
                  <a:cubicBezTo>
                    <a:pt x="1707" y="546"/>
                    <a:pt x="1707" y="546"/>
                    <a:pt x="1707" y="546"/>
                  </a:cubicBezTo>
                  <a:cubicBezTo>
                    <a:pt x="1669" y="546"/>
                    <a:pt x="1638" y="577"/>
                    <a:pt x="1638" y="615"/>
                  </a:cubicBezTo>
                  <a:cubicBezTo>
                    <a:pt x="1638" y="683"/>
                    <a:pt x="1638" y="683"/>
                    <a:pt x="1638" y="683"/>
                  </a:cubicBezTo>
                  <a:cubicBezTo>
                    <a:pt x="1638" y="720"/>
                    <a:pt x="1669" y="751"/>
                    <a:pt x="1707" y="751"/>
                  </a:cubicBezTo>
                  <a:close/>
                  <a:moveTo>
                    <a:pt x="1707" y="615"/>
                  </a:moveTo>
                  <a:cubicBezTo>
                    <a:pt x="1775" y="615"/>
                    <a:pt x="1775" y="615"/>
                    <a:pt x="1775" y="615"/>
                  </a:cubicBezTo>
                  <a:cubicBezTo>
                    <a:pt x="1775" y="683"/>
                    <a:pt x="1775" y="683"/>
                    <a:pt x="1775" y="683"/>
                  </a:cubicBezTo>
                  <a:cubicBezTo>
                    <a:pt x="1707" y="683"/>
                    <a:pt x="1707" y="683"/>
                    <a:pt x="1707" y="683"/>
                  </a:cubicBezTo>
                  <a:lnTo>
                    <a:pt x="1707" y="615"/>
                  </a:lnTo>
                  <a:close/>
                  <a:moveTo>
                    <a:pt x="1707" y="1297"/>
                  </a:moveTo>
                  <a:cubicBezTo>
                    <a:pt x="1775" y="1297"/>
                    <a:pt x="1775" y="1297"/>
                    <a:pt x="1775" y="1297"/>
                  </a:cubicBezTo>
                  <a:cubicBezTo>
                    <a:pt x="1812" y="1297"/>
                    <a:pt x="1843" y="1266"/>
                    <a:pt x="1843" y="1229"/>
                  </a:cubicBezTo>
                  <a:cubicBezTo>
                    <a:pt x="1843" y="1161"/>
                    <a:pt x="1843" y="1161"/>
                    <a:pt x="1843" y="1161"/>
                  </a:cubicBezTo>
                  <a:cubicBezTo>
                    <a:pt x="1843" y="1123"/>
                    <a:pt x="1812" y="1092"/>
                    <a:pt x="1775" y="1092"/>
                  </a:cubicBezTo>
                  <a:cubicBezTo>
                    <a:pt x="1707" y="1092"/>
                    <a:pt x="1707" y="1092"/>
                    <a:pt x="1707" y="1092"/>
                  </a:cubicBezTo>
                  <a:cubicBezTo>
                    <a:pt x="1669" y="1092"/>
                    <a:pt x="1638" y="1123"/>
                    <a:pt x="1638" y="1161"/>
                  </a:cubicBezTo>
                  <a:cubicBezTo>
                    <a:pt x="1638" y="1229"/>
                    <a:pt x="1638" y="1229"/>
                    <a:pt x="1638" y="1229"/>
                  </a:cubicBezTo>
                  <a:cubicBezTo>
                    <a:pt x="1638" y="1266"/>
                    <a:pt x="1669" y="1297"/>
                    <a:pt x="1707" y="1297"/>
                  </a:cubicBezTo>
                  <a:close/>
                  <a:moveTo>
                    <a:pt x="1707" y="1161"/>
                  </a:moveTo>
                  <a:cubicBezTo>
                    <a:pt x="1775" y="1161"/>
                    <a:pt x="1775" y="1161"/>
                    <a:pt x="1775" y="1161"/>
                  </a:cubicBezTo>
                  <a:cubicBezTo>
                    <a:pt x="1775" y="1229"/>
                    <a:pt x="1775" y="1229"/>
                    <a:pt x="1775" y="1229"/>
                  </a:cubicBezTo>
                  <a:cubicBezTo>
                    <a:pt x="1707" y="1229"/>
                    <a:pt x="1707" y="1229"/>
                    <a:pt x="1707" y="1229"/>
                  </a:cubicBezTo>
                  <a:lnTo>
                    <a:pt x="1707" y="1161"/>
                  </a:lnTo>
                  <a:close/>
                  <a:moveTo>
                    <a:pt x="1161" y="512"/>
                  </a:moveTo>
                  <a:cubicBezTo>
                    <a:pt x="1229" y="512"/>
                    <a:pt x="1229" y="512"/>
                    <a:pt x="1229" y="512"/>
                  </a:cubicBezTo>
                  <a:cubicBezTo>
                    <a:pt x="1266" y="512"/>
                    <a:pt x="1297" y="481"/>
                    <a:pt x="1297" y="444"/>
                  </a:cubicBezTo>
                  <a:cubicBezTo>
                    <a:pt x="1297" y="376"/>
                    <a:pt x="1297" y="376"/>
                    <a:pt x="1297" y="376"/>
                  </a:cubicBezTo>
                  <a:cubicBezTo>
                    <a:pt x="1297" y="338"/>
                    <a:pt x="1266" y="307"/>
                    <a:pt x="1229" y="307"/>
                  </a:cubicBezTo>
                  <a:cubicBezTo>
                    <a:pt x="1161" y="307"/>
                    <a:pt x="1161" y="307"/>
                    <a:pt x="1161" y="307"/>
                  </a:cubicBezTo>
                  <a:cubicBezTo>
                    <a:pt x="1123" y="307"/>
                    <a:pt x="1092" y="338"/>
                    <a:pt x="1092" y="376"/>
                  </a:cubicBezTo>
                  <a:cubicBezTo>
                    <a:pt x="1092" y="444"/>
                    <a:pt x="1092" y="444"/>
                    <a:pt x="1092" y="444"/>
                  </a:cubicBezTo>
                  <a:cubicBezTo>
                    <a:pt x="1092" y="481"/>
                    <a:pt x="1123" y="512"/>
                    <a:pt x="1161" y="512"/>
                  </a:cubicBezTo>
                  <a:close/>
                  <a:moveTo>
                    <a:pt x="1161" y="376"/>
                  </a:moveTo>
                  <a:cubicBezTo>
                    <a:pt x="1229" y="376"/>
                    <a:pt x="1229" y="376"/>
                    <a:pt x="1229" y="376"/>
                  </a:cubicBezTo>
                  <a:cubicBezTo>
                    <a:pt x="1229" y="444"/>
                    <a:pt x="1229" y="444"/>
                    <a:pt x="1229" y="444"/>
                  </a:cubicBezTo>
                  <a:cubicBezTo>
                    <a:pt x="1161" y="444"/>
                    <a:pt x="1161" y="444"/>
                    <a:pt x="1161" y="444"/>
                  </a:cubicBezTo>
                  <a:lnTo>
                    <a:pt x="1161" y="376"/>
                  </a:lnTo>
                  <a:close/>
                  <a:moveTo>
                    <a:pt x="1707" y="1570"/>
                  </a:moveTo>
                  <a:cubicBezTo>
                    <a:pt x="1775" y="1570"/>
                    <a:pt x="1775" y="1570"/>
                    <a:pt x="1775" y="1570"/>
                  </a:cubicBezTo>
                  <a:cubicBezTo>
                    <a:pt x="1812" y="1570"/>
                    <a:pt x="1843" y="1540"/>
                    <a:pt x="1843" y="1502"/>
                  </a:cubicBezTo>
                  <a:cubicBezTo>
                    <a:pt x="1843" y="1434"/>
                    <a:pt x="1843" y="1434"/>
                    <a:pt x="1843" y="1434"/>
                  </a:cubicBezTo>
                  <a:cubicBezTo>
                    <a:pt x="1843" y="1396"/>
                    <a:pt x="1812" y="1365"/>
                    <a:pt x="1775" y="1365"/>
                  </a:cubicBezTo>
                  <a:cubicBezTo>
                    <a:pt x="1707" y="1365"/>
                    <a:pt x="1707" y="1365"/>
                    <a:pt x="1707" y="1365"/>
                  </a:cubicBezTo>
                  <a:cubicBezTo>
                    <a:pt x="1669" y="1365"/>
                    <a:pt x="1638" y="1396"/>
                    <a:pt x="1638" y="1434"/>
                  </a:cubicBezTo>
                  <a:cubicBezTo>
                    <a:pt x="1638" y="1502"/>
                    <a:pt x="1638" y="1502"/>
                    <a:pt x="1638" y="1502"/>
                  </a:cubicBezTo>
                  <a:cubicBezTo>
                    <a:pt x="1638" y="1540"/>
                    <a:pt x="1669" y="1570"/>
                    <a:pt x="1707" y="1570"/>
                  </a:cubicBezTo>
                  <a:close/>
                  <a:moveTo>
                    <a:pt x="1707" y="1434"/>
                  </a:moveTo>
                  <a:cubicBezTo>
                    <a:pt x="1775" y="1434"/>
                    <a:pt x="1775" y="1434"/>
                    <a:pt x="1775" y="1434"/>
                  </a:cubicBezTo>
                  <a:cubicBezTo>
                    <a:pt x="1775" y="1502"/>
                    <a:pt x="1775" y="1502"/>
                    <a:pt x="1775" y="1502"/>
                  </a:cubicBezTo>
                  <a:cubicBezTo>
                    <a:pt x="1707" y="1502"/>
                    <a:pt x="1707" y="1502"/>
                    <a:pt x="1707" y="1502"/>
                  </a:cubicBezTo>
                  <a:lnTo>
                    <a:pt x="1707" y="1434"/>
                  </a:lnTo>
                  <a:close/>
                  <a:moveTo>
                    <a:pt x="2014" y="410"/>
                  </a:moveTo>
                  <a:cubicBezTo>
                    <a:pt x="1911" y="410"/>
                    <a:pt x="1911" y="410"/>
                    <a:pt x="1911" y="410"/>
                  </a:cubicBezTo>
                  <a:cubicBezTo>
                    <a:pt x="1911" y="376"/>
                    <a:pt x="1911" y="376"/>
                    <a:pt x="1911" y="376"/>
                  </a:cubicBezTo>
                  <a:cubicBezTo>
                    <a:pt x="1911" y="355"/>
                    <a:pt x="1898" y="341"/>
                    <a:pt x="1877" y="341"/>
                  </a:cubicBezTo>
                  <a:cubicBezTo>
                    <a:pt x="1857" y="341"/>
                    <a:pt x="1843" y="355"/>
                    <a:pt x="1843" y="376"/>
                  </a:cubicBezTo>
                  <a:cubicBezTo>
                    <a:pt x="1843" y="410"/>
                    <a:pt x="1843" y="410"/>
                    <a:pt x="1843" y="410"/>
                  </a:cubicBezTo>
                  <a:cubicBezTo>
                    <a:pt x="1707" y="410"/>
                    <a:pt x="1707" y="410"/>
                    <a:pt x="1707" y="410"/>
                  </a:cubicBezTo>
                  <a:cubicBezTo>
                    <a:pt x="1707" y="376"/>
                    <a:pt x="1707" y="376"/>
                    <a:pt x="1707" y="376"/>
                  </a:cubicBezTo>
                  <a:cubicBezTo>
                    <a:pt x="1707" y="355"/>
                    <a:pt x="1693" y="341"/>
                    <a:pt x="1673" y="341"/>
                  </a:cubicBezTo>
                  <a:cubicBezTo>
                    <a:pt x="1652" y="341"/>
                    <a:pt x="1638" y="355"/>
                    <a:pt x="1638" y="376"/>
                  </a:cubicBezTo>
                  <a:cubicBezTo>
                    <a:pt x="1638" y="410"/>
                    <a:pt x="1638" y="410"/>
                    <a:pt x="1638" y="410"/>
                  </a:cubicBezTo>
                  <a:cubicBezTo>
                    <a:pt x="1502" y="410"/>
                    <a:pt x="1502" y="410"/>
                    <a:pt x="1502" y="410"/>
                  </a:cubicBezTo>
                  <a:cubicBezTo>
                    <a:pt x="1502" y="103"/>
                    <a:pt x="1502" y="103"/>
                    <a:pt x="1502" y="103"/>
                  </a:cubicBezTo>
                  <a:cubicBezTo>
                    <a:pt x="1502" y="82"/>
                    <a:pt x="1488" y="68"/>
                    <a:pt x="1468" y="68"/>
                  </a:cubicBezTo>
                  <a:cubicBezTo>
                    <a:pt x="1161" y="68"/>
                    <a:pt x="1161" y="68"/>
                    <a:pt x="1161" y="68"/>
                  </a:cubicBezTo>
                  <a:cubicBezTo>
                    <a:pt x="1161" y="34"/>
                    <a:pt x="1161" y="34"/>
                    <a:pt x="1161" y="34"/>
                  </a:cubicBezTo>
                  <a:cubicBezTo>
                    <a:pt x="1161" y="14"/>
                    <a:pt x="1147" y="0"/>
                    <a:pt x="1126" y="0"/>
                  </a:cubicBezTo>
                  <a:cubicBezTo>
                    <a:pt x="1106" y="0"/>
                    <a:pt x="1092" y="14"/>
                    <a:pt x="1092" y="34"/>
                  </a:cubicBezTo>
                  <a:cubicBezTo>
                    <a:pt x="1092" y="68"/>
                    <a:pt x="1092" y="68"/>
                    <a:pt x="1092" y="68"/>
                  </a:cubicBezTo>
                  <a:cubicBezTo>
                    <a:pt x="956" y="68"/>
                    <a:pt x="956" y="68"/>
                    <a:pt x="956" y="68"/>
                  </a:cubicBezTo>
                  <a:cubicBezTo>
                    <a:pt x="956" y="34"/>
                    <a:pt x="956" y="34"/>
                    <a:pt x="956" y="34"/>
                  </a:cubicBezTo>
                  <a:cubicBezTo>
                    <a:pt x="956" y="14"/>
                    <a:pt x="942" y="0"/>
                    <a:pt x="922" y="0"/>
                  </a:cubicBezTo>
                  <a:cubicBezTo>
                    <a:pt x="901" y="0"/>
                    <a:pt x="887" y="14"/>
                    <a:pt x="887" y="34"/>
                  </a:cubicBezTo>
                  <a:cubicBezTo>
                    <a:pt x="887" y="68"/>
                    <a:pt x="887" y="68"/>
                    <a:pt x="887" y="68"/>
                  </a:cubicBezTo>
                  <a:cubicBezTo>
                    <a:pt x="580" y="68"/>
                    <a:pt x="580" y="68"/>
                    <a:pt x="580" y="68"/>
                  </a:cubicBezTo>
                  <a:cubicBezTo>
                    <a:pt x="560" y="68"/>
                    <a:pt x="546" y="82"/>
                    <a:pt x="546" y="103"/>
                  </a:cubicBezTo>
                  <a:cubicBezTo>
                    <a:pt x="546" y="410"/>
                    <a:pt x="546" y="410"/>
                    <a:pt x="546" y="410"/>
                  </a:cubicBezTo>
                  <a:cubicBezTo>
                    <a:pt x="410" y="410"/>
                    <a:pt x="410" y="410"/>
                    <a:pt x="410" y="410"/>
                  </a:cubicBezTo>
                  <a:cubicBezTo>
                    <a:pt x="410" y="376"/>
                    <a:pt x="410" y="376"/>
                    <a:pt x="410" y="376"/>
                  </a:cubicBezTo>
                  <a:cubicBezTo>
                    <a:pt x="410" y="355"/>
                    <a:pt x="396" y="341"/>
                    <a:pt x="375" y="341"/>
                  </a:cubicBezTo>
                  <a:cubicBezTo>
                    <a:pt x="355" y="341"/>
                    <a:pt x="341" y="355"/>
                    <a:pt x="341" y="376"/>
                  </a:cubicBezTo>
                  <a:cubicBezTo>
                    <a:pt x="341" y="410"/>
                    <a:pt x="341" y="410"/>
                    <a:pt x="341" y="410"/>
                  </a:cubicBezTo>
                  <a:cubicBezTo>
                    <a:pt x="205" y="410"/>
                    <a:pt x="205" y="410"/>
                    <a:pt x="205" y="410"/>
                  </a:cubicBezTo>
                  <a:cubicBezTo>
                    <a:pt x="205" y="376"/>
                    <a:pt x="205" y="376"/>
                    <a:pt x="205" y="376"/>
                  </a:cubicBezTo>
                  <a:cubicBezTo>
                    <a:pt x="205" y="355"/>
                    <a:pt x="191" y="341"/>
                    <a:pt x="171" y="341"/>
                  </a:cubicBezTo>
                  <a:cubicBezTo>
                    <a:pt x="150" y="341"/>
                    <a:pt x="137" y="355"/>
                    <a:pt x="137" y="376"/>
                  </a:cubicBezTo>
                  <a:cubicBezTo>
                    <a:pt x="137" y="410"/>
                    <a:pt x="137" y="410"/>
                    <a:pt x="137" y="410"/>
                  </a:cubicBezTo>
                  <a:cubicBezTo>
                    <a:pt x="34" y="410"/>
                    <a:pt x="34" y="410"/>
                    <a:pt x="34" y="410"/>
                  </a:cubicBezTo>
                  <a:cubicBezTo>
                    <a:pt x="14" y="410"/>
                    <a:pt x="0" y="423"/>
                    <a:pt x="0" y="444"/>
                  </a:cubicBezTo>
                  <a:cubicBezTo>
                    <a:pt x="0" y="1946"/>
                    <a:pt x="0" y="1946"/>
                    <a:pt x="0" y="1946"/>
                  </a:cubicBezTo>
                  <a:cubicBezTo>
                    <a:pt x="0" y="1966"/>
                    <a:pt x="14" y="1980"/>
                    <a:pt x="34" y="1980"/>
                  </a:cubicBezTo>
                  <a:cubicBezTo>
                    <a:pt x="2014" y="1980"/>
                    <a:pt x="2014" y="1980"/>
                    <a:pt x="2014" y="1980"/>
                  </a:cubicBezTo>
                  <a:cubicBezTo>
                    <a:pt x="2034" y="1980"/>
                    <a:pt x="2048" y="1966"/>
                    <a:pt x="2048" y="1946"/>
                  </a:cubicBezTo>
                  <a:cubicBezTo>
                    <a:pt x="2048" y="444"/>
                    <a:pt x="2048" y="444"/>
                    <a:pt x="2048" y="444"/>
                  </a:cubicBezTo>
                  <a:cubicBezTo>
                    <a:pt x="2048" y="423"/>
                    <a:pt x="2034" y="410"/>
                    <a:pt x="2014" y="410"/>
                  </a:cubicBezTo>
                  <a:close/>
                  <a:moveTo>
                    <a:pt x="546" y="1912"/>
                  </a:moveTo>
                  <a:cubicBezTo>
                    <a:pt x="68" y="1912"/>
                    <a:pt x="68" y="1912"/>
                    <a:pt x="68" y="1912"/>
                  </a:cubicBezTo>
                  <a:cubicBezTo>
                    <a:pt x="68" y="1707"/>
                    <a:pt x="68" y="1707"/>
                    <a:pt x="68" y="1707"/>
                  </a:cubicBezTo>
                  <a:cubicBezTo>
                    <a:pt x="546" y="1707"/>
                    <a:pt x="546" y="1707"/>
                    <a:pt x="546" y="1707"/>
                  </a:cubicBezTo>
                  <a:lnTo>
                    <a:pt x="546" y="1912"/>
                  </a:lnTo>
                  <a:close/>
                  <a:moveTo>
                    <a:pt x="546" y="1639"/>
                  </a:moveTo>
                  <a:cubicBezTo>
                    <a:pt x="68" y="1639"/>
                    <a:pt x="68" y="1639"/>
                    <a:pt x="68" y="1639"/>
                  </a:cubicBezTo>
                  <a:cubicBezTo>
                    <a:pt x="68" y="478"/>
                    <a:pt x="68" y="478"/>
                    <a:pt x="68" y="478"/>
                  </a:cubicBezTo>
                  <a:cubicBezTo>
                    <a:pt x="546" y="478"/>
                    <a:pt x="546" y="478"/>
                    <a:pt x="546" y="478"/>
                  </a:cubicBezTo>
                  <a:lnTo>
                    <a:pt x="546" y="1639"/>
                  </a:lnTo>
                  <a:close/>
                  <a:moveTo>
                    <a:pt x="990" y="1912"/>
                  </a:moveTo>
                  <a:cubicBezTo>
                    <a:pt x="785" y="1912"/>
                    <a:pt x="785" y="1912"/>
                    <a:pt x="785" y="1912"/>
                  </a:cubicBezTo>
                  <a:cubicBezTo>
                    <a:pt x="785" y="1639"/>
                    <a:pt x="785" y="1639"/>
                    <a:pt x="785" y="1639"/>
                  </a:cubicBezTo>
                  <a:cubicBezTo>
                    <a:pt x="990" y="1639"/>
                    <a:pt x="990" y="1639"/>
                    <a:pt x="990" y="1639"/>
                  </a:cubicBezTo>
                  <a:lnTo>
                    <a:pt x="990" y="1912"/>
                  </a:lnTo>
                  <a:close/>
                  <a:moveTo>
                    <a:pt x="1263" y="1912"/>
                  </a:moveTo>
                  <a:cubicBezTo>
                    <a:pt x="1058" y="1912"/>
                    <a:pt x="1058" y="1912"/>
                    <a:pt x="1058" y="1912"/>
                  </a:cubicBezTo>
                  <a:cubicBezTo>
                    <a:pt x="1058" y="1639"/>
                    <a:pt x="1058" y="1639"/>
                    <a:pt x="1058" y="1639"/>
                  </a:cubicBezTo>
                  <a:cubicBezTo>
                    <a:pt x="1263" y="1639"/>
                    <a:pt x="1263" y="1639"/>
                    <a:pt x="1263" y="1639"/>
                  </a:cubicBezTo>
                  <a:lnTo>
                    <a:pt x="1263" y="1912"/>
                  </a:lnTo>
                  <a:close/>
                  <a:moveTo>
                    <a:pt x="1434" y="1912"/>
                  </a:moveTo>
                  <a:cubicBezTo>
                    <a:pt x="1331" y="1912"/>
                    <a:pt x="1331" y="1912"/>
                    <a:pt x="1331" y="1912"/>
                  </a:cubicBezTo>
                  <a:cubicBezTo>
                    <a:pt x="1331" y="1604"/>
                    <a:pt x="1331" y="1604"/>
                    <a:pt x="1331" y="1604"/>
                  </a:cubicBezTo>
                  <a:cubicBezTo>
                    <a:pt x="1331" y="1584"/>
                    <a:pt x="1318" y="1570"/>
                    <a:pt x="1297" y="1570"/>
                  </a:cubicBezTo>
                  <a:cubicBezTo>
                    <a:pt x="751" y="1570"/>
                    <a:pt x="751" y="1570"/>
                    <a:pt x="751" y="1570"/>
                  </a:cubicBezTo>
                  <a:cubicBezTo>
                    <a:pt x="730" y="1570"/>
                    <a:pt x="717" y="1584"/>
                    <a:pt x="717" y="1604"/>
                  </a:cubicBezTo>
                  <a:cubicBezTo>
                    <a:pt x="717" y="1912"/>
                    <a:pt x="717" y="1912"/>
                    <a:pt x="717" y="1912"/>
                  </a:cubicBezTo>
                  <a:cubicBezTo>
                    <a:pt x="614" y="1912"/>
                    <a:pt x="614" y="1912"/>
                    <a:pt x="614" y="1912"/>
                  </a:cubicBezTo>
                  <a:cubicBezTo>
                    <a:pt x="614" y="1673"/>
                    <a:pt x="614" y="1673"/>
                    <a:pt x="614" y="1673"/>
                  </a:cubicBezTo>
                  <a:cubicBezTo>
                    <a:pt x="614" y="1673"/>
                    <a:pt x="614" y="1673"/>
                    <a:pt x="614" y="1673"/>
                  </a:cubicBezTo>
                  <a:cubicBezTo>
                    <a:pt x="614" y="137"/>
                    <a:pt x="614" y="137"/>
                    <a:pt x="614" y="137"/>
                  </a:cubicBezTo>
                  <a:cubicBezTo>
                    <a:pt x="1434" y="137"/>
                    <a:pt x="1434" y="137"/>
                    <a:pt x="1434" y="137"/>
                  </a:cubicBezTo>
                  <a:lnTo>
                    <a:pt x="1434" y="1912"/>
                  </a:lnTo>
                  <a:close/>
                  <a:moveTo>
                    <a:pt x="1980" y="1912"/>
                  </a:moveTo>
                  <a:cubicBezTo>
                    <a:pt x="1502" y="1912"/>
                    <a:pt x="1502" y="1912"/>
                    <a:pt x="1502" y="1912"/>
                  </a:cubicBezTo>
                  <a:cubicBezTo>
                    <a:pt x="1502" y="1707"/>
                    <a:pt x="1502" y="1707"/>
                    <a:pt x="1502" y="1707"/>
                  </a:cubicBezTo>
                  <a:cubicBezTo>
                    <a:pt x="1980" y="1707"/>
                    <a:pt x="1980" y="1707"/>
                    <a:pt x="1980" y="1707"/>
                  </a:cubicBezTo>
                  <a:lnTo>
                    <a:pt x="1980" y="1912"/>
                  </a:lnTo>
                  <a:close/>
                  <a:moveTo>
                    <a:pt x="1980" y="1639"/>
                  </a:moveTo>
                  <a:cubicBezTo>
                    <a:pt x="1502" y="1639"/>
                    <a:pt x="1502" y="1639"/>
                    <a:pt x="1502" y="1639"/>
                  </a:cubicBezTo>
                  <a:cubicBezTo>
                    <a:pt x="1502" y="478"/>
                    <a:pt x="1502" y="478"/>
                    <a:pt x="1502" y="478"/>
                  </a:cubicBezTo>
                  <a:cubicBezTo>
                    <a:pt x="1980" y="478"/>
                    <a:pt x="1980" y="478"/>
                    <a:pt x="1980" y="478"/>
                  </a:cubicBezTo>
                  <a:lnTo>
                    <a:pt x="1980" y="1639"/>
                  </a:lnTo>
                  <a:close/>
                  <a:moveTo>
                    <a:pt x="1161" y="1058"/>
                  </a:moveTo>
                  <a:cubicBezTo>
                    <a:pt x="1229" y="1058"/>
                    <a:pt x="1229" y="1058"/>
                    <a:pt x="1229" y="1058"/>
                  </a:cubicBezTo>
                  <a:cubicBezTo>
                    <a:pt x="1266" y="1058"/>
                    <a:pt x="1297" y="1028"/>
                    <a:pt x="1297" y="990"/>
                  </a:cubicBezTo>
                  <a:cubicBezTo>
                    <a:pt x="1297" y="922"/>
                    <a:pt x="1297" y="922"/>
                    <a:pt x="1297" y="922"/>
                  </a:cubicBezTo>
                  <a:cubicBezTo>
                    <a:pt x="1297" y="884"/>
                    <a:pt x="1266" y="853"/>
                    <a:pt x="1229" y="853"/>
                  </a:cubicBezTo>
                  <a:cubicBezTo>
                    <a:pt x="1161" y="853"/>
                    <a:pt x="1161" y="853"/>
                    <a:pt x="1161" y="853"/>
                  </a:cubicBezTo>
                  <a:cubicBezTo>
                    <a:pt x="1123" y="853"/>
                    <a:pt x="1092" y="884"/>
                    <a:pt x="1092" y="922"/>
                  </a:cubicBezTo>
                  <a:cubicBezTo>
                    <a:pt x="1092" y="990"/>
                    <a:pt x="1092" y="990"/>
                    <a:pt x="1092" y="990"/>
                  </a:cubicBezTo>
                  <a:cubicBezTo>
                    <a:pt x="1092" y="1028"/>
                    <a:pt x="1123" y="1058"/>
                    <a:pt x="1161" y="1058"/>
                  </a:cubicBezTo>
                  <a:close/>
                  <a:moveTo>
                    <a:pt x="1161" y="922"/>
                  </a:moveTo>
                  <a:cubicBezTo>
                    <a:pt x="1229" y="922"/>
                    <a:pt x="1229" y="922"/>
                    <a:pt x="1229" y="922"/>
                  </a:cubicBezTo>
                  <a:cubicBezTo>
                    <a:pt x="1229" y="990"/>
                    <a:pt x="1229" y="990"/>
                    <a:pt x="1229" y="990"/>
                  </a:cubicBezTo>
                  <a:cubicBezTo>
                    <a:pt x="1161" y="990"/>
                    <a:pt x="1161" y="990"/>
                    <a:pt x="1161" y="990"/>
                  </a:cubicBezTo>
                  <a:lnTo>
                    <a:pt x="1161" y="922"/>
                  </a:lnTo>
                  <a:close/>
                  <a:moveTo>
                    <a:pt x="819" y="1058"/>
                  </a:moveTo>
                  <a:cubicBezTo>
                    <a:pt x="887" y="1058"/>
                    <a:pt x="887" y="1058"/>
                    <a:pt x="887" y="1058"/>
                  </a:cubicBezTo>
                  <a:cubicBezTo>
                    <a:pt x="925" y="1058"/>
                    <a:pt x="956" y="1028"/>
                    <a:pt x="956" y="990"/>
                  </a:cubicBezTo>
                  <a:cubicBezTo>
                    <a:pt x="956" y="922"/>
                    <a:pt x="956" y="922"/>
                    <a:pt x="956" y="922"/>
                  </a:cubicBezTo>
                  <a:cubicBezTo>
                    <a:pt x="956" y="884"/>
                    <a:pt x="925" y="853"/>
                    <a:pt x="887" y="853"/>
                  </a:cubicBezTo>
                  <a:cubicBezTo>
                    <a:pt x="819" y="853"/>
                    <a:pt x="819" y="853"/>
                    <a:pt x="819" y="853"/>
                  </a:cubicBezTo>
                  <a:cubicBezTo>
                    <a:pt x="782" y="853"/>
                    <a:pt x="751" y="884"/>
                    <a:pt x="751" y="922"/>
                  </a:cubicBezTo>
                  <a:cubicBezTo>
                    <a:pt x="751" y="990"/>
                    <a:pt x="751" y="990"/>
                    <a:pt x="751" y="990"/>
                  </a:cubicBezTo>
                  <a:cubicBezTo>
                    <a:pt x="751" y="1028"/>
                    <a:pt x="782" y="1058"/>
                    <a:pt x="819" y="1058"/>
                  </a:cubicBezTo>
                  <a:close/>
                  <a:moveTo>
                    <a:pt x="819" y="922"/>
                  </a:moveTo>
                  <a:cubicBezTo>
                    <a:pt x="887" y="922"/>
                    <a:pt x="887" y="922"/>
                    <a:pt x="887" y="922"/>
                  </a:cubicBezTo>
                  <a:cubicBezTo>
                    <a:pt x="887" y="990"/>
                    <a:pt x="887" y="990"/>
                    <a:pt x="887" y="990"/>
                  </a:cubicBezTo>
                  <a:cubicBezTo>
                    <a:pt x="819" y="990"/>
                    <a:pt x="819" y="990"/>
                    <a:pt x="819" y="990"/>
                  </a:cubicBezTo>
                  <a:lnTo>
                    <a:pt x="819" y="922"/>
                  </a:lnTo>
                  <a:close/>
                  <a:moveTo>
                    <a:pt x="1161" y="785"/>
                  </a:moveTo>
                  <a:cubicBezTo>
                    <a:pt x="1229" y="785"/>
                    <a:pt x="1229" y="785"/>
                    <a:pt x="1229" y="785"/>
                  </a:cubicBezTo>
                  <a:cubicBezTo>
                    <a:pt x="1266" y="785"/>
                    <a:pt x="1297" y="754"/>
                    <a:pt x="1297" y="717"/>
                  </a:cubicBezTo>
                  <a:cubicBezTo>
                    <a:pt x="1297" y="649"/>
                    <a:pt x="1297" y="649"/>
                    <a:pt x="1297" y="649"/>
                  </a:cubicBezTo>
                  <a:cubicBezTo>
                    <a:pt x="1297" y="611"/>
                    <a:pt x="1266" y="580"/>
                    <a:pt x="1229" y="580"/>
                  </a:cubicBezTo>
                  <a:cubicBezTo>
                    <a:pt x="1161" y="580"/>
                    <a:pt x="1161" y="580"/>
                    <a:pt x="1161" y="580"/>
                  </a:cubicBezTo>
                  <a:cubicBezTo>
                    <a:pt x="1123" y="580"/>
                    <a:pt x="1092" y="611"/>
                    <a:pt x="1092" y="649"/>
                  </a:cubicBezTo>
                  <a:cubicBezTo>
                    <a:pt x="1092" y="717"/>
                    <a:pt x="1092" y="717"/>
                    <a:pt x="1092" y="717"/>
                  </a:cubicBezTo>
                  <a:cubicBezTo>
                    <a:pt x="1092" y="754"/>
                    <a:pt x="1123" y="785"/>
                    <a:pt x="1161" y="785"/>
                  </a:cubicBezTo>
                  <a:close/>
                  <a:moveTo>
                    <a:pt x="1161" y="649"/>
                  </a:moveTo>
                  <a:cubicBezTo>
                    <a:pt x="1229" y="649"/>
                    <a:pt x="1229" y="649"/>
                    <a:pt x="1229" y="649"/>
                  </a:cubicBezTo>
                  <a:cubicBezTo>
                    <a:pt x="1229" y="717"/>
                    <a:pt x="1229" y="717"/>
                    <a:pt x="1229" y="717"/>
                  </a:cubicBezTo>
                  <a:cubicBezTo>
                    <a:pt x="1161" y="717"/>
                    <a:pt x="1161" y="717"/>
                    <a:pt x="1161" y="717"/>
                  </a:cubicBezTo>
                  <a:lnTo>
                    <a:pt x="1161" y="649"/>
                  </a:lnTo>
                  <a:close/>
                  <a:moveTo>
                    <a:pt x="1161" y="1331"/>
                  </a:moveTo>
                  <a:cubicBezTo>
                    <a:pt x="1229" y="1331"/>
                    <a:pt x="1229" y="1331"/>
                    <a:pt x="1229" y="1331"/>
                  </a:cubicBezTo>
                  <a:cubicBezTo>
                    <a:pt x="1266" y="1331"/>
                    <a:pt x="1297" y="1301"/>
                    <a:pt x="1297" y="1263"/>
                  </a:cubicBezTo>
                  <a:cubicBezTo>
                    <a:pt x="1297" y="1195"/>
                    <a:pt x="1297" y="1195"/>
                    <a:pt x="1297" y="1195"/>
                  </a:cubicBezTo>
                  <a:cubicBezTo>
                    <a:pt x="1297" y="1157"/>
                    <a:pt x="1266" y="1127"/>
                    <a:pt x="1229" y="1127"/>
                  </a:cubicBezTo>
                  <a:cubicBezTo>
                    <a:pt x="1161" y="1127"/>
                    <a:pt x="1161" y="1127"/>
                    <a:pt x="1161" y="1127"/>
                  </a:cubicBezTo>
                  <a:cubicBezTo>
                    <a:pt x="1123" y="1127"/>
                    <a:pt x="1092" y="1157"/>
                    <a:pt x="1092" y="1195"/>
                  </a:cubicBezTo>
                  <a:cubicBezTo>
                    <a:pt x="1092" y="1263"/>
                    <a:pt x="1092" y="1263"/>
                    <a:pt x="1092" y="1263"/>
                  </a:cubicBezTo>
                  <a:cubicBezTo>
                    <a:pt x="1092" y="1301"/>
                    <a:pt x="1123" y="1331"/>
                    <a:pt x="1161" y="1331"/>
                  </a:cubicBezTo>
                  <a:close/>
                  <a:moveTo>
                    <a:pt x="1161" y="1195"/>
                  </a:moveTo>
                  <a:cubicBezTo>
                    <a:pt x="1229" y="1195"/>
                    <a:pt x="1229" y="1195"/>
                    <a:pt x="1229" y="1195"/>
                  </a:cubicBezTo>
                  <a:cubicBezTo>
                    <a:pt x="1229" y="1263"/>
                    <a:pt x="1229" y="1263"/>
                    <a:pt x="1229" y="1263"/>
                  </a:cubicBezTo>
                  <a:cubicBezTo>
                    <a:pt x="1161" y="1263"/>
                    <a:pt x="1161" y="1263"/>
                    <a:pt x="1161" y="1263"/>
                  </a:cubicBezTo>
                  <a:lnTo>
                    <a:pt x="1161" y="1195"/>
                  </a:lnTo>
                  <a:close/>
                  <a:moveTo>
                    <a:pt x="819" y="785"/>
                  </a:moveTo>
                  <a:cubicBezTo>
                    <a:pt x="887" y="785"/>
                    <a:pt x="887" y="785"/>
                    <a:pt x="887" y="785"/>
                  </a:cubicBezTo>
                  <a:cubicBezTo>
                    <a:pt x="925" y="785"/>
                    <a:pt x="956" y="754"/>
                    <a:pt x="956" y="717"/>
                  </a:cubicBezTo>
                  <a:cubicBezTo>
                    <a:pt x="956" y="649"/>
                    <a:pt x="956" y="649"/>
                    <a:pt x="956" y="649"/>
                  </a:cubicBezTo>
                  <a:cubicBezTo>
                    <a:pt x="956" y="611"/>
                    <a:pt x="925" y="580"/>
                    <a:pt x="887" y="580"/>
                  </a:cubicBezTo>
                  <a:cubicBezTo>
                    <a:pt x="819" y="580"/>
                    <a:pt x="819" y="580"/>
                    <a:pt x="819" y="580"/>
                  </a:cubicBezTo>
                  <a:cubicBezTo>
                    <a:pt x="782" y="580"/>
                    <a:pt x="751" y="611"/>
                    <a:pt x="751" y="649"/>
                  </a:cubicBezTo>
                  <a:cubicBezTo>
                    <a:pt x="751" y="717"/>
                    <a:pt x="751" y="717"/>
                    <a:pt x="751" y="717"/>
                  </a:cubicBezTo>
                  <a:cubicBezTo>
                    <a:pt x="751" y="754"/>
                    <a:pt x="782" y="785"/>
                    <a:pt x="819" y="785"/>
                  </a:cubicBezTo>
                  <a:close/>
                  <a:moveTo>
                    <a:pt x="819" y="649"/>
                  </a:moveTo>
                  <a:cubicBezTo>
                    <a:pt x="887" y="649"/>
                    <a:pt x="887" y="649"/>
                    <a:pt x="887" y="649"/>
                  </a:cubicBezTo>
                  <a:cubicBezTo>
                    <a:pt x="887" y="717"/>
                    <a:pt x="887" y="717"/>
                    <a:pt x="887" y="717"/>
                  </a:cubicBezTo>
                  <a:cubicBezTo>
                    <a:pt x="819" y="717"/>
                    <a:pt x="819" y="717"/>
                    <a:pt x="819" y="717"/>
                  </a:cubicBezTo>
                  <a:lnTo>
                    <a:pt x="819" y="649"/>
                  </a:lnTo>
                  <a:close/>
                  <a:moveTo>
                    <a:pt x="819" y="512"/>
                  </a:moveTo>
                  <a:cubicBezTo>
                    <a:pt x="887" y="512"/>
                    <a:pt x="887" y="512"/>
                    <a:pt x="887" y="512"/>
                  </a:cubicBezTo>
                  <a:cubicBezTo>
                    <a:pt x="925" y="512"/>
                    <a:pt x="956" y="481"/>
                    <a:pt x="956" y="444"/>
                  </a:cubicBezTo>
                  <a:cubicBezTo>
                    <a:pt x="956" y="376"/>
                    <a:pt x="956" y="376"/>
                    <a:pt x="956" y="376"/>
                  </a:cubicBezTo>
                  <a:cubicBezTo>
                    <a:pt x="956" y="338"/>
                    <a:pt x="925" y="307"/>
                    <a:pt x="887" y="307"/>
                  </a:cubicBezTo>
                  <a:cubicBezTo>
                    <a:pt x="819" y="307"/>
                    <a:pt x="819" y="307"/>
                    <a:pt x="819" y="307"/>
                  </a:cubicBezTo>
                  <a:cubicBezTo>
                    <a:pt x="782" y="307"/>
                    <a:pt x="751" y="338"/>
                    <a:pt x="751" y="376"/>
                  </a:cubicBezTo>
                  <a:cubicBezTo>
                    <a:pt x="751" y="444"/>
                    <a:pt x="751" y="444"/>
                    <a:pt x="751" y="444"/>
                  </a:cubicBezTo>
                  <a:cubicBezTo>
                    <a:pt x="751" y="481"/>
                    <a:pt x="782" y="512"/>
                    <a:pt x="819" y="512"/>
                  </a:cubicBezTo>
                  <a:close/>
                  <a:moveTo>
                    <a:pt x="819" y="376"/>
                  </a:moveTo>
                  <a:cubicBezTo>
                    <a:pt x="887" y="376"/>
                    <a:pt x="887" y="376"/>
                    <a:pt x="887" y="376"/>
                  </a:cubicBezTo>
                  <a:cubicBezTo>
                    <a:pt x="887" y="444"/>
                    <a:pt x="887" y="444"/>
                    <a:pt x="887" y="444"/>
                  </a:cubicBezTo>
                  <a:cubicBezTo>
                    <a:pt x="819" y="444"/>
                    <a:pt x="819" y="444"/>
                    <a:pt x="819" y="444"/>
                  </a:cubicBezTo>
                  <a:lnTo>
                    <a:pt x="819" y="376"/>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132" name="Group 156"/>
          <p:cNvGrpSpPr/>
          <p:nvPr/>
        </p:nvGrpSpPr>
        <p:grpSpPr>
          <a:xfrm>
            <a:off x="8711339" y="3807154"/>
            <a:ext cx="292608" cy="292608"/>
            <a:chOff x="8711339" y="3807154"/>
            <a:chExt cx="292608" cy="292608"/>
          </a:xfrm>
        </p:grpSpPr>
        <p:sp>
          <p:nvSpPr>
            <p:cNvPr id="443" name="Oval 442"/>
            <p:cNvSpPr/>
            <p:nvPr/>
          </p:nvSpPr>
          <p:spPr>
            <a:xfrm>
              <a:off x="8711339" y="3807154"/>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52" name="Freeform 28"/>
            <p:cNvSpPr>
              <a:spLocks noEditPoints="1"/>
            </p:cNvSpPr>
            <p:nvPr/>
          </p:nvSpPr>
          <p:spPr bwMode="auto">
            <a:xfrm>
              <a:off x="8793811" y="3871238"/>
              <a:ext cx="127664" cy="164441"/>
            </a:xfrm>
            <a:custGeom>
              <a:avLst/>
              <a:gdLst/>
              <a:ahLst/>
              <a:cxnLst>
                <a:cxn ang="0">
                  <a:pos x="2613" y="1778"/>
                </a:cxn>
                <a:cxn ang="0">
                  <a:pos x="2247" y="1778"/>
                </a:cxn>
                <a:cxn ang="0">
                  <a:pos x="2247" y="4167"/>
                </a:cxn>
                <a:cxn ang="0">
                  <a:pos x="2613" y="4167"/>
                </a:cxn>
                <a:cxn ang="0">
                  <a:pos x="2613" y="1778"/>
                </a:cxn>
                <a:cxn ang="0">
                  <a:pos x="1509" y="1778"/>
                </a:cxn>
                <a:cxn ang="0">
                  <a:pos x="1143" y="1778"/>
                </a:cxn>
                <a:cxn ang="0">
                  <a:pos x="1143" y="4167"/>
                </a:cxn>
                <a:cxn ang="0">
                  <a:pos x="1509" y="4167"/>
                </a:cxn>
                <a:cxn ang="0">
                  <a:pos x="1509" y="1778"/>
                </a:cxn>
                <a:cxn ang="0">
                  <a:pos x="2901" y="309"/>
                </a:cxn>
                <a:cxn ang="0">
                  <a:pos x="2901" y="0"/>
                </a:cxn>
                <a:cxn ang="0">
                  <a:pos x="855" y="0"/>
                </a:cxn>
                <a:cxn ang="0">
                  <a:pos x="855" y="309"/>
                </a:cxn>
                <a:cxn ang="0">
                  <a:pos x="0" y="309"/>
                </a:cxn>
                <a:cxn ang="0">
                  <a:pos x="0" y="1478"/>
                </a:cxn>
                <a:cxn ang="0">
                  <a:pos x="257" y="1478"/>
                </a:cxn>
                <a:cxn ang="0">
                  <a:pos x="257" y="4838"/>
                </a:cxn>
                <a:cxn ang="0">
                  <a:pos x="3499" y="4838"/>
                </a:cxn>
                <a:cxn ang="0">
                  <a:pos x="3499" y="1478"/>
                </a:cxn>
                <a:cxn ang="0">
                  <a:pos x="3756" y="1478"/>
                </a:cxn>
                <a:cxn ang="0">
                  <a:pos x="3756" y="309"/>
                </a:cxn>
                <a:cxn ang="0">
                  <a:pos x="2901" y="309"/>
                </a:cxn>
                <a:cxn ang="0">
                  <a:pos x="3130" y="4469"/>
                </a:cxn>
                <a:cxn ang="0">
                  <a:pos x="626" y="4469"/>
                </a:cxn>
                <a:cxn ang="0">
                  <a:pos x="626" y="1478"/>
                </a:cxn>
                <a:cxn ang="0">
                  <a:pos x="3130" y="1478"/>
                </a:cxn>
                <a:cxn ang="0">
                  <a:pos x="3130" y="4469"/>
                </a:cxn>
                <a:cxn ang="0">
                  <a:pos x="3388" y="1108"/>
                </a:cxn>
                <a:cxn ang="0">
                  <a:pos x="368" y="1108"/>
                </a:cxn>
                <a:cxn ang="0">
                  <a:pos x="368" y="675"/>
                </a:cxn>
                <a:cxn ang="0">
                  <a:pos x="1221" y="675"/>
                </a:cxn>
                <a:cxn ang="0">
                  <a:pos x="1221" y="368"/>
                </a:cxn>
                <a:cxn ang="0">
                  <a:pos x="2535" y="368"/>
                </a:cxn>
                <a:cxn ang="0">
                  <a:pos x="2535" y="675"/>
                </a:cxn>
                <a:cxn ang="0">
                  <a:pos x="3388" y="675"/>
                </a:cxn>
                <a:cxn ang="0">
                  <a:pos x="3388" y="1108"/>
                </a:cxn>
              </a:cxnLst>
              <a:rect l="0" t="0" r="r" b="b"/>
              <a:pathLst>
                <a:path w="3756" h="4838">
                  <a:moveTo>
                    <a:pt x="2613" y="1778"/>
                  </a:moveTo>
                  <a:lnTo>
                    <a:pt x="2247" y="1778"/>
                  </a:lnTo>
                  <a:lnTo>
                    <a:pt x="2247" y="4167"/>
                  </a:lnTo>
                  <a:lnTo>
                    <a:pt x="2613" y="4167"/>
                  </a:lnTo>
                  <a:lnTo>
                    <a:pt x="2613" y="1778"/>
                  </a:lnTo>
                  <a:close/>
                  <a:moveTo>
                    <a:pt x="1509" y="1778"/>
                  </a:moveTo>
                  <a:lnTo>
                    <a:pt x="1143" y="1778"/>
                  </a:lnTo>
                  <a:lnTo>
                    <a:pt x="1143" y="4167"/>
                  </a:lnTo>
                  <a:lnTo>
                    <a:pt x="1509" y="4167"/>
                  </a:lnTo>
                  <a:lnTo>
                    <a:pt x="1509" y="1778"/>
                  </a:lnTo>
                  <a:close/>
                  <a:moveTo>
                    <a:pt x="2901" y="309"/>
                  </a:moveTo>
                  <a:lnTo>
                    <a:pt x="2901" y="0"/>
                  </a:lnTo>
                  <a:lnTo>
                    <a:pt x="855" y="0"/>
                  </a:lnTo>
                  <a:lnTo>
                    <a:pt x="855" y="309"/>
                  </a:lnTo>
                  <a:lnTo>
                    <a:pt x="0" y="309"/>
                  </a:lnTo>
                  <a:lnTo>
                    <a:pt x="0" y="1478"/>
                  </a:lnTo>
                  <a:lnTo>
                    <a:pt x="257" y="1478"/>
                  </a:lnTo>
                  <a:lnTo>
                    <a:pt x="257" y="4838"/>
                  </a:lnTo>
                  <a:lnTo>
                    <a:pt x="3499" y="4838"/>
                  </a:lnTo>
                  <a:lnTo>
                    <a:pt x="3499" y="1478"/>
                  </a:lnTo>
                  <a:lnTo>
                    <a:pt x="3756" y="1478"/>
                  </a:lnTo>
                  <a:lnTo>
                    <a:pt x="3756" y="309"/>
                  </a:lnTo>
                  <a:lnTo>
                    <a:pt x="2901" y="309"/>
                  </a:lnTo>
                  <a:close/>
                  <a:moveTo>
                    <a:pt x="3130" y="4469"/>
                  </a:moveTo>
                  <a:lnTo>
                    <a:pt x="626" y="4469"/>
                  </a:lnTo>
                  <a:lnTo>
                    <a:pt x="626" y="1478"/>
                  </a:lnTo>
                  <a:lnTo>
                    <a:pt x="3130" y="1478"/>
                  </a:lnTo>
                  <a:lnTo>
                    <a:pt x="3130" y="4469"/>
                  </a:lnTo>
                  <a:close/>
                  <a:moveTo>
                    <a:pt x="3388" y="1108"/>
                  </a:moveTo>
                  <a:lnTo>
                    <a:pt x="368" y="1108"/>
                  </a:lnTo>
                  <a:lnTo>
                    <a:pt x="368" y="675"/>
                  </a:lnTo>
                  <a:lnTo>
                    <a:pt x="1221" y="675"/>
                  </a:lnTo>
                  <a:lnTo>
                    <a:pt x="1221" y="368"/>
                  </a:lnTo>
                  <a:lnTo>
                    <a:pt x="2535" y="368"/>
                  </a:lnTo>
                  <a:lnTo>
                    <a:pt x="2535" y="675"/>
                  </a:lnTo>
                  <a:lnTo>
                    <a:pt x="3388" y="675"/>
                  </a:lnTo>
                  <a:lnTo>
                    <a:pt x="3388" y="1108"/>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sp>
        <p:nvSpPr>
          <p:cNvPr id="348" name="Oval 347"/>
          <p:cNvSpPr/>
          <p:nvPr/>
        </p:nvSpPr>
        <p:spPr>
          <a:xfrm>
            <a:off x="4422598" y="3840534"/>
            <a:ext cx="287785" cy="287785"/>
          </a:xfrm>
          <a:prstGeom prst="ellipse">
            <a:avLst/>
          </a:prstGeom>
          <a:solidFill>
            <a:schemeClr val="accent4">
              <a:lumMod val="75000"/>
            </a:schemeClr>
          </a:solidFill>
          <a:ln w="9525">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33" name="Group 154"/>
          <p:cNvGrpSpPr/>
          <p:nvPr/>
        </p:nvGrpSpPr>
        <p:grpSpPr>
          <a:xfrm>
            <a:off x="5189699" y="3571596"/>
            <a:ext cx="292608" cy="292608"/>
            <a:chOff x="5189699" y="3571596"/>
            <a:chExt cx="292608" cy="292608"/>
          </a:xfrm>
        </p:grpSpPr>
        <p:sp>
          <p:nvSpPr>
            <p:cNvPr id="351" name="Oval 350"/>
            <p:cNvSpPr/>
            <p:nvPr/>
          </p:nvSpPr>
          <p:spPr>
            <a:xfrm>
              <a:off x="5189699" y="3571596"/>
              <a:ext cx="292608" cy="292608"/>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54" name="Freeform 5"/>
            <p:cNvSpPr>
              <a:spLocks noEditPoints="1"/>
            </p:cNvSpPr>
            <p:nvPr/>
          </p:nvSpPr>
          <p:spPr bwMode="auto">
            <a:xfrm>
              <a:off x="5252800" y="3648596"/>
              <a:ext cx="166407" cy="138609"/>
            </a:xfrm>
            <a:custGeom>
              <a:avLst/>
              <a:gdLst/>
              <a:ahLst/>
              <a:cxnLst>
                <a:cxn ang="0">
                  <a:pos x="1365" y="442"/>
                </a:cxn>
                <a:cxn ang="0">
                  <a:pos x="1451" y="213"/>
                </a:cxn>
                <a:cxn ang="0">
                  <a:pos x="1536" y="128"/>
                </a:cxn>
                <a:cxn ang="0">
                  <a:pos x="1365" y="85"/>
                </a:cxn>
                <a:cxn ang="0">
                  <a:pos x="1280" y="42"/>
                </a:cxn>
                <a:cxn ang="0">
                  <a:pos x="768" y="435"/>
                </a:cxn>
                <a:cxn ang="0">
                  <a:pos x="853" y="213"/>
                </a:cxn>
                <a:cxn ang="0">
                  <a:pos x="939" y="128"/>
                </a:cxn>
                <a:cxn ang="0">
                  <a:pos x="768" y="85"/>
                </a:cxn>
                <a:cxn ang="0">
                  <a:pos x="683" y="42"/>
                </a:cxn>
                <a:cxn ang="0">
                  <a:pos x="97" y="589"/>
                </a:cxn>
                <a:cxn ang="0">
                  <a:pos x="97" y="1544"/>
                </a:cxn>
                <a:cxn ang="0">
                  <a:pos x="1150" y="1704"/>
                </a:cxn>
                <a:cxn ang="0">
                  <a:pos x="1729" y="1630"/>
                </a:cxn>
                <a:cxn ang="0">
                  <a:pos x="2048" y="725"/>
                </a:cxn>
                <a:cxn ang="0">
                  <a:pos x="1707" y="585"/>
                </a:cxn>
                <a:cxn ang="0">
                  <a:pos x="1334" y="793"/>
                </a:cxn>
                <a:cxn ang="0">
                  <a:pos x="1024" y="512"/>
                </a:cxn>
                <a:cxn ang="0">
                  <a:pos x="1024" y="768"/>
                </a:cxn>
                <a:cxn ang="0">
                  <a:pos x="1024" y="512"/>
                </a:cxn>
                <a:cxn ang="0">
                  <a:pos x="829" y="777"/>
                </a:cxn>
                <a:cxn ang="0">
                  <a:pos x="274" y="605"/>
                </a:cxn>
                <a:cxn ang="0">
                  <a:pos x="85" y="1408"/>
                </a:cxn>
                <a:cxn ang="0">
                  <a:pos x="299" y="1291"/>
                </a:cxn>
                <a:cxn ang="0">
                  <a:pos x="208" y="1168"/>
                </a:cxn>
                <a:cxn ang="0">
                  <a:pos x="146" y="891"/>
                </a:cxn>
                <a:cxn ang="0">
                  <a:pos x="208" y="826"/>
                </a:cxn>
                <a:cxn ang="0">
                  <a:pos x="563" y="864"/>
                </a:cxn>
                <a:cxn ang="0">
                  <a:pos x="208" y="826"/>
                </a:cxn>
                <a:cxn ang="0">
                  <a:pos x="384" y="1312"/>
                </a:cxn>
                <a:cxn ang="0">
                  <a:pos x="725" y="1270"/>
                </a:cxn>
                <a:cxn ang="0">
                  <a:pos x="725" y="1015"/>
                </a:cxn>
                <a:cxn ang="0">
                  <a:pos x="811" y="1615"/>
                </a:cxn>
                <a:cxn ang="0">
                  <a:pos x="853" y="1617"/>
                </a:cxn>
                <a:cxn ang="0">
                  <a:pos x="939" y="1620"/>
                </a:cxn>
                <a:cxn ang="0">
                  <a:pos x="1109" y="1364"/>
                </a:cxn>
                <a:cxn ang="0">
                  <a:pos x="1195" y="1617"/>
                </a:cxn>
                <a:cxn ang="0">
                  <a:pos x="1237" y="1615"/>
                </a:cxn>
                <a:cxn ang="0">
                  <a:pos x="811" y="1275"/>
                </a:cxn>
                <a:cxn ang="0">
                  <a:pos x="1237" y="1019"/>
                </a:cxn>
                <a:cxn ang="0">
                  <a:pos x="758" y="919"/>
                </a:cxn>
                <a:cxn ang="0">
                  <a:pos x="1024" y="853"/>
                </a:cxn>
                <a:cxn ang="0">
                  <a:pos x="1290" y="919"/>
                </a:cxn>
                <a:cxn ang="0">
                  <a:pos x="1323" y="1609"/>
                </a:cxn>
                <a:cxn ang="0">
                  <a:pos x="1664" y="1558"/>
                </a:cxn>
                <a:cxn ang="0">
                  <a:pos x="1323" y="1015"/>
                </a:cxn>
                <a:cxn ang="0">
                  <a:pos x="1698" y="875"/>
                </a:cxn>
                <a:cxn ang="0">
                  <a:pos x="1493" y="896"/>
                </a:cxn>
                <a:cxn ang="0">
                  <a:pos x="1963" y="725"/>
                </a:cxn>
                <a:cxn ang="0">
                  <a:pos x="1749" y="949"/>
                </a:cxn>
                <a:cxn ang="0">
                  <a:pos x="1963" y="1066"/>
                </a:cxn>
                <a:cxn ang="0">
                  <a:pos x="1749" y="949"/>
                </a:cxn>
                <a:cxn ang="0">
                  <a:pos x="1749" y="1291"/>
                </a:cxn>
                <a:cxn ang="0">
                  <a:pos x="1963" y="1408"/>
                </a:cxn>
              </a:cxnLst>
              <a:rect l="0" t="0" r="r" b="b"/>
              <a:pathLst>
                <a:path w="2048" h="1706">
                  <a:moveTo>
                    <a:pt x="1951" y="589"/>
                  </a:moveTo>
                  <a:cubicBezTo>
                    <a:pt x="1898" y="556"/>
                    <a:pt x="1823" y="527"/>
                    <a:pt x="1729" y="503"/>
                  </a:cubicBezTo>
                  <a:cubicBezTo>
                    <a:pt x="1624" y="475"/>
                    <a:pt x="1500" y="455"/>
                    <a:pt x="1365" y="442"/>
                  </a:cubicBezTo>
                  <a:cubicBezTo>
                    <a:pt x="1365" y="170"/>
                    <a:pt x="1365" y="170"/>
                    <a:pt x="1365" y="170"/>
                  </a:cubicBezTo>
                  <a:cubicBezTo>
                    <a:pt x="1408" y="170"/>
                    <a:pt x="1408" y="170"/>
                    <a:pt x="1408" y="170"/>
                  </a:cubicBezTo>
                  <a:cubicBezTo>
                    <a:pt x="1408" y="194"/>
                    <a:pt x="1427" y="213"/>
                    <a:pt x="1451" y="213"/>
                  </a:cubicBezTo>
                  <a:cubicBezTo>
                    <a:pt x="1536" y="213"/>
                    <a:pt x="1536" y="213"/>
                    <a:pt x="1536" y="213"/>
                  </a:cubicBezTo>
                  <a:cubicBezTo>
                    <a:pt x="1560" y="213"/>
                    <a:pt x="1579" y="194"/>
                    <a:pt x="1579" y="170"/>
                  </a:cubicBezTo>
                  <a:cubicBezTo>
                    <a:pt x="1579" y="147"/>
                    <a:pt x="1560" y="128"/>
                    <a:pt x="1536" y="128"/>
                  </a:cubicBezTo>
                  <a:cubicBezTo>
                    <a:pt x="1493" y="128"/>
                    <a:pt x="1493" y="128"/>
                    <a:pt x="1493" y="128"/>
                  </a:cubicBezTo>
                  <a:cubicBezTo>
                    <a:pt x="1493" y="104"/>
                    <a:pt x="1474" y="85"/>
                    <a:pt x="1451" y="85"/>
                  </a:cubicBezTo>
                  <a:cubicBezTo>
                    <a:pt x="1365" y="85"/>
                    <a:pt x="1365" y="85"/>
                    <a:pt x="1365" y="85"/>
                  </a:cubicBezTo>
                  <a:cubicBezTo>
                    <a:pt x="1365" y="42"/>
                    <a:pt x="1365" y="42"/>
                    <a:pt x="1365" y="42"/>
                  </a:cubicBezTo>
                  <a:cubicBezTo>
                    <a:pt x="1365" y="19"/>
                    <a:pt x="1346" y="0"/>
                    <a:pt x="1323" y="0"/>
                  </a:cubicBezTo>
                  <a:cubicBezTo>
                    <a:pt x="1299" y="0"/>
                    <a:pt x="1280" y="19"/>
                    <a:pt x="1280" y="42"/>
                  </a:cubicBezTo>
                  <a:cubicBezTo>
                    <a:pt x="1280" y="435"/>
                    <a:pt x="1280" y="435"/>
                    <a:pt x="1280" y="435"/>
                  </a:cubicBezTo>
                  <a:cubicBezTo>
                    <a:pt x="1197" y="429"/>
                    <a:pt x="1112" y="426"/>
                    <a:pt x="1024" y="426"/>
                  </a:cubicBezTo>
                  <a:cubicBezTo>
                    <a:pt x="936" y="426"/>
                    <a:pt x="851" y="429"/>
                    <a:pt x="768" y="435"/>
                  </a:cubicBezTo>
                  <a:cubicBezTo>
                    <a:pt x="768" y="170"/>
                    <a:pt x="768" y="170"/>
                    <a:pt x="768" y="170"/>
                  </a:cubicBezTo>
                  <a:cubicBezTo>
                    <a:pt x="811" y="170"/>
                    <a:pt x="811" y="170"/>
                    <a:pt x="811" y="170"/>
                  </a:cubicBezTo>
                  <a:cubicBezTo>
                    <a:pt x="811" y="194"/>
                    <a:pt x="830" y="213"/>
                    <a:pt x="853" y="213"/>
                  </a:cubicBezTo>
                  <a:cubicBezTo>
                    <a:pt x="939" y="213"/>
                    <a:pt x="939" y="213"/>
                    <a:pt x="939" y="213"/>
                  </a:cubicBezTo>
                  <a:cubicBezTo>
                    <a:pt x="962" y="213"/>
                    <a:pt x="981" y="194"/>
                    <a:pt x="981" y="170"/>
                  </a:cubicBezTo>
                  <a:cubicBezTo>
                    <a:pt x="981" y="147"/>
                    <a:pt x="962" y="128"/>
                    <a:pt x="939" y="128"/>
                  </a:cubicBezTo>
                  <a:cubicBezTo>
                    <a:pt x="896" y="128"/>
                    <a:pt x="896" y="128"/>
                    <a:pt x="896" y="128"/>
                  </a:cubicBezTo>
                  <a:cubicBezTo>
                    <a:pt x="896" y="104"/>
                    <a:pt x="877" y="85"/>
                    <a:pt x="853" y="85"/>
                  </a:cubicBezTo>
                  <a:cubicBezTo>
                    <a:pt x="768" y="85"/>
                    <a:pt x="768" y="85"/>
                    <a:pt x="768" y="85"/>
                  </a:cubicBezTo>
                  <a:cubicBezTo>
                    <a:pt x="768" y="42"/>
                    <a:pt x="768" y="42"/>
                    <a:pt x="768" y="42"/>
                  </a:cubicBezTo>
                  <a:cubicBezTo>
                    <a:pt x="768" y="19"/>
                    <a:pt x="749" y="0"/>
                    <a:pt x="725" y="0"/>
                  </a:cubicBezTo>
                  <a:cubicBezTo>
                    <a:pt x="702" y="0"/>
                    <a:pt x="683" y="19"/>
                    <a:pt x="683" y="42"/>
                  </a:cubicBezTo>
                  <a:cubicBezTo>
                    <a:pt x="683" y="442"/>
                    <a:pt x="683" y="442"/>
                    <a:pt x="683" y="442"/>
                  </a:cubicBezTo>
                  <a:cubicBezTo>
                    <a:pt x="548" y="455"/>
                    <a:pt x="424" y="475"/>
                    <a:pt x="319" y="503"/>
                  </a:cubicBezTo>
                  <a:cubicBezTo>
                    <a:pt x="225" y="527"/>
                    <a:pt x="150" y="556"/>
                    <a:pt x="97" y="589"/>
                  </a:cubicBezTo>
                  <a:cubicBezTo>
                    <a:pt x="33" y="629"/>
                    <a:pt x="0" y="675"/>
                    <a:pt x="0" y="725"/>
                  </a:cubicBezTo>
                  <a:cubicBezTo>
                    <a:pt x="0" y="1408"/>
                    <a:pt x="0" y="1408"/>
                    <a:pt x="0" y="1408"/>
                  </a:cubicBezTo>
                  <a:cubicBezTo>
                    <a:pt x="0" y="1458"/>
                    <a:pt x="33" y="1504"/>
                    <a:pt x="97" y="1544"/>
                  </a:cubicBezTo>
                  <a:cubicBezTo>
                    <a:pt x="150" y="1576"/>
                    <a:pt x="225" y="1605"/>
                    <a:pt x="319" y="1630"/>
                  </a:cubicBezTo>
                  <a:cubicBezTo>
                    <a:pt x="508" y="1679"/>
                    <a:pt x="758" y="1706"/>
                    <a:pt x="1024" y="1706"/>
                  </a:cubicBezTo>
                  <a:cubicBezTo>
                    <a:pt x="1066" y="1706"/>
                    <a:pt x="1108" y="1706"/>
                    <a:pt x="1150" y="1704"/>
                  </a:cubicBezTo>
                  <a:cubicBezTo>
                    <a:pt x="1151" y="1704"/>
                    <a:pt x="1151" y="1704"/>
                    <a:pt x="1152" y="1704"/>
                  </a:cubicBezTo>
                  <a:cubicBezTo>
                    <a:pt x="1154" y="1704"/>
                    <a:pt x="1155" y="1704"/>
                    <a:pt x="1157" y="1704"/>
                  </a:cubicBezTo>
                  <a:cubicBezTo>
                    <a:pt x="1373" y="1696"/>
                    <a:pt x="1572" y="1671"/>
                    <a:pt x="1729" y="1630"/>
                  </a:cubicBezTo>
                  <a:cubicBezTo>
                    <a:pt x="1823" y="1605"/>
                    <a:pt x="1898" y="1576"/>
                    <a:pt x="1951" y="1544"/>
                  </a:cubicBezTo>
                  <a:cubicBezTo>
                    <a:pt x="2015" y="1504"/>
                    <a:pt x="2048" y="1458"/>
                    <a:pt x="2048" y="1408"/>
                  </a:cubicBezTo>
                  <a:cubicBezTo>
                    <a:pt x="2048" y="725"/>
                    <a:pt x="2048" y="725"/>
                    <a:pt x="2048" y="725"/>
                  </a:cubicBezTo>
                  <a:cubicBezTo>
                    <a:pt x="2048" y="675"/>
                    <a:pt x="2015" y="629"/>
                    <a:pt x="1951" y="589"/>
                  </a:cubicBezTo>
                  <a:close/>
                  <a:moveTo>
                    <a:pt x="1348" y="526"/>
                  </a:moveTo>
                  <a:cubicBezTo>
                    <a:pt x="1481" y="538"/>
                    <a:pt x="1604" y="558"/>
                    <a:pt x="1707" y="585"/>
                  </a:cubicBezTo>
                  <a:cubicBezTo>
                    <a:pt x="1731" y="592"/>
                    <a:pt x="1754" y="598"/>
                    <a:pt x="1774" y="605"/>
                  </a:cubicBezTo>
                  <a:cubicBezTo>
                    <a:pt x="1405" y="811"/>
                    <a:pt x="1405" y="811"/>
                    <a:pt x="1405" y="811"/>
                  </a:cubicBezTo>
                  <a:cubicBezTo>
                    <a:pt x="1382" y="804"/>
                    <a:pt x="1357" y="798"/>
                    <a:pt x="1334" y="793"/>
                  </a:cubicBezTo>
                  <a:cubicBezTo>
                    <a:pt x="1300" y="787"/>
                    <a:pt x="1261" y="781"/>
                    <a:pt x="1219" y="777"/>
                  </a:cubicBezTo>
                  <a:lnTo>
                    <a:pt x="1348" y="526"/>
                  </a:lnTo>
                  <a:close/>
                  <a:moveTo>
                    <a:pt x="1024" y="512"/>
                  </a:moveTo>
                  <a:cubicBezTo>
                    <a:pt x="1103" y="512"/>
                    <a:pt x="1181" y="514"/>
                    <a:pt x="1255" y="519"/>
                  </a:cubicBezTo>
                  <a:cubicBezTo>
                    <a:pt x="1127" y="770"/>
                    <a:pt x="1127" y="770"/>
                    <a:pt x="1127" y="770"/>
                  </a:cubicBezTo>
                  <a:cubicBezTo>
                    <a:pt x="1093" y="768"/>
                    <a:pt x="1059" y="768"/>
                    <a:pt x="1024" y="768"/>
                  </a:cubicBezTo>
                  <a:cubicBezTo>
                    <a:pt x="989" y="768"/>
                    <a:pt x="955" y="768"/>
                    <a:pt x="921" y="770"/>
                  </a:cubicBezTo>
                  <a:cubicBezTo>
                    <a:pt x="793" y="519"/>
                    <a:pt x="793" y="519"/>
                    <a:pt x="793" y="519"/>
                  </a:cubicBezTo>
                  <a:cubicBezTo>
                    <a:pt x="867" y="514"/>
                    <a:pt x="945" y="512"/>
                    <a:pt x="1024" y="512"/>
                  </a:cubicBezTo>
                  <a:close/>
                  <a:moveTo>
                    <a:pt x="341" y="585"/>
                  </a:moveTo>
                  <a:cubicBezTo>
                    <a:pt x="444" y="558"/>
                    <a:pt x="566" y="538"/>
                    <a:pt x="700" y="526"/>
                  </a:cubicBezTo>
                  <a:cubicBezTo>
                    <a:pt x="829" y="777"/>
                    <a:pt x="829" y="777"/>
                    <a:pt x="829" y="777"/>
                  </a:cubicBezTo>
                  <a:cubicBezTo>
                    <a:pt x="787" y="781"/>
                    <a:pt x="748" y="787"/>
                    <a:pt x="714" y="793"/>
                  </a:cubicBezTo>
                  <a:cubicBezTo>
                    <a:pt x="691" y="798"/>
                    <a:pt x="666" y="804"/>
                    <a:pt x="643" y="811"/>
                  </a:cubicBezTo>
                  <a:cubicBezTo>
                    <a:pt x="274" y="605"/>
                    <a:pt x="274" y="605"/>
                    <a:pt x="274" y="605"/>
                  </a:cubicBezTo>
                  <a:cubicBezTo>
                    <a:pt x="294" y="598"/>
                    <a:pt x="316" y="592"/>
                    <a:pt x="341" y="585"/>
                  </a:cubicBezTo>
                  <a:close/>
                  <a:moveTo>
                    <a:pt x="299" y="1536"/>
                  </a:moveTo>
                  <a:cubicBezTo>
                    <a:pt x="131" y="1486"/>
                    <a:pt x="85" y="1433"/>
                    <a:pt x="85" y="1408"/>
                  </a:cubicBezTo>
                  <a:cubicBezTo>
                    <a:pt x="85" y="1195"/>
                    <a:pt x="85" y="1195"/>
                    <a:pt x="85" y="1195"/>
                  </a:cubicBezTo>
                  <a:cubicBezTo>
                    <a:pt x="102" y="1207"/>
                    <a:pt x="122" y="1220"/>
                    <a:pt x="146" y="1232"/>
                  </a:cubicBezTo>
                  <a:cubicBezTo>
                    <a:pt x="188" y="1254"/>
                    <a:pt x="240" y="1274"/>
                    <a:pt x="299" y="1291"/>
                  </a:cubicBezTo>
                  <a:lnTo>
                    <a:pt x="299" y="1536"/>
                  </a:lnTo>
                  <a:close/>
                  <a:moveTo>
                    <a:pt x="299" y="1202"/>
                  </a:moveTo>
                  <a:cubicBezTo>
                    <a:pt x="262" y="1190"/>
                    <a:pt x="232" y="1179"/>
                    <a:pt x="208" y="1168"/>
                  </a:cubicBezTo>
                  <a:cubicBezTo>
                    <a:pt x="99" y="1118"/>
                    <a:pt x="86" y="1070"/>
                    <a:pt x="85" y="1064"/>
                  </a:cubicBezTo>
                  <a:cubicBezTo>
                    <a:pt x="85" y="853"/>
                    <a:pt x="85" y="853"/>
                    <a:pt x="85" y="853"/>
                  </a:cubicBezTo>
                  <a:cubicBezTo>
                    <a:pt x="102" y="866"/>
                    <a:pt x="122" y="878"/>
                    <a:pt x="146" y="891"/>
                  </a:cubicBezTo>
                  <a:cubicBezTo>
                    <a:pt x="188" y="913"/>
                    <a:pt x="240" y="933"/>
                    <a:pt x="299" y="949"/>
                  </a:cubicBezTo>
                  <a:lnTo>
                    <a:pt x="299" y="1202"/>
                  </a:lnTo>
                  <a:close/>
                  <a:moveTo>
                    <a:pt x="208" y="826"/>
                  </a:moveTo>
                  <a:cubicBezTo>
                    <a:pt x="101" y="777"/>
                    <a:pt x="87" y="730"/>
                    <a:pt x="85" y="723"/>
                  </a:cubicBezTo>
                  <a:cubicBezTo>
                    <a:pt x="87" y="706"/>
                    <a:pt x="108" y="677"/>
                    <a:pt x="172" y="645"/>
                  </a:cubicBezTo>
                  <a:cubicBezTo>
                    <a:pt x="563" y="864"/>
                    <a:pt x="563" y="864"/>
                    <a:pt x="563" y="864"/>
                  </a:cubicBezTo>
                  <a:cubicBezTo>
                    <a:pt x="558" y="874"/>
                    <a:pt x="555" y="884"/>
                    <a:pt x="555" y="896"/>
                  </a:cubicBezTo>
                  <a:cubicBezTo>
                    <a:pt x="555" y="902"/>
                    <a:pt x="555" y="907"/>
                    <a:pt x="557" y="913"/>
                  </a:cubicBezTo>
                  <a:cubicBezTo>
                    <a:pt x="382" y="890"/>
                    <a:pt x="274" y="857"/>
                    <a:pt x="208" y="826"/>
                  </a:cubicBezTo>
                  <a:close/>
                  <a:moveTo>
                    <a:pt x="725" y="1609"/>
                  </a:moveTo>
                  <a:cubicBezTo>
                    <a:pt x="600" y="1598"/>
                    <a:pt x="484" y="1581"/>
                    <a:pt x="384" y="1558"/>
                  </a:cubicBezTo>
                  <a:cubicBezTo>
                    <a:pt x="384" y="1312"/>
                    <a:pt x="384" y="1312"/>
                    <a:pt x="384" y="1312"/>
                  </a:cubicBezTo>
                  <a:cubicBezTo>
                    <a:pt x="481" y="1333"/>
                    <a:pt x="595" y="1347"/>
                    <a:pt x="725" y="1356"/>
                  </a:cubicBezTo>
                  <a:lnTo>
                    <a:pt x="725" y="1609"/>
                  </a:lnTo>
                  <a:close/>
                  <a:moveTo>
                    <a:pt x="725" y="1270"/>
                  </a:moveTo>
                  <a:cubicBezTo>
                    <a:pt x="581" y="1260"/>
                    <a:pt x="469" y="1243"/>
                    <a:pt x="384" y="1224"/>
                  </a:cubicBezTo>
                  <a:cubicBezTo>
                    <a:pt x="384" y="971"/>
                    <a:pt x="384" y="971"/>
                    <a:pt x="384" y="971"/>
                  </a:cubicBezTo>
                  <a:cubicBezTo>
                    <a:pt x="481" y="991"/>
                    <a:pt x="595" y="1006"/>
                    <a:pt x="725" y="1015"/>
                  </a:cubicBezTo>
                  <a:lnTo>
                    <a:pt x="725" y="1270"/>
                  </a:lnTo>
                  <a:close/>
                  <a:moveTo>
                    <a:pt x="853" y="1617"/>
                  </a:moveTo>
                  <a:cubicBezTo>
                    <a:pt x="839" y="1616"/>
                    <a:pt x="825" y="1616"/>
                    <a:pt x="811" y="1615"/>
                  </a:cubicBezTo>
                  <a:cubicBezTo>
                    <a:pt x="811" y="1361"/>
                    <a:pt x="811" y="1361"/>
                    <a:pt x="811" y="1361"/>
                  </a:cubicBezTo>
                  <a:cubicBezTo>
                    <a:pt x="825" y="1361"/>
                    <a:pt x="839" y="1362"/>
                    <a:pt x="853" y="1362"/>
                  </a:cubicBezTo>
                  <a:lnTo>
                    <a:pt x="853" y="1617"/>
                  </a:lnTo>
                  <a:close/>
                  <a:moveTo>
                    <a:pt x="1109" y="1620"/>
                  </a:moveTo>
                  <a:cubicBezTo>
                    <a:pt x="1081" y="1621"/>
                    <a:pt x="1053" y="1621"/>
                    <a:pt x="1024" y="1621"/>
                  </a:cubicBezTo>
                  <a:cubicBezTo>
                    <a:pt x="995" y="1621"/>
                    <a:pt x="967" y="1621"/>
                    <a:pt x="939" y="1620"/>
                  </a:cubicBezTo>
                  <a:cubicBezTo>
                    <a:pt x="939" y="1364"/>
                    <a:pt x="939" y="1364"/>
                    <a:pt x="939" y="1364"/>
                  </a:cubicBezTo>
                  <a:cubicBezTo>
                    <a:pt x="967" y="1365"/>
                    <a:pt x="995" y="1365"/>
                    <a:pt x="1024" y="1365"/>
                  </a:cubicBezTo>
                  <a:cubicBezTo>
                    <a:pt x="1053" y="1365"/>
                    <a:pt x="1081" y="1365"/>
                    <a:pt x="1109" y="1364"/>
                  </a:cubicBezTo>
                  <a:lnTo>
                    <a:pt x="1109" y="1620"/>
                  </a:lnTo>
                  <a:close/>
                  <a:moveTo>
                    <a:pt x="1237" y="1615"/>
                  </a:moveTo>
                  <a:cubicBezTo>
                    <a:pt x="1223" y="1616"/>
                    <a:pt x="1209" y="1616"/>
                    <a:pt x="1195" y="1617"/>
                  </a:cubicBezTo>
                  <a:cubicBezTo>
                    <a:pt x="1195" y="1362"/>
                    <a:pt x="1195" y="1362"/>
                    <a:pt x="1195" y="1362"/>
                  </a:cubicBezTo>
                  <a:cubicBezTo>
                    <a:pt x="1209" y="1362"/>
                    <a:pt x="1223" y="1361"/>
                    <a:pt x="1237" y="1361"/>
                  </a:cubicBezTo>
                  <a:lnTo>
                    <a:pt x="1237" y="1615"/>
                  </a:lnTo>
                  <a:close/>
                  <a:moveTo>
                    <a:pt x="1237" y="1275"/>
                  </a:moveTo>
                  <a:cubicBezTo>
                    <a:pt x="1163" y="1278"/>
                    <a:pt x="1091" y="1280"/>
                    <a:pt x="1024" y="1280"/>
                  </a:cubicBezTo>
                  <a:cubicBezTo>
                    <a:pt x="947" y="1280"/>
                    <a:pt x="876" y="1278"/>
                    <a:pt x="811" y="1275"/>
                  </a:cubicBezTo>
                  <a:cubicBezTo>
                    <a:pt x="811" y="1019"/>
                    <a:pt x="811" y="1019"/>
                    <a:pt x="811" y="1019"/>
                  </a:cubicBezTo>
                  <a:cubicBezTo>
                    <a:pt x="878" y="1022"/>
                    <a:pt x="949" y="1024"/>
                    <a:pt x="1024" y="1024"/>
                  </a:cubicBezTo>
                  <a:cubicBezTo>
                    <a:pt x="1099" y="1024"/>
                    <a:pt x="1170" y="1022"/>
                    <a:pt x="1237" y="1019"/>
                  </a:cubicBezTo>
                  <a:lnTo>
                    <a:pt x="1237" y="1275"/>
                  </a:lnTo>
                  <a:close/>
                  <a:moveTo>
                    <a:pt x="1024" y="938"/>
                  </a:moveTo>
                  <a:cubicBezTo>
                    <a:pt x="926" y="938"/>
                    <a:pt x="832" y="931"/>
                    <a:pt x="758" y="919"/>
                  </a:cubicBezTo>
                  <a:cubicBezTo>
                    <a:pt x="710" y="911"/>
                    <a:pt x="680" y="903"/>
                    <a:pt x="662" y="896"/>
                  </a:cubicBezTo>
                  <a:cubicBezTo>
                    <a:pt x="680" y="889"/>
                    <a:pt x="710" y="880"/>
                    <a:pt x="758" y="872"/>
                  </a:cubicBezTo>
                  <a:cubicBezTo>
                    <a:pt x="832" y="860"/>
                    <a:pt x="926" y="853"/>
                    <a:pt x="1024" y="853"/>
                  </a:cubicBezTo>
                  <a:cubicBezTo>
                    <a:pt x="1122" y="853"/>
                    <a:pt x="1216" y="860"/>
                    <a:pt x="1290" y="872"/>
                  </a:cubicBezTo>
                  <a:cubicBezTo>
                    <a:pt x="1338" y="880"/>
                    <a:pt x="1368" y="889"/>
                    <a:pt x="1386" y="896"/>
                  </a:cubicBezTo>
                  <a:cubicBezTo>
                    <a:pt x="1368" y="903"/>
                    <a:pt x="1338" y="911"/>
                    <a:pt x="1290" y="919"/>
                  </a:cubicBezTo>
                  <a:cubicBezTo>
                    <a:pt x="1216" y="931"/>
                    <a:pt x="1122" y="938"/>
                    <a:pt x="1024" y="938"/>
                  </a:cubicBezTo>
                  <a:close/>
                  <a:moveTo>
                    <a:pt x="1664" y="1558"/>
                  </a:moveTo>
                  <a:cubicBezTo>
                    <a:pt x="1564" y="1581"/>
                    <a:pt x="1448" y="1598"/>
                    <a:pt x="1323" y="1609"/>
                  </a:cubicBezTo>
                  <a:cubicBezTo>
                    <a:pt x="1323" y="1356"/>
                    <a:pt x="1323" y="1356"/>
                    <a:pt x="1323" y="1356"/>
                  </a:cubicBezTo>
                  <a:cubicBezTo>
                    <a:pt x="1453" y="1347"/>
                    <a:pt x="1567" y="1333"/>
                    <a:pt x="1664" y="1312"/>
                  </a:cubicBezTo>
                  <a:lnTo>
                    <a:pt x="1664" y="1558"/>
                  </a:lnTo>
                  <a:close/>
                  <a:moveTo>
                    <a:pt x="1664" y="1224"/>
                  </a:moveTo>
                  <a:cubicBezTo>
                    <a:pt x="1560" y="1248"/>
                    <a:pt x="1441" y="1262"/>
                    <a:pt x="1323" y="1270"/>
                  </a:cubicBezTo>
                  <a:cubicBezTo>
                    <a:pt x="1323" y="1015"/>
                    <a:pt x="1323" y="1015"/>
                    <a:pt x="1323" y="1015"/>
                  </a:cubicBezTo>
                  <a:cubicBezTo>
                    <a:pt x="1453" y="1006"/>
                    <a:pt x="1567" y="991"/>
                    <a:pt x="1664" y="971"/>
                  </a:cubicBezTo>
                  <a:lnTo>
                    <a:pt x="1664" y="1224"/>
                  </a:lnTo>
                  <a:close/>
                  <a:moveTo>
                    <a:pt x="1698" y="875"/>
                  </a:moveTo>
                  <a:cubicBezTo>
                    <a:pt x="1697" y="875"/>
                    <a:pt x="1695" y="875"/>
                    <a:pt x="1694" y="876"/>
                  </a:cubicBezTo>
                  <a:cubicBezTo>
                    <a:pt x="1631" y="892"/>
                    <a:pt x="1562" y="904"/>
                    <a:pt x="1491" y="913"/>
                  </a:cubicBezTo>
                  <a:cubicBezTo>
                    <a:pt x="1493" y="907"/>
                    <a:pt x="1493" y="902"/>
                    <a:pt x="1493" y="896"/>
                  </a:cubicBezTo>
                  <a:cubicBezTo>
                    <a:pt x="1493" y="884"/>
                    <a:pt x="1490" y="874"/>
                    <a:pt x="1485" y="864"/>
                  </a:cubicBezTo>
                  <a:cubicBezTo>
                    <a:pt x="1876" y="645"/>
                    <a:pt x="1876" y="645"/>
                    <a:pt x="1876" y="645"/>
                  </a:cubicBezTo>
                  <a:cubicBezTo>
                    <a:pt x="1942" y="678"/>
                    <a:pt x="1963" y="708"/>
                    <a:pt x="1963" y="725"/>
                  </a:cubicBezTo>
                  <a:cubicBezTo>
                    <a:pt x="1963" y="725"/>
                    <a:pt x="1952" y="769"/>
                    <a:pt x="1863" y="815"/>
                  </a:cubicBezTo>
                  <a:cubicBezTo>
                    <a:pt x="1817" y="839"/>
                    <a:pt x="1761" y="859"/>
                    <a:pt x="1698" y="875"/>
                  </a:cubicBezTo>
                  <a:close/>
                  <a:moveTo>
                    <a:pt x="1749" y="949"/>
                  </a:moveTo>
                  <a:cubicBezTo>
                    <a:pt x="1808" y="933"/>
                    <a:pt x="1860" y="913"/>
                    <a:pt x="1902" y="891"/>
                  </a:cubicBezTo>
                  <a:cubicBezTo>
                    <a:pt x="1926" y="878"/>
                    <a:pt x="1946" y="866"/>
                    <a:pt x="1963" y="853"/>
                  </a:cubicBezTo>
                  <a:cubicBezTo>
                    <a:pt x="1963" y="1066"/>
                    <a:pt x="1963" y="1066"/>
                    <a:pt x="1963" y="1066"/>
                  </a:cubicBezTo>
                  <a:cubicBezTo>
                    <a:pt x="1963" y="1067"/>
                    <a:pt x="1952" y="1110"/>
                    <a:pt x="1863" y="1156"/>
                  </a:cubicBezTo>
                  <a:cubicBezTo>
                    <a:pt x="1830" y="1174"/>
                    <a:pt x="1791" y="1189"/>
                    <a:pt x="1749" y="1202"/>
                  </a:cubicBezTo>
                  <a:lnTo>
                    <a:pt x="1749" y="949"/>
                  </a:lnTo>
                  <a:close/>
                  <a:moveTo>
                    <a:pt x="1963" y="1408"/>
                  </a:moveTo>
                  <a:cubicBezTo>
                    <a:pt x="1963" y="1433"/>
                    <a:pt x="1916" y="1486"/>
                    <a:pt x="1749" y="1536"/>
                  </a:cubicBezTo>
                  <a:cubicBezTo>
                    <a:pt x="1749" y="1291"/>
                    <a:pt x="1749" y="1291"/>
                    <a:pt x="1749" y="1291"/>
                  </a:cubicBezTo>
                  <a:cubicBezTo>
                    <a:pt x="1808" y="1274"/>
                    <a:pt x="1860" y="1254"/>
                    <a:pt x="1902" y="1232"/>
                  </a:cubicBezTo>
                  <a:cubicBezTo>
                    <a:pt x="1926" y="1220"/>
                    <a:pt x="1946" y="1207"/>
                    <a:pt x="1963" y="1195"/>
                  </a:cubicBezTo>
                  <a:lnTo>
                    <a:pt x="1963" y="1408"/>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sp>
        <p:nvSpPr>
          <p:cNvPr id="160" name="Freeform 10"/>
          <p:cNvSpPr>
            <a:spLocks noEditPoints="1"/>
          </p:cNvSpPr>
          <p:nvPr/>
        </p:nvSpPr>
        <p:spPr bwMode="auto">
          <a:xfrm>
            <a:off x="4445604" y="3929064"/>
            <a:ext cx="198918" cy="160872"/>
          </a:xfrm>
          <a:custGeom>
            <a:avLst/>
            <a:gdLst/>
            <a:ahLst/>
            <a:cxnLst>
              <a:cxn ang="0">
                <a:pos x="1413" y="976"/>
              </a:cxn>
              <a:cxn ang="0">
                <a:pos x="2053" y="42"/>
              </a:cxn>
              <a:cxn ang="0">
                <a:pos x="2012" y="1"/>
              </a:cxn>
              <a:cxn ang="0">
                <a:pos x="1075" y="636"/>
              </a:cxn>
              <a:cxn ang="0">
                <a:pos x="532" y="1264"/>
              </a:cxn>
              <a:cxn ang="0">
                <a:pos x="553" y="1046"/>
              </a:cxn>
              <a:cxn ang="0">
                <a:pos x="615" y="78"/>
              </a:cxn>
              <a:cxn ang="0">
                <a:pos x="267" y="571"/>
              </a:cxn>
              <a:cxn ang="0">
                <a:pos x="436" y="1185"/>
              </a:cxn>
              <a:cxn ang="0">
                <a:pos x="353" y="1354"/>
              </a:cxn>
              <a:cxn ang="0">
                <a:pos x="28" y="1517"/>
              </a:cxn>
              <a:cxn ang="0">
                <a:pos x="43" y="1590"/>
              </a:cxn>
              <a:cxn ang="0">
                <a:pos x="569" y="1330"/>
              </a:cxn>
              <a:cxn ang="0">
                <a:pos x="1013" y="1381"/>
              </a:cxn>
              <a:cxn ang="0">
                <a:pos x="1442" y="1661"/>
              </a:cxn>
              <a:cxn ang="0">
                <a:pos x="1896" y="1408"/>
              </a:cxn>
              <a:cxn ang="0">
                <a:pos x="1145" y="1174"/>
              </a:cxn>
              <a:cxn ang="0">
                <a:pos x="772" y="1208"/>
              </a:cxn>
              <a:cxn ang="0">
                <a:pos x="1348" y="982"/>
              </a:cxn>
              <a:cxn ang="0">
                <a:pos x="342" y="576"/>
              </a:cxn>
              <a:cxn ang="0">
                <a:pos x="775" y="603"/>
              </a:cxn>
              <a:cxn ang="0">
                <a:pos x="567" y="969"/>
              </a:cxn>
              <a:cxn ang="0">
                <a:pos x="553" y="557"/>
              </a:cxn>
              <a:cxn ang="0">
                <a:pos x="491" y="961"/>
              </a:cxn>
              <a:cxn ang="0">
                <a:pos x="1424" y="1350"/>
              </a:cxn>
              <a:cxn ang="0">
                <a:pos x="1181" y="1241"/>
              </a:cxn>
              <a:cxn ang="0">
                <a:pos x="1814" y="1426"/>
              </a:cxn>
              <a:cxn ang="0">
                <a:pos x="1159" y="1501"/>
              </a:cxn>
              <a:cxn ang="0">
                <a:pos x="1423" y="1426"/>
              </a:cxn>
              <a:cxn ang="0">
                <a:pos x="1461" y="1389"/>
              </a:cxn>
              <a:cxn ang="0">
                <a:pos x="1149" y="651"/>
              </a:cxn>
              <a:cxn ang="0">
                <a:pos x="1972" y="82"/>
              </a:cxn>
              <a:cxn ang="0">
                <a:pos x="1399" y="902"/>
              </a:cxn>
              <a:cxn ang="0">
                <a:pos x="1473" y="645"/>
              </a:cxn>
              <a:cxn ang="0">
                <a:pos x="1416" y="595"/>
              </a:cxn>
              <a:cxn ang="0">
                <a:pos x="1149" y="651"/>
              </a:cxn>
            </a:cxnLst>
            <a:rect l="0" t="0" r="r" b="b"/>
            <a:pathLst>
              <a:path w="2054" h="1661">
                <a:moveTo>
                  <a:pt x="1348" y="982"/>
                </a:moveTo>
                <a:cubicBezTo>
                  <a:pt x="1369" y="982"/>
                  <a:pt x="1391" y="980"/>
                  <a:pt x="1413" y="976"/>
                </a:cubicBezTo>
                <a:cubicBezTo>
                  <a:pt x="1523" y="955"/>
                  <a:pt x="1639" y="883"/>
                  <a:pt x="1761" y="762"/>
                </a:cubicBezTo>
                <a:cubicBezTo>
                  <a:pt x="2013" y="511"/>
                  <a:pt x="2051" y="61"/>
                  <a:pt x="2053" y="42"/>
                </a:cubicBezTo>
                <a:cubicBezTo>
                  <a:pt x="2054" y="31"/>
                  <a:pt x="2050" y="20"/>
                  <a:pt x="2042" y="12"/>
                </a:cubicBezTo>
                <a:cubicBezTo>
                  <a:pt x="2034" y="4"/>
                  <a:pt x="2023" y="0"/>
                  <a:pt x="2012" y="1"/>
                </a:cubicBezTo>
                <a:cubicBezTo>
                  <a:pt x="1993" y="2"/>
                  <a:pt x="1544" y="40"/>
                  <a:pt x="1292" y="291"/>
                </a:cubicBezTo>
                <a:cubicBezTo>
                  <a:pt x="1170" y="412"/>
                  <a:pt x="1098" y="528"/>
                  <a:pt x="1075" y="636"/>
                </a:cubicBezTo>
                <a:cubicBezTo>
                  <a:pt x="1057" y="723"/>
                  <a:pt x="1073" y="803"/>
                  <a:pt x="1122" y="868"/>
                </a:cubicBezTo>
                <a:cubicBezTo>
                  <a:pt x="919" y="1032"/>
                  <a:pt x="703" y="1167"/>
                  <a:pt x="532" y="1264"/>
                </a:cubicBezTo>
                <a:cubicBezTo>
                  <a:pt x="512" y="1276"/>
                  <a:pt x="492" y="1287"/>
                  <a:pt x="473" y="1297"/>
                </a:cubicBezTo>
                <a:cubicBezTo>
                  <a:pt x="499" y="1240"/>
                  <a:pt x="529" y="1158"/>
                  <a:pt x="553" y="1046"/>
                </a:cubicBezTo>
                <a:cubicBezTo>
                  <a:pt x="691" y="1041"/>
                  <a:pt x="832" y="907"/>
                  <a:pt x="850" y="608"/>
                </a:cubicBezTo>
                <a:cubicBezTo>
                  <a:pt x="868" y="326"/>
                  <a:pt x="625" y="88"/>
                  <a:pt x="615" y="78"/>
                </a:cubicBezTo>
                <a:cubicBezTo>
                  <a:pt x="602" y="65"/>
                  <a:pt x="581" y="63"/>
                  <a:pt x="566" y="75"/>
                </a:cubicBezTo>
                <a:cubicBezTo>
                  <a:pt x="555" y="83"/>
                  <a:pt x="284" y="289"/>
                  <a:pt x="267" y="571"/>
                </a:cubicBezTo>
                <a:cubicBezTo>
                  <a:pt x="249" y="848"/>
                  <a:pt x="353" y="997"/>
                  <a:pt x="477" y="1036"/>
                </a:cubicBezTo>
                <a:cubicBezTo>
                  <a:pt x="464" y="1097"/>
                  <a:pt x="450" y="1146"/>
                  <a:pt x="436" y="1185"/>
                </a:cubicBezTo>
                <a:cubicBezTo>
                  <a:pt x="396" y="1302"/>
                  <a:pt x="354" y="1353"/>
                  <a:pt x="353" y="1354"/>
                </a:cubicBezTo>
                <a:cubicBezTo>
                  <a:pt x="353" y="1354"/>
                  <a:pt x="353" y="1354"/>
                  <a:pt x="353" y="1354"/>
                </a:cubicBezTo>
                <a:cubicBezTo>
                  <a:pt x="344" y="1364"/>
                  <a:pt x="334" y="1372"/>
                  <a:pt x="323" y="1377"/>
                </a:cubicBezTo>
                <a:cubicBezTo>
                  <a:pt x="149" y="1467"/>
                  <a:pt x="30" y="1517"/>
                  <a:pt x="28" y="1517"/>
                </a:cubicBezTo>
                <a:cubicBezTo>
                  <a:pt x="9" y="1525"/>
                  <a:pt x="0" y="1547"/>
                  <a:pt x="8" y="1567"/>
                </a:cubicBezTo>
                <a:cubicBezTo>
                  <a:pt x="14" y="1581"/>
                  <a:pt x="28" y="1590"/>
                  <a:pt x="43" y="1590"/>
                </a:cubicBezTo>
                <a:cubicBezTo>
                  <a:pt x="48" y="1590"/>
                  <a:pt x="53" y="1589"/>
                  <a:pt x="57" y="1587"/>
                </a:cubicBezTo>
                <a:cubicBezTo>
                  <a:pt x="60" y="1586"/>
                  <a:pt x="284" y="1492"/>
                  <a:pt x="569" y="1330"/>
                </a:cubicBezTo>
                <a:cubicBezTo>
                  <a:pt x="611" y="1307"/>
                  <a:pt x="655" y="1280"/>
                  <a:pt x="702" y="1252"/>
                </a:cubicBezTo>
                <a:cubicBezTo>
                  <a:pt x="729" y="1273"/>
                  <a:pt x="822" y="1337"/>
                  <a:pt x="1013" y="1381"/>
                </a:cubicBezTo>
                <a:cubicBezTo>
                  <a:pt x="1017" y="1507"/>
                  <a:pt x="1136" y="1637"/>
                  <a:pt x="1406" y="1660"/>
                </a:cubicBezTo>
                <a:cubicBezTo>
                  <a:pt x="1418" y="1661"/>
                  <a:pt x="1430" y="1661"/>
                  <a:pt x="1442" y="1661"/>
                </a:cubicBezTo>
                <a:cubicBezTo>
                  <a:pt x="1682" y="1661"/>
                  <a:pt x="1883" y="1466"/>
                  <a:pt x="1892" y="1457"/>
                </a:cubicBezTo>
                <a:cubicBezTo>
                  <a:pt x="1905" y="1444"/>
                  <a:pt x="1907" y="1423"/>
                  <a:pt x="1896" y="1408"/>
                </a:cubicBezTo>
                <a:cubicBezTo>
                  <a:pt x="1889" y="1397"/>
                  <a:pt x="1707" y="1148"/>
                  <a:pt x="1451" y="1126"/>
                </a:cubicBezTo>
                <a:cubicBezTo>
                  <a:pt x="1329" y="1116"/>
                  <a:pt x="1223" y="1132"/>
                  <a:pt x="1145" y="1174"/>
                </a:cubicBezTo>
                <a:cubicBezTo>
                  <a:pt x="1085" y="1206"/>
                  <a:pt x="1044" y="1252"/>
                  <a:pt x="1025" y="1306"/>
                </a:cubicBezTo>
                <a:cubicBezTo>
                  <a:pt x="890" y="1274"/>
                  <a:pt x="810" y="1232"/>
                  <a:pt x="772" y="1208"/>
                </a:cubicBezTo>
                <a:cubicBezTo>
                  <a:pt x="901" y="1127"/>
                  <a:pt x="1041" y="1031"/>
                  <a:pt x="1175" y="922"/>
                </a:cubicBezTo>
                <a:cubicBezTo>
                  <a:pt x="1224" y="962"/>
                  <a:pt x="1283" y="982"/>
                  <a:pt x="1348" y="982"/>
                </a:cubicBezTo>
                <a:close/>
                <a:moveTo>
                  <a:pt x="392" y="870"/>
                </a:moveTo>
                <a:cubicBezTo>
                  <a:pt x="352" y="797"/>
                  <a:pt x="335" y="696"/>
                  <a:pt x="342" y="576"/>
                </a:cubicBezTo>
                <a:cubicBezTo>
                  <a:pt x="355" y="377"/>
                  <a:pt x="521" y="214"/>
                  <a:pt x="586" y="157"/>
                </a:cubicBezTo>
                <a:cubicBezTo>
                  <a:pt x="643" y="221"/>
                  <a:pt x="787" y="404"/>
                  <a:pt x="775" y="603"/>
                </a:cubicBezTo>
                <a:cubicBezTo>
                  <a:pt x="767" y="723"/>
                  <a:pt x="738" y="822"/>
                  <a:pt x="688" y="888"/>
                </a:cubicBezTo>
                <a:cubicBezTo>
                  <a:pt x="654" y="935"/>
                  <a:pt x="612" y="963"/>
                  <a:pt x="567" y="969"/>
                </a:cubicBezTo>
                <a:cubicBezTo>
                  <a:pt x="583" y="866"/>
                  <a:pt x="593" y="742"/>
                  <a:pt x="591" y="595"/>
                </a:cubicBezTo>
                <a:cubicBezTo>
                  <a:pt x="591" y="574"/>
                  <a:pt x="574" y="557"/>
                  <a:pt x="553" y="557"/>
                </a:cubicBezTo>
                <a:cubicBezTo>
                  <a:pt x="532" y="558"/>
                  <a:pt x="515" y="575"/>
                  <a:pt x="516" y="596"/>
                </a:cubicBezTo>
                <a:cubicBezTo>
                  <a:pt x="517" y="742"/>
                  <a:pt x="507" y="863"/>
                  <a:pt x="491" y="961"/>
                </a:cubicBezTo>
                <a:cubicBezTo>
                  <a:pt x="452" y="947"/>
                  <a:pt x="418" y="916"/>
                  <a:pt x="392" y="870"/>
                </a:cubicBezTo>
                <a:close/>
                <a:moveTo>
                  <a:pt x="1424" y="1350"/>
                </a:moveTo>
                <a:cubicBezTo>
                  <a:pt x="1295" y="1349"/>
                  <a:pt x="1188" y="1338"/>
                  <a:pt x="1100" y="1322"/>
                </a:cubicBezTo>
                <a:cubicBezTo>
                  <a:pt x="1114" y="1289"/>
                  <a:pt x="1141" y="1262"/>
                  <a:pt x="1181" y="1241"/>
                </a:cubicBezTo>
                <a:cubicBezTo>
                  <a:pt x="1246" y="1206"/>
                  <a:pt x="1337" y="1192"/>
                  <a:pt x="1445" y="1202"/>
                </a:cubicBezTo>
                <a:cubicBezTo>
                  <a:pt x="1620" y="1216"/>
                  <a:pt x="1762" y="1364"/>
                  <a:pt x="1814" y="1426"/>
                </a:cubicBezTo>
                <a:cubicBezTo>
                  <a:pt x="1752" y="1477"/>
                  <a:pt x="1588" y="1599"/>
                  <a:pt x="1412" y="1584"/>
                </a:cubicBezTo>
                <a:cubicBezTo>
                  <a:pt x="1305" y="1575"/>
                  <a:pt x="1217" y="1547"/>
                  <a:pt x="1159" y="1501"/>
                </a:cubicBezTo>
                <a:cubicBezTo>
                  <a:pt x="1120" y="1471"/>
                  <a:pt x="1096" y="1436"/>
                  <a:pt x="1090" y="1397"/>
                </a:cubicBezTo>
                <a:cubicBezTo>
                  <a:pt x="1182" y="1413"/>
                  <a:pt x="1292" y="1425"/>
                  <a:pt x="1423" y="1426"/>
                </a:cubicBezTo>
                <a:cubicBezTo>
                  <a:pt x="1423" y="1426"/>
                  <a:pt x="1423" y="1426"/>
                  <a:pt x="1423" y="1426"/>
                </a:cubicBezTo>
                <a:cubicBezTo>
                  <a:pt x="1444" y="1426"/>
                  <a:pt x="1461" y="1409"/>
                  <a:pt x="1461" y="1389"/>
                </a:cubicBezTo>
                <a:cubicBezTo>
                  <a:pt x="1462" y="1368"/>
                  <a:pt x="1445" y="1351"/>
                  <a:pt x="1424" y="1350"/>
                </a:cubicBezTo>
                <a:close/>
                <a:moveTo>
                  <a:pt x="1149" y="651"/>
                </a:moveTo>
                <a:cubicBezTo>
                  <a:pt x="1168" y="559"/>
                  <a:pt x="1236" y="453"/>
                  <a:pt x="1345" y="344"/>
                </a:cubicBezTo>
                <a:cubicBezTo>
                  <a:pt x="1533" y="158"/>
                  <a:pt x="1853" y="98"/>
                  <a:pt x="1972" y="82"/>
                </a:cubicBezTo>
                <a:cubicBezTo>
                  <a:pt x="1956" y="201"/>
                  <a:pt x="1895" y="522"/>
                  <a:pt x="1708" y="709"/>
                </a:cubicBezTo>
                <a:cubicBezTo>
                  <a:pt x="1599" y="817"/>
                  <a:pt x="1492" y="884"/>
                  <a:pt x="1399" y="902"/>
                </a:cubicBezTo>
                <a:cubicBezTo>
                  <a:pt x="1336" y="914"/>
                  <a:pt x="1281" y="904"/>
                  <a:pt x="1235" y="872"/>
                </a:cubicBezTo>
                <a:cubicBezTo>
                  <a:pt x="1318" y="801"/>
                  <a:pt x="1399" y="725"/>
                  <a:pt x="1473" y="645"/>
                </a:cubicBezTo>
                <a:cubicBezTo>
                  <a:pt x="1487" y="629"/>
                  <a:pt x="1485" y="604"/>
                  <a:pt x="1468" y="590"/>
                </a:cubicBezTo>
                <a:cubicBezTo>
                  <a:pt x="1452" y="577"/>
                  <a:pt x="1429" y="580"/>
                  <a:pt x="1416" y="595"/>
                </a:cubicBezTo>
                <a:cubicBezTo>
                  <a:pt x="1343" y="674"/>
                  <a:pt x="1263" y="749"/>
                  <a:pt x="1180" y="819"/>
                </a:cubicBezTo>
                <a:cubicBezTo>
                  <a:pt x="1147" y="772"/>
                  <a:pt x="1136" y="716"/>
                  <a:pt x="1149" y="651"/>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cxnSp>
        <p:nvCxnSpPr>
          <p:cNvPr id="23" name="Straight Connector 22"/>
          <p:cNvCxnSpPr>
            <a:endCxn id="383" idx="3"/>
          </p:cNvCxnSpPr>
          <p:nvPr/>
        </p:nvCxnSpPr>
        <p:spPr>
          <a:xfrm>
            <a:off x="2913983" y="1793220"/>
            <a:ext cx="5801007" cy="150447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802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330"/>
          <p:cNvGrpSpPr/>
          <p:nvPr/>
        </p:nvGrpSpPr>
        <p:grpSpPr>
          <a:xfrm>
            <a:off x="4166175" y="2817490"/>
            <a:ext cx="4893171" cy="1473988"/>
            <a:chOff x="4249995" y="2817490"/>
            <a:chExt cx="4893171" cy="1473988"/>
          </a:xfrm>
        </p:grpSpPr>
        <p:sp>
          <p:nvSpPr>
            <p:cNvPr id="128" name="Freeform 6"/>
            <p:cNvSpPr>
              <a:spLocks noEditPoints="1"/>
            </p:cNvSpPr>
            <p:nvPr/>
          </p:nvSpPr>
          <p:spPr bwMode="auto">
            <a:xfrm>
              <a:off x="4249995" y="2817490"/>
              <a:ext cx="4893171" cy="1473988"/>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dirty="0">
                <a:latin typeface="+mj-lt"/>
              </a:endParaRPr>
            </a:p>
          </p:txBody>
        </p:sp>
        <p:sp>
          <p:nvSpPr>
            <p:cNvPr id="129" name="Rectangle 128"/>
            <p:cNvSpPr/>
            <p:nvPr/>
          </p:nvSpPr>
          <p:spPr>
            <a:xfrm>
              <a:off x="8568031" y="4128319"/>
              <a:ext cx="574774" cy="59546"/>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sz="900" dirty="0" smtClean="0">
                <a:solidFill>
                  <a:schemeClr val="tx1"/>
                </a:solidFill>
                <a:latin typeface="+mj-lt"/>
                <a:ea typeface="ＭＳ Ｐゴシック" pitchFamily="34" charset="-128"/>
              </a:endParaRPr>
            </a:p>
          </p:txBody>
        </p:sp>
        <p:grpSp>
          <p:nvGrpSpPr>
            <p:cNvPr id="4" name="Group 300"/>
            <p:cNvGrpSpPr/>
            <p:nvPr/>
          </p:nvGrpSpPr>
          <p:grpSpPr>
            <a:xfrm>
              <a:off x="4351495" y="3151870"/>
              <a:ext cx="4267144" cy="1035995"/>
              <a:chOff x="4351495" y="3151870"/>
              <a:chExt cx="4267144" cy="1035995"/>
            </a:xfrm>
          </p:grpSpPr>
          <p:sp>
            <p:nvSpPr>
              <p:cNvPr id="159" name="Freeform 29"/>
              <p:cNvSpPr>
                <a:spLocks noEditPoints="1"/>
              </p:cNvSpPr>
              <p:nvPr/>
            </p:nvSpPr>
            <p:spPr bwMode="auto">
              <a:xfrm>
                <a:off x="4742807" y="3473039"/>
                <a:ext cx="208128" cy="71482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5" name="Group 28"/>
              <p:cNvGrpSpPr/>
              <p:nvPr/>
            </p:nvGrpSpPr>
            <p:grpSpPr>
              <a:xfrm>
                <a:off x="4611308" y="3779759"/>
                <a:ext cx="171727" cy="408106"/>
                <a:chOff x="1790700" y="2979738"/>
                <a:chExt cx="539750" cy="1282700"/>
              </a:xfrm>
            </p:grpSpPr>
            <p:sp>
              <p:nvSpPr>
                <p:cNvPr id="183"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4"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6" name="Group 58"/>
              <p:cNvGrpSpPr/>
              <p:nvPr/>
            </p:nvGrpSpPr>
            <p:grpSpPr>
              <a:xfrm>
                <a:off x="4351495" y="3551470"/>
                <a:ext cx="286085" cy="636395"/>
                <a:chOff x="50589" y="3098960"/>
                <a:chExt cx="550863" cy="1225389"/>
              </a:xfrm>
            </p:grpSpPr>
            <p:sp>
              <p:nvSpPr>
                <p:cNvPr id="181"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2"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7" name="Group 56"/>
              <p:cNvGrpSpPr/>
              <p:nvPr/>
            </p:nvGrpSpPr>
            <p:grpSpPr>
              <a:xfrm>
                <a:off x="4912233" y="3769867"/>
                <a:ext cx="1634068" cy="417998"/>
                <a:chOff x="1130300" y="3522663"/>
                <a:chExt cx="3146425" cy="804862"/>
              </a:xfrm>
            </p:grpSpPr>
            <p:sp>
              <p:nvSpPr>
                <p:cNvPr id="179"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80"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8" name="Group 55"/>
              <p:cNvGrpSpPr/>
              <p:nvPr/>
            </p:nvGrpSpPr>
            <p:grpSpPr>
              <a:xfrm>
                <a:off x="6493052" y="3787180"/>
                <a:ext cx="646636" cy="400684"/>
                <a:chOff x="4127500" y="2292350"/>
                <a:chExt cx="889000" cy="550863"/>
              </a:xfrm>
            </p:grpSpPr>
            <p:sp>
              <p:nvSpPr>
                <p:cNvPr id="175"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6"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7"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8"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sp>
            <p:nvSpPr>
              <p:cNvPr id="164" name="Freeform 70"/>
              <p:cNvSpPr>
                <a:spLocks noEditPoints="1"/>
              </p:cNvSpPr>
              <p:nvPr/>
            </p:nvSpPr>
            <p:spPr bwMode="auto">
              <a:xfrm>
                <a:off x="7992084" y="3304916"/>
                <a:ext cx="251948" cy="882947"/>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nvGrpSpPr>
              <p:cNvPr id="9" name="Group 89"/>
              <p:cNvGrpSpPr/>
              <p:nvPr/>
            </p:nvGrpSpPr>
            <p:grpSpPr>
              <a:xfrm>
                <a:off x="7139689" y="3556518"/>
                <a:ext cx="878259" cy="631346"/>
                <a:chOff x="5820057" y="3111857"/>
                <a:chExt cx="1691103" cy="1215668"/>
              </a:xfrm>
            </p:grpSpPr>
            <p:grpSp>
              <p:nvGrpSpPr>
                <p:cNvPr id="10" name="Group 81"/>
                <p:cNvGrpSpPr/>
                <p:nvPr/>
              </p:nvGrpSpPr>
              <p:grpSpPr>
                <a:xfrm>
                  <a:off x="5850148" y="3367629"/>
                  <a:ext cx="1642959" cy="959896"/>
                  <a:chOff x="9172575" y="1344613"/>
                  <a:chExt cx="1733551" cy="1012825"/>
                </a:xfrm>
                <a:solidFill>
                  <a:schemeClr val="bg1"/>
                </a:solidFill>
              </p:grpSpPr>
              <p:sp>
                <p:nvSpPr>
                  <p:cNvPr id="171" name="Rectangle 170"/>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latin typeface="+mj-lt"/>
                    </a:endParaRPr>
                  </a:p>
                </p:txBody>
              </p:sp>
              <p:grpSp>
                <p:nvGrpSpPr>
                  <p:cNvPr id="11" name="Group 79"/>
                  <p:cNvGrpSpPr/>
                  <p:nvPr/>
                </p:nvGrpSpPr>
                <p:grpSpPr>
                  <a:xfrm>
                    <a:off x="9172575" y="1344613"/>
                    <a:ext cx="1733551" cy="1012825"/>
                    <a:chOff x="9172575" y="1344613"/>
                    <a:chExt cx="1733551" cy="1012825"/>
                  </a:xfrm>
                  <a:grpFill/>
                </p:grpSpPr>
                <p:sp>
                  <p:nvSpPr>
                    <p:cNvPr id="173"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74" name="Rectangle 173"/>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latin typeface="+mj-lt"/>
                      </a:endParaRPr>
                    </a:p>
                  </p:txBody>
                </p:sp>
              </p:grpSp>
            </p:grpSp>
            <p:sp>
              <p:nvSpPr>
                <p:cNvPr id="170"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nvGrpSpPr>
              <p:cNvPr id="12" name="Group 223"/>
              <p:cNvGrpSpPr/>
              <p:nvPr/>
            </p:nvGrpSpPr>
            <p:grpSpPr>
              <a:xfrm>
                <a:off x="8245399" y="3151870"/>
                <a:ext cx="373240" cy="1035678"/>
                <a:chOff x="7291388" y="2198688"/>
                <a:chExt cx="655637" cy="1819275"/>
              </a:xfrm>
            </p:grpSpPr>
            <p:sp>
              <p:nvSpPr>
                <p:cNvPr id="167"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sp>
              <p:nvSpPr>
                <p:cNvPr id="168"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sz="900">
                    <a:latin typeface="+mj-lt"/>
                  </a:endParaRPr>
                </a:p>
              </p:txBody>
            </p:sp>
          </p:grpSp>
        </p:grpSp>
        <p:grpSp>
          <p:nvGrpSpPr>
            <p:cNvPr id="13" name="Group 301"/>
            <p:cNvGrpSpPr/>
            <p:nvPr/>
          </p:nvGrpSpPr>
          <p:grpSpPr>
            <a:xfrm>
              <a:off x="4351495" y="3151870"/>
              <a:ext cx="4267144" cy="1035995"/>
              <a:chOff x="4351495" y="3151870"/>
              <a:chExt cx="4267144" cy="1035995"/>
            </a:xfrm>
          </p:grpSpPr>
          <p:sp>
            <p:nvSpPr>
              <p:cNvPr id="133" name="Freeform 29"/>
              <p:cNvSpPr>
                <a:spLocks noEditPoints="1"/>
              </p:cNvSpPr>
              <p:nvPr/>
            </p:nvSpPr>
            <p:spPr bwMode="auto">
              <a:xfrm>
                <a:off x="4742807" y="3473039"/>
                <a:ext cx="208128" cy="71482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nvGrpSpPr>
              <p:cNvPr id="14" name="Group 28"/>
              <p:cNvGrpSpPr/>
              <p:nvPr/>
            </p:nvGrpSpPr>
            <p:grpSpPr>
              <a:xfrm>
                <a:off x="4611308" y="3779759"/>
                <a:ext cx="171727" cy="408106"/>
                <a:chOff x="1790700" y="2979738"/>
                <a:chExt cx="539750" cy="1282700"/>
              </a:xfrm>
            </p:grpSpPr>
            <p:sp>
              <p:nvSpPr>
                <p:cNvPr id="157" name="Rectangle 23"/>
                <p:cNvSpPr>
                  <a:spLocks noChangeArrowheads="1"/>
                </p:cNvSpPr>
                <p:nvPr/>
              </p:nvSpPr>
              <p:spPr bwMode="auto">
                <a:xfrm>
                  <a:off x="1790700" y="2986088"/>
                  <a:ext cx="525463" cy="1276350"/>
                </a:xfrm>
                <a:prstGeom prst="rect">
                  <a:avLst/>
                </a:pr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8"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5" name="Group 58"/>
              <p:cNvGrpSpPr/>
              <p:nvPr/>
            </p:nvGrpSpPr>
            <p:grpSpPr>
              <a:xfrm>
                <a:off x="4351495" y="3551470"/>
                <a:ext cx="286085" cy="636395"/>
                <a:chOff x="50589" y="3098960"/>
                <a:chExt cx="550863" cy="1225389"/>
              </a:xfrm>
            </p:grpSpPr>
            <p:sp>
              <p:nvSpPr>
                <p:cNvPr id="155"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6"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6" name="Group 56"/>
              <p:cNvGrpSpPr/>
              <p:nvPr/>
            </p:nvGrpSpPr>
            <p:grpSpPr>
              <a:xfrm>
                <a:off x="4912233" y="3769867"/>
                <a:ext cx="1634068" cy="417998"/>
                <a:chOff x="1130300" y="3522663"/>
                <a:chExt cx="3146425" cy="804862"/>
              </a:xfrm>
            </p:grpSpPr>
            <p:sp>
              <p:nvSpPr>
                <p:cNvPr id="153"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4"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17" name="Group 55"/>
              <p:cNvGrpSpPr/>
              <p:nvPr/>
            </p:nvGrpSpPr>
            <p:grpSpPr>
              <a:xfrm>
                <a:off x="6493052" y="3787180"/>
                <a:ext cx="646636" cy="400684"/>
                <a:chOff x="4127500" y="2292350"/>
                <a:chExt cx="889000" cy="550863"/>
              </a:xfrm>
            </p:grpSpPr>
            <p:sp>
              <p:nvSpPr>
                <p:cNvPr id="149"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0"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1"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52"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sp>
            <p:nvSpPr>
              <p:cNvPr id="138" name="Freeform 70"/>
              <p:cNvSpPr>
                <a:spLocks noEditPoints="1"/>
              </p:cNvSpPr>
              <p:nvPr/>
            </p:nvSpPr>
            <p:spPr bwMode="auto">
              <a:xfrm>
                <a:off x="7992084" y="3304916"/>
                <a:ext cx="251948" cy="882947"/>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nvGrpSpPr>
              <p:cNvPr id="18" name="Group 89"/>
              <p:cNvGrpSpPr/>
              <p:nvPr/>
            </p:nvGrpSpPr>
            <p:grpSpPr>
              <a:xfrm>
                <a:off x="7139689" y="3556518"/>
                <a:ext cx="878259" cy="631346"/>
                <a:chOff x="5820057" y="3111857"/>
                <a:chExt cx="1691103" cy="1215668"/>
              </a:xfrm>
            </p:grpSpPr>
            <p:grpSp>
              <p:nvGrpSpPr>
                <p:cNvPr id="19" name="Group 81"/>
                <p:cNvGrpSpPr/>
                <p:nvPr/>
              </p:nvGrpSpPr>
              <p:grpSpPr>
                <a:xfrm>
                  <a:off x="5850148" y="3367629"/>
                  <a:ext cx="1642959" cy="959896"/>
                  <a:chOff x="9172575" y="1344613"/>
                  <a:chExt cx="1733551" cy="1012825"/>
                </a:xfrm>
                <a:solidFill>
                  <a:schemeClr val="bg1"/>
                </a:solidFill>
              </p:grpSpPr>
              <p:sp>
                <p:nvSpPr>
                  <p:cNvPr id="145" name="Rectangle 144"/>
                  <p:cNvSpPr/>
                  <p:nvPr/>
                </p:nvSpPr>
                <p:spPr>
                  <a:xfrm>
                    <a:off x="9527381" y="1344613"/>
                    <a:ext cx="1226344" cy="327025"/>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spc="-30" dirty="0" smtClean="0">
                      <a:solidFill>
                        <a:schemeClr val="bg1"/>
                      </a:solidFill>
                      <a:latin typeface="+mj-lt"/>
                      <a:ea typeface="ＭＳ Ｐゴシック" pitchFamily="34" charset="-128"/>
                    </a:endParaRPr>
                  </a:p>
                </p:txBody>
              </p:sp>
              <p:grpSp>
                <p:nvGrpSpPr>
                  <p:cNvPr id="20" name="Group 79"/>
                  <p:cNvGrpSpPr/>
                  <p:nvPr/>
                </p:nvGrpSpPr>
                <p:grpSpPr>
                  <a:xfrm>
                    <a:off x="9172575" y="1344613"/>
                    <a:ext cx="1733551" cy="1012825"/>
                    <a:chOff x="9172575" y="1344613"/>
                    <a:chExt cx="1733551" cy="1012825"/>
                  </a:xfrm>
                  <a:grpFill/>
                </p:grpSpPr>
                <p:sp>
                  <p:nvSpPr>
                    <p:cNvPr id="147"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sp>
                  <p:nvSpPr>
                    <p:cNvPr id="148" name="Rectangle 147"/>
                    <p:cNvSpPr/>
                    <p:nvPr/>
                  </p:nvSpPr>
                  <p:spPr>
                    <a:xfrm>
                      <a:off x="9172575" y="1985963"/>
                      <a:ext cx="1454944" cy="371475"/>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spc="-30" dirty="0" smtClean="0">
                        <a:solidFill>
                          <a:schemeClr val="bg1"/>
                        </a:solidFill>
                        <a:latin typeface="+mj-lt"/>
                        <a:ea typeface="ＭＳ Ｐゴシック" pitchFamily="34" charset="-128"/>
                      </a:endParaRPr>
                    </a:p>
                  </p:txBody>
                </p:sp>
              </p:grpSp>
            </p:grpSp>
            <p:sp>
              <p:nvSpPr>
                <p:cNvPr id="144"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a:solidFill>
                      <a:schemeClr val="bg1"/>
                    </a:solidFill>
                    <a:latin typeface="+mj-lt"/>
                  </a:endParaRPr>
                </a:p>
              </p:txBody>
            </p:sp>
          </p:grpSp>
          <p:grpSp>
            <p:nvGrpSpPr>
              <p:cNvPr id="21" name="Group 223"/>
              <p:cNvGrpSpPr/>
              <p:nvPr/>
            </p:nvGrpSpPr>
            <p:grpSpPr>
              <a:xfrm>
                <a:off x="8245399" y="3151870"/>
                <a:ext cx="373240" cy="1035678"/>
                <a:chOff x="7291388" y="2198688"/>
                <a:chExt cx="655637" cy="1819275"/>
              </a:xfrm>
            </p:grpSpPr>
            <p:sp>
              <p:nvSpPr>
                <p:cNvPr id="141"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sp>
              <p:nvSpPr>
                <p:cNvPr id="142"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grpSp>
        </p:grpSp>
        <p:sp>
          <p:nvSpPr>
            <p:cNvPr id="132" name="Rectangle 131"/>
            <p:cNvSpPr/>
            <p:nvPr/>
          </p:nvSpPr>
          <p:spPr>
            <a:xfrm>
              <a:off x="8568031" y="4128319"/>
              <a:ext cx="574774" cy="59546"/>
            </a:xfrm>
            <a:prstGeom prst="rect">
              <a:avLst/>
            </a:prstGeom>
            <a:solidFill>
              <a:srgbClr val="36A4D7"/>
            </a:solidFill>
            <a:ln>
              <a:noFill/>
            </a:ln>
            <a:effectLst/>
          </p:spPr>
          <p:txBody>
            <a:bodyPr vert="horz" wrap="square" lIns="91440" tIns="45720" rIns="91440" bIns="45720" numCol="1" anchor="t" anchorCtr="0" compatLnSpc="1">
              <a:prstTxWarp prst="textNoShape">
                <a:avLst/>
              </a:prstTxWarp>
            </a:bodyPr>
            <a:lstStyle/>
            <a:p>
              <a:pPr algn="ctr"/>
              <a:endParaRPr lang="en-US" sz="800" b="1" spc="-30" dirty="0" smtClean="0">
                <a:solidFill>
                  <a:schemeClr val="bg1"/>
                </a:solidFill>
                <a:latin typeface="+mj-lt"/>
              </a:endParaRPr>
            </a:p>
          </p:txBody>
        </p:sp>
      </p:grpSp>
      <p:sp>
        <p:nvSpPr>
          <p:cNvPr id="185" name="Oval 2"/>
          <p:cNvSpPr/>
          <p:nvPr/>
        </p:nvSpPr>
        <p:spPr>
          <a:xfrm>
            <a:off x="4237864" y="3707334"/>
            <a:ext cx="951835" cy="480530"/>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6" name="Oval 2"/>
          <p:cNvSpPr/>
          <p:nvPr/>
        </p:nvSpPr>
        <p:spPr>
          <a:xfrm>
            <a:off x="5601117" y="2817490"/>
            <a:ext cx="3156579" cy="1370374"/>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7" name="Oval 2"/>
          <p:cNvSpPr/>
          <p:nvPr/>
        </p:nvSpPr>
        <p:spPr>
          <a:xfrm>
            <a:off x="4726232" y="3356765"/>
            <a:ext cx="1646243" cy="83109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8" name="Oval 2"/>
          <p:cNvSpPr/>
          <p:nvPr/>
        </p:nvSpPr>
        <p:spPr>
          <a:xfrm>
            <a:off x="7497123" y="3750631"/>
            <a:ext cx="866072" cy="437233"/>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9" name="Oval 2"/>
          <p:cNvSpPr/>
          <p:nvPr/>
        </p:nvSpPr>
        <p:spPr>
          <a:xfrm>
            <a:off x="8370996" y="3840534"/>
            <a:ext cx="687990" cy="34732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2" name="Group 359"/>
          <p:cNvGrpSpPr/>
          <p:nvPr/>
        </p:nvGrpSpPr>
        <p:grpSpPr>
          <a:xfrm>
            <a:off x="6316177" y="3458023"/>
            <a:ext cx="292608" cy="292608"/>
            <a:chOff x="6309991" y="3586785"/>
            <a:chExt cx="292608" cy="292608"/>
          </a:xfrm>
        </p:grpSpPr>
        <p:sp>
          <p:nvSpPr>
            <p:cNvPr id="202" name="Oval 201"/>
            <p:cNvSpPr/>
            <p:nvPr/>
          </p:nvSpPr>
          <p:spPr>
            <a:xfrm>
              <a:off x="6309991" y="3586785"/>
              <a:ext cx="292608" cy="292608"/>
            </a:xfrm>
            <a:prstGeom prst="ellipse">
              <a:avLst/>
            </a:prstGeom>
            <a:solidFill>
              <a:schemeClr val="bg2">
                <a:lumMod val="75000"/>
              </a:schemeClr>
            </a:solid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03" name="Freeform 6"/>
            <p:cNvSpPr>
              <a:spLocks noEditPoints="1"/>
            </p:cNvSpPr>
            <p:nvPr/>
          </p:nvSpPr>
          <p:spPr bwMode="auto">
            <a:xfrm>
              <a:off x="6346601" y="3649137"/>
              <a:ext cx="196761" cy="150586"/>
            </a:xfrm>
            <a:custGeom>
              <a:avLst/>
              <a:gdLst/>
              <a:ahLst/>
              <a:cxnLst>
                <a:cxn ang="0">
                  <a:pos x="1949" y="744"/>
                </a:cxn>
                <a:cxn ang="0">
                  <a:pos x="1846" y="1024"/>
                </a:cxn>
                <a:cxn ang="0">
                  <a:pos x="1232" y="956"/>
                </a:cxn>
                <a:cxn ang="0">
                  <a:pos x="1090" y="834"/>
                </a:cxn>
                <a:cxn ang="0">
                  <a:pos x="1488" y="389"/>
                </a:cxn>
                <a:cxn ang="0">
                  <a:pos x="1300" y="194"/>
                </a:cxn>
                <a:cxn ang="0">
                  <a:pos x="1119" y="10"/>
                </a:cxn>
                <a:cxn ang="0">
                  <a:pos x="1071" y="10"/>
                </a:cxn>
                <a:cxn ang="0">
                  <a:pos x="88" y="983"/>
                </a:cxn>
                <a:cxn ang="0">
                  <a:pos x="122" y="1031"/>
                </a:cxn>
                <a:cxn ang="0">
                  <a:pos x="44" y="1123"/>
                </a:cxn>
                <a:cxn ang="0">
                  <a:pos x="80" y="1172"/>
                </a:cxn>
                <a:cxn ang="0">
                  <a:pos x="13" y="1287"/>
                </a:cxn>
                <a:cxn ang="0">
                  <a:pos x="232" y="1492"/>
                </a:cxn>
                <a:cxn ang="0">
                  <a:pos x="320" y="1413"/>
                </a:cxn>
                <a:cxn ang="0">
                  <a:pos x="368" y="1447"/>
                </a:cxn>
                <a:cxn ang="0">
                  <a:pos x="460" y="1369"/>
                </a:cxn>
                <a:cxn ang="0">
                  <a:pos x="508" y="1403"/>
                </a:cxn>
                <a:cxn ang="0">
                  <a:pos x="899" y="1026"/>
                </a:cxn>
                <a:cxn ang="0">
                  <a:pos x="1027" y="1160"/>
                </a:cxn>
                <a:cxn ang="0">
                  <a:pos x="1384" y="1297"/>
                </a:cxn>
                <a:cxn ang="0">
                  <a:pos x="1846" y="1468"/>
                </a:cxn>
                <a:cxn ang="0">
                  <a:pos x="2017" y="1570"/>
                </a:cxn>
                <a:cxn ang="0">
                  <a:pos x="2051" y="778"/>
                </a:cxn>
                <a:cxn ang="0">
                  <a:pos x="228" y="1406"/>
                </a:cxn>
                <a:cxn ang="0">
                  <a:pos x="129" y="1222"/>
                </a:cxn>
                <a:cxn ang="0">
                  <a:pos x="228" y="1406"/>
                </a:cxn>
                <a:cxn ang="0">
                  <a:pos x="249" y="1244"/>
                </a:cxn>
                <a:cxn ang="0">
                  <a:pos x="150" y="1144"/>
                </a:cxn>
                <a:cxn ang="0">
                  <a:pos x="170" y="1079"/>
                </a:cxn>
                <a:cxn ang="0">
                  <a:pos x="368" y="1365"/>
                </a:cxn>
                <a:cxn ang="0">
                  <a:pos x="484" y="1297"/>
                </a:cxn>
                <a:cxn ang="0">
                  <a:pos x="170" y="983"/>
                </a:cxn>
                <a:cxn ang="0">
                  <a:pos x="1228" y="219"/>
                </a:cxn>
                <a:cxn ang="0">
                  <a:pos x="1153" y="341"/>
                </a:cxn>
                <a:cxn ang="0">
                  <a:pos x="1201" y="341"/>
                </a:cxn>
                <a:cxn ang="0">
                  <a:pos x="1322" y="316"/>
                </a:cxn>
                <a:cxn ang="0">
                  <a:pos x="1201" y="485"/>
                </a:cxn>
                <a:cxn ang="0">
                  <a:pos x="1249" y="485"/>
                </a:cxn>
                <a:cxn ang="0">
                  <a:pos x="1416" y="413"/>
                </a:cxn>
                <a:cxn ang="0">
                  <a:pos x="1045" y="1076"/>
                </a:cxn>
                <a:cxn ang="0">
                  <a:pos x="1044" y="884"/>
                </a:cxn>
                <a:cxn ang="0">
                  <a:pos x="1045" y="1076"/>
                </a:cxn>
                <a:cxn ang="0">
                  <a:pos x="1368" y="1167"/>
                </a:cxn>
                <a:cxn ang="0">
                  <a:pos x="1368" y="1173"/>
                </a:cxn>
                <a:cxn ang="0">
                  <a:pos x="1367" y="1179"/>
                </a:cxn>
                <a:cxn ang="0">
                  <a:pos x="1366" y="1184"/>
                </a:cxn>
                <a:cxn ang="0">
                  <a:pos x="1232" y="1297"/>
                </a:cxn>
                <a:cxn ang="0">
                  <a:pos x="1175" y="1036"/>
                </a:cxn>
                <a:cxn ang="0">
                  <a:pos x="1210" y="1026"/>
                </a:cxn>
                <a:cxn ang="0">
                  <a:pos x="1345" y="1084"/>
                </a:cxn>
                <a:cxn ang="0">
                  <a:pos x="1367" y="1139"/>
                </a:cxn>
                <a:cxn ang="0">
                  <a:pos x="1367" y="1145"/>
                </a:cxn>
                <a:cxn ang="0">
                  <a:pos x="1368" y="1152"/>
                </a:cxn>
                <a:cxn ang="0">
                  <a:pos x="1368" y="1160"/>
                </a:cxn>
                <a:cxn ang="0">
                  <a:pos x="1846" y="1229"/>
                </a:cxn>
                <a:cxn ang="0">
                  <a:pos x="1440" y="1160"/>
                </a:cxn>
                <a:cxn ang="0">
                  <a:pos x="1846" y="1092"/>
                </a:cxn>
                <a:cxn ang="0">
                  <a:pos x="1983" y="1502"/>
                </a:cxn>
                <a:cxn ang="0">
                  <a:pos x="1914" y="1468"/>
                </a:cxn>
                <a:cxn ang="0">
                  <a:pos x="1949" y="812"/>
                </a:cxn>
                <a:cxn ang="0">
                  <a:pos x="1983" y="1502"/>
                </a:cxn>
              </a:cxnLst>
              <a:rect l="0" t="0" r="r" b="b"/>
              <a:pathLst>
                <a:path w="2051" h="1570">
                  <a:moveTo>
                    <a:pt x="2017" y="744"/>
                  </a:moveTo>
                  <a:cubicBezTo>
                    <a:pt x="1949" y="744"/>
                    <a:pt x="1949" y="744"/>
                    <a:pt x="1949" y="744"/>
                  </a:cubicBezTo>
                  <a:cubicBezTo>
                    <a:pt x="1891" y="744"/>
                    <a:pt x="1846" y="788"/>
                    <a:pt x="1846" y="846"/>
                  </a:cubicBezTo>
                  <a:cubicBezTo>
                    <a:pt x="1846" y="1024"/>
                    <a:pt x="1846" y="1024"/>
                    <a:pt x="1846" y="1024"/>
                  </a:cubicBezTo>
                  <a:cubicBezTo>
                    <a:pt x="1384" y="1024"/>
                    <a:pt x="1384" y="1024"/>
                    <a:pt x="1384" y="1024"/>
                  </a:cubicBezTo>
                  <a:cubicBezTo>
                    <a:pt x="1347" y="982"/>
                    <a:pt x="1292" y="956"/>
                    <a:pt x="1232" y="956"/>
                  </a:cubicBezTo>
                  <a:cubicBezTo>
                    <a:pt x="1225" y="956"/>
                    <a:pt x="1219" y="956"/>
                    <a:pt x="1212" y="957"/>
                  </a:cubicBezTo>
                  <a:cubicBezTo>
                    <a:pt x="1090" y="834"/>
                    <a:pt x="1090" y="834"/>
                    <a:pt x="1090" y="834"/>
                  </a:cubicBezTo>
                  <a:cubicBezTo>
                    <a:pt x="1488" y="437"/>
                    <a:pt x="1488" y="437"/>
                    <a:pt x="1488" y="437"/>
                  </a:cubicBezTo>
                  <a:cubicBezTo>
                    <a:pt x="1501" y="423"/>
                    <a:pt x="1501" y="403"/>
                    <a:pt x="1488" y="389"/>
                  </a:cubicBezTo>
                  <a:cubicBezTo>
                    <a:pt x="1306" y="202"/>
                    <a:pt x="1306" y="202"/>
                    <a:pt x="1306" y="202"/>
                  </a:cubicBezTo>
                  <a:cubicBezTo>
                    <a:pt x="1304" y="199"/>
                    <a:pt x="1302" y="197"/>
                    <a:pt x="1300" y="194"/>
                  </a:cubicBezTo>
                  <a:cubicBezTo>
                    <a:pt x="1298" y="192"/>
                    <a:pt x="1296" y="191"/>
                    <a:pt x="1293" y="189"/>
                  </a:cubicBezTo>
                  <a:cubicBezTo>
                    <a:pt x="1119" y="10"/>
                    <a:pt x="1119" y="10"/>
                    <a:pt x="1119" y="10"/>
                  </a:cubicBezTo>
                  <a:cubicBezTo>
                    <a:pt x="1112" y="3"/>
                    <a:pt x="1106" y="0"/>
                    <a:pt x="1095" y="0"/>
                  </a:cubicBezTo>
                  <a:cubicBezTo>
                    <a:pt x="1085" y="0"/>
                    <a:pt x="1078" y="3"/>
                    <a:pt x="1071" y="10"/>
                  </a:cubicBezTo>
                  <a:cubicBezTo>
                    <a:pt x="99" y="959"/>
                    <a:pt x="99" y="959"/>
                    <a:pt x="99" y="959"/>
                  </a:cubicBezTo>
                  <a:cubicBezTo>
                    <a:pt x="92" y="966"/>
                    <a:pt x="88" y="973"/>
                    <a:pt x="88" y="983"/>
                  </a:cubicBezTo>
                  <a:cubicBezTo>
                    <a:pt x="88" y="993"/>
                    <a:pt x="92" y="1000"/>
                    <a:pt x="99" y="1007"/>
                  </a:cubicBezTo>
                  <a:cubicBezTo>
                    <a:pt x="122" y="1031"/>
                    <a:pt x="122" y="1031"/>
                    <a:pt x="122" y="1031"/>
                  </a:cubicBezTo>
                  <a:cubicBezTo>
                    <a:pt x="54" y="1099"/>
                    <a:pt x="54" y="1099"/>
                    <a:pt x="54" y="1099"/>
                  </a:cubicBezTo>
                  <a:cubicBezTo>
                    <a:pt x="47" y="1106"/>
                    <a:pt x="44" y="1113"/>
                    <a:pt x="44" y="1123"/>
                  </a:cubicBezTo>
                  <a:cubicBezTo>
                    <a:pt x="44" y="1133"/>
                    <a:pt x="47" y="1140"/>
                    <a:pt x="54" y="1147"/>
                  </a:cubicBezTo>
                  <a:cubicBezTo>
                    <a:pt x="80" y="1172"/>
                    <a:pt x="80" y="1172"/>
                    <a:pt x="80" y="1172"/>
                  </a:cubicBezTo>
                  <a:cubicBezTo>
                    <a:pt x="13" y="1239"/>
                    <a:pt x="13" y="1239"/>
                    <a:pt x="13" y="1239"/>
                  </a:cubicBezTo>
                  <a:cubicBezTo>
                    <a:pt x="0" y="1253"/>
                    <a:pt x="0" y="1273"/>
                    <a:pt x="13" y="1287"/>
                  </a:cubicBezTo>
                  <a:cubicBezTo>
                    <a:pt x="208" y="1481"/>
                    <a:pt x="208" y="1481"/>
                    <a:pt x="208" y="1481"/>
                  </a:cubicBezTo>
                  <a:cubicBezTo>
                    <a:pt x="215" y="1488"/>
                    <a:pt x="221" y="1492"/>
                    <a:pt x="232" y="1492"/>
                  </a:cubicBezTo>
                  <a:cubicBezTo>
                    <a:pt x="239" y="1492"/>
                    <a:pt x="249" y="1488"/>
                    <a:pt x="252" y="1481"/>
                  </a:cubicBezTo>
                  <a:cubicBezTo>
                    <a:pt x="320" y="1413"/>
                    <a:pt x="320" y="1413"/>
                    <a:pt x="320" y="1413"/>
                  </a:cubicBezTo>
                  <a:cubicBezTo>
                    <a:pt x="344" y="1437"/>
                    <a:pt x="344" y="1437"/>
                    <a:pt x="344" y="1437"/>
                  </a:cubicBezTo>
                  <a:cubicBezTo>
                    <a:pt x="351" y="1444"/>
                    <a:pt x="358" y="1447"/>
                    <a:pt x="368" y="1447"/>
                  </a:cubicBezTo>
                  <a:cubicBezTo>
                    <a:pt x="378" y="1447"/>
                    <a:pt x="389" y="1444"/>
                    <a:pt x="392" y="1437"/>
                  </a:cubicBezTo>
                  <a:cubicBezTo>
                    <a:pt x="460" y="1369"/>
                    <a:pt x="460" y="1369"/>
                    <a:pt x="460" y="1369"/>
                  </a:cubicBezTo>
                  <a:cubicBezTo>
                    <a:pt x="484" y="1393"/>
                    <a:pt x="484" y="1393"/>
                    <a:pt x="484" y="1393"/>
                  </a:cubicBezTo>
                  <a:cubicBezTo>
                    <a:pt x="491" y="1399"/>
                    <a:pt x="498" y="1403"/>
                    <a:pt x="508" y="1403"/>
                  </a:cubicBezTo>
                  <a:cubicBezTo>
                    <a:pt x="518" y="1403"/>
                    <a:pt x="525" y="1399"/>
                    <a:pt x="532" y="1393"/>
                  </a:cubicBezTo>
                  <a:cubicBezTo>
                    <a:pt x="899" y="1026"/>
                    <a:pt x="899" y="1026"/>
                    <a:pt x="899" y="1026"/>
                  </a:cubicBezTo>
                  <a:cubicBezTo>
                    <a:pt x="1027" y="1154"/>
                    <a:pt x="1027" y="1154"/>
                    <a:pt x="1027" y="1154"/>
                  </a:cubicBezTo>
                  <a:cubicBezTo>
                    <a:pt x="1027" y="1156"/>
                    <a:pt x="1027" y="1158"/>
                    <a:pt x="1027" y="1160"/>
                  </a:cubicBezTo>
                  <a:cubicBezTo>
                    <a:pt x="1027" y="1273"/>
                    <a:pt x="1119" y="1365"/>
                    <a:pt x="1232" y="1365"/>
                  </a:cubicBezTo>
                  <a:cubicBezTo>
                    <a:pt x="1292" y="1365"/>
                    <a:pt x="1347" y="1339"/>
                    <a:pt x="1384" y="1297"/>
                  </a:cubicBezTo>
                  <a:cubicBezTo>
                    <a:pt x="1846" y="1297"/>
                    <a:pt x="1846" y="1297"/>
                    <a:pt x="1846" y="1297"/>
                  </a:cubicBezTo>
                  <a:cubicBezTo>
                    <a:pt x="1846" y="1468"/>
                    <a:pt x="1846" y="1468"/>
                    <a:pt x="1846" y="1468"/>
                  </a:cubicBezTo>
                  <a:cubicBezTo>
                    <a:pt x="1846" y="1526"/>
                    <a:pt x="1891" y="1570"/>
                    <a:pt x="1949" y="1570"/>
                  </a:cubicBezTo>
                  <a:cubicBezTo>
                    <a:pt x="2017" y="1570"/>
                    <a:pt x="2017" y="1570"/>
                    <a:pt x="2017" y="1570"/>
                  </a:cubicBezTo>
                  <a:cubicBezTo>
                    <a:pt x="2037" y="1570"/>
                    <a:pt x="2051" y="1556"/>
                    <a:pt x="2051" y="1536"/>
                  </a:cubicBezTo>
                  <a:cubicBezTo>
                    <a:pt x="2051" y="778"/>
                    <a:pt x="2051" y="778"/>
                    <a:pt x="2051" y="778"/>
                  </a:cubicBezTo>
                  <a:cubicBezTo>
                    <a:pt x="2051" y="758"/>
                    <a:pt x="2037" y="744"/>
                    <a:pt x="2017" y="744"/>
                  </a:cubicBezTo>
                  <a:close/>
                  <a:moveTo>
                    <a:pt x="228" y="1406"/>
                  </a:moveTo>
                  <a:cubicBezTo>
                    <a:pt x="85" y="1263"/>
                    <a:pt x="85" y="1263"/>
                    <a:pt x="85" y="1263"/>
                  </a:cubicBezTo>
                  <a:cubicBezTo>
                    <a:pt x="129" y="1222"/>
                    <a:pt x="129" y="1222"/>
                    <a:pt x="129" y="1222"/>
                  </a:cubicBezTo>
                  <a:cubicBezTo>
                    <a:pt x="273" y="1365"/>
                    <a:pt x="273" y="1365"/>
                    <a:pt x="273" y="1365"/>
                  </a:cubicBezTo>
                  <a:lnTo>
                    <a:pt x="228" y="1406"/>
                  </a:lnTo>
                  <a:close/>
                  <a:moveTo>
                    <a:pt x="368" y="1365"/>
                  </a:moveTo>
                  <a:cubicBezTo>
                    <a:pt x="249" y="1244"/>
                    <a:pt x="249" y="1244"/>
                    <a:pt x="249" y="1244"/>
                  </a:cubicBezTo>
                  <a:cubicBezTo>
                    <a:pt x="153" y="1147"/>
                    <a:pt x="153" y="1147"/>
                    <a:pt x="153" y="1147"/>
                  </a:cubicBezTo>
                  <a:cubicBezTo>
                    <a:pt x="152" y="1146"/>
                    <a:pt x="151" y="1145"/>
                    <a:pt x="150" y="1144"/>
                  </a:cubicBezTo>
                  <a:cubicBezTo>
                    <a:pt x="129" y="1123"/>
                    <a:pt x="129" y="1123"/>
                    <a:pt x="129" y="1123"/>
                  </a:cubicBezTo>
                  <a:cubicBezTo>
                    <a:pt x="170" y="1079"/>
                    <a:pt x="170" y="1079"/>
                    <a:pt x="170" y="1079"/>
                  </a:cubicBezTo>
                  <a:cubicBezTo>
                    <a:pt x="413" y="1321"/>
                    <a:pt x="413" y="1321"/>
                    <a:pt x="413" y="1321"/>
                  </a:cubicBezTo>
                  <a:lnTo>
                    <a:pt x="368" y="1365"/>
                  </a:lnTo>
                  <a:close/>
                  <a:moveTo>
                    <a:pt x="508" y="1321"/>
                  </a:moveTo>
                  <a:cubicBezTo>
                    <a:pt x="484" y="1297"/>
                    <a:pt x="484" y="1297"/>
                    <a:pt x="484" y="1297"/>
                  </a:cubicBezTo>
                  <a:cubicBezTo>
                    <a:pt x="194" y="1007"/>
                    <a:pt x="194" y="1007"/>
                    <a:pt x="194" y="1007"/>
                  </a:cubicBezTo>
                  <a:cubicBezTo>
                    <a:pt x="170" y="983"/>
                    <a:pt x="170" y="983"/>
                    <a:pt x="170" y="983"/>
                  </a:cubicBezTo>
                  <a:cubicBezTo>
                    <a:pt x="1095" y="82"/>
                    <a:pt x="1095" y="82"/>
                    <a:pt x="1095" y="82"/>
                  </a:cubicBezTo>
                  <a:cubicBezTo>
                    <a:pt x="1228" y="219"/>
                    <a:pt x="1228" y="219"/>
                    <a:pt x="1228" y="219"/>
                  </a:cubicBezTo>
                  <a:cubicBezTo>
                    <a:pt x="1153" y="293"/>
                    <a:pt x="1153" y="293"/>
                    <a:pt x="1153" y="293"/>
                  </a:cubicBezTo>
                  <a:cubicBezTo>
                    <a:pt x="1140" y="307"/>
                    <a:pt x="1140" y="328"/>
                    <a:pt x="1153" y="341"/>
                  </a:cubicBezTo>
                  <a:cubicBezTo>
                    <a:pt x="1160" y="348"/>
                    <a:pt x="1167" y="352"/>
                    <a:pt x="1177" y="352"/>
                  </a:cubicBezTo>
                  <a:cubicBezTo>
                    <a:pt x="1184" y="352"/>
                    <a:pt x="1194" y="348"/>
                    <a:pt x="1201" y="341"/>
                  </a:cubicBezTo>
                  <a:cubicBezTo>
                    <a:pt x="1275" y="267"/>
                    <a:pt x="1275" y="267"/>
                    <a:pt x="1275" y="267"/>
                  </a:cubicBezTo>
                  <a:cubicBezTo>
                    <a:pt x="1322" y="316"/>
                    <a:pt x="1322" y="316"/>
                    <a:pt x="1322" y="316"/>
                  </a:cubicBezTo>
                  <a:cubicBezTo>
                    <a:pt x="1201" y="437"/>
                    <a:pt x="1201" y="437"/>
                    <a:pt x="1201" y="437"/>
                  </a:cubicBezTo>
                  <a:cubicBezTo>
                    <a:pt x="1187" y="450"/>
                    <a:pt x="1187" y="471"/>
                    <a:pt x="1201" y="485"/>
                  </a:cubicBezTo>
                  <a:cubicBezTo>
                    <a:pt x="1208" y="491"/>
                    <a:pt x="1215" y="495"/>
                    <a:pt x="1225" y="495"/>
                  </a:cubicBezTo>
                  <a:cubicBezTo>
                    <a:pt x="1232" y="495"/>
                    <a:pt x="1242" y="491"/>
                    <a:pt x="1249" y="485"/>
                  </a:cubicBezTo>
                  <a:cubicBezTo>
                    <a:pt x="1369" y="364"/>
                    <a:pt x="1369" y="364"/>
                    <a:pt x="1369" y="364"/>
                  </a:cubicBezTo>
                  <a:cubicBezTo>
                    <a:pt x="1416" y="413"/>
                    <a:pt x="1416" y="413"/>
                    <a:pt x="1416" y="413"/>
                  </a:cubicBezTo>
                  <a:lnTo>
                    <a:pt x="508" y="1321"/>
                  </a:lnTo>
                  <a:close/>
                  <a:moveTo>
                    <a:pt x="1045" y="1076"/>
                  </a:moveTo>
                  <a:cubicBezTo>
                    <a:pt x="948" y="980"/>
                    <a:pt x="948" y="980"/>
                    <a:pt x="948" y="980"/>
                  </a:cubicBezTo>
                  <a:cubicBezTo>
                    <a:pt x="1044" y="884"/>
                    <a:pt x="1044" y="884"/>
                    <a:pt x="1044" y="884"/>
                  </a:cubicBezTo>
                  <a:cubicBezTo>
                    <a:pt x="1138" y="978"/>
                    <a:pt x="1138" y="978"/>
                    <a:pt x="1138" y="978"/>
                  </a:cubicBezTo>
                  <a:cubicBezTo>
                    <a:pt x="1097" y="1000"/>
                    <a:pt x="1064" y="1034"/>
                    <a:pt x="1045" y="1076"/>
                  </a:cubicBezTo>
                  <a:close/>
                  <a:moveTo>
                    <a:pt x="1368" y="1161"/>
                  </a:moveTo>
                  <a:cubicBezTo>
                    <a:pt x="1368" y="1163"/>
                    <a:pt x="1368" y="1165"/>
                    <a:pt x="1368" y="1167"/>
                  </a:cubicBezTo>
                  <a:cubicBezTo>
                    <a:pt x="1368" y="1168"/>
                    <a:pt x="1368" y="1168"/>
                    <a:pt x="1368" y="1169"/>
                  </a:cubicBezTo>
                  <a:cubicBezTo>
                    <a:pt x="1368" y="1170"/>
                    <a:pt x="1368" y="1172"/>
                    <a:pt x="1368" y="1173"/>
                  </a:cubicBezTo>
                  <a:cubicBezTo>
                    <a:pt x="1368" y="1174"/>
                    <a:pt x="1368" y="1175"/>
                    <a:pt x="1367" y="1176"/>
                  </a:cubicBezTo>
                  <a:cubicBezTo>
                    <a:pt x="1367" y="1177"/>
                    <a:pt x="1367" y="1178"/>
                    <a:pt x="1367" y="1179"/>
                  </a:cubicBezTo>
                  <a:cubicBezTo>
                    <a:pt x="1367" y="1180"/>
                    <a:pt x="1367" y="1181"/>
                    <a:pt x="1367" y="1182"/>
                  </a:cubicBezTo>
                  <a:cubicBezTo>
                    <a:pt x="1366" y="1183"/>
                    <a:pt x="1366" y="1184"/>
                    <a:pt x="1366" y="1184"/>
                  </a:cubicBezTo>
                  <a:cubicBezTo>
                    <a:pt x="1363" y="1203"/>
                    <a:pt x="1355" y="1221"/>
                    <a:pt x="1345" y="1237"/>
                  </a:cubicBezTo>
                  <a:cubicBezTo>
                    <a:pt x="1320" y="1273"/>
                    <a:pt x="1279" y="1297"/>
                    <a:pt x="1232" y="1297"/>
                  </a:cubicBezTo>
                  <a:cubicBezTo>
                    <a:pt x="1157" y="1297"/>
                    <a:pt x="1095" y="1236"/>
                    <a:pt x="1095" y="1160"/>
                  </a:cubicBezTo>
                  <a:cubicBezTo>
                    <a:pt x="1095" y="1105"/>
                    <a:pt x="1128" y="1058"/>
                    <a:pt x="1175" y="1036"/>
                  </a:cubicBezTo>
                  <a:cubicBezTo>
                    <a:pt x="1185" y="1032"/>
                    <a:pt x="1194" y="1029"/>
                    <a:pt x="1204" y="1027"/>
                  </a:cubicBezTo>
                  <a:cubicBezTo>
                    <a:pt x="1206" y="1027"/>
                    <a:pt x="1208" y="1026"/>
                    <a:pt x="1210" y="1026"/>
                  </a:cubicBezTo>
                  <a:cubicBezTo>
                    <a:pt x="1217" y="1025"/>
                    <a:pt x="1224" y="1024"/>
                    <a:pt x="1232" y="1024"/>
                  </a:cubicBezTo>
                  <a:cubicBezTo>
                    <a:pt x="1279" y="1024"/>
                    <a:pt x="1320" y="1048"/>
                    <a:pt x="1345" y="1084"/>
                  </a:cubicBezTo>
                  <a:cubicBezTo>
                    <a:pt x="1355" y="1100"/>
                    <a:pt x="1363" y="1118"/>
                    <a:pt x="1366" y="1137"/>
                  </a:cubicBezTo>
                  <a:cubicBezTo>
                    <a:pt x="1366" y="1137"/>
                    <a:pt x="1366" y="1138"/>
                    <a:pt x="1367" y="1139"/>
                  </a:cubicBezTo>
                  <a:cubicBezTo>
                    <a:pt x="1367" y="1140"/>
                    <a:pt x="1367" y="1141"/>
                    <a:pt x="1367" y="1142"/>
                  </a:cubicBezTo>
                  <a:cubicBezTo>
                    <a:pt x="1367" y="1143"/>
                    <a:pt x="1367" y="1144"/>
                    <a:pt x="1367" y="1145"/>
                  </a:cubicBezTo>
                  <a:cubicBezTo>
                    <a:pt x="1368" y="1146"/>
                    <a:pt x="1368" y="1147"/>
                    <a:pt x="1368" y="1148"/>
                  </a:cubicBezTo>
                  <a:cubicBezTo>
                    <a:pt x="1368" y="1149"/>
                    <a:pt x="1368" y="1151"/>
                    <a:pt x="1368" y="1152"/>
                  </a:cubicBezTo>
                  <a:cubicBezTo>
                    <a:pt x="1368" y="1153"/>
                    <a:pt x="1368" y="1153"/>
                    <a:pt x="1368" y="1154"/>
                  </a:cubicBezTo>
                  <a:cubicBezTo>
                    <a:pt x="1368" y="1156"/>
                    <a:pt x="1368" y="1158"/>
                    <a:pt x="1368" y="1160"/>
                  </a:cubicBezTo>
                  <a:lnTo>
                    <a:pt x="1368" y="1161"/>
                  </a:lnTo>
                  <a:close/>
                  <a:moveTo>
                    <a:pt x="1846" y="1229"/>
                  </a:moveTo>
                  <a:cubicBezTo>
                    <a:pt x="1426" y="1229"/>
                    <a:pt x="1426" y="1229"/>
                    <a:pt x="1426" y="1229"/>
                  </a:cubicBezTo>
                  <a:cubicBezTo>
                    <a:pt x="1433" y="1208"/>
                    <a:pt x="1440" y="1184"/>
                    <a:pt x="1440" y="1160"/>
                  </a:cubicBezTo>
                  <a:cubicBezTo>
                    <a:pt x="1440" y="1137"/>
                    <a:pt x="1433" y="1113"/>
                    <a:pt x="1426" y="1092"/>
                  </a:cubicBezTo>
                  <a:cubicBezTo>
                    <a:pt x="1846" y="1092"/>
                    <a:pt x="1846" y="1092"/>
                    <a:pt x="1846" y="1092"/>
                  </a:cubicBezTo>
                  <a:lnTo>
                    <a:pt x="1846" y="1229"/>
                  </a:lnTo>
                  <a:close/>
                  <a:moveTo>
                    <a:pt x="1983" y="1502"/>
                  </a:moveTo>
                  <a:cubicBezTo>
                    <a:pt x="1949" y="1502"/>
                    <a:pt x="1949" y="1502"/>
                    <a:pt x="1949" y="1502"/>
                  </a:cubicBezTo>
                  <a:cubicBezTo>
                    <a:pt x="1928" y="1502"/>
                    <a:pt x="1914" y="1488"/>
                    <a:pt x="1914" y="1468"/>
                  </a:cubicBezTo>
                  <a:cubicBezTo>
                    <a:pt x="1914" y="846"/>
                    <a:pt x="1914" y="846"/>
                    <a:pt x="1914" y="846"/>
                  </a:cubicBezTo>
                  <a:cubicBezTo>
                    <a:pt x="1914" y="826"/>
                    <a:pt x="1928" y="812"/>
                    <a:pt x="1949" y="812"/>
                  </a:cubicBezTo>
                  <a:cubicBezTo>
                    <a:pt x="1983" y="812"/>
                    <a:pt x="1983" y="812"/>
                    <a:pt x="1983" y="812"/>
                  </a:cubicBezTo>
                  <a:lnTo>
                    <a:pt x="1983" y="150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3" name="Group 360"/>
          <p:cNvGrpSpPr/>
          <p:nvPr/>
        </p:nvGrpSpPr>
        <p:grpSpPr>
          <a:xfrm>
            <a:off x="4479057" y="3219903"/>
            <a:ext cx="469448" cy="469448"/>
            <a:chOff x="682652" y="2569917"/>
            <a:chExt cx="679152" cy="679152"/>
          </a:xfrm>
        </p:grpSpPr>
        <p:sp>
          <p:nvSpPr>
            <p:cNvPr id="205" name="Teardrop 204"/>
            <p:cNvSpPr/>
            <p:nvPr/>
          </p:nvSpPr>
          <p:spPr>
            <a:xfrm rot="8100000">
              <a:off x="682652" y="2569917"/>
              <a:ext cx="679152" cy="679152"/>
            </a:xfrm>
            <a:prstGeom prst="teardrop">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06" name="Rectangle 205"/>
            <p:cNvSpPr/>
            <p:nvPr/>
          </p:nvSpPr>
          <p:spPr>
            <a:xfrm>
              <a:off x="734891" y="2742273"/>
              <a:ext cx="574677" cy="311684"/>
            </a:xfrm>
            <a:prstGeom prst="rect">
              <a:avLst/>
            </a:prstGeom>
          </p:spPr>
          <p:txBody>
            <a:bodyPr wrap="square" lIns="0" tIns="0" rIns="0" bIns="0">
              <a:spAutoFit/>
            </a:bodyPr>
            <a:lstStyle/>
            <a:p>
              <a:pPr algn="ctr"/>
              <a:r>
                <a:rPr lang="en-US" sz="700" b="1" dirty="0" err="1" smtClean="0">
                  <a:solidFill>
                    <a:schemeClr val="bg1"/>
                  </a:solidFill>
                  <a:latin typeface="+mj-lt"/>
                </a:rPr>
                <a:t>LoRa</a:t>
              </a:r>
              <a:endParaRPr lang="en-US" sz="700" b="1" dirty="0" smtClean="0">
                <a:solidFill>
                  <a:schemeClr val="bg1"/>
                </a:solidFill>
                <a:latin typeface="+mj-lt"/>
              </a:endParaRPr>
            </a:p>
            <a:p>
              <a:pPr algn="ctr"/>
              <a:r>
                <a:rPr lang="en-US" sz="700" b="1" dirty="0" smtClean="0">
                  <a:solidFill>
                    <a:schemeClr val="bg1"/>
                  </a:solidFill>
                  <a:latin typeface="+mj-lt"/>
                </a:rPr>
                <a:t>WAN</a:t>
              </a:r>
              <a:endParaRPr lang="en-US" sz="700" b="1" dirty="0">
                <a:solidFill>
                  <a:schemeClr val="bg1"/>
                </a:solidFill>
                <a:latin typeface="+mj-lt"/>
              </a:endParaRPr>
            </a:p>
          </p:txBody>
        </p:sp>
      </p:grpSp>
      <p:grpSp>
        <p:nvGrpSpPr>
          <p:cNvPr id="24" name="Group 363"/>
          <p:cNvGrpSpPr/>
          <p:nvPr/>
        </p:nvGrpSpPr>
        <p:grpSpPr>
          <a:xfrm>
            <a:off x="5316181" y="2872696"/>
            <a:ext cx="466344" cy="466344"/>
            <a:chOff x="2209800" y="1885950"/>
            <a:chExt cx="679152" cy="679152"/>
          </a:xfrm>
        </p:grpSpPr>
        <p:sp>
          <p:nvSpPr>
            <p:cNvPr id="208" name="Teardrop 207"/>
            <p:cNvSpPr/>
            <p:nvPr/>
          </p:nvSpPr>
          <p:spPr>
            <a:xfrm rot="8100000">
              <a:off x="2209800" y="1885950"/>
              <a:ext cx="679152" cy="679152"/>
            </a:xfrm>
            <a:prstGeom prst="teardrop">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09" name="Rectangle 208"/>
            <p:cNvSpPr/>
            <p:nvPr/>
          </p:nvSpPr>
          <p:spPr>
            <a:xfrm>
              <a:off x="2260201" y="2150207"/>
              <a:ext cx="569106" cy="179291"/>
            </a:xfrm>
            <a:prstGeom prst="rect">
              <a:avLst/>
            </a:prstGeom>
          </p:spPr>
          <p:txBody>
            <a:bodyPr wrap="square" lIns="0" tIns="0" rIns="0" bIns="0">
              <a:spAutoFit/>
            </a:bodyPr>
            <a:lstStyle/>
            <a:p>
              <a:pPr algn="ctr"/>
              <a:r>
                <a:rPr lang="en-US" sz="800" b="1" dirty="0" smtClean="0">
                  <a:solidFill>
                    <a:schemeClr val="bg1"/>
                  </a:solidFill>
                  <a:latin typeface="+mj-lt"/>
                </a:rPr>
                <a:t>Wi-Fi</a:t>
              </a:r>
            </a:p>
          </p:txBody>
        </p:sp>
      </p:grpSp>
      <p:grpSp>
        <p:nvGrpSpPr>
          <p:cNvPr id="25" name="Group 375"/>
          <p:cNvGrpSpPr/>
          <p:nvPr/>
        </p:nvGrpSpPr>
        <p:grpSpPr>
          <a:xfrm>
            <a:off x="6946234" y="2349791"/>
            <a:ext cx="466344" cy="466344"/>
            <a:chOff x="2209800" y="1885950"/>
            <a:chExt cx="679152" cy="679152"/>
          </a:xfrm>
        </p:grpSpPr>
        <p:sp>
          <p:nvSpPr>
            <p:cNvPr id="211" name="Teardrop 210"/>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12" name="Rectangle 211"/>
            <p:cNvSpPr/>
            <p:nvPr/>
          </p:nvSpPr>
          <p:spPr>
            <a:xfrm>
              <a:off x="2260201" y="2113217"/>
              <a:ext cx="569106" cy="358580"/>
            </a:xfrm>
            <a:prstGeom prst="rect">
              <a:avLst/>
            </a:prstGeom>
          </p:spPr>
          <p:txBody>
            <a:bodyPr wrap="square" lIns="0" tIns="0" rIns="0" bIns="0">
              <a:spAutoFit/>
            </a:bodyPr>
            <a:lstStyle/>
            <a:p>
              <a:pPr algn="ctr"/>
              <a:r>
                <a:rPr lang="en-US" sz="800" b="1" dirty="0" smtClean="0">
                  <a:solidFill>
                    <a:schemeClr val="bg1"/>
                  </a:solidFill>
                  <a:latin typeface="+mj-lt"/>
                </a:rPr>
                <a:t>2G, 3G,</a:t>
              </a:r>
              <a:br>
                <a:rPr lang="en-US" sz="800" b="1" dirty="0" smtClean="0">
                  <a:solidFill>
                    <a:schemeClr val="bg1"/>
                  </a:solidFill>
                  <a:latin typeface="+mj-lt"/>
                </a:rPr>
              </a:br>
              <a:r>
                <a:rPr lang="en-US" sz="800" b="1" dirty="0" smtClean="0">
                  <a:solidFill>
                    <a:schemeClr val="bg1"/>
                  </a:solidFill>
                  <a:latin typeface="+mj-lt"/>
                </a:rPr>
                <a:t>LTE</a:t>
              </a:r>
            </a:p>
          </p:txBody>
        </p:sp>
      </p:grpSp>
      <p:grpSp>
        <p:nvGrpSpPr>
          <p:cNvPr id="26" name="Group 378"/>
          <p:cNvGrpSpPr/>
          <p:nvPr/>
        </p:nvGrpSpPr>
        <p:grpSpPr>
          <a:xfrm>
            <a:off x="7696987" y="3257550"/>
            <a:ext cx="466344" cy="466344"/>
            <a:chOff x="2209800" y="1885950"/>
            <a:chExt cx="679152" cy="679152"/>
          </a:xfrm>
        </p:grpSpPr>
        <p:sp>
          <p:nvSpPr>
            <p:cNvPr id="214" name="Teardrop 213"/>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15" name="Rectangle 214"/>
            <p:cNvSpPr/>
            <p:nvPr/>
          </p:nvSpPr>
          <p:spPr>
            <a:xfrm>
              <a:off x="2260201" y="2039235"/>
              <a:ext cx="569106" cy="358580"/>
            </a:xfrm>
            <a:prstGeom prst="rect">
              <a:avLst/>
            </a:prstGeom>
          </p:spPr>
          <p:txBody>
            <a:bodyPr wrap="square" lIns="0" tIns="0" rIns="0" bIns="0">
              <a:spAutoFit/>
            </a:bodyPr>
            <a:lstStyle/>
            <a:p>
              <a:pPr algn="ctr"/>
              <a:r>
                <a:rPr lang="en-US" sz="800" b="1" dirty="0" smtClean="0">
                  <a:solidFill>
                    <a:schemeClr val="bg1"/>
                  </a:solidFill>
                  <a:latin typeface="+mj-lt"/>
                </a:rPr>
                <a:t>LTE/</a:t>
              </a:r>
              <a:br>
                <a:rPr lang="en-US" sz="800" b="1" dirty="0" smtClean="0">
                  <a:solidFill>
                    <a:schemeClr val="bg1"/>
                  </a:solidFill>
                  <a:latin typeface="+mj-lt"/>
                </a:rPr>
              </a:br>
              <a:r>
                <a:rPr lang="en-US" sz="800" b="1" dirty="0" smtClean="0">
                  <a:solidFill>
                    <a:schemeClr val="bg1"/>
                  </a:solidFill>
                  <a:latin typeface="+mj-lt"/>
                </a:rPr>
                <a:t>CAT-M1</a:t>
              </a:r>
            </a:p>
          </p:txBody>
        </p:sp>
      </p:grpSp>
      <p:grpSp>
        <p:nvGrpSpPr>
          <p:cNvPr id="27" name="Group 381"/>
          <p:cNvGrpSpPr/>
          <p:nvPr/>
        </p:nvGrpSpPr>
        <p:grpSpPr>
          <a:xfrm>
            <a:off x="8481819" y="3297690"/>
            <a:ext cx="466344" cy="466344"/>
            <a:chOff x="2209800" y="1885950"/>
            <a:chExt cx="679152" cy="679152"/>
          </a:xfrm>
        </p:grpSpPr>
        <p:sp>
          <p:nvSpPr>
            <p:cNvPr id="217" name="Teardrop 216"/>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latin typeface="+mj-lt"/>
              </a:endParaRPr>
            </a:p>
          </p:txBody>
        </p:sp>
        <p:sp>
          <p:nvSpPr>
            <p:cNvPr id="218" name="Rectangle 217"/>
            <p:cNvSpPr/>
            <p:nvPr/>
          </p:nvSpPr>
          <p:spPr>
            <a:xfrm>
              <a:off x="2260201" y="2113217"/>
              <a:ext cx="569106" cy="358580"/>
            </a:xfrm>
            <a:prstGeom prst="rect">
              <a:avLst/>
            </a:prstGeom>
          </p:spPr>
          <p:txBody>
            <a:bodyPr wrap="square" lIns="0" tIns="0" rIns="0" bIns="0">
              <a:spAutoFit/>
            </a:bodyPr>
            <a:lstStyle/>
            <a:p>
              <a:pPr algn="ctr"/>
              <a:r>
                <a:rPr lang="en-US" sz="800" b="1" dirty="0" smtClean="0">
                  <a:solidFill>
                    <a:schemeClr val="bg1"/>
                  </a:solidFill>
                  <a:latin typeface="+mj-lt"/>
                </a:rPr>
                <a:t>NB-</a:t>
              </a:r>
              <a:br>
                <a:rPr lang="en-US" sz="800" b="1" dirty="0" smtClean="0">
                  <a:solidFill>
                    <a:schemeClr val="bg1"/>
                  </a:solidFill>
                  <a:latin typeface="+mj-lt"/>
                </a:rPr>
              </a:br>
              <a:r>
                <a:rPr lang="en-US" sz="800" b="1" dirty="0" err="1" smtClean="0">
                  <a:solidFill>
                    <a:schemeClr val="bg1"/>
                  </a:solidFill>
                  <a:latin typeface="+mj-lt"/>
                </a:rPr>
                <a:t>IoT</a:t>
              </a:r>
              <a:endParaRPr lang="en-US" sz="800" b="1" dirty="0" smtClean="0">
                <a:solidFill>
                  <a:schemeClr val="bg1"/>
                </a:solidFill>
                <a:latin typeface="+mj-lt"/>
              </a:endParaRPr>
            </a:p>
          </p:txBody>
        </p:sp>
      </p:grpSp>
      <p:cxnSp>
        <p:nvCxnSpPr>
          <p:cNvPr id="220" name="Straight Connector 219"/>
          <p:cNvCxnSpPr>
            <a:endCxn id="211" idx="3"/>
          </p:cNvCxnSpPr>
          <p:nvPr/>
        </p:nvCxnSpPr>
        <p:spPr>
          <a:xfrm>
            <a:off x="2866176" y="1791068"/>
            <a:ext cx="4313229" cy="558723"/>
          </a:xfrm>
          <a:prstGeom prst="line">
            <a:avLst/>
          </a:prstGeom>
        </p:spPr>
        <p:style>
          <a:lnRef idx="1">
            <a:schemeClr val="accent1"/>
          </a:lnRef>
          <a:fillRef idx="0">
            <a:schemeClr val="accent1"/>
          </a:fillRef>
          <a:effectRef idx="0">
            <a:schemeClr val="accent1"/>
          </a:effectRef>
          <a:fontRef idx="minor">
            <a:schemeClr val="tx1"/>
          </a:fontRef>
        </p:style>
      </p:cxnSp>
      <p:cxnSp>
        <p:nvCxnSpPr>
          <p:cNvPr id="221" name="Straight Connector 220"/>
          <p:cNvCxnSpPr>
            <a:endCxn id="208" idx="3"/>
          </p:cNvCxnSpPr>
          <p:nvPr/>
        </p:nvCxnSpPr>
        <p:spPr>
          <a:xfrm>
            <a:off x="2866176" y="1791068"/>
            <a:ext cx="2683176" cy="1081628"/>
          </a:xfrm>
          <a:prstGeom prst="line">
            <a:avLst/>
          </a:prstGeom>
        </p:spPr>
        <p:style>
          <a:lnRef idx="1">
            <a:schemeClr val="accent1"/>
          </a:lnRef>
          <a:fillRef idx="0">
            <a:schemeClr val="accent1"/>
          </a:fillRef>
          <a:effectRef idx="0">
            <a:schemeClr val="accent1"/>
          </a:effectRef>
          <a:fontRef idx="minor">
            <a:schemeClr val="tx1"/>
          </a:fontRef>
        </p:style>
      </p:cxnSp>
      <p:cxnSp>
        <p:nvCxnSpPr>
          <p:cNvPr id="222" name="Straight Connector 221"/>
          <p:cNvCxnSpPr>
            <a:endCxn id="205" idx="3"/>
          </p:cNvCxnSpPr>
          <p:nvPr/>
        </p:nvCxnSpPr>
        <p:spPr>
          <a:xfrm>
            <a:off x="2866176" y="1791068"/>
            <a:ext cx="1847605" cy="1428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3" name="Straight Connector 222"/>
          <p:cNvCxnSpPr>
            <a:endCxn id="214" idx="3"/>
          </p:cNvCxnSpPr>
          <p:nvPr/>
        </p:nvCxnSpPr>
        <p:spPr>
          <a:xfrm>
            <a:off x="2866176" y="1791068"/>
            <a:ext cx="5063982" cy="1466482"/>
          </a:xfrm>
          <a:prstGeom prst="line">
            <a:avLst/>
          </a:prstGeom>
        </p:spPr>
        <p:style>
          <a:lnRef idx="1">
            <a:schemeClr val="accent1"/>
          </a:lnRef>
          <a:fillRef idx="0">
            <a:schemeClr val="accent1"/>
          </a:fillRef>
          <a:effectRef idx="0">
            <a:schemeClr val="accent1"/>
          </a:effectRef>
          <a:fontRef idx="minor">
            <a:schemeClr val="tx1"/>
          </a:fontRef>
        </p:style>
      </p:cxnSp>
      <p:grpSp>
        <p:nvGrpSpPr>
          <p:cNvPr id="28" name="Group 444"/>
          <p:cNvGrpSpPr/>
          <p:nvPr/>
        </p:nvGrpSpPr>
        <p:grpSpPr>
          <a:xfrm>
            <a:off x="8380538" y="3807154"/>
            <a:ext cx="292608" cy="292608"/>
            <a:chOff x="8376516" y="3864204"/>
            <a:chExt cx="292608" cy="292608"/>
          </a:xfrm>
        </p:grpSpPr>
        <p:sp>
          <p:nvSpPr>
            <p:cNvPr id="228" name="Oval 227"/>
            <p:cNvSpPr/>
            <p:nvPr/>
          </p:nvSpPr>
          <p:spPr>
            <a:xfrm>
              <a:off x="8376516" y="3864204"/>
              <a:ext cx="292608" cy="292608"/>
            </a:xfrm>
            <a:prstGeom prst="ellipse">
              <a:avLst/>
            </a:prstGeom>
            <a:solidFill>
              <a:schemeClr val="bg2">
                <a:lumMod val="75000"/>
              </a:schemeClr>
            </a:solidFill>
            <a:ln w="952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29" name="Freeform 11"/>
            <p:cNvSpPr>
              <a:spLocks noEditPoints="1"/>
            </p:cNvSpPr>
            <p:nvPr/>
          </p:nvSpPr>
          <p:spPr bwMode="auto">
            <a:xfrm>
              <a:off x="8413012" y="3952154"/>
              <a:ext cx="219617" cy="147607"/>
            </a:xfrm>
            <a:custGeom>
              <a:avLst/>
              <a:gdLst/>
              <a:ahLst/>
              <a:cxnLst>
                <a:cxn ang="0">
                  <a:pos x="1184" y="960"/>
                </a:cxn>
                <a:cxn ang="0">
                  <a:pos x="864" y="960"/>
                </a:cxn>
                <a:cxn ang="0">
                  <a:pos x="1024" y="864"/>
                </a:cxn>
                <a:cxn ang="0">
                  <a:pos x="1024" y="1056"/>
                </a:cxn>
                <a:cxn ang="0">
                  <a:pos x="1024" y="864"/>
                </a:cxn>
                <a:cxn ang="0">
                  <a:pos x="0" y="64"/>
                </a:cxn>
                <a:cxn ang="0">
                  <a:pos x="160" y="384"/>
                </a:cxn>
                <a:cxn ang="0">
                  <a:pos x="288" y="512"/>
                </a:cxn>
                <a:cxn ang="0">
                  <a:pos x="320" y="672"/>
                </a:cxn>
                <a:cxn ang="0">
                  <a:pos x="1728" y="672"/>
                </a:cxn>
                <a:cxn ang="0">
                  <a:pos x="1760" y="512"/>
                </a:cxn>
                <a:cxn ang="0">
                  <a:pos x="1888" y="384"/>
                </a:cxn>
                <a:cxn ang="0">
                  <a:pos x="2048" y="64"/>
                </a:cxn>
                <a:cxn ang="0">
                  <a:pos x="0" y="0"/>
                </a:cxn>
                <a:cxn ang="0">
                  <a:pos x="1024" y="1312"/>
                </a:cxn>
                <a:cxn ang="0">
                  <a:pos x="384" y="512"/>
                </a:cxn>
                <a:cxn ang="0">
                  <a:pos x="1664" y="672"/>
                </a:cxn>
                <a:cxn ang="0">
                  <a:pos x="352" y="448"/>
                </a:cxn>
                <a:cxn ang="0">
                  <a:pos x="1696" y="384"/>
                </a:cxn>
                <a:cxn ang="0">
                  <a:pos x="1824" y="320"/>
                </a:cxn>
                <a:cxn ang="0">
                  <a:pos x="224" y="64"/>
                </a:cxn>
                <a:cxn ang="0">
                  <a:pos x="1824" y="320"/>
                </a:cxn>
                <a:cxn ang="0">
                  <a:pos x="1033" y="905"/>
                </a:cxn>
                <a:cxn ang="0">
                  <a:pos x="1015" y="1015"/>
                </a:cxn>
                <a:cxn ang="0">
                  <a:pos x="928" y="160"/>
                </a:cxn>
                <a:cxn ang="0">
                  <a:pos x="864" y="224"/>
                </a:cxn>
                <a:cxn ang="0">
                  <a:pos x="928" y="160"/>
                </a:cxn>
                <a:cxn ang="0">
                  <a:pos x="1312" y="960"/>
                </a:cxn>
                <a:cxn ang="0">
                  <a:pos x="736" y="960"/>
                </a:cxn>
                <a:cxn ang="0">
                  <a:pos x="1024" y="736"/>
                </a:cxn>
                <a:cxn ang="0">
                  <a:pos x="1024" y="1184"/>
                </a:cxn>
                <a:cxn ang="0">
                  <a:pos x="1024" y="736"/>
                </a:cxn>
                <a:cxn ang="0">
                  <a:pos x="1120" y="160"/>
                </a:cxn>
                <a:cxn ang="0">
                  <a:pos x="1184" y="224"/>
                </a:cxn>
                <a:cxn ang="0">
                  <a:pos x="1056" y="160"/>
                </a:cxn>
                <a:cxn ang="0">
                  <a:pos x="992" y="224"/>
                </a:cxn>
                <a:cxn ang="0">
                  <a:pos x="1056" y="160"/>
                </a:cxn>
              </a:cxnLst>
              <a:rect l="0" t="0" r="r" b="b"/>
              <a:pathLst>
                <a:path w="2048" h="1376">
                  <a:moveTo>
                    <a:pt x="1024" y="1120"/>
                  </a:moveTo>
                  <a:cubicBezTo>
                    <a:pt x="1112" y="1120"/>
                    <a:pt x="1184" y="1048"/>
                    <a:pt x="1184" y="960"/>
                  </a:cubicBezTo>
                  <a:cubicBezTo>
                    <a:pt x="1184" y="872"/>
                    <a:pt x="1112" y="800"/>
                    <a:pt x="1024" y="800"/>
                  </a:cubicBezTo>
                  <a:cubicBezTo>
                    <a:pt x="936" y="800"/>
                    <a:pt x="864" y="872"/>
                    <a:pt x="864" y="960"/>
                  </a:cubicBezTo>
                  <a:cubicBezTo>
                    <a:pt x="864" y="1048"/>
                    <a:pt x="936" y="1120"/>
                    <a:pt x="1024" y="1120"/>
                  </a:cubicBezTo>
                  <a:close/>
                  <a:moveTo>
                    <a:pt x="1024" y="864"/>
                  </a:moveTo>
                  <a:cubicBezTo>
                    <a:pt x="1077" y="864"/>
                    <a:pt x="1120" y="907"/>
                    <a:pt x="1120" y="960"/>
                  </a:cubicBezTo>
                  <a:cubicBezTo>
                    <a:pt x="1120" y="1013"/>
                    <a:pt x="1077" y="1056"/>
                    <a:pt x="1024" y="1056"/>
                  </a:cubicBezTo>
                  <a:cubicBezTo>
                    <a:pt x="971" y="1056"/>
                    <a:pt x="928" y="1013"/>
                    <a:pt x="928" y="960"/>
                  </a:cubicBezTo>
                  <a:cubicBezTo>
                    <a:pt x="928" y="907"/>
                    <a:pt x="971" y="864"/>
                    <a:pt x="1024" y="864"/>
                  </a:cubicBezTo>
                  <a:close/>
                  <a:moveTo>
                    <a:pt x="0" y="0"/>
                  </a:moveTo>
                  <a:cubicBezTo>
                    <a:pt x="0" y="64"/>
                    <a:pt x="0" y="64"/>
                    <a:pt x="0" y="64"/>
                  </a:cubicBezTo>
                  <a:cubicBezTo>
                    <a:pt x="160" y="64"/>
                    <a:pt x="160" y="64"/>
                    <a:pt x="160" y="64"/>
                  </a:cubicBezTo>
                  <a:cubicBezTo>
                    <a:pt x="160" y="384"/>
                    <a:pt x="160" y="384"/>
                    <a:pt x="160" y="384"/>
                  </a:cubicBezTo>
                  <a:cubicBezTo>
                    <a:pt x="288" y="384"/>
                    <a:pt x="288" y="384"/>
                    <a:pt x="288" y="384"/>
                  </a:cubicBezTo>
                  <a:cubicBezTo>
                    <a:pt x="288" y="512"/>
                    <a:pt x="288" y="512"/>
                    <a:pt x="288" y="512"/>
                  </a:cubicBezTo>
                  <a:cubicBezTo>
                    <a:pt x="320" y="512"/>
                    <a:pt x="320" y="512"/>
                    <a:pt x="320" y="512"/>
                  </a:cubicBezTo>
                  <a:cubicBezTo>
                    <a:pt x="320" y="672"/>
                    <a:pt x="320" y="672"/>
                    <a:pt x="320" y="672"/>
                  </a:cubicBezTo>
                  <a:cubicBezTo>
                    <a:pt x="320" y="1060"/>
                    <a:pt x="636" y="1376"/>
                    <a:pt x="1024" y="1376"/>
                  </a:cubicBezTo>
                  <a:cubicBezTo>
                    <a:pt x="1412" y="1376"/>
                    <a:pt x="1728" y="1060"/>
                    <a:pt x="1728" y="672"/>
                  </a:cubicBezTo>
                  <a:cubicBezTo>
                    <a:pt x="1728" y="512"/>
                    <a:pt x="1728" y="512"/>
                    <a:pt x="1728" y="512"/>
                  </a:cubicBezTo>
                  <a:cubicBezTo>
                    <a:pt x="1760" y="512"/>
                    <a:pt x="1760" y="512"/>
                    <a:pt x="1760" y="512"/>
                  </a:cubicBezTo>
                  <a:cubicBezTo>
                    <a:pt x="1760" y="384"/>
                    <a:pt x="1760" y="384"/>
                    <a:pt x="1760" y="384"/>
                  </a:cubicBezTo>
                  <a:cubicBezTo>
                    <a:pt x="1888" y="384"/>
                    <a:pt x="1888" y="384"/>
                    <a:pt x="1888" y="384"/>
                  </a:cubicBezTo>
                  <a:cubicBezTo>
                    <a:pt x="1888" y="64"/>
                    <a:pt x="1888" y="64"/>
                    <a:pt x="1888" y="64"/>
                  </a:cubicBezTo>
                  <a:cubicBezTo>
                    <a:pt x="2048" y="64"/>
                    <a:pt x="2048" y="64"/>
                    <a:pt x="2048" y="64"/>
                  </a:cubicBezTo>
                  <a:cubicBezTo>
                    <a:pt x="2048" y="0"/>
                    <a:pt x="2048" y="0"/>
                    <a:pt x="2048" y="0"/>
                  </a:cubicBezTo>
                  <a:lnTo>
                    <a:pt x="0" y="0"/>
                  </a:lnTo>
                  <a:close/>
                  <a:moveTo>
                    <a:pt x="1664" y="672"/>
                  </a:moveTo>
                  <a:cubicBezTo>
                    <a:pt x="1664" y="1025"/>
                    <a:pt x="1377" y="1312"/>
                    <a:pt x="1024" y="1312"/>
                  </a:cubicBezTo>
                  <a:cubicBezTo>
                    <a:pt x="671" y="1312"/>
                    <a:pt x="384" y="1025"/>
                    <a:pt x="384" y="672"/>
                  </a:cubicBezTo>
                  <a:cubicBezTo>
                    <a:pt x="384" y="512"/>
                    <a:pt x="384" y="512"/>
                    <a:pt x="384" y="512"/>
                  </a:cubicBezTo>
                  <a:cubicBezTo>
                    <a:pt x="1664" y="512"/>
                    <a:pt x="1664" y="512"/>
                    <a:pt x="1664" y="512"/>
                  </a:cubicBezTo>
                  <a:lnTo>
                    <a:pt x="1664" y="672"/>
                  </a:lnTo>
                  <a:close/>
                  <a:moveTo>
                    <a:pt x="1696" y="448"/>
                  </a:moveTo>
                  <a:cubicBezTo>
                    <a:pt x="352" y="448"/>
                    <a:pt x="352" y="448"/>
                    <a:pt x="352" y="448"/>
                  </a:cubicBezTo>
                  <a:cubicBezTo>
                    <a:pt x="352" y="384"/>
                    <a:pt x="352" y="384"/>
                    <a:pt x="352" y="384"/>
                  </a:cubicBezTo>
                  <a:cubicBezTo>
                    <a:pt x="1696" y="384"/>
                    <a:pt x="1696" y="384"/>
                    <a:pt x="1696" y="384"/>
                  </a:cubicBezTo>
                  <a:lnTo>
                    <a:pt x="1696" y="448"/>
                  </a:lnTo>
                  <a:close/>
                  <a:moveTo>
                    <a:pt x="1824" y="320"/>
                  </a:moveTo>
                  <a:cubicBezTo>
                    <a:pt x="224" y="320"/>
                    <a:pt x="224" y="320"/>
                    <a:pt x="224" y="320"/>
                  </a:cubicBezTo>
                  <a:cubicBezTo>
                    <a:pt x="224" y="64"/>
                    <a:pt x="224" y="64"/>
                    <a:pt x="224" y="64"/>
                  </a:cubicBezTo>
                  <a:cubicBezTo>
                    <a:pt x="1824" y="64"/>
                    <a:pt x="1824" y="64"/>
                    <a:pt x="1824" y="64"/>
                  </a:cubicBezTo>
                  <a:lnTo>
                    <a:pt x="1824" y="320"/>
                  </a:lnTo>
                  <a:close/>
                  <a:moveTo>
                    <a:pt x="1079" y="951"/>
                  </a:moveTo>
                  <a:cubicBezTo>
                    <a:pt x="1033" y="905"/>
                    <a:pt x="1033" y="905"/>
                    <a:pt x="1033" y="905"/>
                  </a:cubicBezTo>
                  <a:cubicBezTo>
                    <a:pt x="969" y="969"/>
                    <a:pt x="969" y="969"/>
                    <a:pt x="969" y="969"/>
                  </a:cubicBezTo>
                  <a:cubicBezTo>
                    <a:pt x="1015" y="1015"/>
                    <a:pt x="1015" y="1015"/>
                    <a:pt x="1015" y="1015"/>
                  </a:cubicBezTo>
                  <a:lnTo>
                    <a:pt x="1079" y="951"/>
                  </a:lnTo>
                  <a:close/>
                  <a:moveTo>
                    <a:pt x="928" y="160"/>
                  </a:moveTo>
                  <a:cubicBezTo>
                    <a:pt x="864" y="160"/>
                    <a:pt x="864" y="160"/>
                    <a:pt x="864" y="160"/>
                  </a:cubicBezTo>
                  <a:cubicBezTo>
                    <a:pt x="864" y="224"/>
                    <a:pt x="864" y="224"/>
                    <a:pt x="864" y="224"/>
                  </a:cubicBezTo>
                  <a:cubicBezTo>
                    <a:pt x="928" y="224"/>
                    <a:pt x="928" y="224"/>
                    <a:pt x="928" y="224"/>
                  </a:cubicBezTo>
                  <a:lnTo>
                    <a:pt x="928" y="160"/>
                  </a:lnTo>
                  <a:close/>
                  <a:moveTo>
                    <a:pt x="1024" y="1248"/>
                  </a:moveTo>
                  <a:cubicBezTo>
                    <a:pt x="1183" y="1248"/>
                    <a:pt x="1312" y="1119"/>
                    <a:pt x="1312" y="960"/>
                  </a:cubicBezTo>
                  <a:cubicBezTo>
                    <a:pt x="1312" y="801"/>
                    <a:pt x="1183" y="672"/>
                    <a:pt x="1024" y="672"/>
                  </a:cubicBezTo>
                  <a:cubicBezTo>
                    <a:pt x="865" y="672"/>
                    <a:pt x="736" y="801"/>
                    <a:pt x="736" y="960"/>
                  </a:cubicBezTo>
                  <a:cubicBezTo>
                    <a:pt x="736" y="1119"/>
                    <a:pt x="865" y="1248"/>
                    <a:pt x="1024" y="1248"/>
                  </a:cubicBezTo>
                  <a:close/>
                  <a:moveTo>
                    <a:pt x="1024" y="736"/>
                  </a:moveTo>
                  <a:cubicBezTo>
                    <a:pt x="1148" y="736"/>
                    <a:pt x="1248" y="836"/>
                    <a:pt x="1248" y="960"/>
                  </a:cubicBezTo>
                  <a:cubicBezTo>
                    <a:pt x="1248" y="1084"/>
                    <a:pt x="1148" y="1184"/>
                    <a:pt x="1024" y="1184"/>
                  </a:cubicBezTo>
                  <a:cubicBezTo>
                    <a:pt x="900" y="1184"/>
                    <a:pt x="800" y="1084"/>
                    <a:pt x="800" y="960"/>
                  </a:cubicBezTo>
                  <a:cubicBezTo>
                    <a:pt x="800" y="836"/>
                    <a:pt x="900" y="736"/>
                    <a:pt x="1024" y="736"/>
                  </a:cubicBezTo>
                  <a:close/>
                  <a:moveTo>
                    <a:pt x="1184" y="160"/>
                  </a:moveTo>
                  <a:cubicBezTo>
                    <a:pt x="1120" y="160"/>
                    <a:pt x="1120" y="160"/>
                    <a:pt x="1120" y="160"/>
                  </a:cubicBezTo>
                  <a:cubicBezTo>
                    <a:pt x="1120" y="224"/>
                    <a:pt x="1120" y="224"/>
                    <a:pt x="1120" y="224"/>
                  </a:cubicBezTo>
                  <a:cubicBezTo>
                    <a:pt x="1184" y="224"/>
                    <a:pt x="1184" y="224"/>
                    <a:pt x="1184" y="224"/>
                  </a:cubicBezTo>
                  <a:lnTo>
                    <a:pt x="1184" y="160"/>
                  </a:lnTo>
                  <a:close/>
                  <a:moveTo>
                    <a:pt x="1056" y="160"/>
                  </a:moveTo>
                  <a:cubicBezTo>
                    <a:pt x="992" y="160"/>
                    <a:pt x="992" y="160"/>
                    <a:pt x="992" y="160"/>
                  </a:cubicBezTo>
                  <a:cubicBezTo>
                    <a:pt x="992" y="224"/>
                    <a:pt x="992" y="224"/>
                    <a:pt x="992" y="224"/>
                  </a:cubicBezTo>
                  <a:cubicBezTo>
                    <a:pt x="1056" y="224"/>
                    <a:pt x="1056" y="224"/>
                    <a:pt x="1056" y="224"/>
                  </a:cubicBezTo>
                  <a:lnTo>
                    <a:pt x="1056" y="16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2" name="Title 1"/>
          <p:cNvSpPr>
            <a:spLocks noGrp="1"/>
          </p:cNvSpPr>
          <p:nvPr>
            <p:ph type="title"/>
          </p:nvPr>
        </p:nvSpPr>
        <p:spPr/>
        <p:txBody>
          <a:bodyPr/>
          <a:lstStyle/>
          <a:p>
            <a:r>
              <a:rPr lang="en-US" dirty="0" smtClean="0"/>
              <a:t>Cisco Ultra IoT</a:t>
            </a:r>
            <a:endParaRPr lang="en-US" dirty="0"/>
          </a:p>
        </p:txBody>
      </p:sp>
      <p:sp>
        <p:nvSpPr>
          <p:cNvPr id="316" name="Rectangle 315"/>
          <p:cNvSpPr/>
          <p:nvPr/>
        </p:nvSpPr>
        <p:spPr>
          <a:xfrm>
            <a:off x="265429" y="1152009"/>
            <a:ext cx="3020611" cy="338554"/>
          </a:xfrm>
          <a:prstGeom prst="rect">
            <a:avLst/>
          </a:prstGeom>
          <a:solidFill>
            <a:schemeClr val="accent1"/>
          </a:solidFill>
        </p:spPr>
        <p:txBody>
          <a:bodyPr wrap="square">
            <a:spAutoFit/>
          </a:bodyPr>
          <a:lstStyle/>
          <a:p>
            <a:r>
              <a:rPr lang="en-US" sz="1600" dirty="0" smtClean="0">
                <a:solidFill>
                  <a:srgbClr val="FFFFFF"/>
                </a:solidFill>
                <a:latin typeface="+mj-lt"/>
              </a:rPr>
              <a:t>New Ultra Capabilities for </a:t>
            </a:r>
            <a:r>
              <a:rPr lang="en-US" sz="1600" dirty="0" err="1" smtClean="0">
                <a:solidFill>
                  <a:srgbClr val="FFFFFF"/>
                </a:solidFill>
                <a:latin typeface="+mj-lt"/>
              </a:rPr>
              <a:t>IoT</a:t>
            </a:r>
            <a:endParaRPr lang="en-US" sz="1600" dirty="0" smtClean="0">
              <a:solidFill>
                <a:srgbClr val="FFFFFF"/>
              </a:solidFill>
              <a:latin typeface="+mj-lt"/>
            </a:endParaRPr>
          </a:p>
        </p:txBody>
      </p:sp>
      <p:sp>
        <p:nvSpPr>
          <p:cNvPr id="318" name="Rectangle 11"/>
          <p:cNvSpPr>
            <a:spLocks noChangeArrowheads="1"/>
          </p:cNvSpPr>
          <p:nvPr/>
        </p:nvSpPr>
        <p:spPr bwMode="auto">
          <a:xfrm>
            <a:off x="265429" y="4187035"/>
            <a:ext cx="8878571" cy="546711"/>
          </a:xfrm>
          <a:prstGeom prst="rect">
            <a:avLst/>
          </a:prstGeom>
          <a:solidFill>
            <a:schemeClr val="accent2"/>
          </a:solidFill>
          <a:ln w="9525">
            <a:noFill/>
            <a:miter lim="800000"/>
            <a:headEnd/>
            <a:tailEnd/>
          </a:ln>
        </p:spPr>
        <p:txBody>
          <a:bodyPr vert="horz" wrap="square" lIns="274320" tIns="0" rIns="91440" bIns="0" numCol="2" anchor="ctr" anchorCtr="0" compatLnSpc="1">
            <a:prstTxWarp prst="textNoShape">
              <a:avLst/>
            </a:prstTxWarp>
          </a:bodyPr>
          <a:lstStyle/>
          <a:p>
            <a:pPr marL="182880" indent="-182880">
              <a:spcBef>
                <a:spcPts val="200"/>
              </a:spcBef>
              <a:buFont typeface="Wingdings" pitchFamily="2" charset="2"/>
              <a:buChar char="§"/>
            </a:pPr>
            <a:endParaRPr lang="en-US" sz="900" dirty="0" smtClean="0">
              <a:solidFill>
                <a:srgbClr val="FFFFFF"/>
              </a:solidFill>
              <a:latin typeface="+mj-lt"/>
            </a:endParaRPr>
          </a:p>
        </p:txBody>
      </p:sp>
      <p:sp>
        <p:nvSpPr>
          <p:cNvPr id="358" name="Freeform 6"/>
          <p:cNvSpPr>
            <a:spLocks/>
          </p:cNvSpPr>
          <p:nvPr/>
        </p:nvSpPr>
        <p:spPr bwMode="auto">
          <a:xfrm>
            <a:off x="265429" y="1561951"/>
            <a:ext cx="3657744" cy="2341127"/>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60" name="Rectangle 359"/>
          <p:cNvSpPr/>
          <p:nvPr/>
        </p:nvSpPr>
        <p:spPr>
          <a:xfrm>
            <a:off x="1428750" y="1824750"/>
            <a:ext cx="1628880" cy="623248"/>
          </a:xfrm>
          <a:prstGeom prst="rect">
            <a:avLst/>
          </a:prstGeom>
          <a:noFill/>
          <a:ln w="25400" cap="rnd" cmpd="sng" algn="ctr">
            <a:noFill/>
            <a:prstDash val="solid"/>
          </a:ln>
          <a:effectLst/>
        </p:spPr>
        <p:txBody>
          <a:bodyPr wrap="square" lIns="0" tIns="0" rIns="0" bIns="0" rtlCol="0" anchor="t" anchorCtr="0">
            <a:spAutoFit/>
          </a:bodyPr>
          <a:lstStyle/>
          <a:p>
            <a:pPr lvl="0" algn="ctr">
              <a:lnSpc>
                <a:spcPct val="90000"/>
              </a:lnSpc>
            </a:pPr>
            <a:r>
              <a:rPr lang="en-US" sz="1500" kern="0" dirty="0" smtClean="0">
                <a:solidFill>
                  <a:schemeClr val="accent1"/>
                </a:solidFill>
                <a:latin typeface="+mj-lt"/>
              </a:rPr>
              <a:t>Cisco Ultra Services</a:t>
            </a:r>
            <a:br>
              <a:rPr lang="en-US" sz="1500" kern="0" dirty="0" smtClean="0">
                <a:solidFill>
                  <a:schemeClr val="accent1"/>
                </a:solidFill>
                <a:latin typeface="+mj-lt"/>
              </a:rPr>
            </a:br>
            <a:r>
              <a:rPr lang="en-US" sz="1500" kern="0" dirty="0" smtClean="0">
                <a:solidFill>
                  <a:schemeClr val="accent1"/>
                </a:solidFill>
                <a:latin typeface="+mj-lt"/>
              </a:rPr>
              <a:t>Platform for </a:t>
            </a:r>
            <a:r>
              <a:rPr lang="en-US" sz="1500" kern="0" dirty="0" err="1" smtClean="0">
                <a:solidFill>
                  <a:schemeClr val="accent1"/>
                </a:solidFill>
                <a:latin typeface="+mj-lt"/>
              </a:rPr>
              <a:t>IoT</a:t>
            </a:r>
            <a:endParaRPr lang="en-US" sz="1500" kern="0" dirty="0" smtClean="0">
              <a:solidFill>
                <a:schemeClr val="accent1"/>
              </a:solidFill>
              <a:latin typeface="+mj-lt"/>
            </a:endParaRPr>
          </a:p>
        </p:txBody>
      </p:sp>
      <p:sp>
        <p:nvSpPr>
          <p:cNvPr id="362" name="Rounded Rectangle 361"/>
          <p:cNvSpPr/>
          <p:nvPr/>
        </p:nvSpPr>
        <p:spPr>
          <a:xfrm>
            <a:off x="709921" y="3194837"/>
            <a:ext cx="885036" cy="555794"/>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700" b="1" dirty="0" smtClean="0">
                <a:latin typeface="+mj-lt"/>
              </a:rPr>
              <a:t>Ultra Packet Core</a:t>
            </a:r>
          </a:p>
        </p:txBody>
      </p:sp>
      <p:sp>
        <p:nvSpPr>
          <p:cNvPr id="363" name="Rounded Rectangle 362"/>
          <p:cNvSpPr/>
          <p:nvPr/>
        </p:nvSpPr>
        <p:spPr>
          <a:xfrm>
            <a:off x="1652107" y="3194837"/>
            <a:ext cx="885036" cy="555794"/>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700" b="1" dirty="0" smtClean="0">
                <a:latin typeface="+mj-lt"/>
              </a:rPr>
              <a:t>Ultra Policy Platform</a:t>
            </a:r>
          </a:p>
        </p:txBody>
      </p:sp>
      <p:sp>
        <p:nvSpPr>
          <p:cNvPr id="364" name="Rounded Rectangle 363"/>
          <p:cNvSpPr/>
          <p:nvPr/>
        </p:nvSpPr>
        <p:spPr>
          <a:xfrm>
            <a:off x="2594293" y="3194837"/>
            <a:ext cx="885036" cy="555794"/>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800" b="1" dirty="0" smtClean="0">
                <a:latin typeface="+mj-lt"/>
              </a:rPr>
              <a:t>Ultra Services Framework</a:t>
            </a:r>
          </a:p>
        </p:txBody>
      </p:sp>
      <p:sp>
        <p:nvSpPr>
          <p:cNvPr id="365" name="Rounded Rectangle 364"/>
          <p:cNvSpPr/>
          <p:nvPr/>
        </p:nvSpPr>
        <p:spPr>
          <a:xfrm>
            <a:off x="665471" y="2968944"/>
            <a:ext cx="2857660" cy="818235"/>
          </a:xfrm>
          <a:prstGeom prst="roundRect">
            <a:avLst/>
          </a:prstGeom>
          <a:no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366" name="Rectangle 365"/>
          <p:cNvSpPr/>
          <p:nvPr/>
        </p:nvSpPr>
        <p:spPr>
          <a:xfrm>
            <a:off x="1320051" y="3008374"/>
            <a:ext cx="1548502" cy="169277"/>
          </a:xfrm>
          <a:prstGeom prst="rect">
            <a:avLst/>
          </a:prstGeom>
        </p:spPr>
        <p:txBody>
          <a:bodyPr wrap="none" lIns="0" tIns="0" rIns="0" bIns="0">
            <a:spAutoFit/>
          </a:bodyPr>
          <a:lstStyle/>
          <a:p>
            <a:pPr algn="ctr"/>
            <a:r>
              <a:rPr lang="en-GB" sz="1100" b="1" dirty="0" smtClean="0">
                <a:solidFill>
                  <a:schemeClr val="bg2"/>
                </a:solidFill>
                <a:latin typeface="+mj-lt"/>
              </a:rPr>
              <a:t>Ultra Services Platform</a:t>
            </a:r>
          </a:p>
        </p:txBody>
      </p:sp>
      <p:sp>
        <p:nvSpPr>
          <p:cNvPr id="367" name="TextBox 366"/>
          <p:cNvSpPr txBox="1"/>
          <p:nvPr/>
        </p:nvSpPr>
        <p:spPr>
          <a:xfrm>
            <a:off x="1488769" y="3892844"/>
            <a:ext cx="1297150" cy="261610"/>
          </a:xfrm>
          <a:prstGeom prst="rect">
            <a:avLst/>
          </a:prstGeom>
          <a:noFill/>
        </p:spPr>
        <p:txBody>
          <a:bodyPr wrap="none" rtlCol="0">
            <a:spAutoFit/>
          </a:bodyPr>
          <a:lstStyle/>
          <a:p>
            <a:pPr algn="ctr"/>
            <a:r>
              <a:rPr lang="en-US" sz="1100" b="1" dirty="0" smtClean="0">
                <a:solidFill>
                  <a:schemeClr val="accent1"/>
                </a:solidFill>
                <a:latin typeface="+mj-lt"/>
              </a:rPr>
              <a:t>Service Provider</a:t>
            </a:r>
            <a:endParaRPr lang="en-US" sz="1100" b="1" dirty="0">
              <a:solidFill>
                <a:schemeClr val="accent1"/>
              </a:solidFill>
              <a:latin typeface="+mj-lt"/>
            </a:endParaRPr>
          </a:p>
        </p:txBody>
      </p:sp>
      <p:sp>
        <p:nvSpPr>
          <p:cNvPr id="382" name="Rectangle 381"/>
          <p:cNvSpPr/>
          <p:nvPr/>
        </p:nvSpPr>
        <p:spPr>
          <a:xfrm>
            <a:off x="550863" y="4306502"/>
            <a:ext cx="2143370" cy="307777"/>
          </a:xfrm>
          <a:prstGeom prst="rect">
            <a:avLst/>
          </a:prstGeom>
        </p:spPr>
        <p:txBody>
          <a:bodyPr wrap="square" lIns="0" tIns="0" rIns="0" bIns="0" numCol="1" spcCol="45720">
            <a:spAutoFit/>
          </a:bodyPr>
          <a:lstStyle/>
          <a:p>
            <a:pPr marL="182880" indent="-182880">
              <a:spcBef>
                <a:spcPts val="200"/>
              </a:spcBef>
              <a:buFont typeface="Wingdings" pitchFamily="2" charset="2"/>
              <a:buChar char="§"/>
            </a:pPr>
            <a:r>
              <a:rPr lang="en-US" sz="1000" dirty="0" smtClean="0">
                <a:solidFill>
                  <a:srgbClr val="FFFFFF"/>
                </a:solidFill>
                <a:latin typeface="+mj-lt"/>
              </a:rPr>
              <a:t>Evolves Ultra Services Platform to </a:t>
            </a:r>
            <a:r>
              <a:rPr lang="en-US" sz="1000" dirty="0" err="1" smtClean="0">
                <a:solidFill>
                  <a:srgbClr val="FFFFFF"/>
                </a:solidFill>
                <a:latin typeface="+mj-lt"/>
              </a:rPr>
              <a:t>CIoT</a:t>
            </a:r>
            <a:r>
              <a:rPr lang="en-US" sz="1000" dirty="0" smtClean="0">
                <a:solidFill>
                  <a:srgbClr val="FFFFFF"/>
                </a:solidFill>
                <a:latin typeface="+mj-lt"/>
              </a:rPr>
              <a:t> architecture: CSGN, SCEF</a:t>
            </a:r>
          </a:p>
        </p:txBody>
      </p:sp>
      <p:sp>
        <p:nvSpPr>
          <p:cNvPr id="383" name="Rectangle 382"/>
          <p:cNvSpPr/>
          <p:nvPr/>
        </p:nvSpPr>
        <p:spPr>
          <a:xfrm>
            <a:off x="2979717" y="4291113"/>
            <a:ext cx="2360633" cy="338554"/>
          </a:xfrm>
          <a:prstGeom prst="rect">
            <a:avLst/>
          </a:prstGeom>
        </p:spPr>
        <p:txBody>
          <a:bodyPr wrap="square" lIns="0" tIns="0" rIns="0" bIns="0" numCol="1" spcCol="18288">
            <a:spAutoFit/>
          </a:bodyPr>
          <a:lstStyle/>
          <a:p>
            <a:pPr marL="182880" indent="-182880">
              <a:spcBef>
                <a:spcPts val="200"/>
              </a:spcBef>
              <a:buFont typeface="Wingdings" pitchFamily="2" charset="2"/>
              <a:buChar char="§"/>
            </a:pPr>
            <a:r>
              <a:rPr lang="en-US" sz="1100" dirty="0" smtClean="0">
                <a:solidFill>
                  <a:srgbClr val="FFFFFF"/>
                </a:solidFill>
                <a:latin typeface="+mj-lt"/>
              </a:rPr>
              <a:t>New </a:t>
            </a:r>
            <a:r>
              <a:rPr lang="en-US" sz="1100" dirty="0" err="1" smtClean="0">
                <a:solidFill>
                  <a:srgbClr val="FFFFFF"/>
                </a:solidFill>
                <a:latin typeface="+mj-lt"/>
              </a:rPr>
              <a:t>eSCEF</a:t>
            </a:r>
            <a:r>
              <a:rPr lang="en-US" sz="1100" dirty="0" smtClean="0">
                <a:solidFill>
                  <a:srgbClr val="FFFFFF"/>
                </a:solidFill>
                <a:latin typeface="+mj-lt"/>
              </a:rPr>
              <a:t> function with network service capabilities: </a:t>
            </a:r>
          </a:p>
        </p:txBody>
      </p:sp>
      <p:sp>
        <p:nvSpPr>
          <p:cNvPr id="384" name="Rectangle 383"/>
          <p:cNvSpPr/>
          <p:nvPr/>
        </p:nvSpPr>
        <p:spPr>
          <a:xfrm>
            <a:off x="5410200" y="4250076"/>
            <a:ext cx="3193967" cy="420628"/>
          </a:xfrm>
          <a:prstGeom prst="rect">
            <a:avLst/>
          </a:prstGeom>
        </p:spPr>
        <p:txBody>
          <a:bodyPr wrap="square" lIns="0" tIns="0" rIns="0" bIns="0" numCol="1" spcCol="18288">
            <a:spAutoFit/>
          </a:bodyPr>
          <a:lstStyle/>
          <a:p>
            <a:pPr marL="365760" indent="-182880">
              <a:spcBef>
                <a:spcPts val="200"/>
              </a:spcBef>
              <a:buFont typeface="Arial" pitchFamily="34" charset="0"/>
              <a:buChar char="­"/>
            </a:pPr>
            <a:r>
              <a:rPr lang="en-US" sz="800" dirty="0">
                <a:solidFill>
                  <a:srgbClr val="FFFFFF"/>
                </a:solidFill>
                <a:latin typeface="+mj-lt"/>
              </a:rPr>
              <a:t>O</a:t>
            </a:r>
            <a:r>
              <a:rPr lang="en-US" sz="800" dirty="0" smtClean="0">
                <a:solidFill>
                  <a:srgbClr val="FFFFFF"/>
                </a:solidFill>
                <a:latin typeface="+mj-lt"/>
              </a:rPr>
              <a:t>rganizes device data, associates endpoints with apps</a:t>
            </a:r>
          </a:p>
          <a:p>
            <a:pPr marL="365760" indent="-182880">
              <a:spcBef>
                <a:spcPts val="200"/>
              </a:spcBef>
              <a:buFont typeface="Arial" pitchFamily="34" charset="0"/>
              <a:buChar char="­"/>
            </a:pPr>
            <a:r>
              <a:rPr lang="en-US" sz="800" dirty="0" smtClean="0">
                <a:solidFill>
                  <a:srgbClr val="FFFFFF"/>
                </a:solidFill>
                <a:latin typeface="+mj-lt"/>
              </a:rPr>
              <a:t>Open API to expose network capabilities to devices and apps</a:t>
            </a:r>
          </a:p>
          <a:p>
            <a:pPr marL="365760" indent="-182880">
              <a:spcBef>
                <a:spcPts val="200"/>
              </a:spcBef>
              <a:buFont typeface="Arial" pitchFamily="34" charset="0"/>
              <a:buChar char="­"/>
            </a:pPr>
            <a:r>
              <a:rPr lang="en-US" sz="800" dirty="0" smtClean="0">
                <a:solidFill>
                  <a:srgbClr val="FFFFFF"/>
                </a:solidFill>
                <a:latin typeface="+mj-lt"/>
              </a:rPr>
              <a:t>Complies with oneM2M architecture</a:t>
            </a:r>
          </a:p>
        </p:txBody>
      </p:sp>
      <p:sp>
        <p:nvSpPr>
          <p:cNvPr id="385" name="Isosceles Triangle 384"/>
          <p:cNvSpPr/>
          <p:nvPr/>
        </p:nvSpPr>
        <p:spPr>
          <a:xfrm rot="5400000">
            <a:off x="5350510" y="4437213"/>
            <a:ext cx="165735" cy="46355"/>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cxnSp>
        <p:nvCxnSpPr>
          <p:cNvPr id="387" name="Straight Connector 386"/>
          <p:cNvCxnSpPr/>
          <p:nvPr/>
        </p:nvCxnSpPr>
        <p:spPr>
          <a:xfrm>
            <a:off x="2866176" y="4270595"/>
            <a:ext cx="0" cy="3795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9" name="Group 399"/>
          <p:cNvGrpSpPr/>
          <p:nvPr/>
        </p:nvGrpSpPr>
        <p:grpSpPr>
          <a:xfrm>
            <a:off x="1687517" y="2447998"/>
            <a:ext cx="813569" cy="520946"/>
            <a:chOff x="1687517" y="2447998"/>
            <a:chExt cx="813569" cy="520946"/>
          </a:xfrm>
        </p:grpSpPr>
        <p:cxnSp>
          <p:nvCxnSpPr>
            <p:cNvPr id="390" name="Straight Arrow Connector 389"/>
            <p:cNvCxnSpPr>
              <a:endCxn id="365" idx="0"/>
            </p:cNvCxnSpPr>
            <p:nvPr/>
          </p:nvCxnSpPr>
          <p:spPr>
            <a:xfrm>
              <a:off x="2090738" y="2447998"/>
              <a:ext cx="3563" cy="52094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88" name="Rectangle 15"/>
            <p:cNvSpPr>
              <a:spLocks noChangeArrowheads="1"/>
            </p:cNvSpPr>
            <p:nvPr/>
          </p:nvSpPr>
          <p:spPr bwMode="auto">
            <a:xfrm>
              <a:off x="1687517" y="2607808"/>
              <a:ext cx="813569" cy="168304"/>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050" dirty="0" smtClean="0">
                  <a:solidFill>
                    <a:schemeClr val="bg1"/>
                  </a:solidFill>
                  <a:latin typeface="+mj-lt"/>
                </a:rPr>
                <a:t>API</a:t>
              </a:r>
              <a:endParaRPr lang="en-US" sz="1050" dirty="0">
                <a:solidFill>
                  <a:schemeClr val="bg1"/>
                </a:solidFill>
                <a:latin typeface="+mj-lt"/>
              </a:endParaRPr>
            </a:p>
          </p:txBody>
        </p:sp>
      </p:grpSp>
      <p:sp>
        <p:nvSpPr>
          <p:cNvPr id="399" name="Rounded Rectangle 398"/>
          <p:cNvSpPr/>
          <p:nvPr/>
        </p:nvSpPr>
        <p:spPr>
          <a:xfrm>
            <a:off x="915250" y="3492490"/>
            <a:ext cx="556685" cy="208887"/>
          </a:xfrm>
          <a:prstGeom prst="round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1"/>
                </a:solidFill>
                <a:latin typeface="+mj-lt"/>
              </a:rPr>
              <a:t>CSGN</a:t>
            </a:r>
          </a:p>
        </p:txBody>
      </p:sp>
      <p:grpSp>
        <p:nvGrpSpPr>
          <p:cNvPr id="30" name="Group 230"/>
          <p:cNvGrpSpPr/>
          <p:nvPr/>
        </p:nvGrpSpPr>
        <p:grpSpPr>
          <a:xfrm>
            <a:off x="6849993" y="3827628"/>
            <a:ext cx="292608" cy="292608"/>
            <a:chOff x="6849993" y="3827628"/>
            <a:chExt cx="292608" cy="292608"/>
          </a:xfrm>
        </p:grpSpPr>
        <p:sp>
          <p:nvSpPr>
            <p:cNvPr id="232" name="Oval 231"/>
            <p:cNvSpPr/>
            <p:nvPr/>
          </p:nvSpPr>
          <p:spPr>
            <a:xfrm>
              <a:off x="6849993" y="3827628"/>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33" name="Freeform 15"/>
            <p:cNvSpPr>
              <a:spLocks noEditPoints="1"/>
            </p:cNvSpPr>
            <p:nvPr/>
          </p:nvSpPr>
          <p:spPr bwMode="auto">
            <a:xfrm>
              <a:off x="6912832" y="3890449"/>
              <a:ext cx="166931" cy="166966"/>
            </a:xfrm>
            <a:custGeom>
              <a:avLst/>
              <a:gdLst/>
              <a:ahLst/>
              <a:cxnLst>
                <a:cxn ang="0">
                  <a:pos x="1420" y="1718"/>
                </a:cxn>
                <a:cxn ang="0">
                  <a:pos x="1354" y="1453"/>
                </a:cxn>
                <a:cxn ang="0">
                  <a:pos x="1212" y="1156"/>
                </a:cxn>
                <a:cxn ang="0">
                  <a:pos x="1652" y="567"/>
                </a:cxn>
                <a:cxn ang="0">
                  <a:pos x="1718" y="231"/>
                </a:cxn>
                <a:cxn ang="0">
                  <a:pos x="793" y="132"/>
                </a:cxn>
                <a:cxn ang="0">
                  <a:pos x="157" y="0"/>
                </a:cxn>
                <a:cxn ang="0">
                  <a:pos x="264" y="198"/>
                </a:cxn>
                <a:cxn ang="0">
                  <a:pos x="0" y="384"/>
                </a:cxn>
                <a:cxn ang="0">
                  <a:pos x="661" y="330"/>
                </a:cxn>
                <a:cxn ang="0">
                  <a:pos x="1268" y="396"/>
                </a:cxn>
                <a:cxn ang="0">
                  <a:pos x="593" y="1267"/>
                </a:cxn>
                <a:cxn ang="0">
                  <a:pos x="892" y="1519"/>
                </a:cxn>
                <a:cxn ang="0">
                  <a:pos x="892" y="1718"/>
                </a:cxn>
                <a:cxn ang="0">
                  <a:pos x="529" y="2048"/>
                </a:cxn>
                <a:cxn ang="0">
                  <a:pos x="1354" y="1784"/>
                </a:cxn>
                <a:cxn ang="0">
                  <a:pos x="66" y="343"/>
                </a:cxn>
                <a:cxn ang="0">
                  <a:pos x="330" y="132"/>
                </a:cxn>
                <a:cxn ang="0">
                  <a:pos x="173" y="66"/>
                </a:cxn>
                <a:cxn ang="0">
                  <a:pos x="595" y="396"/>
                </a:cxn>
                <a:cxn ang="0">
                  <a:pos x="595" y="66"/>
                </a:cxn>
                <a:cxn ang="0">
                  <a:pos x="661" y="264"/>
                </a:cxn>
                <a:cxn ang="0">
                  <a:pos x="793" y="264"/>
                </a:cxn>
                <a:cxn ang="0">
                  <a:pos x="1288" y="1586"/>
                </a:cxn>
                <a:cxn ang="0">
                  <a:pos x="1288" y="1718"/>
                </a:cxn>
                <a:cxn ang="0">
                  <a:pos x="958" y="1718"/>
                </a:cxn>
                <a:cxn ang="0">
                  <a:pos x="1024" y="1586"/>
                </a:cxn>
                <a:cxn ang="0">
                  <a:pos x="1024" y="1652"/>
                </a:cxn>
                <a:cxn ang="0">
                  <a:pos x="1222" y="1586"/>
                </a:cxn>
                <a:cxn ang="0">
                  <a:pos x="958" y="1519"/>
                </a:cxn>
                <a:cxn ang="0">
                  <a:pos x="1288" y="1519"/>
                </a:cxn>
                <a:cxn ang="0">
                  <a:pos x="1551" y="774"/>
                </a:cxn>
                <a:cxn ang="0">
                  <a:pos x="1040" y="1092"/>
                </a:cxn>
                <a:cxn ang="0">
                  <a:pos x="925" y="330"/>
                </a:cxn>
                <a:cxn ang="0">
                  <a:pos x="925" y="132"/>
                </a:cxn>
                <a:cxn ang="0">
                  <a:pos x="991" y="132"/>
                </a:cxn>
                <a:cxn ang="0">
                  <a:pos x="1652" y="330"/>
                </a:cxn>
                <a:cxn ang="0">
                  <a:pos x="1652" y="396"/>
                </a:cxn>
                <a:cxn ang="0">
                  <a:pos x="993" y="1045"/>
                </a:cxn>
                <a:cxn ang="0">
                  <a:pos x="1367" y="396"/>
                </a:cxn>
                <a:cxn ang="0">
                  <a:pos x="595" y="1112"/>
                </a:cxn>
                <a:cxn ang="0">
                  <a:pos x="1076" y="1222"/>
                </a:cxn>
                <a:cxn ang="0">
                  <a:pos x="806" y="1387"/>
                </a:cxn>
                <a:cxn ang="0">
                  <a:pos x="958" y="1652"/>
                </a:cxn>
                <a:cxn ang="0">
                  <a:pos x="1982" y="1982"/>
                </a:cxn>
                <a:cxn ang="0">
                  <a:pos x="1850" y="1916"/>
                </a:cxn>
                <a:cxn ang="0">
                  <a:pos x="1784" y="1916"/>
                </a:cxn>
                <a:cxn ang="0">
                  <a:pos x="1652" y="1982"/>
                </a:cxn>
                <a:cxn ang="0">
                  <a:pos x="1586" y="1982"/>
                </a:cxn>
                <a:cxn ang="0">
                  <a:pos x="1453" y="1916"/>
                </a:cxn>
                <a:cxn ang="0">
                  <a:pos x="1387" y="1916"/>
                </a:cxn>
                <a:cxn ang="0">
                  <a:pos x="1255" y="1982"/>
                </a:cxn>
                <a:cxn ang="0">
                  <a:pos x="1189" y="1982"/>
                </a:cxn>
                <a:cxn ang="0">
                  <a:pos x="1057" y="1916"/>
                </a:cxn>
                <a:cxn ang="0">
                  <a:pos x="991" y="1916"/>
                </a:cxn>
                <a:cxn ang="0">
                  <a:pos x="859" y="1982"/>
                </a:cxn>
                <a:cxn ang="0">
                  <a:pos x="793" y="1982"/>
                </a:cxn>
                <a:cxn ang="0">
                  <a:pos x="661" y="1916"/>
                </a:cxn>
                <a:cxn ang="0">
                  <a:pos x="595" y="1850"/>
                </a:cxn>
                <a:cxn ang="0">
                  <a:pos x="743" y="1024"/>
                </a:cxn>
                <a:cxn ang="0">
                  <a:pos x="826" y="1107"/>
                </a:cxn>
                <a:cxn ang="0">
                  <a:pos x="727" y="1107"/>
                </a:cxn>
                <a:cxn ang="0">
                  <a:pos x="743" y="1123"/>
                </a:cxn>
              </a:cxnLst>
              <a:rect l="0" t="0" r="r" b="b"/>
              <a:pathLst>
                <a:path w="2048" h="2048">
                  <a:moveTo>
                    <a:pt x="1354" y="1784"/>
                  </a:moveTo>
                  <a:cubicBezTo>
                    <a:pt x="1354" y="1718"/>
                    <a:pt x="1354" y="1718"/>
                    <a:pt x="1354" y="1718"/>
                  </a:cubicBezTo>
                  <a:cubicBezTo>
                    <a:pt x="1420" y="1718"/>
                    <a:pt x="1420" y="1718"/>
                    <a:pt x="1420" y="1718"/>
                  </a:cubicBezTo>
                  <a:cubicBezTo>
                    <a:pt x="1420" y="1519"/>
                    <a:pt x="1420" y="1519"/>
                    <a:pt x="1420" y="1519"/>
                  </a:cubicBezTo>
                  <a:cubicBezTo>
                    <a:pt x="1354" y="1519"/>
                    <a:pt x="1354" y="1519"/>
                    <a:pt x="1354" y="1519"/>
                  </a:cubicBezTo>
                  <a:cubicBezTo>
                    <a:pt x="1354" y="1453"/>
                    <a:pt x="1354" y="1453"/>
                    <a:pt x="1354" y="1453"/>
                  </a:cubicBezTo>
                  <a:cubicBezTo>
                    <a:pt x="1486" y="1453"/>
                    <a:pt x="1486" y="1453"/>
                    <a:pt x="1486" y="1453"/>
                  </a:cubicBezTo>
                  <a:cubicBezTo>
                    <a:pt x="1486" y="1156"/>
                    <a:pt x="1486" y="1156"/>
                    <a:pt x="1486" y="1156"/>
                  </a:cubicBezTo>
                  <a:cubicBezTo>
                    <a:pt x="1212" y="1156"/>
                    <a:pt x="1212" y="1156"/>
                    <a:pt x="1212" y="1156"/>
                  </a:cubicBezTo>
                  <a:cubicBezTo>
                    <a:pt x="1595" y="824"/>
                    <a:pt x="1595" y="824"/>
                    <a:pt x="1595" y="824"/>
                  </a:cubicBezTo>
                  <a:cubicBezTo>
                    <a:pt x="1631" y="793"/>
                    <a:pt x="1652" y="747"/>
                    <a:pt x="1652" y="699"/>
                  </a:cubicBezTo>
                  <a:cubicBezTo>
                    <a:pt x="1652" y="567"/>
                    <a:pt x="1652" y="567"/>
                    <a:pt x="1652" y="567"/>
                  </a:cubicBezTo>
                  <a:cubicBezTo>
                    <a:pt x="1683" y="540"/>
                    <a:pt x="1683" y="540"/>
                    <a:pt x="1683" y="540"/>
                  </a:cubicBezTo>
                  <a:cubicBezTo>
                    <a:pt x="1705" y="521"/>
                    <a:pt x="1718" y="494"/>
                    <a:pt x="1718" y="465"/>
                  </a:cubicBezTo>
                  <a:cubicBezTo>
                    <a:pt x="1718" y="231"/>
                    <a:pt x="1718" y="231"/>
                    <a:pt x="1718" y="231"/>
                  </a:cubicBezTo>
                  <a:cubicBezTo>
                    <a:pt x="1718" y="140"/>
                    <a:pt x="1644" y="66"/>
                    <a:pt x="1553" y="66"/>
                  </a:cubicBezTo>
                  <a:cubicBezTo>
                    <a:pt x="793" y="66"/>
                    <a:pt x="793" y="66"/>
                    <a:pt x="793" y="66"/>
                  </a:cubicBezTo>
                  <a:cubicBezTo>
                    <a:pt x="793" y="132"/>
                    <a:pt x="793" y="132"/>
                    <a:pt x="793" y="132"/>
                  </a:cubicBezTo>
                  <a:cubicBezTo>
                    <a:pt x="661" y="132"/>
                    <a:pt x="661" y="132"/>
                    <a:pt x="661" y="132"/>
                  </a:cubicBezTo>
                  <a:cubicBezTo>
                    <a:pt x="661" y="0"/>
                    <a:pt x="661" y="0"/>
                    <a:pt x="661" y="0"/>
                  </a:cubicBezTo>
                  <a:cubicBezTo>
                    <a:pt x="157" y="0"/>
                    <a:pt x="157" y="0"/>
                    <a:pt x="157" y="0"/>
                  </a:cubicBezTo>
                  <a:cubicBezTo>
                    <a:pt x="0" y="79"/>
                    <a:pt x="0" y="79"/>
                    <a:pt x="0" y="79"/>
                  </a:cubicBezTo>
                  <a:cubicBezTo>
                    <a:pt x="0" y="198"/>
                    <a:pt x="0" y="198"/>
                    <a:pt x="0" y="198"/>
                  </a:cubicBezTo>
                  <a:cubicBezTo>
                    <a:pt x="264" y="198"/>
                    <a:pt x="264" y="198"/>
                    <a:pt x="264" y="198"/>
                  </a:cubicBezTo>
                  <a:cubicBezTo>
                    <a:pt x="264" y="264"/>
                    <a:pt x="264" y="264"/>
                    <a:pt x="264" y="264"/>
                  </a:cubicBezTo>
                  <a:cubicBezTo>
                    <a:pt x="0" y="264"/>
                    <a:pt x="0" y="264"/>
                    <a:pt x="0" y="264"/>
                  </a:cubicBezTo>
                  <a:cubicBezTo>
                    <a:pt x="0" y="384"/>
                    <a:pt x="0" y="384"/>
                    <a:pt x="0" y="384"/>
                  </a:cubicBezTo>
                  <a:cubicBezTo>
                    <a:pt x="157" y="462"/>
                    <a:pt x="157" y="462"/>
                    <a:pt x="157" y="462"/>
                  </a:cubicBezTo>
                  <a:cubicBezTo>
                    <a:pt x="661" y="462"/>
                    <a:pt x="661" y="462"/>
                    <a:pt x="661" y="462"/>
                  </a:cubicBezTo>
                  <a:cubicBezTo>
                    <a:pt x="661" y="330"/>
                    <a:pt x="661" y="330"/>
                    <a:pt x="661" y="330"/>
                  </a:cubicBezTo>
                  <a:cubicBezTo>
                    <a:pt x="793" y="330"/>
                    <a:pt x="793" y="330"/>
                    <a:pt x="793" y="330"/>
                  </a:cubicBezTo>
                  <a:cubicBezTo>
                    <a:pt x="793" y="396"/>
                    <a:pt x="793" y="396"/>
                    <a:pt x="793" y="396"/>
                  </a:cubicBezTo>
                  <a:cubicBezTo>
                    <a:pt x="1268" y="396"/>
                    <a:pt x="1268" y="396"/>
                    <a:pt x="1268" y="396"/>
                  </a:cubicBezTo>
                  <a:cubicBezTo>
                    <a:pt x="710" y="895"/>
                    <a:pt x="710" y="895"/>
                    <a:pt x="710" y="895"/>
                  </a:cubicBezTo>
                  <a:cubicBezTo>
                    <a:pt x="607" y="914"/>
                    <a:pt x="529" y="1004"/>
                    <a:pt x="529" y="1112"/>
                  </a:cubicBezTo>
                  <a:cubicBezTo>
                    <a:pt x="529" y="1170"/>
                    <a:pt x="551" y="1226"/>
                    <a:pt x="593" y="1267"/>
                  </a:cubicBezTo>
                  <a:cubicBezTo>
                    <a:pt x="779" y="1453"/>
                    <a:pt x="779" y="1453"/>
                    <a:pt x="779" y="1453"/>
                  </a:cubicBezTo>
                  <a:cubicBezTo>
                    <a:pt x="892" y="1453"/>
                    <a:pt x="892" y="1453"/>
                    <a:pt x="892" y="1453"/>
                  </a:cubicBezTo>
                  <a:cubicBezTo>
                    <a:pt x="892" y="1519"/>
                    <a:pt x="892" y="1519"/>
                    <a:pt x="892" y="1519"/>
                  </a:cubicBezTo>
                  <a:cubicBezTo>
                    <a:pt x="826" y="1519"/>
                    <a:pt x="826" y="1519"/>
                    <a:pt x="826" y="1519"/>
                  </a:cubicBezTo>
                  <a:cubicBezTo>
                    <a:pt x="826" y="1718"/>
                    <a:pt x="826" y="1718"/>
                    <a:pt x="826" y="1718"/>
                  </a:cubicBezTo>
                  <a:cubicBezTo>
                    <a:pt x="892" y="1718"/>
                    <a:pt x="892" y="1718"/>
                    <a:pt x="892" y="1718"/>
                  </a:cubicBezTo>
                  <a:cubicBezTo>
                    <a:pt x="892" y="1784"/>
                    <a:pt x="892" y="1784"/>
                    <a:pt x="892" y="1784"/>
                  </a:cubicBezTo>
                  <a:cubicBezTo>
                    <a:pt x="529" y="1784"/>
                    <a:pt x="529" y="1784"/>
                    <a:pt x="529" y="1784"/>
                  </a:cubicBezTo>
                  <a:cubicBezTo>
                    <a:pt x="529" y="2048"/>
                    <a:pt x="529" y="2048"/>
                    <a:pt x="529" y="2048"/>
                  </a:cubicBezTo>
                  <a:cubicBezTo>
                    <a:pt x="2048" y="2048"/>
                    <a:pt x="2048" y="2048"/>
                    <a:pt x="2048" y="2048"/>
                  </a:cubicBezTo>
                  <a:cubicBezTo>
                    <a:pt x="2048" y="1784"/>
                    <a:pt x="2048" y="1784"/>
                    <a:pt x="2048" y="1784"/>
                  </a:cubicBezTo>
                  <a:lnTo>
                    <a:pt x="1354" y="1784"/>
                  </a:lnTo>
                  <a:close/>
                  <a:moveTo>
                    <a:pt x="396" y="396"/>
                  </a:moveTo>
                  <a:cubicBezTo>
                    <a:pt x="173" y="396"/>
                    <a:pt x="173" y="396"/>
                    <a:pt x="173" y="396"/>
                  </a:cubicBezTo>
                  <a:cubicBezTo>
                    <a:pt x="66" y="343"/>
                    <a:pt x="66" y="343"/>
                    <a:pt x="66" y="343"/>
                  </a:cubicBezTo>
                  <a:cubicBezTo>
                    <a:pt x="66" y="330"/>
                    <a:pt x="66" y="330"/>
                    <a:pt x="66" y="330"/>
                  </a:cubicBezTo>
                  <a:cubicBezTo>
                    <a:pt x="330" y="330"/>
                    <a:pt x="330" y="330"/>
                    <a:pt x="330" y="330"/>
                  </a:cubicBezTo>
                  <a:cubicBezTo>
                    <a:pt x="330" y="132"/>
                    <a:pt x="330" y="132"/>
                    <a:pt x="330" y="132"/>
                  </a:cubicBezTo>
                  <a:cubicBezTo>
                    <a:pt x="66" y="132"/>
                    <a:pt x="66" y="132"/>
                    <a:pt x="66" y="132"/>
                  </a:cubicBezTo>
                  <a:cubicBezTo>
                    <a:pt x="66" y="120"/>
                    <a:pt x="66" y="120"/>
                    <a:pt x="66" y="120"/>
                  </a:cubicBezTo>
                  <a:cubicBezTo>
                    <a:pt x="173" y="66"/>
                    <a:pt x="173" y="66"/>
                    <a:pt x="173" y="66"/>
                  </a:cubicBezTo>
                  <a:cubicBezTo>
                    <a:pt x="396" y="66"/>
                    <a:pt x="396" y="66"/>
                    <a:pt x="396" y="66"/>
                  </a:cubicBezTo>
                  <a:lnTo>
                    <a:pt x="396" y="396"/>
                  </a:lnTo>
                  <a:close/>
                  <a:moveTo>
                    <a:pt x="595" y="396"/>
                  </a:moveTo>
                  <a:cubicBezTo>
                    <a:pt x="462" y="396"/>
                    <a:pt x="462" y="396"/>
                    <a:pt x="462" y="396"/>
                  </a:cubicBezTo>
                  <a:cubicBezTo>
                    <a:pt x="462" y="66"/>
                    <a:pt x="462" y="66"/>
                    <a:pt x="462" y="66"/>
                  </a:cubicBezTo>
                  <a:cubicBezTo>
                    <a:pt x="595" y="66"/>
                    <a:pt x="595" y="66"/>
                    <a:pt x="595" y="66"/>
                  </a:cubicBezTo>
                  <a:lnTo>
                    <a:pt x="595" y="396"/>
                  </a:lnTo>
                  <a:close/>
                  <a:moveTo>
                    <a:pt x="793" y="264"/>
                  </a:moveTo>
                  <a:cubicBezTo>
                    <a:pt x="661" y="264"/>
                    <a:pt x="661" y="264"/>
                    <a:pt x="661" y="264"/>
                  </a:cubicBezTo>
                  <a:cubicBezTo>
                    <a:pt x="661" y="198"/>
                    <a:pt x="661" y="198"/>
                    <a:pt x="661" y="198"/>
                  </a:cubicBezTo>
                  <a:cubicBezTo>
                    <a:pt x="793" y="198"/>
                    <a:pt x="793" y="198"/>
                    <a:pt x="793" y="198"/>
                  </a:cubicBezTo>
                  <a:lnTo>
                    <a:pt x="793" y="264"/>
                  </a:lnTo>
                  <a:close/>
                  <a:moveTo>
                    <a:pt x="1354" y="1652"/>
                  </a:moveTo>
                  <a:cubicBezTo>
                    <a:pt x="1288" y="1652"/>
                    <a:pt x="1288" y="1652"/>
                    <a:pt x="1288" y="1652"/>
                  </a:cubicBezTo>
                  <a:cubicBezTo>
                    <a:pt x="1288" y="1586"/>
                    <a:pt x="1288" y="1586"/>
                    <a:pt x="1288" y="1586"/>
                  </a:cubicBezTo>
                  <a:cubicBezTo>
                    <a:pt x="1354" y="1586"/>
                    <a:pt x="1354" y="1586"/>
                    <a:pt x="1354" y="1586"/>
                  </a:cubicBezTo>
                  <a:lnTo>
                    <a:pt x="1354" y="1652"/>
                  </a:lnTo>
                  <a:close/>
                  <a:moveTo>
                    <a:pt x="1288" y="1718"/>
                  </a:moveTo>
                  <a:cubicBezTo>
                    <a:pt x="1288" y="1784"/>
                    <a:pt x="1288" y="1784"/>
                    <a:pt x="1288" y="1784"/>
                  </a:cubicBezTo>
                  <a:cubicBezTo>
                    <a:pt x="958" y="1784"/>
                    <a:pt x="958" y="1784"/>
                    <a:pt x="958" y="1784"/>
                  </a:cubicBezTo>
                  <a:cubicBezTo>
                    <a:pt x="958" y="1718"/>
                    <a:pt x="958" y="1718"/>
                    <a:pt x="958" y="1718"/>
                  </a:cubicBezTo>
                  <a:lnTo>
                    <a:pt x="1288" y="1718"/>
                  </a:lnTo>
                  <a:close/>
                  <a:moveTo>
                    <a:pt x="1024" y="1652"/>
                  </a:moveTo>
                  <a:cubicBezTo>
                    <a:pt x="1024" y="1586"/>
                    <a:pt x="1024" y="1586"/>
                    <a:pt x="1024" y="1586"/>
                  </a:cubicBezTo>
                  <a:cubicBezTo>
                    <a:pt x="1090" y="1586"/>
                    <a:pt x="1090" y="1586"/>
                    <a:pt x="1090" y="1586"/>
                  </a:cubicBezTo>
                  <a:cubicBezTo>
                    <a:pt x="1090" y="1652"/>
                    <a:pt x="1090" y="1652"/>
                    <a:pt x="1090" y="1652"/>
                  </a:cubicBezTo>
                  <a:lnTo>
                    <a:pt x="1024" y="1652"/>
                  </a:lnTo>
                  <a:close/>
                  <a:moveTo>
                    <a:pt x="1156" y="1652"/>
                  </a:moveTo>
                  <a:cubicBezTo>
                    <a:pt x="1156" y="1586"/>
                    <a:pt x="1156" y="1586"/>
                    <a:pt x="1156" y="1586"/>
                  </a:cubicBezTo>
                  <a:cubicBezTo>
                    <a:pt x="1222" y="1586"/>
                    <a:pt x="1222" y="1586"/>
                    <a:pt x="1222" y="1586"/>
                  </a:cubicBezTo>
                  <a:cubicBezTo>
                    <a:pt x="1222" y="1652"/>
                    <a:pt x="1222" y="1652"/>
                    <a:pt x="1222" y="1652"/>
                  </a:cubicBezTo>
                  <a:lnTo>
                    <a:pt x="1156" y="1652"/>
                  </a:lnTo>
                  <a:close/>
                  <a:moveTo>
                    <a:pt x="958" y="1519"/>
                  </a:moveTo>
                  <a:cubicBezTo>
                    <a:pt x="958" y="1453"/>
                    <a:pt x="958" y="1453"/>
                    <a:pt x="958" y="1453"/>
                  </a:cubicBezTo>
                  <a:cubicBezTo>
                    <a:pt x="1288" y="1453"/>
                    <a:pt x="1288" y="1453"/>
                    <a:pt x="1288" y="1453"/>
                  </a:cubicBezTo>
                  <a:cubicBezTo>
                    <a:pt x="1288" y="1519"/>
                    <a:pt x="1288" y="1519"/>
                    <a:pt x="1288" y="1519"/>
                  </a:cubicBezTo>
                  <a:lnTo>
                    <a:pt x="958" y="1519"/>
                  </a:lnTo>
                  <a:close/>
                  <a:moveTo>
                    <a:pt x="1586" y="699"/>
                  </a:moveTo>
                  <a:cubicBezTo>
                    <a:pt x="1586" y="728"/>
                    <a:pt x="1573" y="755"/>
                    <a:pt x="1551" y="774"/>
                  </a:cubicBezTo>
                  <a:cubicBezTo>
                    <a:pt x="1111" y="1156"/>
                    <a:pt x="1111" y="1156"/>
                    <a:pt x="1111" y="1156"/>
                  </a:cubicBezTo>
                  <a:cubicBezTo>
                    <a:pt x="1104" y="1156"/>
                    <a:pt x="1104" y="1156"/>
                    <a:pt x="1104" y="1156"/>
                  </a:cubicBezTo>
                  <a:cubicBezTo>
                    <a:pt x="1040" y="1092"/>
                    <a:pt x="1040" y="1092"/>
                    <a:pt x="1040" y="1092"/>
                  </a:cubicBezTo>
                  <a:cubicBezTo>
                    <a:pt x="1586" y="624"/>
                    <a:pt x="1586" y="624"/>
                    <a:pt x="1586" y="624"/>
                  </a:cubicBezTo>
                  <a:lnTo>
                    <a:pt x="1586" y="699"/>
                  </a:lnTo>
                  <a:close/>
                  <a:moveTo>
                    <a:pt x="925" y="330"/>
                  </a:moveTo>
                  <a:cubicBezTo>
                    <a:pt x="859" y="330"/>
                    <a:pt x="859" y="330"/>
                    <a:pt x="859" y="330"/>
                  </a:cubicBezTo>
                  <a:cubicBezTo>
                    <a:pt x="859" y="132"/>
                    <a:pt x="859" y="132"/>
                    <a:pt x="859" y="132"/>
                  </a:cubicBezTo>
                  <a:cubicBezTo>
                    <a:pt x="925" y="132"/>
                    <a:pt x="925" y="132"/>
                    <a:pt x="925" y="132"/>
                  </a:cubicBezTo>
                  <a:lnTo>
                    <a:pt x="925" y="330"/>
                  </a:lnTo>
                  <a:close/>
                  <a:moveTo>
                    <a:pt x="991" y="330"/>
                  </a:moveTo>
                  <a:cubicBezTo>
                    <a:pt x="991" y="132"/>
                    <a:pt x="991" y="132"/>
                    <a:pt x="991" y="132"/>
                  </a:cubicBezTo>
                  <a:cubicBezTo>
                    <a:pt x="1553" y="132"/>
                    <a:pt x="1553" y="132"/>
                    <a:pt x="1553" y="132"/>
                  </a:cubicBezTo>
                  <a:cubicBezTo>
                    <a:pt x="1607" y="132"/>
                    <a:pt x="1652" y="177"/>
                    <a:pt x="1652" y="231"/>
                  </a:cubicBezTo>
                  <a:cubicBezTo>
                    <a:pt x="1652" y="330"/>
                    <a:pt x="1652" y="330"/>
                    <a:pt x="1652" y="330"/>
                  </a:cubicBezTo>
                  <a:lnTo>
                    <a:pt x="991" y="330"/>
                  </a:lnTo>
                  <a:close/>
                  <a:moveTo>
                    <a:pt x="1367" y="396"/>
                  </a:moveTo>
                  <a:cubicBezTo>
                    <a:pt x="1652" y="396"/>
                    <a:pt x="1652" y="396"/>
                    <a:pt x="1652" y="396"/>
                  </a:cubicBezTo>
                  <a:cubicBezTo>
                    <a:pt x="1652" y="465"/>
                    <a:pt x="1652" y="465"/>
                    <a:pt x="1652" y="465"/>
                  </a:cubicBezTo>
                  <a:cubicBezTo>
                    <a:pt x="1652" y="475"/>
                    <a:pt x="1647" y="484"/>
                    <a:pt x="1640" y="490"/>
                  </a:cubicBezTo>
                  <a:cubicBezTo>
                    <a:pt x="993" y="1045"/>
                    <a:pt x="993" y="1045"/>
                    <a:pt x="993" y="1045"/>
                  </a:cubicBezTo>
                  <a:cubicBezTo>
                    <a:pt x="904" y="956"/>
                    <a:pt x="904" y="956"/>
                    <a:pt x="904" y="956"/>
                  </a:cubicBezTo>
                  <a:cubicBezTo>
                    <a:pt x="876" y="928"/>
                    <a:pt x="842" y="909"/>
                    <a:pt x="805" y="899"/>
                  </a:cubicBezTo>
                  <a:lnTo>
                    <a:pt x="1367" y="396"/>
                  </a:lnTo>
                  <a:close/>
                  <a:moveTo>
                    <a:pt x="806" y="1387"/>
                  </a:moveTo>
                  <a:cubicBezTo>
                    <a:pt x="640" y="1221"/>
                    <a:pt x="640" y="1221"/>
                    <a:pt x="640" y="1221"/>
                  </a:cubicBezTo>
                  <a:cubicBezTo>
                    <a:pt x="611" y="1191"/>
                    <a:pt x="595" y="1153"/>
                    <a:pt x="595" y="1112"/>
                  </a:cubicBezTo>
                  <a:cubicBezTo>
                    <a:pt x="595" y="1027"/>
                    <a:pt x="664" y="958"/>
                    <a:pt x="748" y="958"/>
                  </a:cubicBezTo>
                  <a:cubicBezTo>
                    <a:pt x="790" y="958"/>
                    <a:pt x="828" y="974"/>
                    <a:pt x="857" y="1003"/>
                  </a:cubicBezTo>
                  <a:cubicBezTo>
                    <a:pt x="1076" y="1222"/>
                    <a:pt x="1076" y="1222"/>
                    <a:pt x="1076" y="1222"/>
                  </a:cubicBezTo>
                  <a:cubicBezTo>
                    <a:pt x="1420" y="1222"/>
                    <a:pt x="1420" y="1222"/>
                    <a:pt x="1420" y="1222"/>
                  </a:cubicBezTo>
                  <a:cubicBezTo>
                    <a:pt x="1420" y="1387"/>
                    <a:pt x="1420" y="1387"/>
                    <a:pt x="1420" y="1387"/>
                  </a:cubicBezTo>
                  <a:lnTo>
                    <a:pt x="806" y="1387"/>
                  </a:lnTo>
                  <a:close/>
                  <a:moveTo>
                    <a:pt x="892" y="1586"/>
                  </a:moveTo>
                  <a:cubicBezTo>
                    <a:pt x="958" y="1586"/>
                    <a:pt x="958" y="1586"/>
                    <a:pt x="958" y="1586"/>
                  </a:cubicBezTo>
                  <a:cubicBezTo>
                    <a:pt x="958" y="1652"/>
                    <a:pt x="958" y="1652"/>
                    <a:pt x="958" y="1652"/>
                  </a:cubicBezTo>
                  <a:cubicBezTo>
                    <a:pt x="892" y="1652"/>
                    <a:pt x="892" y="1652"/>
                    <a:pt x="892" y="1652"/>
                  </a:cubicBezTo>
                  <a:lnTo>
                    <a:pt x="892" y="1586"/>
                  </a:lnTo>
                  <a:close/>
                  <a:moveTo>
                    <a:pt x="1982" y="1982"/>
                  </a:moveTo>
                  <a:cubicBezTo>
                    <a:pt x="1916" y="1982"/>
                    <a:pt x="1916" y="1982"/>
                    <a:pt x="1916" y="1982"/>
                  </a:cubicBezTo>
                  <a:cubicBezTo>
                    <a:pt x="1916" y="1916"/>
                    <a:pt x="1916" y="1916"/>
                    <a:pt x="1916" y="1916"/>
                  </a:cubicBezTo>
                  <a:cubicBezTo>
                    <a:pt x="1850" y="1916"/>
                    <a:pt x="1850" y="1916"/>
                    <a:pt x="1850" y="1916"/>
                  </a:cubicBezTo>
                  <a:cubicBezTo>
                    <a:pt x="1850" y="1982"/>
                    <a:pt x="1850" y="1982"/>
                    <a:pt x="1850" y="1982"/>
                  </a:cubicBezTo>
                  <a:cubicBezTo>
                    <a:pt x="1784" y="1982"/>
                    <a:pt x="1784" y="1982"/>
                    <a:pt x="1784" y="1982"/>
                  </a:cubicBezTo>
                  <a:cubicBezTo>
                    <a:pt x="1784" y="1916"/>
                    <a:pt x="1784" y="1916"/>
                    <a:pt x="1784" y="1916"/>
                  </a:cubicBezTo>
                  <a:cubicBezTo>
                    <a:pt x="1718" y="1916"/>
                    <a:pt x="1718" y="1916"/>
                    <a:pt x="1718" y="1916"/>
                  </a:cubicBezTo>
                  <a:cubicBezTo>
                    <a:pt x="1718" y="1982"/>
                    <a:pt x="1718" y="1982"/>
                    <a:pt x="1718" y="1982"/>
                  </a:cubicBezTo>
                  <a:cubicBezTo>
                    <a:pt x="1652" y="1982"/>
                    <a:pt x="1652" y="1982"/>
                    <a:pt x="1652" y="1982"/>
                  </a:cubicBezTo>
                  <a:cubicBezTo>
                    <a:pt x="1652" y="1916"/>
                    <a:pt x="1652" y="1916"/>
                    <a:pt x="1652" y="1916"/>
                  </a:cubicBezTo>
                  <a:cubicBezTo>
                    <a:pt x="1586" y="1916"/>
                    <a:pt x="1586" y="1916"/>
                    <a:pt x="1586" y="1916"/>
                  </a:cubicBezTo>
                  <a:cubicBezTo>
                    <a:pt x="1586" y="1982"/>
                    <a:pt x="1586" y="1982"/>
                    <a:pt x="1586" y="1982"/>
                  </a:cubicBezTo>
                  <a:cubicBezTo>
                    <a:pt x="1519" y="1982"/>
                    <a:pt x="1519" y="1982"/>
                    <a:pt x="1519" y="1982"/>
                  </a:cubicBezTo>
                  <a:cubicBezTo>
                    <a:pt x="1519" y="1916"/>
                    <a:pt x="1519" y="1916"/>
                    <a:pt x="1519" y="1916"/>
                  </a:cubicBezTo>
                  <a:cubicBezTo>
                    <a:pt x="1453" y="1916"/>
                    <a:pt x="1453" y="1916"/>
                    <a:pt x="1453" y="1916"/>
                  </a:cubicBezTo>
                  <a:cubicBezTo>
                    <a:pt x="1453" y="1982"/>
                    <a:pt x="1453" y="1982"/>
                    <a:pt x="1453" y="1982"/>
                  </a:cubicBezTo>
                  <a:cubicBezTo>
                    <a:pt x="1387" y="1982"/>
                    <a:pt x="1387" y="1982"/>
                    <a:pt x="1387" y="1982"/>
                  </a:cubicBezTo>
                  <a:cubicBezTo>
                    <a:pt x="1387" y="1916"/>
                    <a:pt x="1387" y="1916"/>
                    <a:pt x="1387" y="1916"/>
                  </a:cubicBezTo>
                  <a:cubicBezTo>
                    <a:pt x="1321" y="1916"/>
                    <a:pt x="1321" y="1916"/>
                    <a:pt x="1321" y="1916"/>
                  </a:cubicBezTo>
                  <a:cubicBezTo>
                    <a:pt x="1321" y="1982"/>
                    <a:pt x="1321" y="1982"/>
                    <a:pt x="1321" y="1982"/>
                  </a:cubicBezTo>
                  <a:cubicBezTo>
                    <a:pt x="1255" y="1982"/>
                    <a:pt x="1255" y="1982"/>
                    <a:pt x="1255" y="1982"/>
                  </a:cubicBezTo>
                  <a:cubicBezTo>
                    <a:pt x="1255" y="1916"/>
                    <a:pt x="1255" y="1916"/>
                    <a:pt x="1255" y="1916"/>
                  </a:cubicBezTo>
                  <a:cubicBezTo>
                    <a:pt x="1189" y="1916"/>
                    <a:pt x="1189" y="1916"/>
                    <a:pt x="1189" y="1916"/>
                  </a:cubicBezTo>
                  <a:cubicBezTo>
                    <a:pt x="1189" y="1982"/>
                    <a:pt x="1189" y="1982"/>
                    <a:pt x="1189" y="1982"/>
                  </a:cubicBezTo>
                  <a:cubicBezTo>
                    <a:pt x="1123" y="1982"/>
                    <a:pt x="1123" y="1982"/>
                    <a:pt x="1123" y="1982"/>
                  </a:cubicBezTo>
                  <a:cubicBezTo>
                    <a:pt x="1123" y="1916"/>
                    <a:pt x="1123" y="1916"/>
                    <a:pt x="1123" y="1916"/>
                  </a:cubicBezTo>
                  <a:cubicBezTo>
                    <a:pt x="1057" y="1916"/>
                    <a:pt x="1057" y="1916"/>
                    <a:pt x="1057" y="1916"/>
                  </a:cubicBezTo>
                  <a:cubicBezTo>
                    <a:pt x="1057" y="1982"/>
                    <a:pt x="1057" y="1982"/>
                    <a:pt x="1057" y="1982"/>
                  </a:cubicBezTo>
                  <a:cubicBezTo>
                    <a:pt x="991" y="1982"/>
                    <a:pt x="991" y="1982"/>
                    <a:pt x="991" y="1982"/>
                  </a:cubicBezTo>
                  <a:cubicBezTo>
                    <a:pt x="991" y="1916"/>
                    <a:pt x="991" y="1916"/>
                    <a:pt x="991" y="1916"/>
                  </a:cubicBezTo>
                  <a:cubicBezTo>
                    <a:pt x="925" y="1916"/>
                    <a:pt x="925" y="1916"/>
                    <a:pt x="925" y="1916"/>
                  </a:cubicBezTo>
                  <a:cubicBezTo>
                    <a:pt x="925" y="1982"/>
                    <a:pt x="925" y="1982"/>
                    <a:pt x="925" y="1982"/>
                  </a:cubicBezTo>
                  <a:cubicBezTo>
                    <a:pt x="859" y="1982"/>
                    <a:pt x="859" y="1982"/>
                    <a:pt x="859" y="1982"/>
                  </a:cubicBezTo>
                  <a:cubicBezTo>
                    <a:pt x="859" y="1916"/>
                    <a:pt x="859" y="1916"/>
                    <a:pt x="859" y="1916"/>
                  </a:cubicBezTo>
                  <a:cubicBezTo>
                    <a:pt x="793" y="1916"/>
                    <a:pt x="793" y="1916"/>
                    <a:pt x="793" y="1916"/>
                  </a:cubicBezTo>
                  <a:cubicBezTo>
                    <a:pt x="793" y="1982"/>
                    <a:pt x="793" y="1982"/>
                    <a:pt x="793" y="1982"/>
                  </a:cubicBezTo>
                  <a:cubicBezTo>
                    <a:pt x="727" y="1982"/>
                    <a:pt x="727" y="1982"/>
                    <a:pt x="727" y="1982"/>
                  </a:cubicBezTo>
                  <a:cubicBezTo>
                    <a:pt x="727" y="1916"/>
                    <a:pt x="727" y="1916"/>
                    <a:pt x="727" y="1916"/>
                  </a:cubicBezTo>
                  <a:cubicBezTo>
                    <a:pt x="661" y="1916"/>
                    <a:pt x="661" y="1916"/>
                    <a:pt x="661" y="1916"/>
                  </a:cubicBezTo>
                  <a:cubicBezTo>
                    <a:pt x="661" y="1982"/>
                    <a:pt x="661" y="1982"/>
                    <a:pt x="661" y="1982"/>
                  </a:cubicBezTo>
                  <a:cubicBezTo>
                    <a:pt x="595" y="1982"/>
                    <a:pt x="595" y="1982"/>
                    <a:pt x="595" y="1982"/>
                  </a:cubicBezTo>
                  <a:cubicBezTo>
                    <a:pt x="595" y="1850"/>
                    <a:pt x="595" y="1850"/>
                    <a:pt x="595" y="1850"/>
                  </a:cubicBezTo>
                  <a:cubicBezTo>
                    <a:pt x="1982" y="1850"/>
                    <a:pt x="1982" y="1850"/>
                    <a:pt x="1982" y="1850"/>
                  </a:cubicBezTo>
                  <a:lnTo>
                    <a:pt x="1982" y="1982"/>
                  </a:lnTo>
                  <a:close/>
                  <a:moveTo>
                    <a:pt x="743" y="1024"/>
                  </a:moveTo>
                  <a:cubicBezTo>
                    <a:pt x="698" y="1024"/>
                    <a:pt x="661" y="1061"/>
                    <a:pt x="661" y="1107"/>
                  </a:cubicBezTo>
                  <a:cubicBezTo>
                    <a:pt x="661" y="1152"/>
                    <a:pt x="698" y="1189"/>
                    <a:pt x="743" y="1189"/>
                  </a:cubicBezTo>
                  <a:cubicBezTo>
                    <a:pt x="789" y="1189"/>
                    <a:pt x="826" y="1152"/>
                    <a:pt x="826" y="1107"/>
                  </a:cubicBezTo>
                  <a:cubicBezTo>
                    <a:pt x="826" y="1061"/>
                    <a:pt x="789" y="1024"/>
                    <a:pt x="743" y="1024"/>
                  </a:cubicBezTo>
                  <a:close/>
                  <a:moveTo>
                    <a:pt x="743" y="1123"/>
                  </a:moveTo>
                  <a:cubicBezTo>
                    <a:pt x="734" y="1123"/>
                    <a:pt x="727" y="1116"/>
                    <a:pt x="727" y="1107"/>
                  </a:cubicBezTo>
                  <a:cubicBezTo>
                    <a:pt x="727" y="1097"/>
                    <a:pt x="734" y="1090"/>
                    <a:pt x="743" y="1090"/>
                  </a:cubicBezTo>
                  <a:cubicBezTo>
                    <a:pt x="752" y="1090"/>
                    <a:pt x="760" y="1097"/>
                    <a:pt x="760" y="1107"/>
                  </a:cubicBezTo>
                  <a:cubicBezTo>
                    <a:pt x="760" y="1116"/>
                    <a:pt x="752" y="1123"/>
                    <a:pt x="743" y="1123"/>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31" name="Group 233"/>
          <p:cNvGrpSpPr/>
          <p:nvPr/>
        </p:nvGrpSpPr>
        <p:grpSpPr>
          <a:xfrm>
            <a:off x="7666444" y="3840534"/>
            <a:ext cx="292608" cy="292608"/>
            <a:chOff x="7666444" y="3840534"/>
            <a:chExt cx="292608" cy="292608"/>
          </a:xfrm>
        </p:grpSpPr>
        <p:sp>
          <p:nvSpPr>
            <p:cNvPr id="235" name="Oval 234"/>
            <p:cNvSpPr/>
            <p:nvPr/>
          </p:nvSpPr>
          <p:spPr>
            <a:xfrm>
              <a:off x="7666444" y="3840534"/>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36" name="Freeform 22"/>
            <p:cNvSpPr>
              <a:spLocks noEditPoints="1"/>
            </p:cNvSpPr>
            <p:nvPr/>
          </p:nvSpPr>
          <p:spPr bwMode="auto">
            <a:xfrm>
              <a:off x="7730976" y="3907771"/>
              <a:ext cx="163545" cy="158135"/>
            </a:xfrm>
            <a:custGeom>
              <a:avLst/>
              <a:gdLst/>
              <a:ahLst/>
              <a:cxnLst>
                <a:cxn ang="0">
                  <a:pos x="341" y="819"/>
                </a:cxn>
                <a:cxn ang="0">
                  <a:pos x="273" y="888"/>
                </a:cxn>
                <a:cxn ang="0">
                  <a:pos x="273" y="751"/>
                </a:cxn>
                <a:cxn ang="0">
                  <a:pos x="273" y="546"/>
                </a:cxn>
                <a:cxn ang="0">
                  <a:pos x="341" y="615"/>
                </a:cxn>
                <a:cxn ang="0">
                  <a:pos x="341" y="1297"/>
                </a:cxn>
                <a:cxn ang="0">
                  <a:pos x="205" y="1161"/>
                </a:cxn>
                <a:cxn ang="0">
                  <a:pos x="341" y="1229"/>
                </a:cxn>
                <a:cxn ang="0">
                  <a:pos x="410" y="1502"/>
                </a:cxn>
                <a:cxn ang="0">
                  <a:pos x="205" y="1502"/>
                </a:cxn>
                <a:cxn ang="0">
                  <a:pos x="273" y="1502"/>
                </a:cxn>
                <a:cxn ang="0">
                  <a:pos x="1843" y="888"/>
                </a:cxn>
                <a:cxn ang="0">
                  <a:pos x="1707" y="1024"/>
                </a:cxn>
                <a:cxn ang="0">
                  <a:pos x="1707" y="888"/>
                </a:cxn>
                <a:cxn ang="0">
                  <a:pos x="887" y="1127"/>
                </a:cxn>
                <a:cxn ang="0">
                  <a:pos x="819" y="1195"/>
                </a:cxn>
                <a:cxn ang="0">
                  <a:pos x="1707" y="751"/>
                </a:cxn>
                <a:cxn ang="0">
                  <a:pos x="1707" y="546"/>
                </a:cxn>
                <a:cxn ang="0">
                  <a:pos x="1775" y="615"/>
                </a:cxn>
                <a:cxn ang="0">
                  <a:pos x="1775" y="1297"/>
                </a:cxn>
                <a:cxn ang="0">
                  <a:pos x="1638" y="1161"/>
                </a:cxn>
                <a:cxn ang="0">
                  <a:pos x="1775" y="1229"/>
                </a:cxn>
                <a:cxn ang="0">
                  <a:pos x="1297" y="444"/>
                </a:cxn>
                <a:cxn ang="0">
                  <a:pos x="1092" y="444"/>
                </a:cxn>
                <a:cxn ang="0">
                  <a:pos x="1161" y="444"/>
                </a:cxn>
                <a:cxn ang="0">
                  <a:pos x="1843" y="1434"/>
                </a:cxn>
                <a:cxn ang="0">
                  <a:pos x="1707" y="1570"/>
                </a:cxn>
                <a:cxn ang="0">
                  <a:pos x="1707" y="1434"/>
                </a:cxn>
                <a:cxn ang="0">
                  <a:pos x="1843" y="376"/>
                </a:cxn>
                <a:cxn ang="0">
                  <a:pos x="1638" y="376"/>
                </a:cxn>
                <a:cxn ang="0">
                  <a:pos x="1161" y="68"/>
                </a:cxn>
                <a:cxn ang="0">
                  <a:pos x="956" y="68"/>
                </a:cxn>
                <a:cxn ang="0">
                  <a:pos x="580" y="68"/>
                </a:cxn>
                <a:cxn ang="0">
                  <a:pos x="375" y="341"/>
                </a:cxn>
                <a:cxn ang="0">
                  <a:pos x="171" y="341"/>
                </a:cxn>
                <a:cxn ang="0">
                  <a:pos x="0" y="1946"/>
                </a:cxn>
                <a:cxn ang="0">
                  <a:pos x="2014" y="410"/>
                </a:cxn>
                <a:cxn ang="0">
                  <a:pos x="546" y="1912"/>
                </a:cxn>
                <a:cxn ang="0">
                  <a:pos x="546" y="1639"/>
                </a:cxn>
                <a:cxn ang="0">
                  <a:pos x="990" y="1912"/>
                </a:cxn>
                <a:cxn ang="0">
                  <a:pos x="1263" y="1912"/>
                </a:cxn>
                <a:cxn ang="0">
                  <a:pos x="751" y="1570"/>
                </a:cxn>
                <a:cxn ang="0">
                  <a:pos x="614" y="1673"/>
                </a:cxn>
                <a:cxn ang="0">
                  <a:pos x="1502" y="1912"/>
                </a:cxn>
                <a:cxn ang="0">
                  <a:pos x="1502" y="1639"/>
                </a:cxn>
                <a:cxn ang="0">
                  <a:pos x="1229" y="1058"/>
                </a:cxn>
                <a:cxn ang="0">
                  <a:pos x="1092" y="922"/>
                </a:cxn>
                <a:cxn ang="0">
                  <a:pos x="1229" y="990"/>
                </a:cxn>
                <a:cxn ang="0">
                  <a:pos x="956" y="990"/>
                </a:cxn>
                <a:cxn ang="0">
                  <a:pos x="751" y="990"/>
                </a:cxn>
                <a:cxn ang="0">
                  <a:pos x="819" y="990"/>
                </a:cxn>
                <a:cxn ang="0">
                  <a:pos x="1297" y="649"/>
                </a:cxn>
                <a:cxn ang="0">
                  <a:pos x="1161" y="785"/>
                </a:cxn>
                <a:cxn ang="0">
                  <a:pos x="1161" y="649"/>
                </a:cxn>
                <a:cxn ang="0">
                  <a:pos x="1229" y="1127"/>
                </a:cxn>
                <a:cxn ang="0">
                  <a:pos x="1161" y="1195"/>
                </a:cxn>
                <a:cxn ang="0">
                  <a:pos x="819" y="785"/>
                </a:cxn>
                <a:cxn ang="0">
                  <a:pos x="819" y="580"/>
                </a:cxn>
                <a:cxn ang="0">
                  <a:pos x="887" y="649"/>
                </a:cxn>
                <a:cxn ang="0">
                  <a:pos x="887" y="512"/>
                </a:cxn>
                <a:cxn ang="0">
                  <a:pos x="751" y="376"/>
                </a:cxn>
                <a:cxn ang="0">
                  <a:pos x="887" y="444"/>
                </a:cxn>
              </a:cxnLst>
              <a:rect l="0" t="0" r="r" b="b"/>
              <a:pathLst>
                <a:path w="2048" h="1980">
                  <a:moveTo>
                    <a:pt x="273" y="1024"/>
                  </a:moveTo>
                  <a:cubicBezTo>
                    <a:pt x="341" y="1024"/>
                    <a:pt x="341" y="1024"/>
                    <a:pt x="341" y="1024"/>
                  </a:cubicBezTo>
                  <a:cubicBezTo>
                    <a:pt x="379" y="1024"/>
                    <a:pt x="410" y="993"/>
                    <a:pt x="410" y="956"/>
                  </a:cubicBezTo>
                  <a:cubicBezTo>
                    <a:pt x="410" y="888"/>
                    <a:pt x="410" y="888"/>
                    <a:pt x="410" y="888"/>
                  </a:cubicBezTo>
                  <a:cubicBezTo>
                    <a:pt x="410" y="850"/>
                    <a:pt x="379" y="819"/>
                    <a:pt x="341" y="819"/>
                  </a:cubicBezTo>
                  <a:cubicBezTo>
                    <a:pt x="273" y="819"/>
                    <a:pt x="273" y="819"/>
                    <a:pt x="273" y="819"/>
                  </a:cubicBezTo>
                  <a:cubicBezTo>
                    <a:pt x="236" y="819"/>
                    <a:pt x="205" y="850"/>
                    <a:pt x="205" y="888"/>
                  </a:cubicBezTo>
                  <a:cubicBezTo>
                    <a:pt x="205" y="956"/>
                    <a:pt x="205" y="956"/>
                    <a:pt x="205" y="956"/>
                  </a:cubicBezTo>
                  <a:cubicBezTo>
                    <a:pt x="205" y="993"/>
                    <a:pt x="236" y="1024"/>
                    <a:pt x="273" y="1024"/>
                  </a:cubicBezTo>
                  <a:close/>
                  <a:moveTo>
                    <a:pt x="273" y="888"/>
                  </a:moveTo>
                  <a:cubicBezTo>
                    <a:pt x="341" y="888"/>
                    <a:pt x="341" y="888"/>
                    <a:pt x="341" y="888"/>
                  </a:cubicBezTo>
                  <a:cubicBezTo>
                    <a:pt x="341" y="956"/>
                    <a:pt x="341" y="956"/>
                    <a:pt x="341" y="956"/>
                  </a:cubicBezTo>
                  <a:cubicBezTo>
                    <a:pt x="273" y="956"/>
                    <a:pt x="273" y="956"/>
                    <a:pt x="273" y="956"/>
                  </a:cubicBezTo>
                  <a:lnTo>
                    <a:pt x="273" y="888"/>
                  </a:lnTo>
                  <a:close/>
                  <a:moveTo>
                    <a:pt x="273" y="751"/>
                  </a:moveTo>
                  <a:cubicBezTo>
                    <a:pt x="341" y="751"/>
                    <a:pt x="341" y="751"/>
                    <a:pt x="341" y="751"/>
                  </a:cubicBezTo>
                  <a:cubicBezTo>
                    <a:pt x="379" y="751"/>
                    <a:pt x="410" y="720"/>
                    <a:pt x="410" y="683"/>
                  </a:cubicBezTo>
                  <a:cubicBezTo>
                    <a:pt x="410" y="615"/>
                    <a:pt x="410" y="615"/>
                    <a:pt x="410" y="615"/>
                  </a:cubicBezTo>
                  <a:cubicBezTo>
                    <a:pt x="410" y="577"/>
                    <a:pt x="379" y="546"/>
                    <a:pt x="341" y="546"/>
                  </a:cubicBezTo>
                  <a:cubicBezTo>
                    <a:pt x="273" y="546"/>
                    <a:pt x="273" y="546"/>
                    <a:pt x="273" y="546"/>
                  </a:cubicBezTo>
                  <a:cubicBezTo>
                    <a:pt x="236" y="546"/>
                    <a:pt x="205" y="577"/>
                    <a:pt x="205" y="615"/>
                  </a:cubicBezTo>
                  <a:cubicBezTo>
                    <a:pt x="205" y="683"/>
                    <a:pt x="205" y="683"/>
                    <a:pt x="205" y="683"/>
                  </a:cubicBezTo>
                  <a:cubicBezTo>
                    <a:pt x="205" y="720"/>
                    <a:pt x="236" y="751"/>
                    <a:pt x="273" y="751"/>
                  </a:cubicBezTo>
                  <a:close/>
                  <a:moveTo>
                    <a:pt x="273" y="615"/>
                  </a:moveTo>
                  <a:cubicBezTo>
                    <a:pt x="341" y="615"/>
                    <a:pt x="341" y="615"/>
                    <a:pt x="341" y="615"/>
                  </a:cubicBezTo>
                  <a:cubicBezTo>
                    <a:pt x="341" y="683"/>
                    <a:pt x="341" y="683"/>
                    <a:pt x="341" y="683"/>
                  </a:cubicBezTo>
                  <a:cubicBezTo>
                    <a:pt x="273" y="683"/>
                    <a:pt x="273" y="683"/>
                    <a:pt x="273" y="683"/>
                  </a:cubicBezTo>
                  <a:lnTo>
                    <a:pt x="273" y="615"/>
                  </a:lnTo>
                  <a:close/>
                  <a:moveTo>
                    <a:pt x="273" y="1297"/>
                  </a:moveTo>
                  <a:cubicBezTo>
                    <a:pt x="341" y="1297"/>
                    <a:pt x="341" y="1297"/>
                    <a:pt x="341" y="1297"/>
                  </a:cubicBezTo>
                  <a:cubicBezTo>
                    <a:pt x="379" y="1297"/>
                    <a:pt x="410" y="1266"/>
                    <a:pt x="410" y="1229"/>
                  </a:cubicBezTo>
                  <a:cubicBezTo>
                    <a:pt x="410" y="1161"/>
                    <a:pt x="410" y="1161"/>
                    <a:pt x="410" y="1161"/>
                  </a:cubicBezTo>
                  <a:cubicBezTo>
                    <a:pt x="410" y="1123"/>
                    <a:pt x="379" y="1092"/>
                    <a:pt x="341" y="1092"/>
                  </a:cubicBezTo>
                  <a:cubicBezTo>
                    <a:pt x="273" y="1092"/>
                    <a:pt x="273" y="1092"/>
                    <a:pt x="273" y="1092"/>
                  </a:cubicBezTo>
                  <a:cubicBezTo>
                    <a:pt x="236" y="1092"/>
                    <a:pt x="205" y="1123"/>
                    <a:pt x="205" y="1161"/>
                  </a:cubicBezTo>
                  <a:cubicBezTo>
                    <a:pt x="205" y="1229"/>
                    <a:pt x="205" y="1229"/>
                    <a:pt x="205" y="1229"/>
                  </a:cubicBezTo>
                  <a:cubicBezTo>
                    <a:pt x="205" y="1266"/>
                    <a:pt x="236" y="1297"/>
                    <a:pt x="273" y="1297"/>
                  </a:cubicBezTo>
                  <a:close/>
                  <a:moveTo>
                    <a:pt x="273" y="1161"/>
                  </a:moveTo>
                  <a:cubicBezTo>
                    <a:pt x="341" y="1161"/>
                    <a:pt x="341" y="1161"/>
                    <a:pt x="341" y="1161"/>
                  </a:cubicBezTo>
                  <a:cubicBezTo>
                    <a:pt x="341" y="1229"/>
                    <a:pt x="341" y="1229"/>
                    <a:pt x="341" y="1229"/>
                  </a:cubicBezTo>
                  <a:cubicBezTo>
                    <a:pt x="273" y="1229"/>
                    <a:pt x="273" y="1229"/>
                    <a:pt x="273" y="1229"/>
                  </a:cubicBezTo>
                  <a:lnTo>
                    <a:pt x="273" y="1161"/>
                  </a:lnTo>
                  <a:close/>
                  <a:moveTo>
                    <a:pt x="273" y="1570"/>
                  </a:moveTo>
                  <a:cubicBezTo>
                    <a:pt x="341" y="1570"/>
                    <a:pt x="341" y="1570"/>
                    <a:pt x="341" y="1570"/>
                  </a:cubicBezTo>
                  <a:cubicBezTo>
                    <a:pt x="379" y="1570"/>
                    <a:pt x="410" y="1540"/>
                    <a:pt x="410" y="1502"/>
                  </a:cubicBezTo>
                  <a:cubicBezTo>
                    <a:pt x="410" y="1434"/>
                    <a:pt x="410" y="1434"/>
                    <a:pt x="410" y="1434"/>
                  </a:cubicBezTo>
                  <a:cubicBezTo>
                    <a:pt x="410" y="1396"/>
                    <a:pt x="379" y="1365"/>
                    <a:pt x="341" y="1365"/>
                  </a:cubicBezTo>
                  <a:cubicBezTo>
                    <a:pt x="273" y="1365"/>
                    <a:pt x="273" y="1365"/>
                    <a:pt x="273" y="1365"/>
                  </a:cubicBezTo>
                  <a:cubicBezTo>
                    <a:pt x="236" y="1365"/>
                    <a:pt x="205" y="1396"/>
                    <a:pt x="205" y="1434"/>
                  </a:cubicBezTo>
                  <a:cubicBezTo>
                    <a:pt x="205" y="1502"/>
                    <a:pt x="205" y="1502"/>
                    <a:pt x="205" y="1502"/>
                  </a:cubicBezTo>
                  <a:cubicBezTo>
                    <a:pt x="205" y="1540"/>
                    <a:pt x="236" y="1570"/>
                    <a:pt x="273" y="1570"/>
                  </a:cubicBezTo>
                  <a:close/>
                  <a:moveTo>
                    <a:pt x="273" y="1434"/>
                  </a:moveTo>
                  <a:cubicBezTo>
                    <a:pt x="341" y="1434"/>
                    <a:pt x="341" y="1434"/>
                    <a:pt x="341" y="1434"/>
                  </a:cubicBezTo>
                  <a:cubicBezTo>
                    <a:pt x="341" y="1502"/>
                    <a:pt x="341" y="1502"/>
                    <a:pt x="341" y="1502"/>
                  </a:cubicBezTo>
                  <a:cubicBezTo>
                    <a:pt x="273" y="1502"/>
                    <a:pt x="273" y="1502"/>
                    <a:pt x="273" y="1502"/>
                  </a:cubicBezTo>
                  <a:lnTo>
                    <a:pt x="273" y="1434"/>
                  </a:lnTo>
                  <a:close/>
                  <a:moveTo>
                    <a:pt x="1707" y="1024"/>
                  </a:moveTo>
                  <a:cubicBezTo>
                    <a:pt x="1775" y="1024"/>
                    <a:pt x="1775" y="1024"/>
                    <a:pt x="1775" y="1024"/>
                  </a:cubicBezTo>
                  <a:cubicBezTo>
                    <a:pt x="1812" y="1024"/>
                    <a:pt x="1843" y="993"/>
                    <a:pt x="1843" y="956"/>
                  </a:cubicBezTo>
                  <a:cubicBezTo>
                    <a:pt x="1843" y="888"/>
                    <a:pt x="1843" y="888"/>
                    <a:pt x="1843" y="888"/>
                  </a:cubicBezTo>
                  <a:cubicBezTo>
                    <a:pt x="1843" y="850"/>
                    <a:pt x="1812" y="819"/>
                    <a:pt x="1775" y="819"/>
                  </a:cubicBezTo>
                  <a:cubicBezTo>
                    <a:pt x="1707" y="819"/>
                    <a:pt x="1707" y="819"/>
                    <a:pt x="1707" y="819"/>
                  </a:cubicBezTo>
                  <a:cubicBezTo>
                    <a:pt x="1669" y="819"/>
                    <a:pt x="1638" y="850"/>
                    <a:pt x="1638" y="888"/>
                  </a:cubicBezTo>
                  <a:cubicBezTo>
                    <a:pt x="1638" y="956"/>
                    <a:pt x="1638" y="956"/>
                    <a:pt x="1638" y="956"/>
                  </a:cubicBezTo>
                  <a:cubicBezTo>
                    <a:pt x="1638" y="993"/>
                    <a:pt x="1669" y="1024"/>
                    <a:pt x="1707" y="1024"/>
                  </a:cubicBezTo>
                  <a:close/>
                  <a:moveTo>
                    <a:pt x="1707" y="888"/>
                  </a:moveTo>
                  <a:cubicBezTo>
                    <a:pt x="1775" y="888"/>
                    <a:pt x="1775" y="888"/>
                    <a:pt x="1775" y="888"/>
                  </a:cubicBezTo>
                  <a:cubicBezTo>
                    <a:pt x="1775" y="956"/>
                    <a:pt x="1775" y="956"/>
                    <a:pt x="1775" y="956"/>
                  </a:cubicBezTo>
                  <a:cubicBezTo>
                    <a:pt x="1707" y="956"/>
                    <a:pt x="1707" y="956"/>
                    <a:pt x="1707" y="956"/>
                  </a:cubicBezTo>
                  <a:lnTo>
                    <a:pt x="1707" y="888"/>
                  </a:lnTo>
                  <a:close/>
                  <a:moveTo>
                    <a:pt x="819" y="1331"/>
                  </a:moveTo>
                  <a:cubicBezTo>
                    <a:pt x="887" y="1331"/>
                    <a:pt x="887" y="1331"/>
                    <a:pt x="887" y="1331"/>
                  </a:cubicBezTo>
                  <a:cubicBezTo>
                    <a:pt x="925" y="1331"/>
                    <a:pt x="956" y="1301"/>
                    <a:pt x="956" y="1263"/>
                  </a:cubicBezTo>
                  <a:cubicBezTo>
                    <a:pt x="956" y="1195"/>
                    <a:pt x="956" y="1195"/>
                    <a:pt x="956" y="1195"/>
                  </a:cubicBezTo>
                  <a:cubicBezTo>
                    <a:pt x="956" y="1157"/>
                    <a:pt x="925" y="1127"/>
                    <a:pt x="887" y="1127"/>
                  </a:cubicBezTo>
                  <a:cubicBezTo>
                    <a:pt x="819" y="1127"/>
                    <a:pt x="819" y="1127"/>
                    <a:pt x="819" y="1127"/>
                  </a:cubicBezTo>
                  <a:cubicBezTo>
                    <a:pt x="782" y="1127"/>
                    <a:pt x="751" y="1157"/>
                    <a:pt x="751" y="1195"/>
                  </a:cubicBezTo>
                  <a:cubicBezTo>
                    <a:pt x="751" y="1263"/>
                    <a:pt x="751" y="1263"/>
                    <a:pt x="751" y="1263"/>
                  </a:cubicBezTo>
                  <a:cubicBezTo>
                    <a:pt x="751" y="1301"/>
                    <a:pt x="782" y="1331"/>
                    <a:pt x="819" y="1331"/>
                  </a:cubicBezTo>
                  <a:close/>
                  <a:moveTo>
                    <a:pt x="819" y="1195"/>
                  </a:moveTo>
                  <a:cubicBezTo>
                    <a:pt x="887" y="1195"/>
                    <a:pt x="887" y="1195"/>
                    <a:pt x="887" y="1195"/>
                  </a:cubicBezTo>
                  <a:cubicBezTo>
                    <a:pt x="887" y="1263"/>
                    <a:pt x="887" y="1263"/>
                    <a:pt x="887" y="1263"/>
                  </a:cubicBezTo>
                  <a:cubicBezTo>
                    <a:pt x="819" y="1263"/>
                    <a:pt x="819" y="1263"/>
                    <a:pt x="819" y="1263"/>
                  </a:cubicBezTo>
                  <a:lnTo>
                    <a:pt x="819" y="1195"/>
                  </a:lnTo>
                  <a:close/>
                  <a:moveTo>
                    <a:pt x="1707" y="751"/>
                  </a:moveTo>
                  <a:cubicBezTo>
                    <a:pt x="1775" y="751"/>
                    <a:pt x="1775" y="751"/>
                    <a:pt x="1775" y="751"/>
                  </a:cubicBezTo>
                  <a:cubicBezTo>
                    <a:pt x="1812" y="751"/>
                    <a:pt x="1843" y="720"/>
                    <a:pt x="1843" y="683"/>
                  </a:cubicBezTo>
                  <a:cubicBezTo>
                    <a:pt x="1843" y="615"/>
                    <a:pt x="1843" y="615"/>
                    <a:pt x="1843" y="615"/>
                  </a:cubicBezTo>
                  <a:cubicBezTo>
                    <a:pt x="1843" y="577"/>
                    <a:pt x="1812" y="546"/>
                    <a:pt x="1775" y="546"/>
                  </a:cubicBezTo>
                  <a:cubicBezTo>
                    <a:pt x="1707" y="546"/>
                    <a:pt x="1707" y="546"/>
                    <a:pt x="1707" y="546"/>
                  </a:cubicBezTo>
                  <a:cubicBezTo>
                    <a:pt x="1669" y="546"/>
                    <a:pt x="1638" y="577"/>
                    <a:pt x="1638" y="615"/>
                  </a:cubicBezTo>
                  <a:cubicBezTo>
                    <a:pt x="1638" y="683"/>
                    <a:pt x="1638" y="683"/>
                    <a:pt x="1638" y="683"/>
                  </a:cubicBezTo>
                  <a:cubicBezTo>
                    <a:pt x="1638" y="720"/>
                    <a:pt x="1669" y="751"/>
                    <a:pt x="1707" y="751"/>
                  </a:cubicBezTo>
                  <a:close/>
                  <a:moveTo>
                    <a:pt x="1707" y="615"/>
                  </a:moveTo>
                  <a:cubicBezTo>
                    <a:pt x="1775" y="615"/>
                    <a:pt x="1775" y="615"/>
                    <a:pt x="1775" y="615"/>
                  </a:cubicBezTo>
                  <a:cubicBezTo>
                    <a:pt x="1775" y="683"/>
                    <a:pt x="1775" y="683"/>
                    <a:pt x="1775" y="683"/>
                  </a:cubicBezTo>
                  <a:cubicBezTo>
                    <a:pt x="1707" y="683"/>
                    <a:pt x="1707" y="683"/>
                    <a:pt x="1707" y="683"/>
                  </a:cubicBezTo>
                  <a:lnTo>
                    <a:pt x="1707" y="615"/>
                  </a:lnTo>
                  <a:close/>
                  <a:moveTo>
                    <a:pt x="1707" y="1297"/>
                  </a:moveTo>
                  <a:cubicBezTo>
                    <a:pt x="1775" y="1297"/>
                    <a:pt x="1775" y="1297"/>
                    <a:pt x="1775" y="1297"/>
                  </a:cubicBezTo>
                  <a:cubicBezTo>
                    <a:pt x="1812" y="1297"/>
                    <a:pt x="1843" y="1266"/>
                    <a:pt x="1843" y="1229"/>
                  </a:cubicBezTo>
                  <a:cubicBezTo>
                    <a:pt x="1843" y="1161"/>
                    <a:pt x="1843" y="1161"/>
                    <a:pt x="1843" y="1161"/>
                  </a:cubicBezTo>
                  <a:cubicBezTo>
                    <a:pt x="1843" y="1123"/>
                    <a:pt x="1812" y="1092"/>
                    <a:pt x="1775" y="1092"/>
                  </a:cubicBezTo>
                  <a:cubicBezTo>
                    <a:pt x="1707" y="1092"/>
                    <a:pt x="1707" y="1092"/>
                    <a:pt x="1707" y="1092"/>
                  </a:cubicBezTo>
                  <a:cubicBezTo>
                    <a:pt x="1669" y="1092"/>
                    <a:pt x="1638" y="1123"/>
                    <a:pt x="1638" y="1161"/>
                  </a:cubicBezTo>
                  <a:cubicBezTo>
                    <a:pt x="1638" y="1229"/>
                    <a:pt x="1638" y="1229"/>
                    <a:pt x="1638" y="1229"/>
                  </a:cubicBezTo>
                  <a:cubicBezTo>
                    <a:pt x="1638" y="1266"/>
                    <a:pt x="1669" y="1297"/>
                    <a:pt x="1707" y="1297"/>
                  </a:cubicBezTo>
                  <a:close/>
                  <a:moveTo>
                    <a:pt x="1707" y="1161"/>
                  </a:moveTo>
                  <a:cubicBezTo>
                    <a:pt x="1775" y="1161"/>
                    <a:pt x="1775" y="1161"/>
                    <a:pt x="1775" y="1161"/>
                  </a:cubicBezTo>
                  <a:cubicBezTo>
                    <a:pt x="1775" y="1229"/>
                    <a:pt x="1775" y="1229"/>
                    <a:pt x="1775" y="1229"/>
                  </a:cubicBezTo>
                  <a:cubicBezTo>
                    <a:pt x="1707" y="1229"/>
                    <a:pt x="1707" y="1229"/>
                    <a:pt x="1707" y="1229"/>
                  </a:cubicBezTo>
                  <a:lnTo>
                    <a:pt x="1707" y="1161"/>
                  </a:lnTo>
                  <a:close/>
                  <a:moveTo>
                    <a:pt x="1161" y="512"/>
                  </a:moveTo>
                  <a:cubicBezTo>
                    <a:pt x="1229" y="512"/>
                    <a:pt x="1229" y="512"/>
                    <a:pt x="1229" y="512"/>
                  </a:cubicBezTo>
                  <a:cubicBezTo>
                    <a:pt x="1266" y="512"/>
                    <a:pt x="1297" y="481"/>
                    <a:pt x="1297" y="444"/>
                  </a:cubicBezTo>
                  <a:cubicBezTo>
                    <a:pt x="1297" y="376"/>
                    <a:pt x="1297" y="376"/>
                    <a:pt x="1297" y="376"/>
                  </a:cubicBezTo>
                  <a:cubicBezTo>
                    <a:pt x="1297" y="338"/>
                    <a:pt x="1266" y="307"/>
                    <a:pt x="1229" y="307"/>
                  </a:cubicBezTo>
                  <a:cubicBezTo>
                    <a:pt x="1161" y="307"/>
                    <a:pt x="1161" y="307"/>
                    <a:pt x="1161" y="307"/>
                  </a:cubicBezTo>
                  <a:cubicBezTo>
                    <a:pt x="1123" y="307"/>
                    <a:pt x="1092" y="338"/>
                    <a:pt x="1092" y="376"/>
                  </a:cubicBezTo>
                  <a:cubicBezTo>
                    <a:pt x="1092" y="444"/>
                    <a:pt x="1092" y="444"/>
                    <a:pt x="1092" y="444"/>
                  </a:cubicBezTo>
                  <a:cubicBezTo>
                    <a:pt x="1092" y="481"/>
                    <a:pt x="1123" y="512"/>
                    <a:pt x="1161" y="512"/>
                  </a:cubicBezTo>
                  <a:close/>
                  <a:moveTo>
                    <a:pt x="1161" y="376"/>
                  </a:moveTo>
                  <a:cubicBezTo>
                    <a:pt x="1229" y="376"/>
                    <a:pt x="1229" y="376"/>
                    <a:pt x="1229" y="376"/>
                  </a:cubicBezTo>
                  <a:cubicBezTo>
                    <a:pt x="1229" y="444"/>
                    <a:pt x="1229" y="444"/>
                    <a:pt x="1229" y="444"/>
                  </a:cubicBezTo>
                  <a:cubicBezTo>
                    <a:pt x="1161" y="444"/>
                    <a:pt x="1161" y="444"/>
                    <a:pt x="1161" y="444"/>
                  </a:cubicBezTo>
                  <a:lnTo>
                    <a:pt x="1161" y="376"/>
                  </a:lnTo>
                  <a:close/>
                  <a:moveTo>
                    <a:pt x="1707" y="1570"/>
                  </a:moveTo>
                  <a:cubicBezTo>
                    <a:pt x="1775" y="1570"/>
                    <a:pt x="1775" y="1570"/>
                    <a:pt x="1775" y="1570"/>
                  </a:cubicBezTo>
                  <a:cubicBezTo>
                    <a:pt x="1812" y="1570"/>
                    <a:pt x="1843" y="1540"/>
                    <a:pt x="1843" y="1502"/>
                  </a:cubicBezTo>
                  <a:cubicBezTo>
                    <a:pt x="1843" y="1434"/>
                    <a:pt x="1843" y="1434"/>
                    <a:pt x="1843" y="1434"/>
                  </a:cubicBezTo>
                  <a:cubicBezTo>
                    <a:pt x="1843" y="1396"/>
                    <a:pt x="1812" y="1365"/>
                    <a:pt x="1775" y="1365"/>
                  </a:cubicBezTo>
                  <a:cubicBezTo>
                    <a:pt x="1707" y="1365"/>
                    <a:pt x="1707" y="1365"/>
                    <a:pt x="1707" y="1365"/>
                  </a:cubicBezTo>
                  <a:cubicBezTo>
                    <a:pt x="1669" y="1365"/>
                    <a:pt x="1638" y="1396"/>
                    <a:pt x="1638" y="1434"/>
                  </a:cubicBezTo>
                  <a:cubicBezTo>
                    <a:pt x="1638" y="1502"/>
                    <a:pt x="1638" y="1502"/>
                    <a:pt x="1638" y="1502"/>
                  </a:cubicBezTo>
                  <a:cubicBezTo>
                    <a:pt x="1638" y="1540"/>
                    <a:pt x="1669" y="1570"/>
                    <a:pt x="1707" y="1570"/>
                  </a:cubicBezTo>
                  <a:close/>
                  <a:moveTo>
                    <a:pt x="1707" y="1434"/>
                  </a:moveTo>
                  <a:cubicBezTo>
                    <a:pt x="1775" y="1434"/>
                    <a:pt x="1775" y="1434"/>
                    <a:pt x="1775" y="1434"/>
                  </a:cubicBezTo>
                  <a:cubicBezTo>
                    <a:pt x="1775" y="1502"/>
                    <a:pt x="1775" y="1502"/>
                    <a:pt x="1775" y="1502"/>
                  </a:cubicBezTo>
                  <a:cubicBezTo>
                    <a:pt x="1707" y="1502"/>
                    <a:pt x="1707" y="1502"/>
                    <a:pt x="1707" y="1502"/>
                  </a:cubicBezTo>
                  <a:lnTo>
                    <a:pt x="1707" y="1434"/>
                  </a:lnTo>
                  <a:close/>
                  <a:moveTo>
                    <a:pt x="2014" y="410"/>
                  </a:moveTo>
                  <a:cubicBezTo>
                    <a:pt x="1911" y="410"/>
                    <a:pt x="1911" y="410"/>
                    <a:pt x="1911" y="410"/>
                  </a:cubicBezTo>
                  <a:cubicBezTo>
                    <a:pt x="1911" y="376"/>
                    <a:pt x="1911" y="376"/>
                    <a:pt x="1911" y="376"/>
                  </a:cubicBezTo>
                  <a:cubicBezTo>
                    <a:pt x="1911" y="355"/>
                    <a:pt x="1898" y="341"/>
                    <a:pt x="1877" y="341"/>
                  </a:cubicBezTo>
                  <a:cubicBezTo>
                    <a:pt x="1857" y="341"/>
                    <a:pt x="1843" y="355"/>
                    <a:pt x="1843" y="376"/>
                  </a:cubicBezTo>
                  <a:cubicBezTo>
                    <a:pt x="1843" y="410"/>
                    <a:pt x="1843" y="410"/>
                    <a:pt x="1843" y="410"/>
                  </a:cubicBezTo>
                  <a:cubicBezTo>
                    <a:pt x="1707" y="410"/>
                    <a:pt x="1707" y="410"/>
                    <a:pt x="1707" y="410"/>
                  </a:cubicBezTo>
                  <a:cubicBezTo>
                    <a:pt x="1707" y="376"/>
                    <a:pt x="1707" y="376"/>
                    <a:pt x="1707" y="376"/>
                  </a:cubicBezTo>
                  <a:cubicBezTo>
                    <a:pt x="1707" y="355"/>
                    <a:pt x="1693" y="341"/>
                    <a:pt x="1673" y="341"/>
                  </a:cubicBezTo>
                  <a:cubicBezTo>
                    <a:pt x="1652" y="341"/>
                    <a:pt x="1638" y="355"/>
                    <a:pt x="1638" y="376"/>
                  </a:cubicBezTo>
                  <a:cubicBezTo>
                    <a:pt x="1638" y="410"/>
                    <a:pt x="1638" y="410"/>
                    <a:pt x="1638" y="410"/>
                  </a:cubicBezTo>
                  <a:cubicBezTo>
                    <a:pt x="1502" y="410"/>
                    <a:pt x="1502" y="410"/>
                    <a:pt x="1502" y="410"/>
                  </a:cubicBezTo>
                  <a:cubicBezTo>
                    <a:pt x="1502" y="103"/>
                    <a:pt x="1502" y="103"/>
                    <a:pt x="1502" y="103"/>
                  </a:cubicBezTo>
                  <a:cubicBezTo>
                    <a:pt x="1502" y="82"/>
                    <a:pt x="1488" y="68"/>
                    <a:pt x="1468" y="68"/>
                  </a:cubicBezTo>
                  <a:cubicBezTo>
                    <a:pt x="1161" y="68"/>
                    <a:pt x="1161" y="68"/>
                    <a:pt x="1161" y="68"/>
                  </a:cubicBezTo>
                  <a:cubicBezTo>
                    <a:pt x="1161" y="34"/>
                    <a:pt x="1161" y="34"/>
                    <a:pt x="1161" y="34"/>
                  </a:cubicBezTo>
                  <a:cubicBezTo>
                    <a:pt x="1161" y="14"/>
                    <a:pt x="1147" y="0"/>
                    <a:pt x="1126" y="0"/>
                  </a:cubicBezTo>
                  <a:cubicBezTo>
                    <a:pt x="1106" y="0"/>
                    <a:pt x="1092" y="14"/>
                    <a:pt x="1092" y="34"/>
                  </a:cubicBezTo>
                  <a:cubicBezTo>
                    <a:pt x="1092" y="68"/>
                    <a:pt x="1092" y="68"/>
                    <a:pt x="1092" y="68"/>
                  </a:cubicBezTo>
                  <a:cubicBezTo>
                    <a:pt x="956" y="68"/>
                    <a:pt x="956" y="68"/>
                    <a:pt x="956" y="68"/>
                  </a:cubicBezTo>
                  <a:cubicBezTo>
                    <a:pt x="956" y="34"/>
                    <a:pt x="956" y="34"/>
                    <a:pt x="956" y="34"/>
                  </a:cubicBezTo>
                  <a:cubicBezTo>
                    <a:pt x="956" y="14"/>
                    <a:pt x="942" y="0"/>
                    <a:pt x="922" y="0"/>
                  </a:cubicBezTo>
                  <a:cubicBezTo>
                    <a:pt x="901" y="0"/>
                    <a:pt x="887" y="14"/>
                    <a:pt x="887" y="34"/>
                  </a:cubicBezTo>
                  <a:cubicBezTo>
                    <a:pt x="887" y="68"/>
                    <a:pt x="887" y="68"/>
                    <a:pt x="887" y="68"/>
                  </a:cubicBezTo>
                  <a:cubicBezTo>
                    <a:pt x="580" y="68"/>
                    <a:pt x="580" y="68"/>
                    <a:pt x="580" y="68"/>
                  </a:cubicBezTo>
                  <a:cubicBezTo>
                    <a:pt x="560" y="68"/>
                    <a:pt x="546" y="82"/>
                    <a:pt x="546" y="103"/>
                  </a:cubicBezTo>
                  <a:cubicBezTo>
                    <a:pt x="546" y="410"/>
                    <a:pt x="546" y="410"/>
                    <a:pt x="546" y="410"/>
                  </a:cubicBezTo>
                  <a:cubicBezTo>
                    <a:pt x="410" y="410"/>
                    <a:pt x="410" y="410"/>
                    <a:pt x="410" y="410"/>
                  </a:cubicBezTo>
                  <a:cubicBezTo>
                    <a:pt x="410" y="376"/>
                    <a:pt x="410" y="376"/>
                    <a:pt x="410" y="376"/>
                  </a:cubicBezTo>
                  <a:cubicBezTo>
                    <a:pt x="410" y="355"/>
                    <a:pt x="396" y="341"/>
                    <a:pt x="375" y="341"/>
                  </a:cubicBezTo>
                  <a:cubicBezTo>
                    <a:pt x="355" y="341"/>
                    <a:pt x="341" y="355"/>
                    <a:pt x="341" y="376"/>
                  </a:cubicBezTo>
                  <a:cubicBezTo>
                    <a:pt x="341" y="410"/>
                    <a:pt x="341" y="410"/>
                    <a:pt x="341" y="410"/>
                  </a:cubicBezTo>
                  <a:cubicBezTo>
                    <a:pt x="205" y="410"/>
                    <a:pt x="205" y="410"/>
                    <a:pt x="205" y="410"/>
                  </a:cubicBezTo>
                  <a:cubicBezTo>
                    <a:pt x="205" y="376"/>
                    <a:pt x="205" y="376"/>
                    <a:pt x="205" y="376"/>
                  </a:cubicBezTo>
                  <a:cubicBezTo>
                    <a:pt x="205" y="355"/>
                    <a:pt x="191" y="341"/>
                    <a:pt x="171" y="341"/>
                  </a:cubicBezTo>
                  <a:cubicBezTo>
                    <a:pt x="150" y="341"/>
                    <a:pt x="137" y="355"/>
                    <a:pt x="137" y="376"/>
                  </a:cubicBezTo>
                  <a:cubicBezTo>
                    <a:pt x="137" y="410"/>
                    <a:pt x="137" y="410"/>
                    <a:pt x="137" y="410"/>
                  </a:cubicBezTo>
                  <a:cubicBezTo>
                    <a:pt x="34" y="410"/>
                    <a:pt x="34" y="410"/>
                    <a:pt x="34" y="410"/>
                  </a:cubicBezTo>
                  <a:cubicBezTo>
                    <a:pt x="14" y="410"/>
                    <a:pt x="0" y="423"/>
                    <a:pt x="0" y="444"/>
                  </a:cubicBezTo>
                  <a:cubicBezTo>
                    <a:pt x="0" y="1946"/>
                    <a:pt x="0" y="1946"/>
                    <a:pt x="0" y="1946"/>
                  </a:cubicBezTo>
                  <a:cubicBezTo>
                    <a:pt x="0" y="1966"/>
                    <a:pt x="14" y="1980"/>
                    <a:pt x="34" y="1980"/>
                  </a:cubicBezTo>
                  <a:cubicBezTo>
                    <a:pt x="2014" y="1980"/>
                    <a:pt x="2014" y="1980"/>
                    <a:pt x="2014" y="1980"/>
                  </a:cubicBezTo>
                  <a:cubicBezTo>
                    <a:pt x="2034" y="1980"/>
                    <a:pt x="2048" y="1966"/>
                    <a:pt x="2048" y="1946"/>
                  </a:cubicBezTo>
                  <a:cubicBezTo>
                    <a:pt x="2048" y="444"/>
                    <a:pt x="2048" y="444"/>
                    <a:pt x="2048" y="444"/>
                  </a:cubicBezTo>
                  <a:cubicBezTo>
                    <a:pt x="2048" y="423"/>
                    <a:pt x="2034" y="410"/>
                    <a:pt x="2014" y="410"/>
                  </a:cubicBezTo>
                  <a:close/>
                  <a:moveTo>
                    <a:pt x="546" y="1912"/>
                  </a:moveTo>
                  <a:cubicBezTo>
                    <a:pt x="68" y="1912"/>
                    <a:pt x="68" y="1912"/>
                    <a:pt x="68" y="1912"/>
                  </a:cubicBezTo>
                  <a:cubicBezTo>
                    <a:pt x="68" y="1707"/>
                    <a:pt x="68" y="1707"/>
                    <a:pt x="68" y="1707"/>
                  </a:cubicBezTo>
                  <a:cubicBezTo>
                    <a:pt x="546" y="1707"/>
                    <a:pt x="546" y="1707"/>
                    <a:pt x="546" y="1707"/>
                  </a:cubicBezTo>
                  <a:lnTo>
                    <a:pt x="546" y="1912"/>
                  </a:lnTo>
                  <a:close/>
                  <a:moveTo>
                    <a:pt x="546" y="1639"/>
                  </a:moveTo>
                  <a:cubicBezTo>
                    <a:pt x="68" y="1639"/>
                    <a:pt x="68" y="1639"/>
                    <a:pt x="68" y="1639"/>
                  </a:cubicBezTo>
                  <a:cubicBezTo>
                    <a:pt x="68" y="478"/>
                    <a:pt x="68" y="478"/>
                    <a:pt x="68" y="478"/>
                  </a:cubicBezTo>
                  <a:cubicBezTo>
                    <a:pt x="546" y="478"/>
                    <a:pt x="546" y="478"/>
                    <a:pt x="546" y="478"/>
                  </a:cubicBezTo>
                  <a:lnTo>
                    <a:pt x="546" y="1639"/>
                  </a:lnTo>
                  <a:close/>
                  <a:moveTo>
                    <a:pt x="990" y="1912"/>
                  </a:moveTo>
                  <a:cubicBezTo>
                    <a:pt x="785" y="1912"/>
                    <a:pt x="785" y="1912"/>
                    <a:pt x="785" y="1912"/>
                  </a:cubicBezTo>
                  <a:cubicBezTo>
                    <a:pt x="785" y="1639"/>
                    <a:pt x="785" y="1639"/>
                    <a:pt x="785" y="1639"/>
                  </a:cubicBezTo>
                  <a:cubicBezTo>
                    <a:pt x="990" y="1639"/>
                    <a:pt x="990" y="1639"/>
                    <a:pt x="990" y="1639"/>
                  </a:cubicBezTo>
                  <a:lnTo>
                    <a:pt x="990" y="1912"/>
                  </a:lnTo>
                  <a:close/>
                  <a:moveTo>
                    <a:pt x="1263" y="1912"/>
                  </a:moveTo>
                  <a:cubicBezTo>
                    <a:pt x="1058" y="1912"/>
                    <a:pt x="1058" y="1912"/>
                    <a:pt x="1058" y="1912"/>
                  </a:cubicBezTo>
                  <a:cubicBezTo>
                    <a:pt x="1058" y="1639"/>
                    <a:pt x="1058" y="1639"/>
                    <a:pt x="1058" y="1639"/>
                  </a:cubicBezTo>
                  <a:cubicBezTo>
                    <a:pt x="1263" y="1639"/>
                    <a:pt x="1263" y="1639"/>
                    <a:pt x="1263" y="1639"/>
                  </a:cubicBezTo>
                  <a:lnTo>
                    <a:pt x="1263" y="1912"/>
                  </a:lnTo>
                  <a:close/>
                  <a:moveTo>
                    <a:pt x="1434" y="1912"/>
                  </a:moveTo>
                  <a:cubicBezTo>
                    <a:pt x="1331" y="1912"/>
                    <a:pt x="1331" y="1912"/>
                    <a:pt x="1331" y="1912"/>
                  </a:cubicBezTo>
                  <a:cubicBezTo>
                    <a:pt x="1331" y="1604"/>
                    <a:pt x="1331" y="1604"/>
                    <a:pt x="1331" y="1604"/>
                  </a:cubicBezTo>
                  <a:cubicBezTo>
                    <a:pt x="1331" y="1584"/>
                    <a:pt x="1318" y="1570"/>
                    <a:pt x="1297" y="1570"/>
                  </a:cubicBezTo>
                  <a:cubicBezTo>
                    <a:pt x="751" y="1570"/>
                    <a:pt x="751" y="1570"/>
                    <a:pt x="751" y="1570"/>
                  </a:cubicBezTo>
                  <a:cubicBezTo>
                    <a:pt x="730" y="1570"/>
                    <a:pt x="717" y="1584"/>
                    <a:pt x="717" y="1604"/>
                  </a:cubicBezTo>
                  <a:cubicBezTo>
                    <a:pt x="717" y="1912"/>
                    <a:pt x="717" y="1912"/>
                    <a:pt x="717" y="1912"/>
                  </a:cubicBezTo>
                  <a:cubicBezTo>
                    <a:pt x="614" y="1912"/>
                    <a:pt x="614" y="1912"/>
                    <a:pt x="614" y="1912"/>
                  </a:cubicBezTo>
                  <a:cubicBezTo>
                    <a:pt x="614" y="1673"/>
                    <a:pt x="614" y="1673"/>
                    <a:pt x="614" y="1673"/>
                  </a:cubicBezTo>
                  <a:cubicBezTo>
                    <a:pt x="614" y="1673"/>
                    <a:pt x="614" y="1673"/>
                    <a:pt x="614" y="1673"/>
                  </a:cubicBezTo>
                  <a:cubicBezTo>
                    <a:pt x="614" y="137"/>
                    <a:pt x="614" y="137"/>
                    <a:pt x="614" y="137"/>
                  </a:cubicBezTo>
                  <a:cubicBezTo>
                    <a:pt x="1434" y="137"/>
                    <a:pt x="1434" y="137"/>
                    <a:pt x="1434" y="137"/>
                  </a:cubicBezTo>
                  <a:lnTo>
                    <a:pt x="1434" y="1912"/>
                  </a:lnTo>
                  <a:close/>
                  <a:moveTo>
                    <a:pt x="1980" y="1912"/>
                  </a:moveTo>
                  <a:cubicBezTo>
                    <a:pt x="1502" y="1912"/>
                    <a:pt x="1502" y="1912"/>
                    <a:pt x="1502" y="1912"/>
                  </a:cubicBezTo>
                  <a:cubicBezTo>
                    <a:pt x="1502" y="1707"/>
                    <a:pt x="1502" y="1707"/>
                    <a:pt x="1502" y="1707"/>
                  </a:cubicBezTo>
                  <a:cubicBezTo>
                    <a:pt x="1980" y="1707"/>
                    <a:pt x="1980" y="1707"/>
                    <a:pt x="1980" y="1707"/>
                  </a:cubicBezTo>
                  <a:lnTo>
                    <a:pt x="1980" y="1912"/>
                  </a:lnTo>
                  <a:close/>
                  <a:moveTo>
                    <a:pt x="1980" y="1639"/>
                  </a:moveTo>
                  <a:cubicBezTo>
                    <a:pt x="1502" y="1639"/>
                    <a:pt x="1502" y="1639"/>
                    <a:pt x="1502" y="1639"/>
                  </a:cubicBezTo>
                  <a:cubicBezTo>
                    <a:pt x="1502" y="478"/>
                    <a:pt x="1502" y="478"/>
                    <a:pt x="1502" y="478"/>
                  </a:cubicBezTo>
                  <a:cubicBezTo>
                    <a:pt x="1980" y="478"/>
                    <a:pt x="1980" y="478"/>
                    <a:pt x="1980" y="478"/>
                  </a:cubicBezTo>
                  <a:lnTo>
                    <a:pt x="1980" y="1639"/>
                  </a:lnTo>
                  <a:close/>
                  <a:moveTo>
                    <a:pt x="1161" y="1058"/>
                  </a:moveTo>
                  <a:cubicBezTo>
                    <a:pt x="1229" y="1058"/>
                    <a:pt x="1229" y="1058"/>
                    <a:pt x="1229" y="1058"/>
                  </a:cubicBezTo>
                  <a:cubicBezTo>
                    <a:pt x="1266" y="1058"/>
                    <a:pt x="1297" y="1028"/>
                    <a:pt x="1297" y="990"/>
                  </a:cubicBezTo>
                  <a:cubicBezTo>
                    <a:pt x="1297" y="922"/>
                    <a:pt x="1297" y="922"/>
                    <a:pt x="1297" y="922"/>
                  </a:cubicBezTo>
                  <a:cubicBezTo>
                    <a:pt x="1297" y="884"/>
                    <a:pt x="1266" y="853"/>
                    <a:pt x="1229" y="853"/>
                  </a:cubicBezTo>
                  <a:cubicBezTo>
                    <a:pt x="1161" y="853"/>
                    <a:pt x="1161" y="853"/>
                    <a:pt x="1161" y="853"/>
                  </a:cubicBezTo>
                  <a:cubicBezTo>
                    <a:pt x="1123" y="853"/>
                    <a:pt x="1092" y="884"/>
                    <a:pt x="1092" y="922"/>
                  </a:cubicBezTo>
                  <a:cubicBezTo>
                    <a:pt x="1092" y="990"/>
                    <a:pt x="1092" y="990"/>
                    <a:pt x="1092" y="990"/>
                  </a:cubicBezTo>
                  <a:cubicBezTo>
                    <a:pt x="1092" y="1028"/>
                    <a:pt x="1123" y="1058"/>
                    <a:pt x="1161" y="1058"/>
                  </a:cubicBezTo>
                  <a:close/>
                  <a:moveTo>
                    <a:pt x="1161" y="922"/>
                  </a:moveTo>
                  <a:cubicBezTo>
                    <a:pt x="1229" y="922"/>
                    <a:pt x="1229" y="922"/>
                    <a:pt x="1229" y="922"/>
                  </a:cubicBezTo>
                  <a:cubicBezTo>
                    <a:pt x="1229" y="990"/>
                    <a:pt x="1229" y="990"/>
                    <a:pt x="1229" y="990"/>
                  </a:cubicBezTo>
                  <a:cubicBezTo>
                    <a:pt x="1161" y="990"/>
                    <a:pt x="1161" y="990"/>
                    <a:pt x="1161" y="990"/>
                  </a:cubicBezTo>
                  <a:lnTo>
                    <a:pt x="1161" y="922"/>
                  </a:lnTo>
                  <a:close/>
                  <a:moveTo>
                    <a:pt x="819" y="1058"/>
                  </a:moveTo>
                  <a:cubicBezTo>
                    <a:pt x="887" y="1058"/>
                    <a:pt x="887" y="1058"/>
                    <a:pt x="887" y="1058"/>
                  </a:cubicBezTo>
                  <a:cubicBezTo>
                    <a:pt x="925" y="1058"/>
                    <a:pt x="956" y="1028"/>
                    <a:pt x="956" y="990"/>
                  </a:cubicBezTo>
                  <a:cubicBezTo>
                    <a:pt x="956" y="922"/>
                    <a:pt x="956" y="922"/>
                    <a:pt x="956" y="922"/>
                  </a:cubicBezTo>
                  <a:cubicBezTo>
                    <a:pt x="956" y="884"/>
                    <a:pt x="925" y="853"/>
                    <a:pt x="887" y="853"/>
                  </a:cubicBezTo>
                  <a:cubicBezTo>
                    <a:pt x="819" y="853"/>
                    <a:pt x="819" y="853"/>
                    <a:pt x="819" y="853"/>
                  </a:cubicBezTo>
                  <a:cubicBezTo>
                    <a:pt x="782" y="853"/>
                    <a:pt x="751" y="884"/>
                    <a:pt x="751" y="922"/>
                  </a:cubicBezTo>
                  <a:cubicBezTo>
                    <a:pt x="751" y="990"/>
                    <a:pt x="751" y="990"/>
                    <a:pt x="751" y="990"/>
                  </a:cubicBezTo>
                  <a:cubicBezTo>
                    <a:pt x="751" y="1028"/>
                    <a:pt x="782" y="1058"/>
                    <a:pt x="819" y="1058"/>
                  </a:cubicBezTo>
                  <a:close/>
                  <a:moveTo>
                    <a:pt x="819" y="922"/>
                  </a:moveTo>
                  <a:cubicBezTo>
                    <a:pt x="887" y="922"/>
                    <a:pt x="887" y="922"/>
                    <a:pt x="887" y="922"/>
                  </a:cubicBezTo>
                  <a:cubicBezTo>
                    <a:pt x="887" y="990"/>
                    <a:pt x="887" y="990"/>
                    <a:pt x="887" y="990"/>
                  </a:cubicBezTo>
                  <a:cubicBezTo>
                    <a:pt x="819" y="990"/>
                    <a:pt x="819" y="990"/>
                    <a:pt x="819" y="990"/>
                  </a:cubicBezTo>
                  <a:lnTo>
                    <a:pt x="819" y="922"/>
                  </a:lnTo>
                  <a:close/>
                  <a:moveTo>
                    <a:pt x="1161" y="785"/>
                  </a:moveTo>
                  <a:cubicBezTo>
                    <a:pt x="1229" y="785"/>
                    <a:pt x="1229" y="785"/>
                    <a:pt x="1229" y="785"/>
                  </a:cubicBezTo>
                  <a:cubicBezTo>
                    <a:pt x="1266" y="785"/>
                    <a:pt x="1297" y="754"/>
                    <a:pt x="1297" y="717"/>
                  </a:cubicBezTo>
                  <a:cubicBezTo>
                    <a:pt x="1297" y="649"/>
                    <a:pt x="1297" y="649"/>
                    <a:pt x="1297" y="649"/>
                  </a:cubicBezTo>
                  <a:cubicBezTo>
                    <a:pt x="1297" y="611"/>
                    <a:pt x="1266" y="580"/>
                    <a:pt x="1229" y="580"/>
                  </a:cubicBezTo>
                  <a:cubicBezTo>
                    <a:pt x="1161" y="580"/>
                    <a:pt x="1161" y="580"/>
                    <a:pt x="1161" y="580"/>
                  </a:cubicBezTo>
                  <a:cubicBezTo>
                    <a:pt x="1123" y="580"/>
                    <a:pt x="1092" y="611"/>
                    <a:pt x="1092" y="649"/>
                  </a:cubicBezTo>
                  <a:cubicBezTo>
                    <a:pt x="1092" y="717"/>
                    <a:pt x="1092" y="717"/>
                    <a:pt x="1092" y="717"/>
                  </a:cubicBezTo>
                  <a:cubicBezTo>
                    <a:pt x="1092" y="754"/>
                    <a:pt x="1123" y="785"/>
                    <a:pt x="1161" y="785"/>
                  </a:cubicBezTo>
                  <a:close/>
                  <a:moveTo>
                    <a:pt x="1161" y="649"/>
                  </a:moveTo>
                  <a:cubicBezTo>
                    <a:pt x="1229" y="649"/>
                    <a:pt x="1229" y="649"/>
                    <a:pt x="1229" y="649"/>
                  </a:cubicBezTo>
                  <a:cubicBezTo>
                    <a:pt x="1229" y="717"/>
                    <a:pt x="1229" y="717"/>
                    <a:pt x="1229" y="717"/>
                  </a:cubicBezTo>
                  <a:cubicBezTo>
                    <a:pt x="1161" y="717"/>
                    <a:pt x="1161" y="717"/>
                    <a:pt x="1161" y="717"/>
                  </a:cubicBezTo>
                  <a:lnTo>
                    <a:pt x="1161" y="649"/>
                  </a:lnTo>
                  <a:close/>
                  <a:moveTo>
                    <a:pt x="1161" y="1331"/>
                  </a:moveTo>
                  <a:cubicBezTo>
                    <a:pt x="1229" y="1331"/>
                    <a:pt x="1229" y="1331"/>
                    <a:pt x="1229" y="1331"/>
                  </a:cubicBezTo>
                  <a:cubicBezTo>
                    <a:pt x="1266" y="1331"/>
                    <a:pt x="1297" y="1301"/>
                    <a:pt x="1297" y="1263"/>
                  </a:cubicBezTo>
                  <a:cubicBezTo>
                    <a:pt x="1297" y="1195"/>
                    <a:pt x="1297" y="1195"/>
                    <a:pt x="1297" y="1195"/>
                  </a:cubicBezTo>
                  <a:cubicBezTo>
                    <a:pt x="1297" y="1157"/>
                    <a:pt x="1266" y="1127"/>
                    <a:pt x="1229" y="1127"/>
                  </a:cubicBezTo>
                  <a:cubicBezTo>
                    <a:pt x="1161" y="1127"/>
                    <a:pt x="1161" y="1127"/>
                    <a:pt x="1161" y="1127"/>
                  </a:cubicBezTo>
                  <a:cubicBezTo>
                    <a:pt x="1123" y="1127"/>
                    <a:pt x="1092" y="1157"/>
                    <a:pt x="1092" y="1195"/>
                  </a:cubicBezTo>
                  <a:cubicBezTo>
                    <a:pt x="1092" y="1263"/>
                    <a:pt x="1092" y="1263"/>
                    <a:pt x="1092" y="1263"/>
                  </a:cubicBezTo>
                  <a:cubicBezTo>
                    <a:pt x="1092" y="1301"/>
                    <a:pt x="1123" y="1331"/>
                    <a:pt x="1161" y="1331"/>
                  </a:cubicBezTo>
                  <a:close/>
                  <a:moveTo>
                    <a:pt x="1161" y="1195"/>
                  </a:moveTo>
                  <a:cubicBezTo>
                    <a:pt x="1229" y="1195"/>
                    <a:pt x="1229" y="1195"/>
                    <a:pt x="1229" y="1195"/>
                  </a:cubicBezTo>
                  <a:cubicBezTo>
                    <a:pt x="1229" y="1263"/>
                    <a:pt x="1229" y="1263"/>
                    <a:pt x="1229" y="1263"/>
                  </a:cubicBezTo>
                  <a:cubicBezTo>
                    <a:pt x="1161" y="1263"/>
                    <a:pt x="1161" y="1263"/>
                    <a:pt x="1161" y="1263"/>
                  </a:cubicBezTo>
                  <a:lnTo>
                    <a:pt x="1161" y="1195"/>
                  </a:lnTo>
                  <a:close/>
                  <a:moveTo>
                    <a:pt x="819" y="785"/>
                  </a:moveTo>
                  <a:cubicBezTo>
                    <a:pt x="887" y="785"/>
                    <a:pt x="887" y="785"/>
                    <a:pt x="887" y="785"/>
                  </a:cubicBezTo>
                  <a:cubicBezTo>
                    <a:pt x="925" y="785"/>
                    <a:pt x="956" y="754"/>
                    <a:pt x="956" y="717"/>
                  </a:cubicBezTo>
                  <a:cubicBezTo>
                    <a:pt x="956" y="649"/>
                    <a:pt x="956" y="649"/>
                    <a:pt x="956" y="649"/>
                  </a:cubicBezTo>
                  <a:cubicBezTo>
                    <a:pt x="956" y="611"/>
                    <a:pt x="925" y="580"/>
                    <a:pt x="887" y="580"/>
                  </a:cubicBezTo>
                  <a:cubicBezTo>
                    <a:pt x="819" y="580"/>
                    <a:pt x="819" y="580"/>
                    <a:pt x="819" y="580"/>
                  </a:cubicBezTo>
                  <a:cubicBezTo>
                    <a:pt x="782" y="580"/>
                    <a:pt x="751" y="611"/>
                    <a:pt x="751" y="649"/>
                  </a:cubicBezTo>
                  <a:cubicBezTo>
                    <a:pt x="751" y="717"/>
                    <a:pt x="751" y="717"/>
                    <a:pt x="751" y="717"/>
                  </a:cubicBezTo>
                  <a:cubicBezTo>
                    <a:pt x="751" y="754"/>
                    <a:pt x="782" y="785"/>
                    <a:pt x="819" y="785"/>
                  </a:cubicBezTo>
                  <a:close/>
                  <a:moveTo>
                    <a:pt x="819" y="649"/>
                  </a:moveTo>
                  <a:cubicBezTo>
                    <a:pt x="887" y="649"/>
                    <a:pt x="887" y="649"/>
                    <a:pt x="887" y="649"/>
                  </a:cubicBezTo>
                  <a:cubicBezTo>
                    <a:pt x="887" y="717"/>
                    <a:pt x="887" y="717"/>
                    <a:pt x="887" y="717"/>
                  </a:cubicBezTo>
                  <a:cubicBezTo>
                    <a:pt x="819" y="717"/>
                    <a:pt x="819" y="717"/>
                    <a:pt x="819" y="717"/>
                  </a:cubicBezTo>
                  <a:lnTo>
                    <a:pt x="819" y="649"/>
                  </a:lnTo>
                  <a:close/>
                  <a:moveTo>
                    <a:pt x="819" y="512"/>
                  </a:moveTo>
                  <a:cubicBezTo>
                    <a:pt x="887" y="512"/>
                    <a:pt x="887" y="512"/>
                    <a:pt x="887" y="512"/>
                  </a:cubicBezTo>
                  <a:cubicBezTo>
                    <a:pt x="925" y="512"/>
                    <a:pt x="956" y="481"/>
                    <a:pt x="956" y="444"/>
                  </a:cubicBezTo>
                  <a:cubicBezTo>
                    <a:pt x="956" y="376"/>
                    <a:pt x="956" y="376"/>
                    <a:pt x="956" y="376"/>
                  </a:cubicBezTo>
                  <a:cubicBezTo>
                    <a:pt x="956" y="338"/>
                    <a:pt x="925" y="307"/>
                    <a:pt x="887" y="307"/>
                  </a:cubicBezTo>
                  <a:cubicBezTo>
                    <a:pt x="819" y="307"/>
                    <a:pt x="819" y="307"/>
                    <a:pt x="819" y="307"/>
                  </a:cubicBezTo>
                  <a:cubicBezTo>
                    <a:pt x="782" y="307"/>
                    <a:pt x="751" y="338"/>
                    <a:pt x="751" y="376"/>
                  </a:cubicBezTo>
                  <a:cubicBezTo>
                    <a:pt x="751" y="444"/>
                    <a:pt x="751" y="444"/>
                    <a:pt x="751" y="444"/>
                  </a:cubicBezTo>
                  <a:cubicBezTo>
                    <a:pt x="751" y="481"/>
                    <a:pt x="782" y="512"/>
                    <a:pt x="819" y="512"/>
                  </a:cubicBezTo>
                  <a:close/>
                  <a:moveTo>
                    <a:pt x="819" y="376"/>
                  </a:moveTo>
                  <a:cubicBezTo>
                    <a:pt x="887" y="376"/>
                    <a:pt x="887" y="376"/>
                    <a:pt x="887" y="376"/>
                  </a:cubicBezTo>
                  <a:cubicBezTo>
                    <a:pt x="887" y="444"/>
                    <a:pt x="887" y="444"/>
                    <a:pt x="887" y="444"/>
                  </a:cubicBezTo>
                  <a:cubicBezTo>
                    <a:pt x="819" y="444"/>
                    <a:pt x="819" y="444"/>
                    <a:pt x="819" y="444"/>
                  </a:cubicBezTo>
                  <a:lnTo>
                    <a:pt x="819" y="376"/>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224" name="Group 236"/>
          <p:cNvGrpSpPr/>
          <p:nvPr/>
        </p:nvGrpSpPr>
        <p:grpSpPr>
          <a:xfrm>
            <a:off x="8711339" y="3807154"/>
            <a:ext cx="292608" cy="292608"/>
            <a:chOff x="8711339" y="3807154"/>
            <a:chExt cx="292608" cy="292608"/>
          </a:xfrm>
        </p:grpSpPr>
        <p:sp>
          <p:nvSpPr>
            <p:cNvPr id="238" name="Oval 237"/>
            <p:cNvSpPr/>
            <p:nvPr/>
          </p:nvSpPr>
          <p:spPr>
            <a:xfrm>
              <a:off x="8711339" y="3807154"/>
              <a:ext cx="292608" cy="29260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39" name="Freeform 28"/>
            <p:cNvSpPr>
              <a:spLocks noEditPoints="1"/>
            </p:cNvSpPr>
            <p:nvPr/>
          </p:nvSpPr>
          <p:spPr bwMode="auto">
            <a:xfrm>
              <a:off x="8793811" y="3871238"/>
              <a:ext cx="127664" cy="164441"/>
            </a:xfrm>
            <a:custGeom>
              <a:avLst/>
              <a:gdLst/>
              <a:ahLst/>
              <a:cxnLst>
                <a:cxn ang="0">
                  <a:pos x="2613" y="1778"/>
                </a:cxn>
                <a:cxn ang="0">
                  <a:pos x="2247" y="1778"/>
                </a:cxn>
                <a:cxn ang="0">
                  <a:pos x="2247" y="4167"/>
                </a:cxn>
                <a:cxn ang="0">
                  <a:pos x="2613" y="4167"/>
                </a:cxn>
                <a:cxn ang="0">
                  <a:pos x="2613" y="1778"/>
                </a:cxn>
                <a:cxn ang="0">
                  <a:pos x="1509" y="1778"/>
                </a:cxn>
                <a:cxn ang="0">
                  <a:pos x="1143" y="1778"/>
                </a:cxn>
                <a:cxn ang="0">
                  <a:pos x="1143" y="4167"/>
                </a:cxn>
                <a:cxn ang="0">
                  <a:pos x="1509" y="4167"/>
                </a:cxn>
                <a:cxn ang="0">
                  <a:pos x="1509" y="1778"/>
                </a:cxn>
                <a:cxn ang="0">
                  <a:pos x="2901" y="309"/>
                </a:cxn>
                <a:cxn ang="0">
                  <a:pos x="2901" y="0"/>
                </a:cxn>
                <a:cxn ang="0">
                  <a:pos x="855" y="0"/>
                </a:cxn>
                <a:cxn ang="0">
                  <a:pos x="855" y="309"/>
                </a:cxn>
                <a:cxn ang="0">
                  <a:pos x="0" y="309"/>
                </a:cxn>
                <a:cxn ang="0">
                  <a:pos x="0" y="1478"/>
                </a:cxn>
                <a:cxn ang="0">
                  <a:pos x="257" y="1478"/>
                </a:cxn>
                <a:cxn ang="0">
                  <a:pos x="257" y="4838"/>
                </a:cxn>
                <a:cxn ang="0">
                  <a:pos x="3499" y="4838"/>
                </a:cxn>
                <a:cxn ang="0">
                  <a:pos x="3499" y="1478"/>
                </a:cxn>
                <a:cxn ang="0">
                  <a:pos x="3756" y="1478"/>
                </a:cxn>
                <a:cxn ang="0">
                  <a:pos x="3756" y="309"/>
                </a:cxn>
                <a:cxn ang="0">
                  <a:pos x="2901" y="309"/>
                </a:cxn>
                <a:cxn ang="0">
                  <a:pos x="3130" y="4469"/>
                </a:cxn>
                <a:cxn ang="0">
                  <a:pos x="626" y="4469"/>
                </a:cxn>
                <a:cxn ang="0">
                  <a:pos x="626" y="1478"/>
                </a:cxn>
                <a:cxn ang="0">
                  <a:pos x="3130" y="1478"/>
                </a:cxn>
                <a:cxn ang="0">
                  <a:pos x="3130" y="4469"/>
                </a:cxn>
                <a:cxn ang="0">
                  <a:pos x="3388" y="1108"/>
                </a:cxn>
                <a:cxn ang="0">
                  <a:pos x="368" y="1108"/>
                </a:cxn>
                <a:cxn ang="0">
                  <a:pos x="368" y="675"/>
                </a:cxn>
                <a:cxn ang="0">
                  <a:pos x="1221" y="675"/>
                </a:cxn>
                <a:cxn ang="0">
                  <a:pos x="1221" y="368"/>
                </a:cxn>
                <a:cxn ang="0">
                  <a:pos x="2535" y="368"/>
                </a:cxn>
                <a:cxn ang="0">
                  <a:pos x="2535" y="675"/>
                </a:cxn>
                <a:cxn ang="0">
                  <a:pos x="3388" y="675"/>
                </a:cxn>
                <a:cxn ang="0">
                  <a:pos x="3388" y="1108"/>
                </a:cxn>
              </a:cxnLst>
              <a:rect l="0" t="0" r="r" b="b"/>
              <a:pathLst>
                <a:path w="3756" h="4838">
                  <a:moveTo>
                    <a:pt x="2613" y="1778"/>
                  </a:moveTo>
                  <a:lnTo>
                    <a:pt x="2247" y="1778"/>
                  </a:lnTo>
                  <a:lnTo>
                    <a:pt x="2247" y="4167"/>
                  </a:lnTo>
                  <a:lnTo>
                    <a:pt x="2613" y="4167"/>
                  </a:lnTo>
                  <a:lnTo>
                    <a:pt x="2613" y="1778"/>
                  </a:lnTo>
                  <a:close/>
                  <a:moveTo>
                    <a:pt x="1509" y="1778"/>
                  </a:moveTo>
                  <a:lnTo>
                    <a:pt x="1143" y="1778"/>
                  </a:lnTo>
                  <a:lnTo>
                    <a:pt x="1143" y="4167"/>
                  </a:lnTo>
                  <a:lnTo>
                    <a:pt x="1509" y="4167"/>
                  </a:lnTo>
                  <a:lnTo>
                    <a:pt x="1509" y="1778"/>
                  </a:lnTo>
                  <a:close/>
                  <a:moveTo>
                    <a:pt x="2901" y="309"/>
                  </a:moveTo>
                  <a:lnTo>
                    <a:pt x="2901" y="0"/>
                  </a:lnTo>
                  <a:lnTo>
                    <a:pt x="855" y="0"/>
                  </a:lnTo>
                  <a:lnTo>
                    <a:pt x="855" y="309"/>
                  </a:lnTo>
                  <a:lnTo>
                    <a:pt x="0" y="309"/>
                  </a:lnTo>
                  <a:lnTo>
                    <a:pt x="0" y="1478"/>
                  </a:lnTo>
                  <a:lnTo>
                    <a:pt x="257" y="1478"/>
                  </a:lnTo>
                  <a:lnTo>
                    <a:pt x="257" y="4838"/>
                  </a:lnTo>
                  <a:lnTo>
                    <a:pt x="3499" y="4838"/>
                  </a:lnTo>
                  <a:lnTo>
                    <a:pt x="3499" y="1478"/>
                  </a:lnTo>
                  <a:lnTo>
                    <a:pt x="3756" y="1478"/>
                  </a:lnTo>
                  <a:lnTo>
                    <a:pt x="3756" y="309"/>
                  </a:lnTo>
                  <a:lnTo>
                    <a:pt x="2901" y="309"/>
                  </a:lnTo>
                  <a:close/>
                  <a:moveTo>
                    <a:pt x="3130" y="4469"/>
                  </a:moveTo>
                  <a:lnTo>
                    <a:pt x="626" y="4469"/>
                  </a:lnTo>
                  <a:lnTo>
                    <a:pt x="626" y="1478"/>
                  </a:lnTo>
                  <a:lnTo>
                    <a:pt x="3130" y="1478"/>
                  </a:lnTo>
                  <a:lnTo>
                    <a:pt x="3130" y="4469"/>
                  </a:lnTo>
                  <a:close/>
                  <a:moveTo>
                    <a:pt x="3388" y="1108"/>
                  </a:moveTo>
                  <a:lnTo>
                    <a:pt x="368" y="1108"/>
                  </a:lnTo>
                  <a:lnTo>
                    <a:pt x="368" y="675"/>
                  </a:lnTo>
                  <a:lnTo>
                    <a:pt x="1221" y="675"/>
                  </a:lnTo>
                  <a:lnTo>
                    <a:pt x="1221" y="368"/>
                  </a:lnTo>
                  <a:lnTo>
                    <a:pt x="2535" y="368"/>
                  </a:lnTo>
                  <a:lnTo>
                    <a:pt x="2535" y="675"/>
                  </a:lnTo>
                  <a:lnTo>
                    <a:pt x="3388" y="675"/>
                  </a:lnTo>
                  <a:lnTo>
                    <a:pt x="3388" y="1108"/>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225" name="Group 239"/>
          <p:cNvGrpSpPr/>
          <p:nvPr/>
        </p:nvGrpSpPr>
        <p:grpSpPr>
          <a:xfrm>
            <a:off x="5189699" y="3571596"/>
            <a:ext cx="292608" cy="292608"/>
            <a:chOff x="5189699" y="3571596"/>
            <a:chExt cx="292608" cy="292608"/>
          </a:xfrm>
        </p:grpSpPr>
        <p:sp>
          <p:nvSpPr>
            <p:cNvPr id="241" name="Oval 240"/>
            <p:cNvSpPr/>
            <p:nvPr/>
          </p:nvSpPr>
          <p:spPr>
            <a:xfrm>
              <a:off x="5189699" y="3571596"/>
              <a:ext cx="292608" cy="292608"/>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42" name="Freeform 5"/>
            <p:cNvSpPr>
              <a:spLocks noEditPoints="1"/>
            </p:cNvSpPr>
            <p:nvPr/>
          </p:nvSpPr>
          <p:spPr bwMode="auto">
            <a:xfrm>
              <a:off x="5252800" y="3648596"/>
              <a:ext cx="166407" cy="138609"/>
            </a:xfrm>
            <a:custGeom>
              <a:avLst/>
              <a:gdLst/>
              <a:ahLst/>
              <a:cxnLst>
                <a:cxn ang="0">
                  <a:pos x="1365" y="442"/>
                </a:cxn>
                <a:cxn ang="0">
                  <a:pos x="1451" y="213"/>
                </a:cxn>
                <a:cxn ang="0">
                  <a:pos x="1536" y="128"/>
                </a:cxn>
                <a:cxn ang="0">
                  <a:pos x="1365" y="85"/>
                </a:cxn>
                <a:cxn ang="0">
                  <a:pos x="1280" y="42"/>
                </a:cxn>
                <a:cxn ang="0">
                  <a:pos x="768" y="435"/>
                </a:cxn>
                <a:cxn ang="0">
                  <a:pos x="853" y="213"/>
                </a:cxn>
                <a:cxn ang="0">
                  <a:pos x="939" y="128"/>
                </a:cxn>
                <a:cxn ang="0">
                  <a:pos x="768" y="85"/>
                </a:cxn>
                <a:cxn ang="0">
                  <a:pos x="683" y="42"/>
                </a:cxn>
                <a:cxn ang="0">
                  <a:pos x="97" y="589"/>
                </a:cxn>
                <a:cxn ang="0">
                  <a:pos x="97" y="1544"/>
                </a:cxn>
                <a:cxn ang="0">
                  <a:pos x="1150" y="1704"/>
                </a:cxn>
                <a:cxn ang="0">
                  <a:pos x="1729" y="1630"/>
                </a:cxn>
                <a:cxn ang="0">
                  <a:pos x="2048" y="725"/>
                </a:cxn>
                <a:cxn ang="0">
                  <a:pos x="1707" y="585"/>
                </a:cxn>
                <a:cxn ang="0">
                  <a:pos x="1334" y="793"/>
                </a:cxn>
                <a:cxn ang="0">
                  <a:pos x="1024" y="512"/>
                </a:cxn>
                <a:cxn ang="0">
                  <a:pos x="1024" y="768"/>
                </a:cxn>
                <a:cxn ang="0">
                  <a:pos x="1024" y="512"/>
                </a:cxn>
                <a:cxn ang="0">
                  <a:pos x="829" y="777"/>
                </a:cxn>
                <a:cxn ang="0">
                  <a:pos x="274" y="605"/>
                </a:cxn>
                <a:cxn ang="0">
                  <a:pos x="85" y="1408"/>
                </a:cxn>
                <a:cxn ang="0">
                  <a:pos x="299" y="1291"/>
                </a:cxn>
                <a:cxn ang="0">
                  <a:pos x="208" y="1168"/>
                </a:cxn>
                <a:cxn ang="0">
                  <a:pos x="146" y="891"/>
                </a:cxn>
                <a:cxn ang="0">
                  <a:pos x="208" y="826"/>
                </a:cxn>
                <a:cxn ang="0">
                  <a:pos x="563" y="864"/>
                </a:cxn>
                <a:cxn ang="0">
                  <a:pos x="208" y="826"/>
                </a:cxn>
                <a:cxn ang="0">
                  <a:pos x="384" y="1312"/>
                </a:cxn>
                <a:cxn ang="0">
                  <a:pos x="725" y="1270"/>
                </a:cxn>
                <a:cxn ang="0">
                  <a:pos x="725" y="1015"/>
                </a:cxn>
                <a:cxn ang="0">
                  <a:pos x="811" y="1615"/>
                </a:cxn>
                <a:cxn ang="0">
                  <a:pos x="853" y="1617"/>
                </a:cxn>
                <a:cxn ang="0">
                  <a:pos x="939" y="1620"/>
                </a:cxn>
                <a:cxn ang="0">
                  <a:pos x="1109" y="1364"/>
                </a:cxn>
                <a:cxn ang="0">
                  <a:pos x="1195" y="1617"/>
                </a:cxn>
                <a:cxn ang="0">
                  <a:pos x="1237" y="1615"/>
                </a:cxn>
                <a:cxn ang="0">
                  <a:pos x="811" y="1275"/>
                </a:cxn>
                <a:cxn ang="0">
                  <a:pos x="1237" y="1019"/>
                </a:cxn>
                <a:cxn ang="0">
                  <a:pos x="758" y="919"/>
                </a:cxn>
                <a:cxn ang="0">
                  <a:pos x="1024" y="853"/>
                </a:cxn>
                <a:cxn ang="0">
                  <a:pos x="1290" y="919"/>
                </a:cxn>
                <a:cxn ang="0">
                  <a:pos x="1323" y="1609"/>
                </a:cxn>
                <a:cxn ang="0">
                  <a:pos x="1664" y="1558"/>
                </a:cxn>
                <a:cxn ang="0">
                  <a:pos x="1323" y="1015"/>
                </a:cxn>
                <a:cxn ang="0">
                  <a:pos x="1698" y="875"/>
                </a:cxn>
                <a:cxn ang="0">
                  <a:pos x="1493" y="896"/>
                </a:cxn>
                <a:cxn ang="0">
                  <a:pos x="1963" y="725"/>
                </a:cxn>
                <a:cxn ang="0">
                  <a:pos x="1749" y="949"/>
                </a:cxn>
                <a:cxn ang="0">
                  <a:pos x="1963" y="1066"/>
                </a:cxn>
                <a:cxn ang="0">
                  <a:pos x="1749" y="949"/>
                </a:cxn>
                <a:cxn ang="0">
                  <a:pos x="1749" y="1291"/>
                </a:cxn>
                <a:cxn ang="0">
                  <a:pos x="1963" y="1408"/>
                </a:cxn>
              </a:cxnLst>
              <a:rect l="0" t="0" r="r" b="b"/>
              <a:pathLst>
                <a:path w="2048" h="1706">
                  <a:moveTo>
                    <a:pt x="1951" y="589"/>
                  </a:moveTo>
                  <a:cubicBezTo>
                    <a:pt x="1898" y="556"/>
                    <a:pt x="1823" y="527"/>
                    <a:pt x="1729" y="503"/>
                  </a:cubicBezTo>
                  <a:cubicBezTo>
                    <a:pt x="1624" y="475"/>
                    <a:pt x="1500" y="455"/>
                    <a:pt x="1365" y="442"/>
                  </a:cubicBezTo>
                  <a:cubicBezTo>
                    <a:pt x="1365" y="170"/>
                    <a:pt x="1365" y="170"/>
                    <a:pt x="1365" y="170"/>
                  </a:cubicBezTo>
                  <a:cubicBezTo>
                    <a:pt x="1408" y="170"/>
                    <a:pt x="1408" y="170"/>
                    <a:pt x="1408" y="170"/>
                  </a:cubicBezTo>
                  <a:cubicBezTo>
                    <a:pt x="1408" y="194"/>
                    <a:pt x="1427" y="213"/>
                    <a:pt x="1451" y="213"/>
                  </a:cubicBezTo>
                  <a:cubicBezTo>
                    <a:pt x="1536" y="213"/>
                    <a:pt x="1536" y="213"/>
                    <a:pt x="1536" y="213"/>
                  </a:cubicBezTo>
                  <a:cubicBezTo>
                    <a:pt x="1560" y="213"/>
                    <a:pt x="1579" y="194"/>
                    <a:pt x="1579" y="170"/>
                  </a:cubicBezTo>
                  <a:cubicBezTo>
                    <a:pt x="1579" y="147"/>
                    <a:pt x="1560" y="128"/>
                    <a:pt x="1536" y="128"/>
                  </a:cubicBezTo>
                  <a:cubicBezTo>
                    <a:pt x="1493" y="128"/>
                    <a:pt x="1493" y="128"/>
                    <a:pt x="1493" y="128"/>
                  </a:cubicBezTo>
                  <a:cubicBezTo>
                    <a:pt x="1493" y="104"/>
                    <a:pt x="1474" y="85"/>
                    <a:pt x="1451" y="85"/>
                  </a:cubicBezTo>
                  <a:cubicBezTo>
                    <a:pt x="1365" y="85"/>
                    <a:pt x="1365" y="85"/>
                    <a:pt x="1365" y="85"/>
                  </a:cubicBezTo>
                  <a:cubicBezTo>
                    <a:pt x="1365" y="42"/>
                    <a:pt x="1365" y="42"/>
                    <a:pt x="1365" y="42"/>
                  </a:cubicBezTo>
                  <a:cubicBezTo>
                    <a:pt x="1365" y="19"/>
                    <a:pt x="1346" y="0"/>
                    <a:pt x="1323" y="0"/>
                  </a:cubicBezTo>
                  <a:cubicBezTo>
                    <a:pt x="1299" y="0"/>
                    <a:pt x="1280" y="19"/>
                    <a:pt x="1280" y="42"/>
                  </a:cubicBezTo>
                  <a:cubicBezTo>
                    <a:pt x="1280" y="435"/>
                    <a:pt x="1280" y="435"/>
                    <a:pt x="1280" y="435"/>
                  </a:cubicBezTo>
                  <a:cubicBezTo>
                    <a:pt x="1197" y="429"/>
                    <a:pt x="1112" y="426"/>
                    <a:pt x="1024" y="426"/>
                  </a:cubicBezTo>
                  <a:cubicBezTo>
                    <a:pt x="936" y="426"/>
                    <a:pt x="851" y="429"/>
                    <a:pt x="768" y="435"/>
                  </a:cubicBezTo>
                  <a:cubicBezTo>
                    <a:pt x="768" y="170"/>
                    <a:pt x="768" y="170"/>
                    <a:pt x="768" y="170"/>
                  </a:cubicBezTo>
                  <a:cubicBezTo>
                    <a:pt x="811" y="170"/>
                    <a:pt x="811" y="170"/>
                    <a:pt x="811" y="170"/>
                  </a:cubicBezTo>
                  <a:cubicBezTo>
                    <a:pt x="811" y="194"/>
                    <a:pt x="830" y="213"/>
                    <a:pt x="853" y="213"/>
                  </a:cubicBezTo>
                  <a:cubicBezTo>
                    <a:pt x="939" y="213"/>
                    <a:pt x="939" y="213"/>
                    <a:pt x="939" y="213"/>
                  </a:cubicBezTo>
                  <a:cubicBezTo>
                    <a:pt x="962" y="213"/>
                    <a:pt x="981" y="194"/>
                    <a:pt x="981" y="170"/>
                  </a:cubicBezTo>
                  <a:cubicBezTo>
                    <a:pt x="981" y="147"/>
                    <a:pt x="962" y="128"/>
                    <a:pt x="939" y="128"/>
                  </a:cubicBezTo>
                  <a:cubicBezTo>
                    <a:pt x="896" y="128"/>
                    <a:pt x="896" y="128"/>
                    <a:pt x="896" y="128"/>
                  </a:cubicBezTo>
                  <a:cubicBezTo>
                    <a:pt x="896" y="104"/>
                    <a:pt x="877" y="85"/>
                    <a:pt x="853" y="85"/>
                  </a:cubicBezTo>
                  <a:cubicBezTo>
                    <a:pt x="768" y="85"/>
                    <a:pt x="768" y="85"/>
                    <a:pt x="768" y="85"/>
                  </a:cubicBezTo>
                  <a:cubicBezTo>
                    <a:pt x="768" y="42"/>
                    <a:pt x="768" y="42"/>
                    <a:pt x="768" y="42"/>
                  </a:cubicBezTo>
                  <a:cubicBezTo>
                    <a:pt x="768" y="19"/>
                    <a:pt x="749" y="0"/>
                    <a:pt x="725" y="0"/>
                  </a:cubicBezTo>
                  <a:cubicBezTo>
                    <a:pt x="702" y="0"/>
                    <a:pt x="683" y="19"/>
                    <a:pt x="683" y="42"/>
                  </a:cubicBezTo>
                  <a:cubicBezTo>
                    <a:pt x="683" y="442"/>
                    <a:pt x="683" y="442"/>
                    <a:pt x="683" y="442"/>
                  </a:cubicBezTo>
                  <a:cubicBezTo>
                    <a:pt x="548" y="455"/>
                    <a:pt x="424" y="475"/>
                    <a:pt x="319" y="503"/>
                  </a:cubicBezTo>
                  <a:cubicBezTo>
                    <a:pt x="225" y="527"/>
                    <a:pt x="150" y="556"/>
                    <a:pt x="97" y="589"/>
                  </a:cubicBezTo>
                  <a:cubicBezTo>
                    <a:pt x="33" y="629"/>
                    <a:pt x="0" y="675"/>
                    <a:pt x="0" y="725"/>
                  </a:cubicBezTo>
                  <a:cubicBezTo>
                    <a:pt x="0" y="1408"/>
                    <a:pt x="0" y="1408"/>
                    <a:pt x="0" y="1408"/>
                  </a:cubicBezTo>
                  <a:cubicBezTo>
                    <a:pt x="0" y="1458"/>
                    <a:pt x="33" y="1504"/>
                    <a:pt x="97" y="1544"/>
                  </a:cubicBezTo>
                  <a:cubicBezTo>
                    <a:pt x="150" y="1576"/>
                    <a:pt x="225" y="1605"/>
                    <a:pt x="319" y="1630"/>
                  </a:cubicBezTo>
                  <a:cubicBezTo>
                    <a:pt x="508" y="1679"/>
                    <a:pt x="758" y="1706"/>
                    <a:pt x="1024" y="1706"/>
                  </a:cubicBezTo>
                  <a:cubicBezTo>
                    <a:pt x="1066" y="1706"/>
                    <a:pt x="1108" y="1706"/>
                    <a:pt x="1150" y="1704"/>
                  </a:cubicBezTo>
                  <a:cubicBezTo>
                    <a:pt x="1151" y="1704"/>
                    <a:pt x="1151" y="1704"/>
                    <a:pt x="1152" y="1704"/>
                  </a:cubicBezTo>
                  <a:cubicBezTo>
                    <a:pt x="1154" y="1704"/>
                    <a:pt x="1155" y="1704"/>
                    <a:pt x="1157" y="1704"/>
                  </a:cubicBezTo>
                  <a:cubicBezTo>
                    <a:pt x="1373" y="1696"/>
                    <a:pt x="1572" y="1671"/>
                    <a:pt x="1729" y="1630"/>
                  </a:cubicBezTo>
                  <a:cubicBezTo>
                    <a:pt x="1823" y="1605"/>
                    <a:pt x="1898" y="1576"/>
                    <a:pt x="1951" y="1544"/>
                  </a:cubicBezTo>
                  <a:cubicBezTo>
                    <a:pt x="2015" y="1504"/>
                    <a:pt x="2048" y="1458"/>
                    <a:pt x="2048" y="1408"/>
                  </a:cubicBezTo>
                  <a:cubicBezTo>
                    <a:pt x="2048" y="725"/>
                    <a:pt x="2048" y="725"/>
                    <a:pt x="2048" y="725"/>
                  </a:cubicBezTo>
                  <a:cubicBezTo>
                    <a:pt x="2048" y="675"/>
                    <a:pt x="2015" y="629"/>
                    <a:pt x="1951" y="589"/>
                  </a:cubicBezTo>
                  <a:close/>
                  <a:moveTo>
                    <a:pt x="1348" y="526"/>
                  </a:moveTo>
                  <a:cubicBezTo>
                    <a:pt x="1481" y="538"/>
                    <a:pt x="1604" y="558"/>
                    <a:pt x="1707" y="585"/>
                  </a:cubicBezTo>
                  <a:cubicBezTo>
                    <a:pt x="1731" y="592"/>
                    <a:pt x="1754" y="598"/>
                    <a:pt x="1774" y="605"/>
                  </a:cubicBezTo>
                  <a:cubicBezTo>
                    <a:pt x="1405" y="811"/>
                    <a:pt x="1405" y="811"/>
                    <a:pt x="1405" y="811"/>
                  </a:cubicBezTo>
                  <a:cubicBezTo>
                    <a:pt x="1382" y="804"/>
                    <a:pt x="1357" y="798"/>
                    <a:pt x="1334" y="793"/>
                  </a:cubicBezTo>
                  <a:cubicBezTo>
                    <a:pt x="1300" y="787"/>
                    <a:pt x="1261" y="781"/>
                    <a:pt x="1219" y="777"/>
                  </a:cubicBezTo>
                  <a:lnTo>
                    <a:pt x="1348" y="526"/>
                  </a:lnTo>
                  <a:close/>
                  <a:moveTo>
                    <a:pt x="1024" y="512"/>
                  </a:moveTo>
                  <a:cubicBezTo>
                    <a:pt x="1103" y="512"/>
                    <a:pt x="1181" y="514"/>
                    <a:pt x="1255" y="519"/>
                  </a:cubicBezTo>
                  <a:cubicBezTo>
                    <a:pt x="1127" y="770"/>
                    <a:pt x="1127" y="770"/>
                    <a:pt x="1127" y="770"/>
                  </a:cubicBezTo>
                  <a:cubicBezTo>
                    <a:pt x="1093" y="768"/>
                    <a:pt x="1059" y="768"/>
                    <a:pt x="1024" y="768"/>
                  </a:cubicBezTo>
                  <a:cubicBezTo>
                    <a:pt x="989" y="768"/>
                    <a:pt x="955" y="768"/>
                    <a:pt x="921" y="770"/>
                  </a:cubicBezTo>
                  <a:cubicBezTo>
                    <a:pt x="793" y="519"/>
                    <a:pt x="793" y="519"/>
                    <a:pt x="793" y="519"/>
                  </a:cubicBezTo>
                  <a:cubicBezTo>
                    <a:pt x="867" y="514"/>
                    <a:pt x="945" y="512"/>
                    <a:pt x="1024" y="512"/>
                  </a:cubicBezTo>
                  <a:close/>
                  <a:moveTo>
                    <a:pt x="341" y="585"/>
                  </a:moveTo>
                  <a:cubicBezTo>
                    <a:pt x="444" y="558"/>
                    <a:pt x="566" y="538"/>
                    <a:pt x="700" y="526"/>
                  </a:cubicBezTo>
                  <a:cubicBezTo>
                    <a:pt x="829" y="777"/>
                    <a:pt x="829" y="777"/>
                    <a:pt x="829" y="777"/>
                  </a:cubicBezTo>
                  <a:cubicBezTo>
                    <a:pt x="787" y="781"/>
                    <a:pt x="748" y="787"/>
                    <a:pt x="714" y="793"/>
                  </a:cubicBezTo>
                  <a:cubicBezTo>
                    <a:pt x="691" y="798"/>
                    <a:pt x="666" y="804"/>
                    <a:pt x="643" y="811"/>
                  </a:cubicBezTo>
                  <a:cubicBezTo>
                    <a:pt x="274" y="605"/>
                    <a:pt x="274" y="605"/>
                    <a:pt x="274" y="605"/>
                  </a:cubicBezTo>
                  <a:cubicBezTo>
                    <a:pt x="294" y="598"/>
                    <a:pt x="316" y="592"/>
                    <a:pt x="341" y="585"/>
                  </a:cubicBezTo>
                  <a:close/>
                  <a:moveTo>
                    <a:pt x="299" y="1536"/>
                  </a:moveTo>
                  <a:cubicBezTo>
                    <a:pt x="131" y="1486"/>
                    <a:pt x="85" y="1433"/>
                    <a:pt x="85" y="1408"/>
                  </a:cubicBezTo>
                  <a:cubicBezTo>
                    <a:pt x="85" y="1195"/>
                    <a:pt x="85" y="1195"/>
                    <a:pt x="85" y="1195"/>
                  </a:cubicBezTo>
                  <a:cubicBezTo>
                    <a:pt x="102" y="1207"/>
                    <a:pt x="122" y="1220"/>
                    <a:pt x="146" y="1232"/>
                  </a:cubicBezTo>
                  <a:cubicBezTo>
                    <a:pt x="188" y="1254"/>
                    <a:pt x="240" y="1274"/>
                    <a:pt x="299" y="1291"/>
                  </a:cubicBezTo>
                  <a:lnTo>
                    <a:pt x="299" y="1536"/>
                  </a:lnTo>
                  <a:close/>
                  <a:moveTo>
                    <a:pt x="299" y="1202"/>
                  </a:moveTo>
                  <a:cubicBezTo>
                    <a:pt x="262" y="1190"/>
                    <a:pt x="232" y="1179"/>
                    <a:pt x="208" y="1168"/>
                  </a:cubicBezTo>
                  <a:cubicBezTo>
                    <a:pt x="99" y="1118"/>
                    <a:pt x="86" y="1070"/>
                    <a:pt x="85" y="1064"/>
                  </a:cubicBezTo>
                  <a:cubicBezTo>
                    <a:pt x="85" y="853"/>
                    <a:pt x="85" y="853"/>
                    <a:pt x="85" y="853"/>
                  </a:cubicBezTo>
                  <a:cubicBezTo>
                    <a:pt x="102" y="866"/>
                    <a:pt x="122" y="878"/>
                    <a:pt x="146" y="891"/>
                  </a:cubicBezTo>
                  <a:cubicBezTo>
                    <a:pt x="188" y="913"/>
                    <a:pt x="240" y="933"/>
                    <a:pt x="299" y="949"/>
                  </a:cubicBezTo>
                  <a:lnTo>
                    <a:pt x="299" y="1202"/>
                  </a:lnTo>
                  <a:close/>
                  <a:moveTo>
                    <a:pt x="208" y="826"/>
                  </a:moveTo>
                  <a:cubicBezTo>
                    <a:pt x="101" y="777"/>
                    <a:pt x="87" y="730"/>
                    <a:pt x="85" y="723"/>
                  </a:cubicBezTo>
                  <a:cubicBezTo>
                    <a:pt x="87" y="706"/>
                    <a:pt x="108" y="677"/>
                    <a:pt x="172" y="645"/>
                  </a:cubicBezTo>
                  <a:cubicBezTo>
                    <a:pt x="563" y="864"/>
                    <a:pt x="563" y="864"/>
                    <a:pt x="563" y="864"/>
                  </a:cubicBezTo>
                  <a:cubicBezTo>
                    <a:pt x="558" y="874"/>
                    <a:pt x="555" y="884"/>
                    <a:pt x="555" y="896"/>
                  </a:cubicBezTo>
                  <a:cubicBezTo>
                    <a:pt x="555" y="902"/>
                    <a:pt x="555" y="907"/>
                    <a:pt x="557" y="913"/>
                  </a:cubicBezTo>
                  <a:cubicBezTo>
                    <a:pt x="382" y="890"/>
                    <a:pt x="274" y="857"/>
                    <a:pt x="208" y="826"/>
                  </a:cubicBezTo>
                  <a:close/>
                  <a:moveTo>
                    <a:pt x="725" y="1609"/>
                  </a:moveTo>
                  <a:cubicBezTo>
                    <a:pt x="600" y="1598"/>
                    <a:pt x="484" y="1581"/>
                    <a:pt x="384" y="1558"/>
                  </a:cubicBezTo>
                  <a:cubicBezTo>
                    <a:pt x="384" y="1312"/>
                    <a:pt x="384" y="1312"/>
                    <a:pt x="384" y="1312"/>
                  </a:cubicBezTo>
                  <a:cubicBezTo>
                    <a:pt x="481" y="1333"/>
                    <a:pt x="595" y="1347"/>
                    <a:pt x="725" y="1356"/>
                  </a:cubicBezTo>
                  <a:lnTo>
                    <a:pt x="725" y="1609"/>
                  </a:lnTo>
                  <a:close/>
                  <a:moveTo>
                    <a:pt x="725" y="1270"/>
                  </a:moveTo>
                  <a:cubicBezTo>
                    <a:pt x="581" y="1260"/>
                    <a:pt x="469" y="1243"/>
                    <a:pt x="384" y="1224"/>
                  </a:cubicBezTo>
                  <a:cubicBezTo>
                    <a:pt x="384" y="971"/>
                    <a:pt x="384" y="971"/>
                    <a:pt x="384" y="971"/>
                  </a:cubicBezTo>
                  <a:cubicBezTo>
                    <a:pt x="481" y="991"/>
                    <a:pt x="595" y="1006"/>
                    <a:pt x="725" y="1015"/>
                  </a:cubicBezTo>
                  <a:lnTo>
                    <a:pt x="725" y="1270"/>
                  </a:lnTo>
                  <a:close/>
                  <a:moveTo>
                    <a:pt x="853" y="1617"/>
                  </a:moveTo>
                  <a:cubicBezTo>
                    <a:pt x="839" y="1616"/>
                    <a:pt x="825" y="1616"/>
                    <a:pt x="811" y="1615"/>
                  </a:cubicBezTo>
                  <a:cubicBezTo>
                    <a:pt x="811" y="1361"/>
                    <a:pt x="811" y="1361"/>
                    <a:pt x="811" y="1361"/>
                  </a:cubicBezTo>
                  <a:cubicBezTo>
                    <a:pt x="825" y="1361"/>
                    <a:pt x="839" y="1362"/>
                    <a:pt x="853" y="1362"/>
                  </a:cubicBezTo>
                  <a:lnTo>
                    <a:pt x="853" y="1617"/>
                  </a:lnTo>
                  <a:close/>
                  <a:moveTo>
                    <a:pt x="1109" y="1620"/>
                  </a:moveTo>
                  <a:cubicBezTo>
                    <a:pt x="1081" y="1621"/>
                    <a:pt x="1053" y="1621"/>
                    <a:pt x="1024" y="1621"/>
                  </a:cubicBezTo>
                  <a:cubicBezTo>
                    <a:pt x="995" y="1621"/>
                    <a:pt x="967" y="1621"/>
                    <a:pt x="939" y="1620"/>
                  </a:cubicBezTo>
                  <a:cubicBezTo>
                    <a:pt x="939" y="1364"/>
                    <a:pt x="939" y="1364"/>
                    <a:pt x="939" y="1364"/>
                  </a:cubicBezTo>
                  <a:cubicBezTo>
                    <a:pt x="967" y="1365"/>
                    <a:pt x="995" y="1365"/>
                    <a:pt x="1024" y="1365"/>
                  </a:cubicBezTo>
                  <a:cubicBezTo>
                    <a:pt x="1053" y="1365"/>
                    <a:pt x="1081" y="1365"/>
                    <a:pt x="1109" y="1364"/>
                  </a:cubicBezTo>
                  <a:lnTo>
                    <a:pt x="1109" y="1620"/>
                  </a:lnTo>
                  <a:close/>
                  <a:moveTo>
                    <a:pt x="1237" y="1615"/>
                  </a:moveTo>
                  <a:cubicBezTo>
                    <a:pt x="1223" y="1616"/>
                    <a:pt x="1209" y="1616"/>
                    <a:pt x="1195" y="1617"/>
                  </a:cubicBezTo>
                  <a:cubicBezTo>
                    <a:pt x="1195" y="1362"/>
                    <a:pt x="1195" y="1362"/>
                    <a:pt x="1195" y="1362"/>
                  </a:cubicBezTo>
                  <a:cubicBezTo>
                    <a:pt x="1209" y="1362"/>
                    <a:pt x="1223" y="1361"/>
                    <a:pt x="1237" y="1361"/>
                  </a:cubicBezTo>
                  <a:lnTo>
                    <a:pt x="1237" y="1615"/>
                  </a:lnTo>
                  <a:close/>
                  <a:moveTo>
                    <a:pt x="1237" y="1275"/>
                  </a:moveTo>
                  <a:cubicBezTo>
                    <a:pt x="1163" y="1278"/>
                    <a:pt x="1091" y="1280"/>
                    <a:pt x="1024" y="1280"/>
                  </a:cubicBezTo>
                  <a:cubicBezTo>
                    <a:pt x="947" y="1280"/>
                    <a:pt x="876" y="1278"/>
                    <a:pt x="811" y="1275"/>
                  </a:cubicBezTo>
                  <a:cubicBezTo>
                    <a:pt x="811" y="1019"/>
                    <a:pt x="811" y="1019"/>
                    <a:pt x="811" y="1019"/>
                  </a:cubicBezTo>
                  <a:cubicBezTo>
                    <a:pt x="878" y="1022"/>
                    <a:pt x="949" y="1024"/>
                    <a:pt x="1024" y="1024"/>
                  </a:cubicBezTo>
                  <a:cubicBezTo>
                    <a:pt x="1099" y="1024"/>
                    <a:pt x="1170" y="1022"/>
                    <a:pt x="1237" y="1019"/>
                  </a:cubicBezTo>
                  <a:lnTo>
                    <a:pt x="1237" y="1275"/>
                  </a:lnTo>
                  <a:close/>
                  <a:moveTo>
                    <a:pt x="1024" y="938"/>
                  </a:moveTo>
                  <a:cubicBezTo>
                    <a:pt x="926" y="938"/>
                    <a:pt x="832" y="931"/>
                    <a:pt x="758" y="919"/>
                  </a:cubicBezTo>
                  <a:cubicBezTo>
                    <a:pt x="710" y="911"/>
                    <a:pt x="680" y="903"/>
                    <a:pt x="662" y="896"/>
                  </a:cubicBezTo>
                  <a:cubicBezTo>
                    <a:pt x="680" y="889"/>
                    <a:pt x="710" y="880"/>
                    <a:pt x="758" y="872"/>
                  </a:cubicBezTo>
                  <a:cubicBezTo>
                    <a:pt x="832" y="860"/>
                    <a:pt x="926" y="853"/>
                    <a:pt x="1024" y="853"/>
                  </a:cubicBezTo>
                  <a:cubicBezTo>
                    <a:pt x="1122" y="853"/>
                    <a:pt x="1216" y="860"/>
                    <a:pt x="1290" y="872"/>
                  </a:cubicBezTo>
                  <a:cubicBezTo>
                    <a:pt x="1338" y="880"/>
                    <a:pt x="1368" y="889"/>
                    <a:pt x="1386" y="896"/>
                  </a:cubicBezTo>
                  <a:cubicBezTo>
                    <a:pt x="1368" y="903"/>
                    <a:pt x="1338" y="911"/>
                    <a:pt x="1290" y="919"/>
                  </a:cubicBezTo>
                  <a:cubicBezTo>
                    <a:pt x="1216" y="931"/>
                    <a:pt x="1122" y="938"/>
                    <a:pt x="1024" y="938"/>
                  </a:cubicBezTo>
                  <a:close/>
                  <a:moveTo>
                    <a:pt x="1664" y="1558"/>
                  </a:moveTo>
                  <a:cubicBezTo>
                    <a:pt x="1564" y="1581"/>
                    <a:pt x="1448" y="1598"/>
                    <a:pt x="1323" y="1609"/>
                  </a:cubicBezTo>
                  <a:cubicBezTo>
                    <a:pt x="1323" y="1356"/>
                    <a:pt x="1323" y="1356"/>
                    <a:pt x="1323" y="1356"/>
                  </a:cubicBezTo>
                  <a:cubicBezTo>
                    <a:pt x="1453" y="1347"/>
                    <a:pt x="1567" y="1333"/>
                    <a:pt x="1664" y="1312"/>
                  </a:cubicBezTo>
                  <a:lnTo>
                    <a:pt x="1664" y="1558"/>
                  </a:lnTo>
                  <a:close/>
                  <a:moveTo>
                    <a:pt x="1664" y="1224"/>
                  </a:moveTo>
                  <a:cubicBezTo>
                    <a:pt x="1560" y="1248"/>
                    <a:pt x="1441" y="1262"/>
                    <a:pt x="1323" y="1270"/>
                  </a:cubicBezTo>
                  <a:cubicBezTo>
                    <a:pt x="1323" y="1015"/>
                    <a:pt x="1323" y="1015"/>
                    <a:pt x="1323" y="1015"/>
                  </a:cubicBezTo>
                  <a:cubicBezTo>
                    <a:pt x="1453" y="1006"/>
                    <a:pt x="1567" y="991"/>
                    <a:pt x="1664" y="971"/>
                  </a:cubicBezTo>
                  <a:lnTo>
                    <a:pt x="1664" y="1224"/>
                  </a:lnTo>
                  <a:close/>
                  <a:moveTo>
                    <a:pt x="1698" y="875"/>
                  </a:moveTo>
                  <a:cubicBezTo>
                    <a:pt x="1697" y="875"/>
                    <a:pt x="1695" y="875"/>
                    <a:pt x="1694" y="876"/>
                  </a:cubicBezTo>
                  <a:cubicBezTo>
                    <a:pt x="1631" y="892"/>
                    <a:pt x="1562" y="904"/>
                    <a:pt x="1491" y="913"/>
                  </a:cubicBezTo>
                  <a:cubicBezTo>
                    <a:pt x="1493" y="907"/>
                    <a:pt x="1493" y="902"/>
                    <a:pt x="1493" y="896"/>
                  </a:cubicBezTo>
                  <a:cubicBezTo>
                    <a:pt x="1493" y="884"/>
                    <a:pt x="1490" y="874"/>
                    <a:pt x="1485" y="864"/>
                  </a:cubicBezTo>
                  <a:cubicBezTo>
                    <a:pt x="1876" y="645"/>
                    <a:pt x="1876" y="645"/>
                    <a:pt x="1876" y="645"/>
                  </a:cubicBezTo>
                  <a:cubicBezTo>
                    <a:pt x="1942" y="678"/>
                    <a:pt x="1963" y="708"/>
                    <a:pt x="1963" y="725"/>
                  </a:cubicBezTo>
                  <a:cubicBezTo>
                    <a:pt x="1963" y="725"/>
                    <a:pt x="1952" y="769"/>
                    <a:pt x="1863" y="815"/>
                  </a:cubicBezTo>
                  <a:cubicBezTo>
                    <a:pt x="1817" y="839"/>
                    <a:pt x="1761" y="859"/>
                    <a:pt x="1698" y="875"/>
                  </a:cubicBezTo>
                  <a:close/>
                  <a:moveTo>
                    <a:pt x="1749" y="949"/>
                  </a:moveTo>
                  <a:cubicBezTo>
                    <a:pt x="1808" y="933"/>
                    <a:pt x="1860" y="913"/>
                    <a:pt x="1902" y="891"/>
                  </a:cubicBezTo>
                  <a:cubicBezTo>
                    <a:pt x="1926" y="878"/>
                    <a:pt x="1946" y="866"/>
                    <a:pt x="1963" y="853"/>
                  </a:cubicBezTo>
                  <a:cubicBezTo>
                    <a:pt x="1963" y="1066"/>
                    <a:pt x="1963" y="1066"/>
                    <a:pt x="1963" y="1066"/>
                  </a:cubicBezTo>
                  <a:cubicBezTo>
                    <a:pt x="1963" y="1067"/>
                    <a:pt x="1952" y="1110"/>
                    <a:pt x="1863" y="1156"/>
                  </a:cubicBezTo>
                  <a:cubicBezTo>
                    <a:pt x="1830" y="1174"/>
                    <a:pt x="1791" y="1189"/>
                    <a:pt x="1749" y="1202"/>
                  </a:cubicBezTo>
                  <a:lnTo>
                    <a:pt x="1749" y="949"/>
                  </a:lnTo>
                  <a:close/>
                  <a:moveTo>
                    <a:pt x="1963" y="1408"/>
                  </a:moveTo>
                  <a:cubicBezTo>
                    <a:pt x="1963" y="1433"/>
                    <a:pt x="1916" y="1486"/>
                    <a:pt x="1749" y="1536"/>
                  </a:cubicBezTo>
                  <a:cubicBezTo>
                    <a:pt x="1749" y="1291"/>
                    <a:pt x="1749" y="1291"/>
                    <a:pt x="1749" y="1291"/>
                  </a:cubicBezTo>
                  <a:cubicBezTo>
                    <a:pt x="1808" y="1274"/>
                    <a:pt x="1860" y="1254"/>
                    <a:pt x="1902" y="1232"/>
                  </a:cubicBezTo>
                  <a:cubicBezTo>
                    <a:pt x="1926" y="1220"/>
                    <a:pt x="1946" y="1207"/>
                    <a:pt x="1963" y="1195"/>
                  </a:cubicBezTo>
                  <a:lnTo>
                    <a:pt x="1963" y="1408"/>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226" name="Group 242"/>
          <p:cNvGrpSpPr/>
          <p:nvPr/>
        </p:nvGrpSpPr>
        <p:grpSpPr>
          <a:xfrm>
            <a:off x="4422598" y="3840534"/>
            <a:ext cx="287785" cy="287785"/>
            <a:chOff x="4422598" y="3840534"/>
            <a:chExt cx="287785" cy="287785"/>
          </a:xfrm>
        </p:grpSpPr>
        <p:sp>
          <p:nvSpPr>
            <p:cNvPr id="244" name="Oval 243"/>
            <p:cNvSpPr/>
            <p:nvPr/>
          </p:nvSpPr>
          <p:spPr>
            <a:xfrm>
              <a:off x="4422598" y="3840534"/>
              <a:ext cx="287785" cy="287785"/>
            </a:xfrm>
            <a:prstGeom prst="ellipse">
              <a:avLst/>
            </a:prstGeom>
            <a:solidFill>
              <a:schemeClr val="accent4">
                <a:lumMod val="75000"/>
              </a:schemeClr>
            </a:solidFill>
            <a:ln w="9525">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45" name="Freeform 10"/>
            <p:cNvSpPr>
              <a:spLocks noEditPoints="1"/>
            </p:cNvSpPr>
            <p:nvPr/>
          </p:nvSpPr>
          <p:spPr bwMode="auto">
            <a:xfrm>
              <a:off x="4445604" y="3929064"/>
              <a:ext cx="198918" cy="160872"/>
            </a:xfrm>
            <a:custGeom>
              <a:avLst/>
              <a:gdLst/>
              <a:ahLst/>
              <a:cxnLst>
                <a:cxn ang="0">
                  <a:pos x="1413" y="976"/>
                </a:cxn>
                <a:cxn ang="0">
                  <a:pos x="2053" y="42"/>
                </a:cxn>
                <a:cxn ang="0">
                  <a:pos x="2012" y="1"/>
                </a:cxn>
                <a:cxn ang="0">
                  <a:pos x="1075" y="636"/>
                </a:cxn>
                <a:cxn ang="0">
                  <a:pos x="532" y="1264"/>
                </a:cxn>
                <a:cxn ang="0">
                  <a:pos x="553" y="1046"/>
                </a:cxn>
                <a:cxn ang="0">
                  <a:pos x="615" y="78"/>
                </a:cxn>
                <a:cxn ang="0">
                  <a:pos x="267" y="571"/>
                </a:cxn>
                <a:cxn ang="0">
                  <a:pos x="436" y="1185"/>
                </a:cxn>
                <a:cxn ang="0">
                  <a:pos x="353" y="1354"/>
                </a:cxn>
                <a:cxn ang="0">
                  <a:pos x="28" y="1517"/>
                </a:cxn>
                <a:cxn ang="0">
                  <a:pos x="43" y="1590"/>
                </a:cxn>
                <a:cxn ang="0">
                  <a:pos x="569" y="1330"/>
                </a:cxn>
                <a:cxn ang="0">
                  <a:pos x="1013" y="1381"/>
                </a:cxn>
                <a:cxn ang="0">
                  <a:pos x="1442" y="1661"/>
                </a:cxn>
                <a:cxn ang="0">
                  <a:pos x="1896" y="1408"/>
                </a:cxn>
                <a:cxn ang="0">
                  <a:pos x="1145" y="1174"/>
                </a:cxn>
                <a:cxn ang="0">
                  <a:pos x="772" y="1208"/>
                </a:cxn>
                <a:cxn ang="0">
                  <a:pos x="1348" y="982"/>
                </a:cxn>
                <a:cxn ang="0">
                  <a:pos x="342" y="576"/>
                </a:cxn>
                <a:cxn ang="0">
                  <a:pos x="775" y="603"/>
                </a:cxn>
                <a:cxn ang="0">
                  <a:pos x="567" y="969"/>
                </a:cxn>
                <a:cxn ang="0">
                  <a:pos x="553" y="557"/>
                </a:cxn>
                <a:cxn ang="0">
                  <a:pos x="491" y="961"/>
                </a:cxn>
                <a:cxn ang="0">
                  <a:pos x="1424" y="1350"/>
                </a:cxn>
                <a:cxn ang="0">
                  <a:pos x="1181" y="1241"/>
                </a:cxn>
                <a:cxn ang="0">
                  <a:pos x="1814" y="1426"/>
                </a:cxn>
                <a:cxn ang="0">
                  <a:pos x="1159" y="1501"/>
                </a:cxn>
                <a:cxn ang="0">
                  <a:pos x="1423" y="1426"/>
                </a:cxn>
                <a:cxn ang="0">
                  <a:pos x="1461" y="1389"/>
                </a:cxn>
                <a:cxn ang="0">
                  <a:pos x="1149" y="651"/>
                </a:cxn>
                <a:cxn ang="0">
                  <a:pos x="1972" y="82"/>
                </a:cxn>
                <a:cxn ang="0">
                  <a:pos x="1399" y="902"/>
                </a:cxn>
                <a:cxn ang="0">
                  <a:pos x="1473" y="645"/>
                </a:cxn>
                <a:cxn ang="0">
                  <a:pos x="1416" y="595"/>
                </a:cxn>
                <a:cxn ang="0">
                  <a:pos x="1149" y="651"/>
                </a:cxn>
              </a:cxnLst>
              <a:rect l="0" t="0" r="r" b="b"/>
              <a:pathLst>
                <a:path w="2054" h="1661">
                  <a:moveTo>
                    <a:pt x="1348" y="982"/>
                  </a:moveTo>
                  <a:cubicBezTo>
                    <a:pt x="1369" y="982"/>
                    <a:pt x="1391" y="980"/>
                    <a:pt x="1413" y="976"/>
                  </a:cubicBezTo>
                  <a:cubicBezTo>
                    <a:pt x="1523" y="955"/>
                    <a:pt x="1639" y="883"/>
                    <a:pt x="1761" y="762"/>
                  </a:cubicBezTo>
                  <a:cubicBezTo>
                    <a:pt x="2013" y="511"/>
                    <a:pt x="2051" y="61"/>
                    <a:pt x="2053" y="42"/>
                  </a:cubicBezTo>
                  <a:cubicBezTo>
                    <a:pt x="2054" y="31"/>
                    <a:pt x="2050" y="20"/>
                    <a:pt x="2042" y="12"/>
                  </a:cubicBezTo>
                  <a:cubicBezTo>
                    <a:pt x="2034" y="4"/>
                    <a:pt x="2023" y="0"/>
                    <a:pt x="2012" y="1"/>
                  </a:cubicBezTo>
                  <a:cubicBezTo>
                    <a:pt x="1993" y="2"/>
                    <a:pt x="1544" y="40"/>
                    <a:pt x="1292" y="291"/>
                  </a:cubicBezTo>
                  <a:cubicBezTo>
                    <a:pt x="1170" y="412"/>
                    <a:pt x="1098" y="528"/>
                    <a:pt x="1075" y="636"/>
                  </a:cubicBezTo>
                  <a:cubicBezTo>
                    <a:pt x="1057" y="723"/>
                    <a:pt x="1073" y="803"/>
                    <a:pt x="1122" y="868"/>
                  </a:cubicBezTo>
                  <a:cubicBezTo>
                    <a:pt x="919" y="1032"/>
                    <a:pt x="703" y="1167"/>
                    <a:pt x="532" y="1264"/>
                  </a:cubicBezTo>
                  <a:cubicBezTo>
                    <a:pt x="512" y="1276"/>
                    <a:pt x="492" y="1287"/>
                    <a:pt x="473" y="1297"/>
                  </a:cubicBezTo>
                  <a:cubicBezTo>
                    <a:pt x="499" y="1240"/>
                    <a:pt x="529" y="1158"/>
                    <a:pt x="553" y="1046"/>
                  </a:cubicBezTo>
                  <a:cubicBezTo>
                    <a:pt x="691" y="1041"/>
                    <a:pt x="832" y="907"/>
                    <a:pt x="850" y="608"/>
                  </a:cubicBezTo>
                  <a:cubicBezTo>
                    <a:pt x="868" y="326"/>
                    <a:pt x="625" y="88"/>
                    <a:pt x="615" y="78"/>
                  </a:cubicBezTo>
                  <a:cubicBezTo>
                    <a:pt x="602" y="65"/>
                    <a:pt x="581" y="63"/>
                    <a:pt x="566" y="75"/>
                  </a:cubicBezTo>
                  <a:cubicBezTo>
                    <a:pt x="555" y="83"/>
                    <a:pt x="284" y="289"/>
                    <a:pt x="267" y="571"/>
                  </a:cubicBezTo>
                  <a:cubicBezTo>
                    <a:pt x="249" y="848"/>
                    <a:pt x="353" y="997"/>
                    <a:pt x="477" y="1036"/>
                  </a:cubicBezTo>
                  <a:cubicBezTo>
                    <a:pt x="464" y="1097"/>
                    <a:pt x="450" y="1146"/>
                    <a:pt x="436" y="1185"/>
                  </a:cubicBezTo>
                  <a:cubicBezTo>
                    <a:pt x="396" y="1302"/>
                    <a:pt x="354" y="1353"/>
                    <a:pt x="353" y="1354"/>
                  </a:cubicBezTo>
                  <a:cubicBezTo>
                    <a:pt x="353" y="1354"/>
                    <a:pt x="353" y="1354"/>
                    <a:pt x="353" y="1354"/>
                  </a:cubicBezTo>
                  <a:cubicBezTo>
                    <a:pt x="344" y="1364"/>
                    <a:pt x="334" y="1372"/>
                    <a:pt x="323" y="1377"/>
                  </a:cubicBezTo>
                  <a:cubicBezTo>
                    <a:pt x="149" y="1467"/>
                    <a:pt x="30" y="1517"/>
                    <a:pt x="28" y="1517"/>
                  </a:cubicBezTo>
                  <a:cubicBezTo>
                    <a:pt x="9" y="1525"/>
                    <a:pt x="0" y="1547"/>
                    <a:pt x="8" y="1567"/>
                  </a:cubicBezTo>
                  <a:cubicBezTo>
                    <a:pt x="14" y="1581"/>
                    <a:pt x="28" y="1590"/>
                    <a:pt x="43" y="1590"/>
                  </a:cubicBezTo>
                  <a:cubicBezTo>
                    <a:pt x="48" y="1590"/>
                    <a:pt x="53" y="1589"/>
                    <a:pt x="57" y="1587"/>
                  </a:cubicBezTo>
                  <a:cubicBezTo>
                    <a:pt x="60" y="1586"/>
                    <a:pt x="284" y="1492"/>
                    <a:pt x="569" y="1330"/>
                  </a:cubicBezTo>
                  <a:cubicBezTo>
                    <a:pt x="611" y="1307"/>
                    <a:pt x="655" y="1280"/>
                    <a:pt x="702" y="1252"/>
                  </a:cubicBezTo>
                  <a:cubicBezTo>
                    <a:pt x="729" y="1273"/>
                    <a:pt x="822" y="1337"/>
                    <a:pt x="1013" y="1381"/>
                  </a:cubicBezTo>
                  <a:cubicBezTo>
                    <a:pt x="1017" y="1507"/>
                    <a:pt x="1136" y="1637"/>
                    <a:pt x="1406" y="1660"/>
                  </a:cubicBezTo>
                  <a:cubicBezTo>
                    <a:pt x="1418" y="1661"/>
                    <a:pt x="1430" y="1661"/>
                    <a:pt x="1442" y="1661"/>
                  </a:cubicBezTo>
                  <a:cubicBezTo>
                    <a:pt x="1682" y="1661"/>
                    <a:pt x="1883" y="1466"/>
                    <a:pt x="1892" y="1457"/>
                  </a:cubicBezTo>
                  <a:cubicBezTo>
                    <a:pt x="1905" y="1444"/>
                    <a:pt x="1907" y="1423"/>
                    <a:pt x="1896" y="1408"/>
                  </a:cubicBezTo>
                  <a:cubicBezTo>
                    <a:pt x="1889" y="1397"/>
                    <a:pt x="1707" y="1148"/>
                    <a:pt x="1451" y="1126"/>
                  </a:cubicBezTo>
                  <a:cubicBezTo>
                    <a:pt x="1329" y="1116"/>
                    <a:pt x="1223" y="1132"/>
                    <a:pt x="1145" y="1174"/>
                  </a:cubicBezTo>
                  <a:cubicBezTo>
                    <a:pt x="1085" y="1206"/>
                    <a:pt x="1044" y="1252"/>
                    <a:pt x="1025" y="1306"/>
                  </a:cubicBezTo>
                  <a:cubicBezTo>
                    <a:pt x="890" y="1274"/>
                    <a:pt x="810" y="1232"/>
                    <a:pt x="772" y="1208"/>
                  </a:cubicBezTo>
                  <a:cubicBezTo>
                    <a:pt x="901" y="1127"/>
                    <a:pt x="1041" y="1031"/>
                    <a:pt x="1175" y="922"/>
                  </a:cubicBezTo>
                  <a:cubicBezTo>
                    <a:pt x="1224" y="962"/>
                    <a:pt x="1283" y="982"/>
                    <a:pt x="1348" y="982"/>
                  </a:cubicBezTo>
                  <a:close/>
                  <a:moveTo>
                    <a:pt x="392" y="870"/>
                  </a:moveTo>
                  <a:cubicBezTo>
                    <a:pt x="352" y="797"/>
                    <a:pt x="335" y="696"/>
                    <a:pt x="342" y="576"/>
                  </a:cubicBezTo>
                  <a:cubicBezTo>
                    <a:pt x="355" y="377"/>
                    <a:pt x="521" y="214"/>
                    <a:pt x="586" y="157"/>
                  </a:cubicBezTo>
                  <a:cubicBezTo>
                    <a:pt x="643" y="221"/>
                    <a:pt x="787" y="404"/>
                    <a:pt x="775" y="603"/>
                  </a:cubicBezTo>
                  <a:cubicBezTo>
                    <a:pt x="767" y="723"/>
                    <a:pt x="738" y="822"/>
                    <a:pt x="688" y="888"/>
                  </a:cubicBezTo>
                  <a:cubicBezTo>
                    <a:pt x="654" y="935"/>
                    <a:pt x="612" y="963"/>
                    <a:pt x="567" y="969"/>
                  </a:cubicBezTo>
                  <a:cubicBezTo>
                    <a:pt x="583" y="866"/>
                    <a:pt x="593" y="742"/>
                    <a:pt x="591" y="595"/>
                  </a:cubicBezTo>
                  <a:cubicBezTo>
                    <a:pt x="591" y="574"/>
                    <a:pt x="574" y="557"/>
                    <a:pt x="553" y="557"/>
                  </a:cubicBezTo>
                  <a:cubicBezTo>
                    <a:pt x="532" y="558"/>
                    <a:pt x="515" y="575"/>
                    <a:pt x="516" y="596"/>
                  </a:cubicBezTo>
                  <a:cubicBezTo>
                    <a:pt x="517" y="742"/>
                    <a:pt x="507" y="863"/>
                    <a:pt x="491" y="961"/>
                  </a:cubicBezTo>
                  <a:cubicBezTo>
                    <a:pt x="452" y="947"/>
                    <a:pt x="418" y="916"/>
                    <a:pt x="392" y="870"/>
                  </a:cubicBezTo>
                  <a:close/>
                  <a:moveTo>
                    <a:pt x="1424" y="1350"/>
                  </a:moveTo>
                  <a:cubicBezTo>
                    <a:pt x="1295" y="1349"/>
                    <a:pt x="1188" y="1338"/>
                    <a:pt x="1100" y="1322"/>
                  </a:cubicBezTo>
                  <a:cubicBezTo>
                    <a:pt x="1114" y="1289"/>
                    <a:pt x="1141" y="1262"/>
                    <a:pt x="1181" y="1241"/>
                  </a:cubicBezTo>
                  <a:cubicBezTo>
                    <a:pt x="1246" y="1206"/>
                    <a:pt x="1337" y="1192"/>
                    <a:pt x="1445" y="1202"/>
                  </a:cubicBezTo>
                  <a:cubicBezTo>
                    <a:pt x="1620" y="1216"/>
                    <a:pt x="1762" y="1364"/>
                    <a:pt x="1814" y="1426"/>
                  </a:cubicBezTo>
                  <a:cubicBezTo>
                    <a:pt x="1752" y="1477"/>
                    <a:pt x="1588" y="1599"/>
                    <a:pt x="1412" y="1584"/>
                  </a:cubicBezTo>
                  <a:cubicBezTo>
                    <a:pt x="1305" y="1575"/>
                    <a:pt x="1217" y="1547"/>
                    <a:pt x="1159" y="1501"/>
                  </a:cubicBezTo>
                  <a:cubicBezTo>
                    <a:pt x="1120" y="1471"/>
                    <a:pt x="1096" y="1436"/>
                    <a:pt x="1090" y="1397"/>
                  </a:cubicBezTo>
                  <a:cubicBezTo>
                    <a:pt x="1182" y="1413"/>
                    <a:pt x="1292" y="1425"/>
                    <a:pt x="1423" y="1426"/>
                  </a:cubicBezTo>
                  <a:cubicBezTo>
                    <a:pt x="1423" y="1426"/>
                    <a:pt x="1423" y="1426"/>
                    <a:pt x="1423" y="1426"/>
                  </a:cubicBezTo>
                  <a:cubicBezTo>
                    <a:pt x="1444" y="1426"/>
                    <a:pt x="1461" y="1409"/>
                    <a:pt x="1461" y="1389"/>
                  </a:cubicBezTo>
                  <a:cubicBezTo>
                    <a:pt x="1462" y="1368"/>
                    <a:pt x="1445" y="1351"/>
                    <a:pt x="1424" y="1350"/>
                  </a:cubicBezTo>
                  <a:close/>
                  <a:moveTo>
                    <a:pt x="1149" y="651"/>
                  </a:moveTo>
                  <a:cubicBezTo>
                    <a:pt x="1168" y="559"/>
                    <a:pt x="1236" y="453"/>
                    <a:pt x="1345" y="344"/>
                  </a:cubicBezTo>
                  <a:cubicBezTo>
                    <a:pt x="1533" y="158"/>
                    <a:pt x="1853" y="98"/>
                    <a:pt x="1972" y="82"/>
                  </a:cubicBezTo>
                  <a:cubicBezTo>
                    <a:pt x="1956" y="201"/>
                    <a:pt x="1895" y="522"/>
                    <a:pt x="1708" y="709"/>
                  </a:cubicBezTo>
                  <a:cubicBezTo>
                    <a:pt x="1599" y="817"/>
                    <a:pt x="1492" y="884"/>
                    <a:pt x="1399" y="902"/>
                  </a:cubicBezTo>
                  <a:cubicBezTo>
                    <a:pt x="1336" y="914"/>
                    <a:pt x="1281" y="904"/>
                    <a:pt x="1235" y="872"/>
                  </a:cubicBezTo>
                  <a:cubicBezTo>
                    <a:pt x="1318" y="801"/>
                    <a:pt x="1399" y="725"/>
                    <a:pt x="1473" y="645"/>
                  </a:cubicBezTo>
                  <a:cubicBezTo>
                    <a:pt x="1487" y="629"/>
                    <a:pt x="1485" y="604"/>
                    <a:pt x="1468" y="590"/>
                  </a:cubicBezTo>
                  <a:cubicBezTo>
                    <a:pt x="1452" y="577"/>
                    <a:pt x="1429" y="580"/>
                    <a:pt x="1416" y="595"/>
                  </a:cubicBezTo>
                  <a:cubicBezTo>
                    <a:pt x="1343" y="674"/>
                    <a:pt x="1263" y="749"/>
                    <a:pt x="1180" y="819"/>
                  </a:cubicBezTo>
                  <a:cubicBezTo>
                    <a:pt x="1147" y="772"/>
                    <a:pt x="1136" y="716"/>
                    <a:pt x="1149" y="651"/>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cxnSp>
        <p:nvCxnSpPr>
          <p:cNvPr id="193" name="Straight Connector 192"/>
          <p:cNvCxnSpPr/>
          <p:nvPr/>
        </p:nvCxnSpPr>
        <p:spPr>
          <a:xfrm>
            <a:off x="2913983" y="1793220"/>
            <a:ext cx="5801007" cy="1504470"/>
          </a:xfrm>
          <a:prstGeom prst="line">
            <a:avLst/>
          </a:prstGeom>
        </p:spPr>
        <p:style>
          <a:lnRef idx="1">
            <a:schemeClr val="accent1"/>
          </a:lnRef>
          <a:fillRef idx="0">
            <a:schemeClr val="accent1"/>
          </a:fillRef>
          <a:effectRef idx="0">
            <a:schemeClr val="accent1"/>
          </a:effectRef>
          <a:fontRef idx="minor">
            <a:schemeClr val="tx1"/>
          </a:fontRef>
        </p:style>
      </p:cxnSp>
      <p:sp>
        <p:nvSpPr>
          <p:cNvPr id="130" name="Rounded Rectangle 129"/>
          <p:cNvSpPr/>
          <p:nvPr/>
        </p:nvSpPr>
        <p:spPr>
          <a:xfrm>
            <a:off x="1808707" y="3492953"/>
            <a:ext cx="556685" cy="208887"/>
          </a:xfrm>
          <a:prstGeom prst="round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1"/>
                </a:solidFill>
                <a:latin typeface="+mj-lt"/>
              </a:rPr>
              <a:t>eSCEF</a:t>
            </a:r>
          </a:p>
        </p:txBody>
      </p:sp>
    </p:spTree>
    <p:extLst>
      <p:ext uri="{BB962C8B-B14F-4D97-AF65-F5344CB8AC3E}">
        <p14:creationId xmlns:p14="http://schemas.microsoft.com/office/powerpoint/2010/main" val="132404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350" name="think-cell Slide" r:id="rId5" imgW="476" imgH="357" progId="">
                  <p:embed/>
                </p:oleObj>
              </mc:Choice>
              <mc:Fallback>
                <p:oleObj name="think-cell Slide" r:id="rId5" imgW="476" imgH="357"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1" name="Rectangle 50"/>
          <p:cNvSpPr/>
          <p:nvPr/>
        </p:nvSpPr>
        <p:spPr>
          <a:xfrm>
            <a:off x="0" y="1079500"/>
            <a:ext cx="9144000" cy="3638550"/>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 name="Title 1"/>
          <p:cNvSpPr>
            <a:spLocks noGrp="1"/>
          </p:cNvSpPr>
          <p:nvPr>
            <p:ph type="title"/>
          </p:nvPr>
        </p:nvSpPr>
        <p:spPr/>
        <p:txBody>
          <a:bodyPr/>
          <a:lstStyle/>
          <a:p>
            <a:r>
              <a:rPr smtClean="0"/>
              <a:t>Cisco Ultra IoT – Key Features </a:t>
            </a:r>
            <a:endParaRPr lang="en-US" dirty="0"/>
          </a:p>
        </p:txBody>
      </p:sp>
      <p:sp>
        <p:nvSpPr>
          <p:cNvPr id="27" name="Rectangle 26"/>
          <p:cNvSpPr/>
          <p:nvPr/>
        </p:nvSpPr>
        <p:spPr>
          <a:xfrm>
            <a:off x="5277810" y="1270000"/>
            <a:ext cx="1024128" cy="502920"/>
          </a:xfrm>
          <a:prstGeom prst="rect">
            <a:avLst/>
          </a:prstGeom>
          <a:solidFill>
            <a:schemeClr val="accent6"/>
          </a:solidFill>
          <a:ln w="19050" cap="flat" cmpd="sng" algn="ctr">
            <a:noFill/>
            <a:prstDash val="solid"/>
          </a:ln>
          <a:effectLst/>
        </p:spPr>
        <p:txBody>
          <a:bodyPr lIns="91416" tIns="45708" rIns="91416" bIns="4570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j-lt"/>
                <a:ea typeface="+mn-ea"/>
                <a:cs typeface="+mn-cs"/>
              </a:rPr>
              <a:t>Application </a:t>
            </a:r>
            <a:r>
              <a:rPr kumimoji="0" lang="en-US" sz="1100" b="0" i="0" u="none" strike="noStrike" kern="1200" cap="none" spc="0" normalizeH="0" baseline="0" noProof="0" dirty="0" smtClean="0">
                <a:ln>
                  <a:noFill/>
                </a:ln>
                <a:solidFill>
                  <a:srgbClr val="FFFFFF"/>
                </a:solidFill>
                <a:effectLst/>
                <a:uLnTx/>
                <a:uFillTx/>
                <a:latin typeface="+mj-lt"/>
                <a:ea typeface="+mn-ea"/>
                <a:cs typeface="+mn-cs"/>
              </a:rPr>
              <a:t>Servers</a:t>
            </a:r>
            <a:endParaRPr kumimoji="0" lang="en-US" sz="1100" b="0" i="0" u="none" strike="noStrike" kern="1200" cap="none" spc="0" normalizeH="0" baseline="0" noProof="0" dirty="0">
              <a:ln>
                <a:noFill/>
              </a:ln>
              <a:solidFill>
                <a:srgbClr val="FFFFFF"/>
              </a:solidFill>
              <a:effectLst/>
              <a:uLnTx/>
              <a:uFillTx/>
              <a:latin typeface="+mj-lt"/>
              <a:ea typeface="+mn-ea"/>
              <a:cs typeface="+mn-cs"/>
            </a:endParaRPr>
          </a:p>
        </p:txBody>
      </p:sp>
      <p:sp>
        <p:nvSpPr>
          <p:cNvPr id="29" name="TextBox 28"/>
          <p:cNvSpPr txBox="1"/>
          <p:nvPr/>
        </p:nvSpPr>
        <p:spPr>
          <a:xfrm>
            <a:off x="4346728" y="1665985"/>
            <a:ext cx="557076" cy="156966"/>
          </a:xfrm>
          <a:prstGeom prst="rect">
            <a:avLst/>
          </a:prstGeom>
          <a:noFill/>
          <a:ln>
            <a:noFill/>
          </a:ln>
        </p:spPr>
        <p:txBody>
          <a:bodyPr wrap="square" lIns="9144" tIns="9144" rIns="9144" bIns="9144" rtlCol="0">
            <a:spAutoFit/>
          </a:bodyPr>
          <a:lstStyle/>
          <a:p>
            <a:pPr algn="ctr" defTabSz="457200" rtl="0" fontAlgn="base">
              <a:spcBef>
                <a:spcPct val="0"/>
              </a:spcBef>
              <a:spcAft>
                <a:spcPct val="0"/>
              </a:spcAft>
            </a:pPr>
            <a:r>
              <a:rPr lang="en-US" sz="900" b="1" kern="1200" dirty="0">
                <a:solidFill>
                  <a:srgbClr val="676767"/>
                </a:solidFill>
                <a:latin typeface="+mj-lt"/>
                <a:ea typeface="ＭＳ Ｐゴシック" charset="0"/>
              </a:rPr>
              <a:t>Rest APIs</a:t>
            </a:r>
          </a:p>
        </p:txBody>
      </p:sp>
      <p:sp>
        <p:nvSpPr>
          <p:cNvPr id="30" name="Rectangle 29"/>
          <p:cNvSpPr/>
          <p:nvPr/>
        </p:nvSpPr>
        <p:spPr>
          <a:xfrm>
            <a:off x="2901428" y="1270000"/>
            <a:ext cx="1024128" cy="502920"/>
          </a:xfrm>
          <a:prstGeom prst="rect">
            <a:avLst/>
          </a:prstGeom>
          <a:solidFill>
            <a:schemeClr val="accent6"/>
          </a:solidFill>
          <a:ln w="19050" cap="flat" cmpd="sng" algn="ctr">
            <a:noFill/>
            <a:prstDash val="solid"/>
          </a:ln>
          <a:effectLst/>
        </p:spPr>
        <p:txBody>
          <a:bodyPr lIns="0" tIns="45708" rIns="0" bIns="45708"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j-lt"/>
                <a:ea typeface="+mn-ea"/>
                <a:cs typeface="+mn-cs"/>
              </a:rPr>
              <a:t>Connectivity Mgmt Platform</a:t>
            </a:r>
          </a:p>
        </p:txBody>
      </p:sp>
      <p:cxnSp>
        <p:nvCxnSpPr>
          <p:cNvPr id="31" name="Straight Connector 30"/>
          <p:cNvCxnSpPr/>
          <p:nvPr/>
        </p:nvCxnSpPr>
        <p:spPr>
          <a:xfrm rot="16200000" flipH="1">
            <a:off x="5681162" y="1849353"/>
            <a:ext cx="216698" cy="0"/>
          </a:xfrm>
          <a:prstGeom prst="line">
            <a:avLst/>
          </a:prstGeom>
          <a:noFill/>
          <a:ln w="19050" cap="rnd" cmpd="sng" algn="ctr">
            <a:solidFill>
              <a:schemeClr val="tx2"/>
            </a:solidFill>
            <a:prstDash val="solid"/>
            <a:headEnd type="triangle" w="med" len="med"/>
            <a:tailEnd type="triangle" w="med" len="med"/>
          </a:ln>
          <a:effectLst/>
        </p:spPr>
      </p:cxnSp>
      <p:cxnSp>
        <p:nvCxnSpPr>
          <p:cNvPr id="32" name="Straight Connector 31"/>
          <p:cNvCxnSpPr/>
          <p:nvPr/>
        </p:nvCxnSpPr>
        <p:spPr>
          <a:xfrm rot="16200000" flipH="1">
            <a:off x="3314706" y="1849028"/>
            <a:ext cx="216047" cy="0"/>
          </a:xfrm>
          <a:prstGeom prst="line">
            <a:avLst/>
          </a:prstGeom>
          <a:noFill/>
          <a:ln w="19050" cap="rnd" cmpd="sng" algn="ctr">
            <a:solidFill>
              <a:schemeClr val="tx2"/>
            </a:solidFill>
            <a:prstDash val="solid"/>
            <a:headEnd type="triangle" w="med" len="med"/>
            <a:tailEnd type="triangle" w="med" len="med"/>
          </a:ln>
          <a:effectLst/>
        </p:spPr>
      </p:cxnSp>
      <p:sp>
        <p:nvSpPr>
          <p:cNvPr id="33" name="Text Placeholder 1"/>
          <p:cNvSpPr txBox="1">
            <a:spLocks/>
          </p:cNvSpPr>
          <p:nvPr/>
        </p:nvSpPr>
        <p:spPr>
          <a:xfrm>
            <a:off x="6707536" y="1355724"/>
            <a:ext cx="2216884" cy="2555387"/>
          </a:xfrm>
          <a:prstGeom prst="rect">
            <a:avLst/>
          </a:prstGeom>
        </p:spPr>
        <p:txBody>
          <a:bodyPr lIns="91416" tIns="45708" rIns="91416" bIns="45708"/>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lnSpc>
                <a:spcPct val="105000"/>
              </a:lnSpc>
              <a:spcBef>
                <a:spcPts val="450"/>
              </a:spcBef>
              <a:spcAft>
                <a:spcPct val="0"/>
              </a:spcAft>
            </a:pPr>
            <a:r>
              <a:rPr lang="en-US" sz="1400" b="1" dirty="0" err="1" smtClean="0">
                <a:solidFill>
                  <a:schemeClr val="tx2">
                    <a:lumMod val="75000"/>
                  </a:schemeClr>
                </a:solidFill>
                <a:latin typeface="+mj-lt"/>
                <a:cs typeface="CiscoSansTT Light" panose="020B0604020202020204" charset="0"/>
              </a:rPr>
              <a:t>eSCEF</a:t>
            </a:r>
            <a:r>
              <a:rPr lang="en-US" sz="1400" b="1" dirty="0" smtClean="0">
                <a:solidFill>
                  <a:schemeClr val="tx2">
                    <a:lumMod val="75000"/>
                  </a:schemeClr>
                </a:solidFill>
                <a:latin typeface="+mj-lt"/>
                <a:cs typeface="CiscoSansTT Light" panose="020B0604020202020204" charset="0"/>
              </a:rPr>
              <a:t> Key Functions</a:t>
            </a:r>
          </a:p>
          <a:p>
            <a:pPr marL="182880" indent="-182880" fontAlgn="base">
              <a:lnSpc>
                <a:spcPct val="105000"/>
              </a:lnSpc>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Standardized </a:t>
            </a:r>
            <a:r>
              <a:rPr lang="en-US" sz="1200" dirty="0">
                <a:solidFill>
                  <a:schemeClr val="tx2">
                    <a:lumMod val="75000"/>
                  </a:schemeClr>
                </a:solidFill>
                <a:latin typeface="+mj-lt"/>
                <a:cs typeface="CiscoSansTT Light" panose="020B0604020202020204" charset="0"/>
              </a:rPr>
              <a:t>APIs to deliver IP </a:t>
            </a:r>
            <a:r>
              <a:rPr lang="en-US" sz="1200" dirty="0" smtClean="0">
                <a:solidFill>
                  <a:schemeClr val="tx2">
                    <a:lumMod val="75000"/>
                  </a:schemeClr>
                </a:solidFill>
                <a:latin typeface="+mj-lt"/>
                <a:cs typeface="CiscoSansTT Light" panose="020B0604020202020204" charset="0"/>
              </a:rPr>
              <a:t>and </a:t>
            </a:r>
            <a:r>
              <a:rPr lang="en-US" sz="1200" dirty="0">
                <a:solidFill>
                  <a:schemeClr val="tx2">
                    <a:lumMod val="75000"/>
                  </a:schemeClr>
                </a:solidFill>
                <a:latin typeface="+mj-lt"/>
                <a:cs typeface="CiscoSansTT Light" panose="020B0604020202020204" charset="0"/>
              </a:rPr>
              <a:t>non-IP </a:t>
            </a:r>
            <a:r>
              <a:rPr lang="en-US" sz="1200" dirty="0" smtClean="0">
                <a:solidFill>
                  <a:schemeClr val="tx2">
                    <a:lumMod val="75000"/>
                  </a:schemeClr>
                </a:solidFill>
                <a:latin typeface="+mj-lt"/>
                <a:cs typeface="CiscoSansTT Light" panose="020B0604020202020204" charset="0"/>
              </a:rPr>
              <a:t>data</a:t>
            </a:r>
          </a:p>
          <a:p>
            <a:pPr marL="182880" indent="-182880" fontAlgn="base">
              <a:lnSpc>
                <a:spcPct val="105000"/>
              </a:lnSpc>
              <a:spcBef>
                <a:spcPts val="450"/>
              </a:spcBef>
              <a:spcAft>
                <a:spcPct val="0"/>
              </a:spcAft>
              <a:buFont typeface="Wingdings" pitchFamily="2" charset="2"/>
              <a:buChar char="§"/>
            </a:pPr>
            <a:r>
              <a:rPr lang="en-US" sz="1200" dirty="0">
                <a:solidFill>
                  <a:schemeClr val="tx2">
                    <a:lumMod val="75000"/>
                  </a:schemeClr>
                </a:solidFill>
                <a:latin typeface="+mj-lt"/>
                <a:cs typeface="CiscoSansTT Light" panose="020B0604020202020204" charset="0"/>
              </a:rPr>
              <a:t>E</a:t>
            </a:r>
            <a:r>
              <a:rPr lang="en-US" sz="1200" dirty="0" smtClean="0">
                <a:solidFill>
                  <a:schemeClr val="tx2">
                    <a:lumMod val="75000"/>
                  </a:schemeClr>
                </a:solidFill>
                <a:latin typeface="+mj-lt"/>
                <a:cs typeface="CiscoSansTT Light" panose="020B0604020202020204" charset="0"/>
              </a:rPr>
              <a:t>xpose network capabilities </a:t>
            </a:r>
            <a:r>
              <a:rPr lang="en-US" sz="1200" dirty="0">
                <a:solidFill>
                  <a:schemeClr val="tx2">
                    <a:lumMod val="75000"/>
                  </a:schemeClr>
                </a:solidFill>
                <a:latin typeface="+mj-lt"/>
                <a:cs typeface="CiscoSansTT Light" panose="020B0604020202020204" charset="0"/>
              </a:rPr>
              <a:t>to </a:t>
            </a:r>
            <a:r>
              <a:rPr lang="en-US" sz="1200" dirty="0" smtClean="0">
                <a:solidFill>
                  <a:schemeClr val="tx2">
                    <a:lumMod val="75000"/>
                  </a:schemeClr>
                </a:solidFill>
                <a:latin typeface="+mj-lt"/>
                <a:cs typeface="CiscoSansTT Light" panose="020B0604020202020204" charset="0"/>
              </a:rPr>
              <a:t>apps</a:t>
            </a:r>
            <a:br>
              <a:rPr lang="en-US" sz="1200" dirty="0" smtClean="0">
                <a:solidFill>
                  <a:schemeClr val="tx2">
                    <a:lumMod val="75000"/>
                  </a:schemeClr>
                </a:solidFill>
                <a:latin typeface="+mj-lt"/>
                <a:cs typeface="CiscoSansTT Light" panose="020B0604020202020204" charset="0"/>
              </a:rPr>
            </a:br>
            <a:r>
              <a:rPr lang="en-US" sz="1200" dirty="0" smtClean="0">
                <a:solidFill>
                  <a:schemeClr val="tx2">
                    <a:lumMod val="75000"/>
                  </a:schemeClr>
                </a:solidFill>
                <a:latin typeface="+mj-lt"/>
                <a:cs typeface="CiscoSansTT Light" panose="020B0604020202020204" charset="0"/>
              </a:rPr>
              <a:t>for monetization</a:t>
            </a:r>
            <a:endParaRPr lang="en-US" sz="1200" dirty="0">
              <a:solidFill>
                <a:schemeClr val="tx2">
                  <a:lumMod val="75000"/>
                </a:schemeClr>
              </a:solidFill>
              <a:latin typeface="+mj-lt"/>
              <a:cs typeface="CiscoSansTT Light" panose="020B0604020202020204" charset="0"/>
            </a:endParaRPr>
          </a:p>
          <a:p>
            <a:pPr marL="182880" indent="-182880" fontAlgn="base">
              <a:lnSpc>
                <a:spcPct val="105000"/>
              </a:lnSpc>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Mediates </a:t>
            </a:r>
            <a:r>
              <a:rPr lang="en-US" sz="1200" dirty="0" err="1">
                <a:solidFill>
                  <a:schemeClr val="tx2">
                    <a:lumMod val="75000"/>
                  </a:schemeClr>
                </a:solidFill>
                <a:latin typeface="+mj-lt"/>
                <a:cs typeface="CiscoSansTT Light" panose="020B0604020202020204" charset="0"/>
              </a:rPr>
              <a:t>IoT</a:t>
            </a:r>
            <a:r>
              <a:rPr lang="en-US" sz="1200" dirty="0">
                <a:solidFill>
                  <a:schemeClr val="tx2">
                    <a:lumMod val="75000"/>
                  </a:schemeClr>
                </a:solidFill>
                <a:latin typeface="+mj-lt"/>
                <a:cs typeface="CiscoSansTT Light" panose="020B0604020202020204" charset="0"/>
              </a:rPr>
              <a:t> </a:t>
            </a:r>
            <a:r>
              <a:rPr lang="en-US" sz="1200" dirty="0" smtClean="0">
                <a:solidFill>
                  <a:schemeClr val="tx2">
                    <a:lumMod val="75000"/>
                  </a:schemeClr>
                </a:solidFill>
                <a:latin typeface="+mj-lt"/>
                <a:cs typeface="CiscoSansTT Light" panose="020B0604020202020204" charset="0"/>
              </a:rPr>
              <a:t>protocols</a:t>
            </a:r>
            <a:br>
              <a:rPr lang="en-US" sz="1200" dirty="0" smtClean="0">
                <a:solidFill>
                  <a:schemeClr val="tx2">
                    <a:lumMod val="75000"/>
                  </a:schemeClr>
                </a:solidFill>
                <a:latin typeface="+mj-lt"/>
                <a:cs typeface="CiscoSansTT Light" panose="020B0604020202020204" charset="0"/>
              </a:rPr>
            </a:br>
            <a:r>
              <a:rPr lang="en-US" sz="1200" dirty="0" smtClean="0">
                <a:solidFill>
                  <a:schemeClr val="tx2">
                    <a:lumMod val="75000"/>
                  </a:schemeClr>
                </a:solidFill>
                <a:latin typeface="+mj-lt"/>
                <a:cs typeface="CiscoSansTT Light" panose="020B0604020202020204" charset="0"/>
              </a:rPr>
              <a:t>to hide complexity </a:t>
            </a:r>
            <a:r>
              <a:rPr lang="en-US" sz="1200" dirty="0">
                <a:solidFill>
                  <a:schemeClr val="tx2">
                    <a:lumMod val="75000"/>
                  </a:schemeClr>
                </a:solidFill>
                <a:latin typeface="+mj-lt"/>
                <a:cs typeface="CiscoSansTT Light" panose="020B0604020202020204" charset="0"/>
              </a:rPr>
              <a:t>of </a:t>
            </a:r>
            <a:r>
              <a:rPr lang="en-US" sz="1200" dirty="0" smtClean="0">
                <a:solidFill>
                  <a:schemeClr val="tx2">
                    <a:lumMod val="75000"/>
                  </a:schemeClr>
                </a:solidFill>
                <a:latin typeface="+mj-lt"/>
                <a:cs typeface="CiscoSansTT Light" panose="020B0604020202020204" charset="0"/>
              </a:rPr>
              <a:t>transport networks</a:t>
            </a:r>
            <a:endParaRPr lang="en-US" sz="1200" dirty="0">
              <a:solidFill>
                <a:schemeClr val="tx2">
                  <a:lumMod val="75000"/>
                </a:schemeClr>
              </a:solidFill>
              <a:latin typeface="+mj-lt"/>
              <a:cs typeface="CiscoSansTT Light" panose="020B0604020202020204" charset="0"/>
            </a:endParaRPr>
          </a:p>
          <a:p>
            <a:pPr marL="182880" indent="-182880" fontAlgn="base">
              <a:lnSpc>
                <a:spcPct val="105000"/>
              </a:lnSpc>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Associates endpoint app identity to </a:t>
            </a:r>
            <a:r>
              <a:rPr lang="en-US" sz="1200" dirty="0">
                <a:solidFill>
                  <a:schemeClr val="tx2">
                    <a:lumMod val="75000"/>
                  </a:schemeClr>
                </a:solidFill>
                <a:latin typeface="+mj-lt"/>
                <a:cs typeface="CiscoSansTT Light" panose="020B0604020202020204" charset="0"/>
              </a:rPr>
              <a:t>transport </a:t>
            </a:r>
            <a:r>
              <a:rPr lang="en-US" sz="1200" dirty="0" smtClean="0">
                <a:solidFill>
                  <a:schemeClr val="tx2">
                    <a:lumMod val="75000"/>
                  </a:schemeClr>
                </a:solidFill>
                <a:latin typeface="+mj-lt"/>
                <a:cs typeface="CiscoSansTT Light" panose="020B0604020202020204" charset="0"/>
              </a:rPr>
              <a:t>identity</a:t>
            </a:r>
          </a:p>
        </p:txBody>
      </p:sp>
      <p:sp>
        <p:nvSpPr>
          <p:cNvPr id="34" name="Text Placeholder 1"/>
          <p:cNvSpPr txBox="1">
            <a:spLocks/>
          </p:cNvSpPr>
          <p:nvPr/>
        </p:nvSpPr>
        <p:spPr>
          <a:xfrm>
            <a:off x="273050" y="1355725"/>
            <a:ext cx="2331550" cy="2112572"/>
          </a:xfrm>
          <a:prstGeom prst="rect">
            <a:avLst/>
          </a:prstGeom>
        </p:spPr>
        <p:txBody>
          <a:bodyPr lIns="91416" tIns="45708" rIns="91416" bIns="45708"/>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ts val="450"/>
              </a:spcBef>
              <a:spcAft>
                <a:spcPct val="0"/>
              </a:spcAft>
            </a:pPr>
            <a:r>
              <a:rPr lang="en-US" sz="1400" b="1" dirty="0">
                <a:solidFill>
                  <a:schemeClr val="tx2">
                    <a:lumMod val="75000"/>
                  </a:schemeClr>
                </a:solidFill>
                <a:latin typeface="+mj-lt"/>
                <a:cs typeface="CiscoSansTT Light" panose="020B0604020202020204" charset="0"/>
              </a:rPr>
              <a:t>CSGN </a:t>
            </a:r>
            <a:r>
              <a:rPr lang="en-US" sz="1400" b="1" dirty="0" smtClean="0">
                <a:solidFill>
                  <a:schemeClr val="tx2">
                    <a:lumMod val="75000"/>
                  </a:schemeClr>
                </a:solidFill>
                <a:latin typeface="+mj-lt"/>
                <a:cs typeface="CiscoSansTT Light" panose="020B0604020202020204" charset="0"/>
              </a:rPr>
              <a:t>Key Functions</a:t>
            </a:r>
          </a:p>
          <a:p>
            <a:pPr marL="182880" indent="-182880" fontAlgn="base">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Terminates multiple</a:t>
            </a:r>
            <a:br>
              <a:rPr lang="en-US" sz="1200" dirty="0" smtClean="0">
                <a:solidFill>
                  <a:schemeClr val="tx2">
                    <a:lumMod val="75000"/>
                  </a:schemeClr>
                </a:solidFill>
                <a:latin typeface="+mj-lt"/>
                <a:cs typeface="CiscoSansTT Light" panose="020B0604020202020204" charset="0"/>
              </a:rPr>
            </a:br>
            <a:r>
              <a:rPr lang="en-US" sz="1200" dirty="0" smtClean="0">
                <a:solidFill>
                  <a:schemeClr val="tx2">
                    <a:lumMod val="75000"/>
                  </a:schemeClr>
                </a:solidFill>
                <a:latin typeface="+mj-lt"/>
                <a:cs typeface="CiscoSansTT Light" panose="020B0604020202020204" charset="0"/>
              </a:rPr>
              <a:t>access types</a:t>
            </a:r>
          </a:p>
          <a:p>
            <a:pPr marL="182880" indent="-182880" fontAlgn="base">
              <a:spcBef>
                <a:spcPts val="450"/>
              </a:spcBef>
              <a:spcAft>
                <a:spcPct val="0"/>
              </a:spcAft>
              <a:buFont typeface="Wingdings" pitchFamily="2" charset="2"/>
              <a:buChar char="§"/>
            </a:pPr>
            <a:r>
              <a:rPr lang="en-US" sz="1200" dirty="0">
                <a:solidFill>
                  <a:schemeClr val="tx2">
                    <a:lumMod val="75000"/>
                  </a:schemeClr>
                </a:solidFill>
                <a:latin typeface="+mj-lt"/>
                <a:cs typeface="CiscoSansTT Light" panose="020B0604020202020204" charset="0"/>
              </a:rPr>
              <a:t>U</a:t>
            </a:r>
            <a:r>
              <a:rPr lang="en-US" sz="1200" dirty="0" smtClean="0">
                <a:solidFill>
                  <a:schemeClr val="tx2">
                    <a:lumMod val="75000"/>
                  </a:schemeClr>
                </a:solidFill>
                <a:latin typeface="+mj-lt"/>
                <a:cs typeface="CiscoSansTT Light" panose="020B0604020202020204" charset="0"/>
              </a:rPr>
              <a:t>niform </a:t>
            </a:r>
            <a:r>
              <a:rPr lang="en-US" sz="1200" dirty="0">
                <a:solidFill>
                  <a:schemeClr val="tx2">
                    <a:lumMod val="75000"/>
                  </a:schemeClr>
                </a:solidFill>
                <a:latin typeface="+mj-lt"/>
                <a:cs typeface="CiscoSansTT Light" panose="020B0604020202020204" charset="0"/>
              </a:rPr>
              <a:t>identity, authentication and security </a:t>
            </a:r>
          </a:p>
          <a:p>
            <a:pPr marL="182880" indent="-182880" fontAlgn="base">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Delivers </a:t>
            </a:r>
            <a:r>
              <a:rPr lang="en-US" sz="1200" dirty="0">
                <a:solidFill>
                  <a:schemeClr val="tx2">
                    <a:lumMod val="75000"/>
                  </a:schemeClr>
                </a:solidFill>
                <a:latin typeface="+mj-lt"/>
                <a:cs typeface="CiscoSansTT Light" panose="020B0604020202020204" charset="0"/>
              </a:rPr>
              <a:t>Cellular IoT (</a:t>
            </a:r>
            <a:r>
              <a:rPr lang="en-US" sz="1200" dirty="0" err="1">
                <a:solidFill>
                  <a:schemeClr val="tx2">
                    <a:lumMod val="75000"/>
                  </a:schemeClr>
                </a:solidFill>
                <a:latin typeface="+mj-lt"/>
                <a:cs typeface="CiscoSansTT Light" panose="020B0604020202020204" charset="0"/>
              </a:rPr>
              <a:t>CIoT</a:t>
            </a:r>
            <a:r>
              <a:rPr lang="en-US" sz="1200" dirty="0">
                <a:solidFill>
                  <a:schemeClr val="tx2">
                    <a:lumMod val="75000"/>
                  </a:schemeClr>
                </a:solidFill>
                <a:latin typeface="+mj-lt"/>
                <a:cs typeface="CiscoSansTT Light" panose="020B0604020202020204" charset="0"/>
              </a:rPr>
              <a:t>) optimizations</a:t>
            </a:r>
          </a:p>
          <a:p>
            <a:pPr marL="182880" indent="-182880" fontAlgn="base">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Dynamic scalability</a:t>
            </a:r>
          </a:p>
          <a:p>
            <a:pPr marL="182880" indent="-182880" fontAlgn="base">
              <a:spcBef>
                <a:spcPts val="450"/>
              </a:spcBef>
              <a:spcAft>
                <a:spcPct val="0"/>
              </a:spcAft>
              <a:buFont typeface="Wingdings" pitchFamily="2" charset="2"/>
              <a:buChar char="§"/>
            </a:pPr>
            <a:r>
              <a:rPr lang="en-US" sz="1200" dirty="0" smtClean="0">
                <a:solidFill>
                  <a:schemeClr val="tx2">
                    <a:lumMod val="75000"/>
                  </a:schemeClr>
                </a:solidFill>
                <a:latin typeface="+mj-lt"/>
                <a:cs typeface="CiscoSansTT Light" panose="020B0604020202020204" charset="0"/>
              </a:rPr>
              <a:t>Deployment flexibility</a:t>
            </a:r>
            <a:endParaRPr lang="en-US" sz="1200" dirty="0">
              <a:solidFill>
                <a:schemeClr val="tx2">
                  <a:lumMod val="75000"/>
                </a:schemeClr>
              </a:solidFill>
              <a:latin typeface="+mj-lt"/>
              <a:cs typeface="CiscoSansTT Light" panose="020B0604020202020204" charset="0"/>
            </a:endParaRPr>
          </a:p>
        </p:txBody>
      </p:sp>
      <p:sp>
        <p:nvSpPr>
          <p:cNvPr id="35" name="Rectangle 34"/>
          <p:cNvSpPr/>
          <p:nvPr/>
        </p:nvSpPr>
        <p:spPr>
          <a:xfrm>
            <a:off x="273050" y="4415210"/>
            <a:ext cx="8594725" cy="302840"/>
          </a:xfrm>
          <a:prstGeom prst="rect">
            <a:avLst/>
          </a:prstGeom>
          <a:solidFill>
            <a:schemeClr val="accent1"/>
          </a:solidFill>
          <a:ln w="15875">
            <a:noFill/>
          </a:ln>
        </p:spPr>
        <p:txBody>
          <a:bodyPr wrap="square">
            <a:spAutoFit/>
          </a:bodyPr>
          <a:lstStyle/>
          <a:p>
            <a:pPr algn="ctr" defTabSz="457200" rtl="0" fontAlgn="base">
              <a:lnSpc>
                <a:spcPct val="105000"/>
              </a:lnSpc>
              <a:spcBef>
                <a:spcPts val="450"/>
              </a:spcBef>
              <a:spcAft>
                <a:spcPct val="0"/>
              </a:spcAft>
            </a:pPr>
            <a:r>
              <a:rPr lang="en-US" sz="1400" kern="1200" dirty="0">
                <a:solidFill>
                  <a:schemeClr val="bg1"/>
                </a:solidFill>
                <a:latin typeface="+mj-lt"/>
                <a:ea typeface="ＭＳ Ｐゴシック" charset="0"/>
                <a:cs typeface="CiscoSansTT Light" panose="020B0604020202020204" charset="0"/>
              </a:rPr>
              <a:t>Ultra IoT provides application level security, policy, authentication, access control</a:t>
            </a:r>
          </a:p>
        </p:txBody>
      </p:sp>
      <p:sp>
        <p:nvSpPr>
          <p:cNvPr id="36" name="Freeform 6"/>
          <p:cNvSpPr>
            <a:spLocks/>
          </p:cNvSpPr>
          <p:nvPr/>
        </p:nvSpPr>
        <p:spPr bwMode="auto">
          <a:xfrm>
            <a:off x="2488392" y="1942287"/>
            <a:ext cx="4273748" cy="2445884"/>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eaLnBrk="1" latinLnBrk="0" hangingPunct="1">
              <a:lnSpc>
                <a:spcPct val="100000"/>
              </a:lnSpc>
              <a:buClrTx/>
              <a:buSzTx/>
              <a:buFontTx/>
              <a:buNone/>
              <a:tabLst/>
              <a:defRPr/>
            </a:pPr>
            <a:endParaRPr lang="en-US">
              <a:latin typeface="+mj-lt"/>
            </a:endParaRPr>
          </a:p>
        </p:txBody>
      </p:sp>
      <p:cxnSp>
        <p:nvCxnSpPr>
          <p:cNvPr id="37" name="Straight Connector 36"/>
          <p:cNvCxnSpPr/>
          <p:nvPr/>
        </p:nvCxnSpPr>
        <p:spPr>
          <a:xfrm>
            <a:off x="4625266" y="1941603"/>
            <a:ext cx="0" cy="1274436"/>
          </a:xfrm>
          <a:prstGeom prst="line">
            <a:avLst/>
          </a:prstGeom>
          <a:noFill/>
          <a:ln w="19050" cap="rnd" cmpd="sng" algn="ctr">
            <a:solidFill>
              <a:schemeClr val="tx2"/>
            </a:solidFill>
            <a:prstDash val="dash"/>
            <a:headEnd type="triangle" w="med" len="med"/>
            <a:tailEnd type="triangle" w="med" len="med"/>
          </a:ln>
          <a:effectLst/>
        </p:spPr>
      </p:cxnSp>
      <p:sp>
        <p:nvSpPr>
          <p:cNvPr id="38" name="Rectangle 15"/>
          <p:cNvSpPr>
            <a:spLocks noChangeArrowheads="1"/>
          </p:cNvSpPr>
          <p:nvPr/>
        </p:nvSpPr>
        <p:spPr bwMode="auto">
          <a:xfrm>
            <a:off x="4218482" y="2523249"/>
            <a:ext cx="813569" cy="242172"/>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defTabSz="457200" rtl="0" fontAlgn="base">
              <a:spcBef>
                <a:spcPct val="0"/>
              </a:spcBef>
              <a:spcAft>
                <a:spcPct val="0"/>
              </a:spcAft>
            </a:pPr>
            <a:r>
              <a:rPr lang="en-US" sz="1100" kern="1200" dirty="0">
                <a:solidFill>
                  <a:schemeClr val="bg1"/>
                </a:solidFill>
                <a:latin typeface="+mj-lt"/>
                <a:ea typeface="ＭＳ Ｐゴシック" charset="0"/>
              </a:rPr>
              <a:t>API</a:t>
            </a:r>
          </a:p>
        </p:txBody>
      </p:sp>
      <p:cxnSp>
        <p:nvCxnSpPr>
          <p:cNvPr id="28" name="Straight Connector 27"/>
          <p:cNvCxnSpPr/>
          <p:nvPr/>
        </p:nvCxnSpPr>
        <p:spPr>
          <a:xfrm flipH="1">
            <a:off x="3446389" y="1953021"/>
            <a:ext cx="2357755" cy="7633"/>
          </a:xfrm>
          <a:prstGeom prst="line">
            <a:avLst/>
          </a:prstGeom>
          <a:noFill/>
          <a:ln w="19050" cap="flat" cmpd="sng" algn="ctr">
            <a:solidFill>
              <a:schemeClr val="tx2"/>
            </a:solidFill>
            <a:prstDash val="dash"/>
          </a:ln>
          <a:effectLst/>
        </p:spPr>
      </p:cxnSp>
      <p:grpSp>
        <p:nvGrpSpPr>
          <p:cNvPr id="3" name="Group 67"/>
          <p:cNvGrpSpPr/>
          <p:nvPr/>
        </p:nvGrpSpPr>
        <p:grpSpPr>
          <a:xfrm>
            <a:off x="2901636" y="3216039"/>
            <a:ext cx="3447261" cy="988765"/>
            <a:chOff x="2813838" y="2999034"/>
            <a:chExt cx="3447261" cy="988765"/>
          </a:xfrm>
        </p:grpSpPr>
        <p:sp>
          <p:nvSpPr>
            <p:cNvPr id="61" name="Rounded Rectangle 60"/>
            <p:cNvSpPr/>
            <p:nvPr/>
          </p:nvSpPr>
          <p:spPr>
            <a:xfrm>
              <a:off x="2867459"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800" b="1" dirty="0" smtClean="0">
                  <a:latin typeface="+mj-lt"/>
                </a:rPr>
                <a:t>Ultra Packet Core</a:t>
              </a:r>
            </a:p>
          </p:txBody>
        </p:sp>
        <p:sp>
          <p:nvSpPr>
            <p:cNvPr id="64" name="Rounded Rectangle 63"/>
            <p:cNvSpPr/>
            <p:nvPr/>
          </p:nvSpPr>
          <p:spPr>
            <a:xfrm>
              <a:off x="400404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800" b="1" dirty="0" smtClean="0">
                  <a:latin typeface="+mj-lt"/>
                </a:rPr>
                <a:t>Ultra Policy Platform</a:t>
              </a:r>
            </a:p>
          </p:txBody>
        </p:sp>
        <p:sp>
          <p:nvSpPr>
            <p:cNvPr id="65" name="Rounded Rectangle 64"/>
            <p:cNvSpPr/>
            <p:nvPr/>
          </p:nvSpPr>
          <p:spPr>
            <a:xfrm>
              <a:off x="514062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Ultra Services Framework</a:t>
              </a:r>
            </a:p>
          </p:txBody>
        </p:sp>
        <p:sp>
          <p:nvSpPr>
            <p:cNvPr id="66" name="Rounded Rectangle 65"/>
            <p:cNvSpPr/>
            <p:nvPr/>
          </p:nvSpPr>
          <p:spPr>
            <a:xfrm>
              <a:off x="2813838" y="2999034"/>
              <a:ext cx="3447261" cy="988765"/>
            </a:xfrm>
            <a:prstGeom prst="roundRect">
              <a:avLst/>
            </a:prstGeom>
            <a:no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7" name="Rectangle 66"/>
            <p:cNvSpPr/>
            <p:nvPr/>
          </p:nvSpPr>
          <p:spPr>
            <a:xfrm>
              <a:off x="3763219" y="3082015"/>
              <a:ext cx="1548501" cy="169277"/>
            </a:xfrm>
            <a:prstGeom prst="rect">
              <a:avLst/>
            </a:prstGeom>
          </p:spPr>
          <p:txBody>
            <a:bodyPr wrap="none" lIns="0" tIns="0" rIns="0" bIns="0">
              <a:spAutoFit/>
            </a:bodyPr>
            <a:lstStyle/>
            <a:p>
              <a:pPr algn="ctr"/>
              <a:r>
                <a:rPr lang="en-GB" sz="1100" b="1" dirty="0" smtClean="0">
                  <a:solidFill>
                    <a:schemeClr val="bg2"/>
                  </a:solidFill>
                  <a:latin typeface="+mj-lt"/>
                </a:rPr>
                <a:t>Ultra Services Platform</a:t>
              </a:r>
              <a:endParaRPr lang="en-GB" sz="1100" b="1" dirty="0">
                <a:solidFill>
                  <a:schemeClr val="bg2"/>
                </a:solidFill>
                <a:latin typeface="+mj-lt"/>
              </a:endParaRPr>
            </a:p>
          </p:txBody>
        </p:sp>
      </p:grpSp>
      <p:sp>
        <p:nvSpPr>
          <p:cNvPr id="39" name="Rounded Rectangle 38"/>
          <p:cNvSpPr/>
          <p:nvPr/>
        </p:nvSpPr>
        <p:spPr>
          <a:xfrm>
            <a:off x="3240022" y="3910146"/>
            <a:ext cx="556685" cy="208887"/>
          </a:xfrm>
          <a:prstGeom prst="round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1"/>
                </a:solidFill>
                <a:latin typeface="+mj-lt"/>
              </a:rPr>
              <a:t>CSGN</a:t>
            </a:r>
          </a:p>
        </p:txBody>
      </p:sp>
      <p:sp>
        <p:nvSpPr>
          <p:cNvPr id="40" name="Rounded Rectangle 39"/>
          <p:cNvSpPr/>
          <p:nvPr/>
        </p:nvSpPr>
        <p:spPr>
          <a:xfrm>
            <a:off x="4338195" y="3910609"/>
            <a:ext cx="556685" cy="208887"/>
          </a:xfrm>
          <a:prstGeom prst="round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1"/>
                </a:solidFill>
                <a:latin typeface="+mj-lt"/>
              </a:rPr>
              <a:t>eSCEF</a:t>
            </a:r>
          </a:p>
        </p:txBody>
      </p:sp>
    </p:spTree>
    <p:extLst>
      <p:ext uri="{BB962C8B-B14F-4D97-AF65-F5344CB8AC3E}">
        <p14:creationId xmlns:p14="http://schemas.microsoft.com/office/powerpoint/2010/main" val="10942"/>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o </a:t>
            </a:r>
            <a:r>
              <a:rPr lang="en-US" dirty="0" err="1" smtClean="0"/>
              <a:t>eSCEF</a:t>
            </a:r>
            <a:endParaRPr lang="en-US" dirty="0"/>
          </a:p>
        </p:txBody>
      </p:sp>
      <p:sp>
        <p:nvSpPr>
          <p:cNvPr id="3" name="Rectangle 2"/>
          <p:cNvSpPr/>
          <p:nvPr/>
        </p:nvSpPr>
        <p:spPr>
          <a:xfrm>
            <a:off x="0" y="1079500"/>
            <a:ext cx="9144000" cy="3638550"/>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 name="Rectangle 3"/>
          <p:cNvSpPr/>
          <p:nvPr/>
        </p:nvSpPr>
        <p:spPr>
          <a:xfrm>
            <a:off x="5281531" y="1126098"/>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Application Servers</a:t>
            </a:r>
          </a:p>
        </p:txBody>
      </p:sp>
      <p:cxnSp>
        <p:nvCxnSpPr>
          <p:cNvPr id="5" name="Straight Connector 4"/>
          <p:cNvCxnSpPr/>
          <p:nvPr/>
        </p:nvCxnSpPr>
        <p:spPr>
          <a:xfrm flipH="1">
            <a:off x="3531809" y="1816752"/>
            <a:ext cx="2186914" cy="0"/>
          </a:xfrm>
          <a:prstGeom prst="line">
            <a:avLst/>
          </a:prstGeom>
          <a:noFill/>
          <a:ln w="19050" cap="rnd" cmpd="sng" algn="ctr">
            <a:solidFill>
              <a:schemeClr val="tx2"/>
            </a:solidFill>
            <a:prstDash val="dash"/>
            <a:headEnd type="none" w="med" len="med"/>
            <a:tailEnd type="none" w="med" len="med"/>
          </a:ln>
          <a:effectLst/>
        </p:spPr>
      </p:cxnSp>
      <p:sp>
        <p:nvSpPr>
          <p:cNvPr id="6" name="TextBox 5"/>
          <p:cNvSpPr txBox="1"/>
          <p:nvPr/>
        </p:nvSpPr>
        <p:spPr>
          <a:xfrm>
            <a:off x="4222623" y="1588549"/>
            <a:ext cx="805287" cy="336054"/>
          </a:xfrm>
          <a:prstGeom prst="rect">
            <a:avLst/>
          </a:prstGeom>
          <a:noFill/>
          <a:ln>
            <a:noFill/>
          </a:ln>
        </p:spPr>
        <p:txBody>
          <a:bodyPr wrap="square" lIns="91416" tIns="45708" rIns="91416" bIns="45708" rtlCol="0">
            <a:noAutofit/>
          </a:bodyPr>
          <a:lstStyle/>
          <a:p>
            <a:r>
              <a:rPr lang="en-US" sz="900" b="1" dirty="0">
                <a:latin typeface="+mj-lt"/>
              </a:rPr>
              <a:t>Rest APIs</a:t>
            </a:r>
          </a:p>
        </p:txBody>
      </p:sp>
      <p:cxnSp>
        <p:nvCxnSpPr>
          <p:cNvPr id="7" name="Straight Connector 6"/>
          <p:cNvCxnSpPr/>
          <p:nvPr/>
        </p:nvCxnSpPr>
        <p:spPr>
          <a:xfrm>
            <a:off x="5748543" y="1610406"/>
            <a:ext cx="0" cy="210312"/>
          </a:xfrm>
          <a:prstGeom prst="line">
            <a:avLst/>
          </a:prstGeom>
          <a:noFill/>
          <a:ln w="19050" cap="rnd" cmpd="sng" algn="ctr">
            <a:solidFill>
              <a:schemeClr val="tx2"/>
            </a:solidFill>
            <a:prstDash val="solid"/>
            <a:headEnd type="triangle" w="med" len="med"/>
            <a:tailEnd type="triangle" w="med" len="med"/>
          </a:ln>
          <a:effectLst/>
        </p:spPr>
      </p:cxnSp>
      <p:sp>
        <p:nvSpPr>
          <p:cNvPr id="9" name="Rectangle 8"/>
          <p:cNvSpPr/>
          <p:nvPr/>
        </p:nvSpPr>
        <p:spPr>
          <a:xfrm>
            <a:off x="1142268" y="1111521"/>
            <a:ext cx="1024128" cy="307777"/>
          </a:xfrm>
          <a:prstGeom prst="rect">
            <a:avLst/>
          </a:prstGeom>
          <a:solidFill>
            <a:schemeClr val="accent2"/>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t" anchorCtr="0">
            <a:spAutoFit/>
          </a:bodyPr>
          <a:lstStyle/>
          <a:p>
            <a:pPr algn="ctr"/>
            <a:r>
              <a:rPr lang="en-US" sz="1400" dirty="0" smtClean="0">
                <a:solidFill>
                  <a:srgbClr val="FFFFFF"/>
                </a:solidFill>
                <a:latin typeface="+mj-lt"/>
              </a:rPr>
              <a:t>HSS</a:t>
            </a:r>
          </a:p>
        </p:txBody>
      </p:sp>
      <p:sp>
        <p:nvSpPr>
          <p:cNvPr id="14" name="TextBox 13"/>
          <p:cNvSpPr txBox="1"/>
          <p:nvPr/>
        </p:nvSpPr>
        <p:spPr>
          <a:xfrm>
            <a:off x="2422125" y="1671103"/>
            <a:ext cx="1094916" cy="313932"/>
          </a:xfrm>
          <a:prstGeom prst="rect">
            <a:avLst/>
          </a:prstGeom>
          <a:noFill/>
        </p:spPr>
        <p:txBody>
          <a:bodyPr wrap="none" lIns="18288" tIns="18288" rIns="18288" bIns="18288" rtlCol="0">
            <a:spAutoFit/>
          </a:bodyPr>
          <a:lstStyle/>
          <a:p>
            <a:pPr algn="ctr"/>
            <a:r>
              <a:rPr lang="en-US" sz="900" b="1" dirty="0" smtClean="0">
                <a:latin typeface="+mj-lt"/>
              </a:rPr>
              <a:t>Tenant/AS/</a:t>
            </a:r>
            <a:br>
              <a:rPr lang="en-US" sz="900" b="1" dirty="0" smtClean="0">
                <a:latin typeface="+mj-lt"/>
              </a:rPr>
            </a:br>
            <a:r>
              <a:rPr lang="en-US" sz="900" b="1" dirty="0" smtClean="0">
                <a:latin typeface="+mj-lt"/>
              </a:rPr>
              <a:t>Device </a:t>
            </a:r>
            <a:r>
              <a:rPr lang="en-US" sz="900" b="1" dirty="0" err="1" smtClean="0">
                <a:latin typeface="+mj-lt"/>
              </a:rPr>
              <a:t>Onboarding</a:t>
            </a:r>
            <a:endParaRPr lang="en-US" sz="900" b="1" dirty="0" smtClean="0">
              <a:latin typeface="+mj-lt"/>
            </a:endParaRPr>
          </a:p>
        </p:txBody>
      </p:sp>
      <p:sp>
        <p:nvSpPr>
          <p:cNvPr id="15" name="TextBox 14"/>
          <p:cNvSpPr txBox="1"/>
          <p:nvPr/>
        </p:nvSpPr>
        <p:spPr>
          <a:xfrm>
            <a:off x="5429658" y="1821304"/>
            <a:ext cx="1107740" cy="313932"/>
          </a:xfrm>
          <a:prstGeom prst="rect">
            <a:avLst/>
          </a:prstGeom>
          <a:noFill/>
        </p:spPr>
        <p:txBody>
          <a:bodyPr wrap="none" lIns="18288" tIns="18288" rIns="18288" bIns="18288" rtlCol="0">
            <a:spAutoFit/>
          </a:bodyPr>
          <a:lstStyle/>
          <a:p>
            <a:pPr algn="ctr"/>
            <a:r>
              <a:rPr lang="fr-FR" sz="900" b="1" dirty="0" err="1" smtClean="0">
                <a:latin typeface="+mj-lt"/>
              </a:rPr>
              <a:t>Rest</a:t>
            </a:r>
            <a:r>
              <a:rPr lang="fr-FR" sz="900" b="1" dirty="0" smtClean="0">
                <a:latin typeface="+mj-lt"/>
              </a:rPr>
              <a:t>/JSON Client</a:t>
            </a:r>
          </a:p>
          <a:p>
            <a:pPr algn="ctr"/>
            <a:r>
              <a:rPr lang="fr-FR" sz="900" b="1" dirty="0" err="1" smtClean="0">
                <a:latin typeface="+mj-lt"/>
              </a:rPr>
              <a:t>Device</a:t>
            </a:r>
            <a:r>
              <a:rPr lang="fr-FR" sz="900" b="1" dirty="0" smtClean="0">
                <a:latin typeface="+mj-lt"/>
              </a:rPr>
              <a:t> </a:t>
            </a:r>
            <a:r>
              <a:rPr lang="fr-FR" sz="900" b="1" dirty="0" err="1" smtClean="0">
                <a:latin typeface="+mj-lt"/>
              </a:rPr>
              <a:t>External</a:t>
            </a:r>
            <a:r>
              <a:rPr lang="fr-FR" sz="900" b="1" dirty="0" smtClean="0">
                <a:latin typeface="+mj-lt"/>
              </a:rPr>
              <a:t> </a:t>
            </a:r>
            <a:r>
              <a:rPr lang="fr-FR" sz="900" b="1" dirty="0" err="1" smtClean="0">
                <a:latin typeface="+mj-lt"/>
              </a:rPr>
              <a:t>IDs</a:t>
            </a:r>
            <a:endParaRPr lang="fr-FR" sz="900" b="1" dirty="0" smtClean="0">
              <a:latin typeface="+mj-lt"/>
            </a:endParaRPr>
          </a:p>
        </p:txBody>
      </p:sp>
      <p:sp>
        <p:nvSpPr>
          <p:cNvPr id="17" name="Rectangle 16"/>
          <p:cNvSpPr/>
          <p:nvPr/>
        </p:nvSpPr>
        <p:spPr>
          <a:xfrm>
            <a:off x="3052708" y="1126098"/>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a:solidFill>
                  <a:srgbClr val="FFFFFF"/>
                </a:solidFill>
                <a:latin typeface="+mj-lt"/>
              </a:rPr>
              <a:t>Connectivity Mgmt Platform</a:t>
            </a:r>
          </a:p>
        </p:txBody>
      </p:sp>
      <p:cxnSp>
        <p:nvCxnSpPr>
          <p:cNvPr id="18" name="Straight Connector 17"/>
          <p:cNvCxnSpPr/>
          <p:nvPr/>
        </p:nvCxnSpPr>
        <p:spPr>
          <a:xfrm>
            <a:off x="3545967" y="1610406"/>
            <a:ext cx="0" cy="210312"/>
          </a:xfrm>
          <a:prstGeom prst="line">
            <a:avLst/>
          </a:prstGeom>
          <a:noFill/>
          <a:ln w="19050" cap="rnd" cmpd="sng" algn="ctr">
            <a:solidFill>
              <a:schemeClr val="tx2"/>
            </a:solidFill>
            <a:prstDash val="solid"/>
            <a:headEnd type="triangle" w="med" len="med"/>
            <a:tailEnd type="triangle" w="med" len="med"/>
          </a:ln>
          <a:effectLst/>
        </p:spPr>
      </p:cxnSp>
      <p:sp>
        <p:nvSpPr>
          <p:cNvPr id="53" name="Freeform 6"/>
          <p:cNvSpPr>
            <a:spLocks/>
          </p:cNvSpPr>
          <p:nvPr/>
        </p:nvSpPr>
        <p:spPr bwMode="auto">
          <a:xfrm>
            <a:off x="2488392" y="1942287"/>
            <a:ext cx="4273748" cy="2445884"/>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a:latin typeface="+mj-lt"/>
            </a:endParaRPr>
          </a:p>
        </p:txBody>
      </p:sp>
      <p:grpSp>
        <p:nvGrpSpPr>
          <p:cNvPr id="11" name="Group 76"/>
          <p:cNvGrpSpPr/>
          <p:nvPr/>
        </p:nvGrpSpPr>
        <p:grpSpPr>
          <a:xfrm>
            <a:off x="2901636" y="2944930"/>
            <a:ext cx="3447261" cy="988765"/>
            <a:chOff x="2813838" y="2999034"/>
            <a:chExt cx="3447261" cy="988765"/>
          </a:xfrm>
        </p:grpSpPr>
        <p:sp>
          <p:nvSpPr>
            <p:cNvPr id="55" name="Rounded Rectangle 54"/>
            <p:cNvSpPr/>
            <p:nvPr/>
          </p:nvSpPr>
          <p:spPr>
            <a:xfrm>
              <a:off x="2867459"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acket Core</a:t>
              </a:r>
            </a:p>
          </p:txBody>
        </p:sp>
        <p:sp>
          <p:nvSpPr>
            <p:cNvPr id="56" name="Rounded Rectangle 55"/>
            <p:cNvSpPr/>
            <p:nvPr/>
          </p:nvSpPr>
          <p:spPr>
            <a:xfrm>
              <a:off x="400404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olicy Platform</a:t>
              </a:r>
            </a:p>
          </p:txBody>
        </p:sp>
        <p:sp>
          <p:nvSpPr>
            <p:cNvPr id="57" name="Rounded Rectangle 56"/>
            <p:cNvSpPr/>
            <p:nvPr/>
          </p:nvSpPr>
          <p:spPr>
            <a:xfrm>
              <a:off x="514062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900" b="1" dirty="0" smtClean="0">
                  <a:latin typeface="+mj-lt"/>
                </a:rPr>
                <a:t>Ultra Services Framework</a:t>
              </a:r>
            </a:p>
          </p:txBody>
        </p:sp>
        <p:sp>
          <p:nvSpPr>
            <p:cNvPr id="58" name="Rounded Rectangle 57"/>
            <p:cNvSpPr/>
            <p:nvPr/>
          </p:nvSpPr>
          <p:spPr>
            <a:xfrm>
              <a:off x="2813838" y="2999034"/>
              <a:ext cx="3447261" cy="988765"/>
            </a:xfrm>
            <a:prstGeom prst="roundRect">
              <a:avLst/>
            </a:prstGeom>
            <a:no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9" name="Rectangle 58"/>
            <p:cNvSpPr/>
            <p:nvPr/>
          </p:nvSpPr>
          <p:spPr>
            <a:xfrm>
              <a:off x="3763219" y="3082015"/>
              <a:ext cx="1548501" cy="169277"/>
            </a:xfrm>
            <a:prstGeom prst="rect">
              <a:avLst/>
            </a:prstGeom>
          </p:spPr>
          <p:txBody>
            <a:bodyPr wrap="none" lIns="0" tIns="0" rIns="0" bIns="0">
              <a:spAutoFit/>
            </a:bodyPr>
            <a:lstStyle/>
            <a:p>
              <a:pPr algn="ctr"/>
              <a:r>
                <a:rPr lang="en-GB" sz="1100" b="1" dirty="0" smtClean="0">
                  <a:solidFill>
                    <a:schemeClr val="bg2"/>
                  </a:solidFill>
                  <a:latin typeface="+mj-lt"/>
                </a:rPr>
                <a:t>Ultra Services Platform</a:t>
              </a:r>
              <a:endParaRPr lang="en-GB" sz="1100" b="1" dirty="0">
                <a:solidFill>
                  <a:schemeClr val="bg2"/>
                </a:solidFill>
                <a:latin typeface="+mj-lt"/>
              </a:endParaRPr>
            </a:p>
          </p:txBody>
        </p:sp>
        <p:grpSp>
          <p:nvGrpSpPr>
            <p:cNvPr id="12" name="Group 52"/>
            <p:cNvGrpSpPr/>
            <p:nvPr/>
          </p:nvGrpSpPr>
          <p:grpSpPr>
            <a:xfrm>
              <a:off x="3124333" y="3707894"/>
              <a:ext cx="553890" cy="182880"/>
              <a:chOff x="3116974" y="3638783"/>
              <a:chExt cx="553890" cy="182880"/>
            </a:xfrm>
          </p:grpSpPr>
          <p:sp>
            <p:nvSpPr>
              <p:cNvPr id="64" name="Rectangle 63"/>
              <p:cNvSpPr/>
              <p:nvPr/>
            </p:nvSpPr>
            <p:spPr>
              <a:xfrm>
                <a:off x="3116974" y="3638783"/>
                <a:ext cx="553890" cy="182880"/>
              </a:xfrm>
              <a:prstGeom prst="rect">
                <a:avLst/>
              </a:prstGeom>
              <a:solidFill>
                <a:schemeClr val="accent4">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mj-lt"/>
                  <a:ea typeface="+mn-ea"/>
                  <a:cs typeface="+mn-cs"/>
                </a:endParaRPr>
              </a:p>
            </p:txBody>
          </p:sp>
          <p:sp>
            <p:nvSpPr>
              <p:cNvPr id="65" name="Rectangle 64"/>
              <p:cNvSpPr/>
              <p:nvPr/>
            </p:nvSpPr>
            <p:spPr>
              <a:xfrm>
                <a:off x="3199539" y="3644046"/>
                <a:ext cx="388761" cy="172355"/>
              </a:xfrm>
              <a:prstGeom prst="rect">
                <a:avLst/>
              </a:prstGeom>
            </p:spPr>
            <p:txBody>
              <a:bodyPr wrap="square" lIns="9144" tIns="9144" rIns="9144" bIns="9144">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mj-lt"/>
                    <a:ea typeface="ＭＳ Ｐゴシック" charset="0"/>
                  </a:rPr>
                  <a:t>CSGN</a:t>
                </a:r>
              </a:p>
            </p:txBody>
          </p:sp>
        </p:grpSp>
        <p:grpSp>
          <p:nvGrpSpPr>
            <p:cNvPr id="13" name="Group 47"/>
            <p:cNvGrpSpPr/>
            <p:nvPr/>
          </p:nvGrpSpPr>
          <p:grpSpPr>
            <a:xfrm>
              <a:off x="4260914" y="3707894"/>
              <a:ext cx="553890" cy="182880"/>
              <a:chOff x="3853745" y="889011"/>
              <a:chExt cx="553890" cy="182880"/>
            </a:xfrm>
          </p:grpSpPr>
          <p:sp>
            <p:nvSpPr>
              <p:cNvPr id="62" name="Rectangle 61"/>
              <p:cNvSpPr/>
              <p:nvPr/>
            </p:nvSpPr>
            <p:spPr>
              <a:xfrm>
                <a:off x="3853745" y="889011"/>
                <a:ext cx="553890" cy="182880"/>
              </a:xfrm>
              <a:prstGeom prst="rect">
                <a:avLst/>
              </a:prstGeom>
              <a:solidFill>
                <a:schemeClr val="accent4">
                  <a:lumMod val="75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smtClean="0">
                  <a:ln>
                    <a:noFill/>
                  </a:ln>
                  <a:solidFill>
                    <a:srgbClr val="FFFFFF"/>
                  </a:solidFill>
                  <a:effectLst/>
                  <a:uLnTx/>
                  <a:uFillTx/>
                  <a:latin typeface="+mj-lt"/>
                  <a:ea typeface="+mn-ea"/>
                  <a:cs typeface="+mn-cs"/>
                </a:endParaRPr>
              </a:p>
            </p:txBody>
          </p:sp>
          <p:sp>
            <p:nvSpPr>
              <p:cNvPr id="63" name="Rectangle 62"/>
              <p:cNvSpPr/>
              <p:nvPr/>
            </p:nvSpPr>
            <p:spPr>
              <a:xfrm>
                <a:off x="3915471" y="894274"/>
                <a:ext cx="430439" cy="172355"/>
              </a:xfrm>
              <a:prstGeom prst="rect">
                <a:avLst/>
              </a:prstGeom>
            </p:spPr>
            <p:txBody>
              <a:bodyPr wrap="square" lIns="9144" tIns="9144" rIns="9144" bIns="9144">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smtClean="0">
                    <a:ln>
                      <a:noFill/>
                    </a:ln>
                    <a:solidFill>
                      <a:srgbClr val="FFFFFF"/>
                    </a:solidFill>
                    <a:effectLst/>
                    <a:uLnTx/>
                    <a:uFillTx/>
                    <a:latin typeface="+mj-lt"/>
                    <a:ea typeface="ＭＳ Ｐゴシック" charset="0"/>
                  </a:rPr>
                  <a:t>eSCEF</a:t>
                </a:r>
                <a:endParaRPr kumimoji="0" lang="en-US" sz="1000" b="0" i="0" u="none" strike="noStrike" kern="1200" cap="none" spc="0" normalizeH="0" baseline="0" noProof="0" dirty="0">
                  <a:ln>
                    <a:noFill/>
                  </a:ln>
                  <a:solidFill>
                    <a:srgbClr val="FFFFFF"/>
                  </a:solidFill>
                  <a:effectLst/>
                  <a:uLnTx/>
                  <a:uFillTx/>
                  <a:latin typeface="+mj-lt"/>
                  <a:ea typeface="ＭＳ Ｐゴシック" charset="0"/>
                </a:endParaRPr>
              </a:p>
            </p:txBody>
          </p:sp>
        </p:grpSp>
      </p:grpSp>
      <p:cxnSp>
        <p:nvCxnSpPr>
          <p:cNvPr id="66" name="Straight Connector 65"/>
          <p:cNvCxnSpPr/>
          <p:nvPr/>
        </p:nvCxnSpPr>
        <p:spPr>
          <a:xfrm>
            <a:off x="4625266" y="1818100"/>
            <a:ext cx="0" cy="1084491"/>
          </a:xfrm>
          <a:prstGeom prst="line">
            <a:avLst/>
          </a:prstGeom>
          <a:noFill/>
          <a:ln w="19050" cap="rnd" cmpd="sng" algn="ctr">
            <a:solidFill>
              <a:schemeClr val="tx2"/>
            </a:solidFill>
            <a:prstDash val="dash"/>
            <a:headEnd type="triangle" w="med" len="med"/>
            <a:tailEnd type="triangle" w="med" len="med"/>
          </a:ln>
          <a:effectLst/>
        </p:spPr>
      </p:cxnSp>
      <p:sp>
        <p:nvSpPr>
          <p:cNvPr id="67" name="Rectangle 15"/>
          <p:cNvSpPr>
            <a:spLocks noChangeArrowheads="1"/>
          </p:cNvSpPr>
          <p:nvPr/>
        </p:nvSpPr>
        <p:spPr bwMode="auto">
          <a:xfrm>
            <a:off x="4218482" y="2381162"/>
            <a:ext cx="813569" cy="242172"/>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a:solidFill>
                  <a:schemeClr val="bg1"/>
                </a:solidFill>
                <a:latin typeface="+mj-lt"/>
                <a:ea typeface="ＭＳ Ｐゴシック" charset="0"/>
              </a:rPr>
              <a:t>API</a:t>
            </a:r>
          </a:p>
        </p:txBody>
      </p:sp>
      <p:sp>
        <p:nvSpPr>
          <p:cNvPr id="70" name="Text Placeholder 1"/>
          <p:cNvSpPr txBox="1">
            <a:spLocks/>
          </p:cNvSpPr>
          <p:nvPr/>
        </p:nvSpPr>
        <p:spPr>
          <a:xfrm>
            <a:off x="6734335" y="1363678"/>
            <a:ext cx="2133440" cy="2399118"/>
          </a:xfrm>
          <a:prstGeom prst="rect">
            <a:avLst/>
          </a:prstGeom>
        </p:spPr>
        <p:txBody>
          <a:bodyPr/>
          <a:lstStyle/>
          <a:p>
            <a:pPr marL="271433" marR="0" lvl="0" indent="-214313" algn="l" defTabSz="684213" rtl="0" eaLnBrk="1" fontAlgn="base" latinLnBrk="0" hangingPunct="1">
              <a:lnSpc>
                <a:spcPct val="95000"/>
              </a:lnSpc>
              <a:spcBef>
                <a:spcPts val="450"/>
              </a:spcBef>
              <a:spcAft>
                <a:spcPct val="0"/>
              </a:spcAft>
              <a:buClr>
                <a:schemeClr val="tx2"/>
              </a:buClr>
              <a:buSzPct val="90000"/>
              <a:buFont typeface="Wingdings" pitchFamily="2" charset="2"/>
              <a:buChar char="§"/>
              <a:tabLst/>
              <a:defRPr/>
            </a:pPr>
            <a:r>
              <a:rPr kumimoji="0" lang="en-US" sz="1000" b="0" i="0" u="none" strike="noStrike" kern="1200" cap="none" spc="0" normalizeH="0" baseline="0" noProof="0" dirty="0" smtClean="0">
                <a:ln>
                  <a:noFill/>
                </a:ln>
                <a:effectLst/>
                <a:uLnTx/>
                <a:uFillTx/>
                <a:latin typeface="+mj-lt"/>
                <a:ea typeface="ＭＳ Ｐゴシック" charset="0"/>
                <a:cs typeface="CiscoSansTT Light" panose="020B0604020202020204" charset="0"/>
              </a:rPr>
              <a:t>Leverages OneM2M framework with support for non-OneM2M devices/apps</a:t>
            </a:r>
          </a:p>
          <a:p>
            <a:pPr marL="271433" marR="0" lvl="0" indent="-214313" algn="l" defTabSz="684213" rtl="0" eaLnBrk="1" fontAlgn="base" latinLnBrk="0" hangingPunct="1">
              <a:lnSpc>
                <a:spcPct val="95000"/>
              </a:lnSpc>
              <a:spcBef>
                <a:spcPts val="450"/>
              </a:spcBef>
              <a:spcAft>
                <a:spcPct val="0"/>
              </a:spcAft>
              <a:buClr>
                <a:schemeClr val="tx2"/>
              </a:buClr>
              <a:buSzPct val="90000"/>
              <a:buFont typeface="Wingdings" pitchFamily="2" charset="2"/>
              <a:buChar char="§"/>
              <a:tabLst/>
              <a:defRPr/>
            </a:pPr>
            <a:r>
              <a:rPr kumimoji="0" lang="en-US" sz="1000" b="0" i="0" u="none" strike="noStrike" kern="1200" cap="none" spc="0" normalizeH="0" baseline="0" noProof="0" dirty="0" smtClean="0">
                <a:ln>
                  <a:noFill/>
                </a:ln>
                <a:effectLst/>
                <a:uLnTx/>
                <a:uFillTx/>
                <a:latin typeface="+mj-lt"/>
                <a:ea typeface="ＭＳ Ｐゴシック" charset="0"/>
                <a:cs typeface="CiscoSansTT Light" panose="020B0604020202020204" charset="0"/>
              </a:rPr>
              <a:t>Delivers service capabilities including exposing network data to the applications</a:t>
            </a:r>
          </a:p>
          <a:p>
            <a:pPr marL="271433" marR="0" lvl="0" indent="-214313" algn="l" defTabSz="684213" rtl="0" eaLnBrk="1" fontAlgn="base" latinLnBrk="0" hangingPunct="1">
              <a:lnSpc>
                <a:spcPct val="95000"/>
              </a:lnSpc>
              <a:spcBef>
                <a:spcPts val="450"/>
              </a:spcBef>
              <a:spcAft>
                <a:spcPct val="0"/>
              </a:spcAft>
              <a:buClr>
                <a:schemeClr val="tx2"/>
              </a:buClr>
              <a:buSzPct val="90000"/>
              <a:buFont typeface="Wingdings" pitchFamily="2" charset="2"/>
              <a:buChar char="§"/>
              <a:tabLst/>
              <a:defRPr/>
            </a:pPr>
            <a:r>
              <a:rPr kumimoji="0" lang="en-US" sz="1000" b="0" i="0" u="none" strike="noStrike" kern="1200" cap="none" spc="0" normalizeH="0" baseline="0" noProof="0" dirty="0" smtClean="0">
                <a:ln>
                  <a:noFill/>
                </a:ln>
                <a:effectLst/>
                <a:uLnTx/>
                <a:uFillTx/>
                <a:latin typeface="+mj-lt"/>
                <a:ea typeface="ＭＳ Ｐゴシック" charset="0"/>
                <a:cs typeface="CiscoSansTT Light" panose="020B0604020202020204" charset="0"/>
              </a:rPr>
              <a:t>Supports both IP and non-IP data converting it to Rest APIs terminating </a:t>
            </a:r>
            <a:r>
              <a:rPr kumimoji="0" lang="en-US" sz="1000" b="0" i="0" u="none" strike="noStrike" kern="1200" cap="none" spc="0" normalizeH="0" baseline="0" noProof="0" dirty="0" err="1" smtClean="0">
                <a:ln>
                  <a:noFill/>
                </a:ln>
                <a:effectLst/>
                <a:uLnTx/>
                <a:uFillTx/>
                <a:latin typeface="+mj-lt"/>
                <a:ea typeface="ＭＳ Ｐゴシック" charset="0"/>
                <a:cs typeface="CiscoSansTT Light" panose="020B0604020202020204" charset="0"/>
              </a:rPr>
              <a:t>IoT</a:t>
            </a:r>
            <a:r>
              <a:rPr kumimoji="0" lang="en-US" sz="1000" b="0" i="0" u="none" strike="noStrike" kern="1200" cap="none" spc="0" normalizeH="0" baseline="0" noProof="0" dirty="0" smtClean="0">
                <a:ln>
                  <a:noFill/>
                </a:ln>
                <a:effectLst/>
                <a:uLnTx/>
                <a:uFillTx/>
                <a:latin typeface="+mj-lt"/>
                <a:ea typeface="ＭＳ Ｐゴシック" charset="0"/>
                <a:cs typeface="CiscoSansTT Light" panose="020B0604020202020204" charset="0"/>
              </a:rPr>
              <a:t> protocols</a:t>
            </a:r>
          </a:p>
          <a:p>
            <a:pPr marL="271433" marR="0" lvl="0" indent="-214313" algn="l" defTabSz="684213" rtl="0" eaLnBrk="1" fontAlgn="base" latinLnBrk="0" hangingPunct="1">
              <a:lnSpc>
                <a:spcPct val="95000"/>
              </a:lnSpc>
              <a:spcBef>
                <a:spcPts val="450"/>
              </a:spcBef>
              <a:spcAft>
                <a:spcPct val="0"/>
              </a:spcAft>
              <a:buClr>
                <a:schemeClr val="tx2"/>
              </a:buClr>
              <a:buSzPct val="90000"/>
              <a:buFont typeface="Wingdings" pitchFamily="2" charset="2"/>
              <a:buChar char="§"/>
              <a:tabLst/>
              <a:defRPr/>
            </a:pPr>
            <a:r>
              <a:rPr kumimoji="0" lang="en-US" sz="1000" b="0" i="0" u="none" strike="noStrike" kern="1200" cap="none" spc="0" normalizeH="0" baseline="0" noProof="0" dirty="0" smtClean="0">
                <a:ln>
                  <a:noFill/>
                </a:ln>
                <a:effectLst/>
                <a:uLnTx/>
                <a:uFillTx/>
                <a:latin typeface="+mj-lt"/>
                <a:ea typeface="ＭＳ Ｐゴシック" charset="0"/>
                <a:cs typeface="CiscoSansTT Light" panose="020B0604020202020204" charset="0"/>
              </a:rPr>
              <a:t>Policy control extended to Enterprises</a:t>
            </a:r>
          </a:p>
          <a:p>
            <a:pPr marL="271433" marR="0" lvl="0" indent="-214313" algn="l" defTabSz="684213" rtl="0" eaLnBrk="1" fontAlgn="base" latinLnBrk="0" hangingPunct="1">
              <a:lnSpc>
                <a:spcPct val="95000"/>
              </a:lnSpc>
              <a:spcBef>
                <a:spcPts val="450"/>
              </a:spcBef>
              <a:spcAft>
                <a:spcPct val="0"/>
              </a:spcAft>
              <a:buClr>
                <a:schemeClr val="tx2"/>
              </a:buClr>
              <a:buSzPct val="90000"/>
              <a:buFont typeface="Wingdings" pitchFamily="2" charset="2"/>
              <a:buChar char="§"/>
              <a:tabLst/>
              <a:defRPr/>
            </a:pPr>
            <a:r>
              <a:rPr kumimoji="0" lang="en-US" sz="1000" b="0" i="0" u="none" strike="noStrike" kern="1200" cap="none" spc="0" normalizeH="0" baseline="0" noProof="0" dirty="0" err="1" smtClean="0">
                <a:ln>
                  <a:noFill/>
                </a:ln>
                <a:effectLst/>
                <a:uLnTx/>
                <a:uFillTx/>
                <a:latin typeface="+mj-lt"/>
                <a:ea typeface="ＭＳ Ｐゴシック" charset="0"/>
                <a:cs typeface="CiscoSansTT Light" panose="020B0604020202020204" charset="0"/>
              </a:rPr>
              <a:t>Plugin</a:t>
            </a:r>
            <a:r>
              <a:rPr kumimoji="0" lang="en-US" sz="1000" b="0" i="0" u="none" strike="noStrike" kern="1200" cap="none" spc="0" normalizeH="0" baseline="0" noProof="0" dirty="0" smtClean="0">
                <a:ln>
                  <a:noFill/>
                </a:ln>
                <a:effectLst/>
                <a:uLnTx/>
                <a:uFillTx/>
                <a:latin typeface="+mj-lt"/>
                <a:ea typeface="ＭＳ Ｐゴシック" charset="0"/>
                <a:cs typeface="CiscoSansTT Light" panose="020B0604020202020204" charset="0"/>
              </a:rPr>
              <a:t> infrastructure for extensibility </a:t>
            </a:r>
          </a:p>
          <a:p>
            <a:pPr marL="169863" marR="0" lvl="0" indent="-169863" algn="l" defTabSz="684213" rtl="0" eaLnBrk="1" fontAlgn="base" latinLnBrk="0" hangingPunct="1">
              <a:lnSpc>
                <a:spcPct val="95000"/>
              </a:lnSpc>
              <a:spcBef>
                <a:spcPts val="1075"/>
              </a:spcBef>
              <a:spcAft>
                <a:spcPct val="0"/>
              </a:spcAft>
              <a:buClr>
                <a:schemeClr val="tx2"/>
              </a:buClr>
              <a:buSzPct val="90000"/>
              <a:buFont typeface="Arial" charset="0"/>
              <a:buChar char="•"/>
              <a:tabLst/>
              <a:defRPr/>
            </a:pPr>
            <a:endParaRPr kumimoji="0" lang="en-US" sz="1000" b="0" i="0" u="none" strike="noStrike" kern="1200" cap="none" spc="0" normalizeH="0" baseline="0" noProof="0" dirty="0">
              <a:ln>
                <a:noFill/>
              </a:ln>
              <a:effectLst/>
              <a:uLnTx/>
              <a:uFillTx/>
              <a:latin typeface="+mj-lt"/>
              <a:ea typeface="ＭＳ Ｐゴシック" charset="0"/>
              <a:cs typeface="CiscoSansTT Light" panose="020B0604020202020204" charset="0"/>
            </a:endParaRPr>
          </a:p>
        </p:txBody>
      </p:sp>
      <p:sp>
        <p:nvSpPr>
          <p:cNvPr id="72" name="Rectangle 71"/>
          <p:cNvSpPr/>
          <p:nvPr/>
        </p:nvSpPr>
        <p:spPr>
          <a:xfrm>
            <a:off x="2232386" y="2309088"/>
            <a:ext cx="676761" cy="29461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r>
              <a:rPr lang="en-US" sz="1000" dirty="0">
                <a:solidFill>
                  <a:schemeClr val="bg1"/>
                </a:solidFill>
                <a:latin typeface="+mj-lt"/>
              </a:rPr>
              <a:t>MME</a:t>
            </a:r>
          </a:p>
        </p:txBody>
      </p:sp>
      <p:cxnSp>
        <p:nvCxnSpPr>
          <p:cNvPr id="76" name="Straight Arrow Connector 75"/>
          <p:cNvCxnSpPr/>
          <p:nvPr/>
        </p:nvCxnSpPr>
        <p:spPr>
          <a:xfrm>
            <a:off x="2121606" y="3248400"/>
            <a:ext cx="0" cy="442218"/>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2056976" y="3360882"/>
            <a:ext cx="663798" cy="242346"/>
          </a:xfrm>
          <a:prstGeom prst="rect">
            <a:avLst/>
          </a:prstGeom>
          <a:noFill/>
        </p:spPr>
        <p:txBody>
          <a:bodyPr wrap="square" lIns="91412" tIns="45706" rIns="91412" bIns="45706" rtlCol="0">
            <a:spAutoFit/>
          </a:bodyPr>
          <a:lstStyle/>
          <a:p>
            <a:pPr defTabSz="457063"/>
            <a:r>
              <a:rPr lang="en-US" sz="975" dirty="0" err="1">
                <a:solidFill>
                  <a:srgbClr val="676767"/>
                </a:solidFill>
                <a:latin typeface="+mj-lt"/>
              </a:rPr>
              <a:t>Gx</a:t>
            </a:r>
            <a:endParaRPr lang="en-US" sz="975" dirty="0">
              <a:solidFill>
                <a:srgbClr val="676767"/>
              </a:solidFill>
              <a:latin typeface="+mj-lt"/>
            </a:endParaRPr>
          </a:p>
        </p:txBody>
      </p:sp>
      <p:sp>
        <p:nvSpPr>
          <p:cNvPr id="79" name="Rectangle 78"/>
          <p:cNvSpPr/>
          <p:nvPr/>
        </p:nvSpPr>
        <p:spPr>
          <a:xfrm rot="16200000">
            <a:off x="692671" y="2890317"/>
            <a:ext cx="1809352" cy="310640"/>
          </a:xfrm>
          <a:prstGeom prst="rect">
            <a:avLst/>
          </a:prstGeom>
          <a:ln/>
        </p:spPr>
        <p:style>
          <a:lnRef idx="2">
            <a:schemeClr val="dk1"/>
          </a:lnRef>
          <a:fillRef idx="1">
            <a:schemeClr val="lt1"/>
          </a:fillRef>
          <a:effectRef idx="0">
            <a:schemeClr val="dk1"/>
          </a:effectRef>
          <a:fontRef idx="minor">
            <a:schemeClr val="dk1"/>
          </a:fontRef>
        </p:style>
        <p:txBody>
          <a:bodyPr lIns="91412" tIns="45706" rIns="91412" bIns="45706" rtlCol="0" anchor="ctr"/>
          <a:lstStyle/>
          <a:p>
            <a:pPr algn="ctr" defTabSz="457063"/>
            <a:r>
              <a:rPr lang="en-US" sz="1425" dirty="0" err="1">
                <a:solidFill>
                  <a:srgbClr val="676767"/>
                </a:solidFill>
                <a:latin typeface="+mj-lt"/>
              </a:rPr>
              <a:t>eNB</a:t>
            </a:r>
            <a:endParaRPr lang="en-US" sz="1425" dirty="0">
              <a:solidFill>
                <a:srgbClr val="676767"/>
              </a:solidFill>
              <a:latin typeface="+mj-lt"/>
            </a:endParaRPr>
          </a:p>
        </p:txBody>
      </p:sp>
      <p:cxnSp>
        <p:nvCxnSpPr>
          <p:cNvPr id="81" name="Straight Arrow Connector 58"/>
          <p:cNvCxnSpPr/>
          <p:nvPr/>
        </p:nvCxnSpPr>
        <p:spPr>
          <a:xfrm>
            <a:off x="1096163" y="2347017"/>
            <a:ext cx="1143000" cy="223"/>
          </a:xfrm>
          <a:prstGeom prst="bentConnector3">
            <a:avLst>
              <a:gd name="adj1" fmla="val 50000"/>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250190" y="4073889"/>
            <a:ext cx="1046622" cy="300082"/>
          </a:xfrm>
          <a:prstGeom prst="rect">
            <a:avLst/>
          </a:prstGeom>
          <a:noFill/>
        </p:spPr>
        <p:txBody>
          <a:bodyPr wrap="square" lIns="0" tIns="0" rIns="0" bIns="0" rtlCol="0">
            <a:spAutoFit/>
          </a:bodyPr>
          <a:lstStyle/>
          <a:p>
            <a:pPr algn="ctr" defTabSz="457063"/>
            <a:r>
              <a:rPr lang="en-US" sz="975" dirty="0">
                <a:solidFill>
                  <a:srgbClr val="676767"/>
                </a:solidFill>
                <a:latin typeface="+mj-lt"/>
              </a:rPr>
              <a:t>LWM2M Client</a:t>
            </a:r>
          </a:p>
          <a:p>
            <a:pPr algn="ctr" defTabSz="457063"/>
            <a:r>
              <a:rPr lang="en-US" sz="975" dirty="0">
                <a:solidFill>
                  <a:srgbClr val="676767"/>
                </a:solidFill>
                <a:latin typeface="+mj-lt"/>
              </a:rPr>
              <a:t>COAP/DTLS</a:t>
            </a:r>
          </a:p>
        </p:txBody>
      </p:sp>
      <p:sp>
        <p:nvSpPr>
          <p:cNvPr id="83" name="TextBox 82"/>
          <p:cNvSpPr txBox="1"/>
          <p:nvPr/>
        </p:nvSpPr>
        <p:spPr>
          <a:xfrm>
            <a:off x="250190" y="2618853"/>
            <a:ext cx="1046622" cy="300082"/>
          </a:xfrm>
          <a:prstGeom prst="rect">
            <a:avLst/>
          </a:prstGeom>
          <a:noFill/>
        </p:spPr>
        <p:txBody>
          <a:bodyPr wrap="square" lIns="0" tIns="0" rIns="0" bIns="0" rtlCol="0">
            <a:spAutoFit/>
          </a:bodyPr>
          <a:lstStyle/>
          <a:p>
            <a:pPr algn="ctr" defTabSz="457063"/>
            <a:r>
              <a:rPr lang="en-US" sz="975" dirty="0">
                <a:solidFill>
                  <a:srgbClr val="676767"/>
                </a:solidFill>
                <a:latin typeface="+mj-lt"/>
              </a:rPr>
              <a:t>LWM2M Client</a:t>
            </a:r>
          </a:p>
          <a:p>
            <a:pPr algn="ctr" defTabSz="457063"/>
            <a:r>
              <a:rPr lang="en-US" sz="975" dirty="0">
                <a:solidFill>
                  <a:srgbClr val="676767"/>
                </a:solidFill>
                <a:latin typeface="+mj-lt"/>
              </a:rPr>
              <a:t>NIDD client</a:t>
            </a:r>
          </a:p>
        </p:txBody>
      </p:sp>
      <p:cxnSp>
        <p:nvCxnSpPr>
          <p:cNvPr id="84" name="Straight Arrow Connector 58"/>
          <p:cNvCxnSpPr/>
          <p:nvPr/>
        </p:nvCxnSpPr>
        <p:spPr>
          <a:xfrm>
            <a:off x="962813" y="3782117"/>
            <a:ext cx="868680" cy="223"/>
          </a:xfrm>
          <a:prstGeom prst="bentConnector3">
            <a:avLst>
              <a:gd name="adj1" fmla="val 50000"/>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1664363" y="1441419"/>
            <a:ext cx="902638" cy="833988"/>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rot="2160209">
            <a:off x="2897032" y="2416117"/>
            <a:ext cx="663798" cy="242346"/>
          </a:xfrm>
          <a:prstGeom prst="rect">
            <a:avLst/>
          </a:prstGeom>
          <a:noFill/>
        </p:spPr>
        <p:txBody>
          <a:bodyPr wrap="square" lIns="91412" tIns="45706" rIns="91412" bIns="45706" rtlCol="0">
            <a:spAutoFit/>
          </a:bodyPr>
          <a:lstStyle/>
          <a:p>
            <a:pPr defTabSz="457063"/>
            <a:r>
              <a:rPr lang="en-US" sz="975" dirty="0">
                <a:solidFill>
                  <a:srgbClr val="676767"/>
                </a:solidFill>
                <a:latin typeface="+mj-lt"/>
              </a:rPr>
              <a:t>T6a</a:t>
            </a:r>
          </a:p>
        </p:txBody>
      </p:sp>
      <p:sp>
        <p:nvSpPr>
          <p:cNvPr id="88" name="TextBox 87"/>
          <p:cNvSpPr txBox="1"/>
          <p:nvPr/>
        </p:nvSpPr>
        <p:spPr>
          <a:xfrm rot="2537332">
            <a:off x="1885015" y="1697071"/>
            <a:ext cx="663971" cy="242346"/>
          </a:xfrm>
          <a:prstGeom prst="rect">
            <a:avLst/>
          </a:prstGeom>
          <a:noFill/>
        </p:spPr>
        <p:txBody>
          <a:bodyPr wrap="square" lIns="91412" tIns="45706" rIns="91412" bIns="45706" rtlCol="0">
            <a:spAutoFit/>
          </a:bodyPr>
          <a:lstStyle/>
          <a:p>
            <a:pPr defTabSz="457063"/>
            <a:r>
              <a:rPr lang="en-US" sz="975" dirty="0">
                <a:solidFill>
                  <a:srgbClr val="676767"/>
                </a:solidFill>
                <a:latin typeface="+mj-lt"/>
              </a:rPr>
              <a:t>S6t</a:t>
            </a:r>
          </a:p>
        </p:txBody>
      </p:sp>
      <p:sp>
        <p:nvSpPr>
          <p:cNvPr id="89" name="TextBox 88"/>
          <p:cNvSpPr txBox="1"/>
          <p:nvPr/>
        </p:nvSpPr>
        <p:spPr>
          <a:xfrm>
            <a:off x="2328068" y="2859362"/>
            <a:ext cx="418157" cy="242346"/>
          </a:xfrm>
          <a:prstGeom prst="rect">
            <a:avLst/>
          </a:prstGeom>
          <a:noFill/>
        </p:spPr>
        <p:txBody>
          <a:bodyPr wrap="square" lIns="91412" tIns="45706" rIns="91412" bIns="45706" rtlCol="0">
            <a:spAutoFit/>
          </a:bodyPr>
          <a:lstStyle/>
          <a:p>
            <a:pPr algn="ctr" defTabSz="457063"/>
            <a:r>
              <a:rPr lang="en-US" sz="975" dirty="0" smtClean="0">
                <a:solidFill>
                  <a:srgbClr val="676767"/>
                </a:solidFill>
                <a:latin typeface="+mj-lt"/>
              </a:rPr>
              <a:t>Rx</a:t>
            </a:r>
            <a:endParaRPr lang="en-US" sz="975" dirty="0">
              <a:solidFill>
                <a:srgbClr val="676767"/>
              </a:solidFill>
              <a:latin typeface="+mj-lt"/>
            </a:endParaRPr>
          </a:p>
        </p:txBody>
      </p:sp>
      <p:cxnSp>
        <p:nvCxnSpPr>
          <p:cNvPr id="90" name="Straight Arrow Connector 89"/>
          <p:cNvCxnSpPr>
            <a:stCxn id="72" idx="3"/>
          </p:cNvCxnSpPr>
          <p:nvPr/>
        </p:nvCxnSpPr>
        <p:spPr>
          <a:xfrm>
            <a:off x="2909147" y="2456397"/>
            <a:ext cx="332283" cy="168999"/>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104" idx="3"/>
          </p:cNvCxnSpPr>
          <p:nvPr/>
        </p:nvCxnSpPr>
        <p:spPr>
          <a:xfrm>
            <a:off x="2354580" y="3101091"/>
            <a:ext cx="350520" cy="249"/>
          </a:xfrm>
          <a:prstGeom prst="straightConnector1">
            <a:avLst/>
          </a:prstGeom>
          <a:ln w="12700">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103" idx="3"/>
          </p:cNvCxnSpPr>
          <p:nvPr/>
        </p:nvCxnSpPr>
        <p:spPr>
          <a:xfrm flipV="1">
            <a:off x="2362200" y="3832860"/>
            <a:ext cx="175260" cy="5067"/>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6" name="Group 279"/>
          <p:cNvGrpSpPr/>
          <p:nvPr/>
        </p:nvGrpSpPr>
        <p:grpSpPr>
          <a:xfrm>
            <a:off x="502920" y="2054861"/>
            <a:ext cx="585870" cy="585871"/>
            <a:chOff x="4186956" y="3119460"/>
            <a:chExt cx="770091" cy="770092"/>
          </a:xfrm>
          <a:solidFill>
            <a:srgbClr val="FFFFFF"/>
          </a:solidFill>
        </p:grpSpPr>
        <p:sp>
          <p:nvSpPr>
            <p:cNvPr id="94" name="Oval 93"/>
            <p:cNvSpPr/>
            <p:nvPr/>
          </p:nvSpPr>
          <p:spPr>
            <a:xfrm>
              <a:off x="4186956" y="31194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algn="ctr"/>
              <a:endParaRPr lang="en-US" sz="1500" dirty="0">
                <a:solidFill>
                  <a:srgbClr val="FFFFFF"/>
                </a:solidFill>
                <a:latin typeface="+mj-lt"/>
                <a:ea typeface="+mn-ea"/>
              </a:endParaRPr>
            </a:p>
          </p:txBody>
        </p:sp>
        <p:grpSp>
          <p:nvGrpSpPr>
            <p:cNvPr id="19" name="Group 146"/>
            <p:cNvGrpSpPr/>
            <p:nvPr/>
          </p:nvGrpSpPr>
          <p:grpSpPr>
            <a:xfrm>
              <a:off x="4379697" y="3312201"/>
              <a:ext cx="384609" cy="384610"/>
              <a:chOff x="4420423" y="3287556"/>
              <a:chExt cx="384609" cy="384610"/>
            </a:xfrm>
            <a:grpFill/>
          </p:grpSpPr>
          <p:sp>
            <p:nvSpPr>
              <p:cNvPr id="96" name="Freeform 55"/>
              <p:cNvSpPr>
                <a:spLocks noEditPoints="1"/>
              </p:cNvSpPr>
              <p:nvPr/>
            </p:nvSpPr>
            <p:spPr bwMode="auto">
              <a:xfrm>
                <a:off x="4420423" y="3287556"/>
                <a:ext cx="384609" cy="384610"/>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9 h 230"/>
                  <a:gd name="T12" fmla="*/ 10 w 230"/>
                  <a:gd name="T13" fmla="*/ 115 h 230"/>
                  <a:gd name="T14" fmla="*/ 115 w 230"/>
                  <a:gd name="T15" fmla="*/ 220 h 230"/>
                  <a:gd name="T16" fmla="*/ 221 w 230"/>
                  <a:gd name="T17" fmla="*/ 115 h 230"/>
                  <a:gd name="T18" fmla="*/ 115 w 230"/>
                  <a:gd name="T19" fmla="*/ 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moveTo>
                      <a:pt x="115" y="9"/>
                    </a:moveTo>
                    <a:cubicBezTo>
                      <a:pt x="57" y="9"/>
                      <a:pt x="10" y="57"/>
                      <a:pt x="10" y="115"/>
                    </a:cubicBezTo>
                    <a:cubicBezTo>
                      <a:pt x="10" y="173"/>
                      <a:pt x="57" y="220"/>
                      <a:pt x="115" y="220"/>
                    </a:cubicBezTo>
                    <a:cubicBezTo>
                      <a:pt x="173" y="220"/>
                      <a:pt x="221" y="173"/>
                      <a:pt x="221" y="115"/>
                    </a:cubicBezTo>
                    <a:cubicBezTo>
                      <a:pt x="221" y="57"/>
                      <a:pt x="173" y="9"/>
                      <a:pt x="115" y="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97" name="Freeform 56"/>
              <p:cNvSpPr>
                <a:spLocks noEditPoints="1"/>
              </p:cNvSpPr>
              <p:nvPr/>
            </p:nvSpPr>
            <p:spPr bwMode="auto">
              <a:xfrm>
                <a:off x="4581208" y="3447633"/>
                <a:ext cx="63747" cy="63747"/>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9 h 38"/>
                  <a:gd name="T12" fmla="*/ 10 w 38"/>
                  <a:gd name="T13" fmla="*/ 19 h 38"/>
                  <a:gd name="T14" fmla="*/ 19 w 38"/>
                  <a:gd name="T15" fmla="*/ 28 h 38"/>
                  <a:gd name="T16" fmla="*/ 29 w 38"/>
                  <a:gd name="T17" fmla="*/ 19 h 38"/>
                  <a:gd name="T18" fmla="*/ 19 w 38"/>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moveTo>
                      <a:pt x="19" y="9"/>
                    </a:moveTo>
                    <a:cubicBezTo>
                      <a:pt x="14" y="9"/>
                      <a:pt x="10" y="13"/>
                      <a:pt x="10" y="19"/>
                    </a:cubicBezTo>
                    <a:cubicBezTo>
                      <a:pt x="10" y="24"/>
                      <a:pt x="14" y="28"/>
                      <a:pt x="19" y="28"/>
                    </a:cubicBezTo>
                    <a:cubicBezTo>
                      <a:pt x="24" y="28"/>
                      <a:pt x="29" y="24"/>
                      <a:pt x="29" y="19"/>
                    </a:cubicBezTo>
                    <a:cubicBezTo>
                      <a:pt x="29" y="13"/>
                      <a:pt x="24" y="9"/>
                      <a:pt x="19" y="9"/>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98" name="Freeform 57"/>
              <p:cNvSpPr>
                <a:spLocks noEditPoints="1"/>
              </p:cNvSpPr>
              <p:nvPr/>
            </p:nvSpPr>
            <p:spPr bwMode="auto">
              <a:xfrm>
                <a:off x="4452297" y="3322263"/>
                <a:ext cx="321570" cy="222408"/>
              </a:xfrm>
              <a:custGeom>
                <a:avLst/>
                <a:gdLst>
                  <a:gd name="T0" fmla="*/ 178 w 192"/>
                  <a:gd name="T1" fmla="*/ 133 h 133"/>
                  <a:gd name="T2" fmla="*/ 158 w 192"/>
                  <a:gd name="T3" fmla="*/ 119 h 133"/>
                  <a:gd name="T4" fmla="*/ 182 w 192"/>
                  <a:gd name="T5" fmla="*/ 124 h 133"/>
                  <a:gd name="T6" fmla="*/ 180 w 192"/>
                  <a:gd name="T7" fmla="*/ 133 h 133"/>
                  <a:gd name="T8" fmla="*/ 8 w 192"/>
                  <a:gd name="T9" fmla="*/ 130 h 133"/>
                  <a:gd name="T10" fmla="*/ 28 w 192"/>
                  <a:gd name="T11" fmla="*/ 117 h 133"/>
                  <a:gd name="T12" fmla="*/ 32 w 192"/>
                  <a:gd name="T13" fmla="*/ 126 h 133"/>
                  <a:gd name="T14" fmla="*/ 12 w 192"/>
                  <a:gd name="T15" fmla="*/ 133 h 133"/>
                  <a:gd name="T16" fmla="*/ 5 w 192"/>
                  <a:gd name="T17" fmla="*/ 100 h 133"/>
                  <a:gd name="T18" fmla="*/ 5 w 192"/>
                  <a:gd name="T19" fmla="*/ 91 h 133"/>
                  <a:gd name="T20" fmla="*/ 29 w 192"/>
                  <a:gd name="T21" fmla="*/ 95 h 133"/>
                  <a:gd name="T22" fmla="*/ 187 w 192"/>
                  <a:gd name="T23" fmla="*/ 99 h 133"/>
                  <a:gd name="T24" fmla="*/ 163 w 192"/>
                  <a:gd name="T25" fmla="*/ 94 h 133"/>
                  <a:gd name="T26" fmla="*/ 187 w 192"/>
                  <a:gd name="T27" fmla="*/ 89 h 133"/>
                  <a:gd name="T28" fmla="*/ 187 w 192"/>
                  <a:gd name="T29" fmla="*/ 99 h 133"/>
                  <a:gd name="T30" fmla="*/ 103 w 192"/>
                  <a:gd name="T31" fmla="*/ 87 h 133"/>
                  <a:gd name="T32" fmla="*/ 150 w 192"/>
                  <a:gd name="T33" fmla="*/ 33 h 133"/>
                  <a:gd name="T34" fmla="*/ 157 w 192"/>
                  <a:gd name="T35" fmla="*/ 39 h 133"/>
                  <a:gd name="T36" fmla="*/ 106 w 192"/>
                  <a:gd name="T37" fmla="*/ 88 h 133"/>
                  <a:gd name="T38" fmla="*/ 28 w 192"/>
                  <a:gd name="T39" fmla="*/ 71 h 133"/>
                  <a:gd name="T40" fmla="*/ 8 w 192"/>
                  <a:gd name="T41" fmla="*/ 57 h 133"/>
                  <a:gd name="T42" fmla="*/ 32 w 192"/>
                  <a:gd name="T43" fmla="*/ 62 h 133"/>
                  <a:gd name="T44" fmla="*/ 30 w 192"/>
                  <a:gd name="T45" fmla="*/ 71 h 133"/>
                  <a:gd name="T46" fmla="*/ 158 w 192"/>
                  <a:gd name="T47" fmla="*/ 68 h 133"/>
                  <a:gd name="T48" fmla="*/ 179 w 192"/>
                  <a:gd name="T49" fmla="*/ 54 h 133"/>
                  <a:gd name="T50" fmla="*/ 182 w 192"/>
                  <a:gd name="T51" fmla="*/ 63 h 133"/>
                  <a:gd name="T52" fmla="*/ 163 w 192"/>
                  <a:gd name="T53" fmla="*/ 71 h 133"/>
                  <a:gd name="T54" fmla="*/ 42 w 192"/>
                  <a:gd name="T55" fmla="*/ 46 h 133"/>
                  <a:gd name="T56" fmla="*/ 28 w 192"/>
                  <a:gd name="T57" fmla="*/ 26 h 133"/>
                  <a:gd name="T58" fmla="*/ 49 w 192"/>
                  <a:gd name="T59" fmla="*/ 39 h 133"/>
                  <a:gd name="T60" fmla="*/ 45 w 192"/>
                  <a:gd name="T61" fmla="*/ 48 h 133"/>
                  <a:gd name="T62" fmla="*/ 64 w 192"/>
                  <a:gd name="T63" fmla="*/ 29 h 133"/>
                  <a:gd name="T64" fmla="*/ 60 w 192"/>
                  <a:gd name="T65" fmla="*/ 5 h 133"/>
                  <a:gd name="T66" fmla="*/ 73 w 192"/>
                  <a:gd name="T67" fmla="*/ 25 h 133"/>
                  <a:gd name="T68" fmla="*/ 69 w 192"/>
                  <a:gd name="T69" fmla="*/ 32 h 133"/>
                  <a:gd name="T70" fmla="*/ 122 w 192"/>
                  <a:gd name="T71" fmla="*/ 32 h 133"/>
                  <a:gd name="T72" fmla="*/ 127 w 192"/>
                  <a:gd name="T73" fmla="*/ 8 h 133"/>
                  <a:gd name="T74" fmla="*/ 135 w 192"/>
                  <a:gd name="T75" fmla="*/ 11 h 133"/>
                  <a:gd name="T76" fmla="*/ 124 w 192"/>
                  <a:gd name="T77" fmla="*/ 32 h 133"/>
                  <a:gd name="T78" fmla="*/ 91 w 192"/>
                  <a:gd name="T79" fmla="*/ 24 h 133"/>
                  <a:gd name="T80" fmla="*/ 96 w 192"/>
                  <a:gd name="T81" fmla="*/ 0 h 133"/>
                  <a:gd name="T82" fmla="*/ 100 w 192"/>
                  <a:gd name="T83"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33">
                    <a:moveTo>
                      <a:pt x="180" y="133"/>
                    </a:moveTo>
                    <a:cubicBezTo>
                      <a:pt x="180" y="133"/>
                      <a:pt x="179" y="133"/>
                      <a:pt x="178" y="133"/>
                    </a:cubicBezTo>
                    <a:cubicBezTo>
                      <a:pt x="161" y="126"/>
                      <a:pt x="161" y="126"/>
                      <a:pt x="161" y="126"/>
                    </a:cubicBezTo>
                    <a:cubicBezTo>
                      <a:pt x="158" y="125"/>
                      <a:pt x="157" y="122"/>
                      <a:pt x="158" y="119"/>
                    </a:cubicBezTo>
                    <a:cubicBezTo>
                      <a:pt x="159" y="117"/>
                      <a:pt x="162" y="116"/>
                      <a:pt x="164" y="117"/>
                    </a:cubicBezTo>
                    <a:cubicBezTo>
                      <a:pt x="182" y="124"/>
                      <a:pt x="182" y="124"/>
                      <a:pt x="182" y="124"/>
                    </a:cubicBezTo>
                    <a:cubicBezTo>
                      <a:pt x="185" y="125"/>
                      <a:pt x="186" y="128"/>
                      <a:pt x="185" y="130"/>
                    </a:cubicBezTo>
                    <a:cubicBezTo>
                      <a:pt x="184" y="132"/>
                      <a:pt x="182" y="133"/>
                      <a:pt x="180" y="133"/>
                    </a:cubicBezTo>
                    <a:moveTo>
                      <a:pt x="12" y="133"/>
                    </a:moveTo>
                    <a:cubicBezTo>
                      <a:pt x="10" y="133"/>
                      <a:pt x="8" y="132"/>
                      <a:pt x="8" y="130"/>
                    </a:cubicBezTo>
                    <a:cubicBezTo>
                      <a:pt x="7" y="128"/>
                      <a:pt x="8" y="125"/>
                      <a:pt x="10" y="124"/>
                    </a:cubicBezTo>
                    <a:cubicBezTo>
                      <a:pt x="28" y="117"/>
                      <a:pt x="28" y="117"/>
                      <a:pt x="28" y="117"/>
                    </a:cubicBezTo>
                    <a:cubicBezTo>
                      <a:pt x="30" y="116"/>
                      <a:pt x="33" y="117"/>
                      <a:pt x="34" y="119"/>
                    </a:cubicBezTo>
                    <a:cubicBezTo>
                      <a:pt x="35" y="122"/>
                      <a:pt x="34" y="125"/>
                      <a:pt x="32" y="126"/>
                    </a:cubicBezTo>
                    <a:cubicBezTo>
                      <a:pt x="14" y="133"/>
                      <a:pt x="14" y="133"/>
                      <a:pt x="14" y="133"/>
                    </a:cubicBezTo>
                    <a:cubicBezTo>
                      <a:pt x="13" y="133"/>
                      <a:pt x="13" y="133"/>
                      <a:pt x="12" y="133"/>
                    </a:cubicBezTo>
                    <a:moveTo>
                      <a:pt x="24" y="100"/>
                    </a:moveTo>
                    <a:cubicBezTo>
                      <a:pt x="5" y="100"/>
                      <a:pt x="5" y="100"/>
                      <a:pt x="5" y="100"/>
                    </a:cubicBezTo>
                    <a:cubicBezTo>
                      <a:pt x="2" y="100"/>
                      <a:pt x="0" y="98"/>
                      <a:pt x="0" y="95"/>
                    </a:cubicBezTo>
                    <a:cubicBezTo>
                      <a:pt x="0" y="93"/>
                      <a:pt x="2" y="91"/>
                      <a:pt x="5" y="91"/>
                    </a:cubicBezTo>
                    <a:cubicBezTo>
                      <a:pt x="24" y="91"/>
                      <a:pt x="24" y="91"/>
                      <a:pt x="24" y="91"/>
                    </a:cubicBezTo>
                    <a:cubicBezTo>
                      <a:pt x="26" y="91"/>
                      <a:pt x="29" y="93"/>
                      <a:pt x="29" y="95"/>
                    </a:cubicBezTo>
                    <a:cubicBezTo>
                      <a:pt x="29" y="98"/>
                      <a:pt x="26" y="100"/>
                      <a:pt x="24" y="100"/>
                    </a:cubicBezTo>
                    <a:moveTo>
                      <a:pt x="187" y="99"/>
                    </a:moveTo>
                    <a:cubicBezTo>
                      <a:pt x="168" y="99"/>
                      <a:pt x="168" y="99"/>
                      <a:pt x="168" y="99"/>
                    </a:cubicBezTo>
                    <a:cubicBezTo>
                      <a:pt x="165" y="99"/>
                      <a:pt x="163" y="96"/>
                      <a:pt x="163" y="94"/>
                    </a:cubicBezTo>
                    <a:cubicBezTo>
                      <a:pt x="163" y="91"/>
                      <a:pt x="165" y="89"/>
                      <a:pt x="168" y="89"/>
                    </a:cubicBezTo>
                    <a:cubicBezTo>
                      <a:pt x="187" y="89"/>
                      <a:pt x="187" y="89"/>
                      <a:pt x="187" y="89"/>
                    </a:cubicBezTo>
                    <a:cubicBezTo>
                      <a:pt x="190" y="89"/>
                      <a:pt x="192" y="91"/>
                      <a:pt x="192" y="94"/>
                    </a:cubicBezTo>
                    <a:cubicBezTo>
                      <a:pt x="192" y="96"/>
                      <a:pt x="190" y="99"/>
                      <a:pt x="187" y="99"/>
                    </a:cubicBezTo>
                    <a:moveTo>
                      <a:pt x="106" y="88"/>
                    </a:moveTo>
                    <a:cubicBezTo>
                      <a:pt x="105" y="88"/>
                      <a:pt x="104" y="88"/>
                      <a:pt x="103" y="87"/>
                    </a:cubicBezTo>
                    <a:cubicBezTo>
                      <a:pt x="101" y="85"/>
                      <a:pt x="101" y="82"/>
                      <a:pt x="103" y="80"/>
                    </a:cubicBezTo>
                    <a:cubicBezTo>
                      <a:pt x="150" y="33"/>
                      <a:pt x="150" y="33"/>
                      <a:pt x="150" y="33"/>
                    </a:cubicBezTo>
                    <a:cubicBezTo>
                      <a:pt x="152" y="31"/>
                      <a:pt x="155" y="31"/>
                      <a:pt x="157" y="33"/>
                    </a:cubicBezTo>
                    <a:cubicBezTo>
                      <a:pt x="159" y="35"/>
                      <a:pt x="159" y="38"/>
                      <a:pt x="157" y="39"/>
                    </a:cubicBezTo>
                    <a:cubicBezTo>
                      <a:pt x="110" y="87"/>
                      <a:pt x="110" y="87"/>
                      <a:pt x="110" y="87"/>
                    </a:cubicBezTo>
                    <a:cubicBezTo>
                      <a:pt x="109" y="88"/>
                      <a:pt x="108" y="88"/>
                      <a:pt x="106" y="88"/>
                    </a:cubicBezTo>
                    <a:moveTo>
                      <a:pt x="30" y="71"/>
                    </a:moveTo>
                    <a:cubicBezTo>
                      <a:pt x="29" y="71"/>
                      <a:pt x="29" y="71"/>
                      <a:pt x="28" y="71"/>
                    </a:cubicBezTo>
                    <a:cubicBezTo>
                      <a:pt x="10" y="63"/>
                      <a:pt x="10" y="63"/>
                      <a:pt x="10" y="63"/>
                    </a:cubicBezTo>
                    <a:cubicBezTo>
                      <a:pt x="8" y="62"/>
                      <a:pt x="7" y="59"/>
                      <a:pt x="8" y="57"/>
                    </a:cubicBezTo>
                    <a:cubicBezTo>
                      <a:pt x="9" y="55"/>
                      <a:pt x="11" y="53"/>
                      <a:pt x="14" y="54"/>
                    </a:cubicBezTo>
                    <a:cubicBezTo>
                      <a:pt x="32" y="62"/>
                      <a:pt x="32" y="62"/>
                      <a:pt x="32" y="62"/>
                    </a:cubicBezTo>
                    <a:cubicBezTo>
                      <a:pt x="34" y="63"/>
                      <a:pt x="35" y="66"/>
                      <a:pt x="34" y="68"/>
                    </a:cubicBezTo>
                    <a:cubicBezTo>
                      <a:pt x="33" y="70"/>
                      <a:pt x="32" y="71"/>
                      <a:pt x="30" y="71"/>
                    </a:cubicBezTo>
                    <a:moveTo>
                      <a:pt x="163" y="71"/>
                    </a:moveTo>
                    <a:cubicBezTo>
                      <a:pt x="161" y="71"/>
                      <a:pt x="159" y="70"/>
                      <a:pt x="158" y="68"/>
                    </a:cubicBezTo>
                    <a:cubicBezTo>
                      <a:pt x="157" y="66"/>
                      <a:pt x="158" y="63"/>
                      <a:pt x="161" y="62"/>
                    </a:cubicBezTo>
                    <a:cubicBezTo>
                      <a:pt x="179" y="54"/>
                      <a:pt x="179" y="54"/>
                      <a:pt x="179" y="54"/>
                    </a:cubicBezTo>
                    <a:cubicBezTo>
                      <a:pt x="181" y="53"/>
                      <a:pt x="184" y="55"/>
                      <a:pt x="185" y="57"/>
                    </a:cubicBezTo>
                    <a:cubicBezTo>
                      <a:pt x="186" y="59"/>
                      <a:pt x="185" y="62"/>
                      <a:pt x="182" y="63"/>
                    </a:cubicBezTo>
                    <a:cubicBezTo>
                      <a:pt x="164" y="71"/>
                      <a:pt x="164" y="71"/>
                      <a:pt x="164" y="71"/>
                    </a:cubicBezTo>
                    <a:cubicBezTo>
                      <a:pt x="164" y="71"/>
                      <a:pt x="163" y="71"/>
                      <a:pt x="163" y="71"/>
                    </a:cubicBezTo>
                    <a:moveTo>
                      <a:pt x="45" y="48"/>
                    </a:moveTo>
                    <a:cubicBezTo>
                      <a:pt x="44" y="48"/>
                      <a:pt x="43" y="47"/>
                      <a:pt x="42" y="46"/>
                    </a:cubicBezTo>
                    <a:cubicBezTo>
                      <a:pt x="28" y="33"/>
                      <a:pt x="28" y="33"/>
                      <a:pt x="28" y="33"/>
                    </a:cubicBezTo>
                    <a:cubicBezTo>
                      <a:pt x="27" y="31"/>
                      <a:pt x="27" y="28"/>
                      <a:pt x="28" y="26"/>
                    </a:cubicBezTo>
                    <a:cubicBezTo>
                      <a:pt x="30" y="24"/>
                      <a:pt x="33" y="24"/>
                      <a:pt x="35" y="26"/>
                    </a:cubicBezTo>
                    <a:cubicBezTo>
                      <a:pt x="49" y="39"/>
                      <a:pt x="49" y="39"/>
                      <a:pt x="49" y="39"/>
                    </a:cubicBezTo>
                    <a:cubicBezTo>
                      <a:pt x="51" y="41"/>
                      <a:pt x="51" y="44"/>
                      <a:pt x="49" y="46"/>
                    </a:cubicBezTo>
                    <a:cubicBezTo>
                      <a:pt x="48" y="47"/>
                      <a:pt x="47" y="48"/>
                      <a:pt x="45" y="48"/>
                    </a:cubicBezTo>
                    <a:moveTo>
                      <a:pt x="69" y="32"/>
                    </a:moveTo>
                    <a:cubicBezTo>
                      <a:pt x="67" y="32"/>
                      <a:pt x="65" y="31"/>
                      <a:pt x="64" y="29"/>
                    </a:cubicBezTo>
                    <a:cubicBezTo>
                      <a:pt x="57" y="11"/>
                      <a:pt x="57" y="11"/>
                      <a:pt x="57" y="11"/>
                    </a:cubicBezTo>
                    <a:cubicBezTo>
                      <a:pt x="56" y="9"/>
                      <a:pt x="57" y="6"/>
                      <a:pt x="60" y="5"/>
                    </a:cubicBezTo>
                    <a:cubicBezTo>
                      <a:pt x="62" y="4"/>
                      <a:pt x="65" y="5"/>
                      <a:pt x="66" y="8"/>
                    </a:cubicBezTo>
                    <a:cubicBezTo>
                      <a:pt x="73" y="25"/>
                      <a:pt x="73" y="25"/>
                      <a:pt x="73" y="25"/>
                    </a:cubicBezTo>
                    <a:cubicBezTo>
                      <a:pt x="74" y="28"/>
                      <a:pt x="73" y="31"/>
                      <a:pt x="71" y="32"/>
                    </a:cubicBezTo>
                    <a:cubicBezTo>
                      <a:pt x="70" y="32"/>
                      <a:pt x="69" y="32"/>
                      <a:pt x="69" y="32"/>
                    </a:cubicBezTo>
                    <a:moveTo>
                      <a:pt x="124" y="32"/>
                    </a:moveTo>
                    <a:cubicBezTo>
                      <a:pt x="123" y="32"/>
                      <a:pt x="122" y="32"/>
                      <a:pt x="122" y="32"/>
                    </a:cubicBezTo>
                    <a:cubicBezTo>
                      <a:pt x="119" y="31"/>
                      <a:pt x="118" y="28"/>
                      <a:pt x="119" y="25"/>
                    </a:cubicBezTo>
                    <a:cubicBezTo>
                      <a:pt x="127" y="8"/>
                      <a:pt x="127" y="8"/>
                      <a:pt x="127" y="8"/>
                    </a:cubicBezTo>
                    <a:cubicBezTo>
                      <a:pt x="128" y="5"/>
                      <a:pt x="130" y="4"/>
                      <a:pt x="133" y="5"/>
                    </a:cubicBezTo>
                    <a:cubicBezTo>
                      <a:pt x="135" y="6"/>
                      <a:pt x="136" y="9"/>
                      <a:pt x="135" y="11"/>
                    </a:cubicBezTo>
                    <a:cubicBezTo>
                      <a:pt x="128" y="29"/>
                      <a:pt x="128" y="29"/>
                      <a:pt x="128" y="29"/>
                    </a:cubicBezTo>
                    <a:cubicBezTo>
                      <a:pt x="127" y="31"/>
                      <a:pt x="126" y="32"/>
                      <a:pt x="124" y="32"/>
                    </a:cubicBezTo>
                    <a:moveTo>
                      <a:pt x="96" y="28"/>
                    </a:moveTo>
                    <a:cubicBezTo>
                      <a:pt x="93" y="28"/>
                      <a:pt x="91" y="26"/>
                      <a:pt x="91" y="24"/>
                    </a:cubicBezTo>
                    <a:cubicBezTo>
                      <a:pt x="91" y="4"/>
                      <a:pt x="91" y="4"/>
                      <a:pt x="91" y="4"/>
                    </a:cubicBezTo>
                    <a:cubicBezTo>
                      <a:pt x="91" y="2"/>
                      <a:pt x="93" y="0"/>
                      <a:pt x="96" y="0"/>
                    </a:cubicBezTo>
                    <a:cubicBezTo>
                      <a:pt x="98" y="0"/>
                      <a:pt x="100" y="2"/>
                      <a:pt x="100" y="4"/>
                    </a:cubicBezTo>
                    <a:cubicBezTo>
                      <a:pt x="100" y="24"/>
                      <a:pt x="100" y="24"/>
                      <a:pt x="100" y="24"/>
                    </a:cubicBezTo>
                    <a:cubicBezTo>
                      <a:pt x="100" y="26"/>
                      <a:pt x="98" y="28"/>
                      <a:pt x="96" y="28"/>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99" name="Freeform 58"/>
              <p:cNvSpPr>
                <a:spLocks noEditPoints="1"/>
              </p:cNvSpPr>
              <p:nvPr/>
            </p:nvSpPr>
            <p:spPr bwMode="auto">
              <a:xfrm>
                <a:off x="4532335" y="3543254"/>
                <a:ext cx="160785" cy="63747"/>
              </a:xfrm>
              <a:custGeom>
                <a:avLst/>
                <a:gdLst>
                  <a:gd name="T0" fmla="*/ 91 w 96"/>
                  <a:gd name="T1" fmla="*/ 38 h 38"/>
                  <a:gd name="T2" fmla="*/ 5 w 96"/>
                  <a:gd name="T3" fmla="*/ 38 h 38"/>
                  <a:gd name="T4" fmla="*/ 0 w 96"/>
                  <a:gd name="T5" fmla="*/ 34 h 38"/>
                  <a:gd name="T6" fmla="*/ 0 w 96"/>
                  <a:gd name="T7" fmla="*/ 5 h 38"/>
                  <a:gd name="T8" fmla="*/ 5 w 96"/>
                  <a:gd name="T9" fmla="*/ 0 h 38"/>
                  <a:gd name="T10" fmla="*/ 91 w 96"/>
                  <a:gd name="T11" fmla="*/ 0 h 38"/>
                  <a:gd name="T12" fmla="*/ 96 w 96"/>
                  <a:gd name="T13" fmla="*/ 5 h 38"/>
                  <a:gd name="T14" fmla="*/ 96 w 96"/>
                  <a:gd name="T15" fmla="*/ 34 h 38"/>
                  <a:gd name="T16" fmla="*/ 91 w 96"/>
                  <a:gd name="T17" fmla="*/ 38 h 38"/>
                  <a:gd name="T18" fmla="*/ 10 w 96"/>
                  <a:gd name="T19" fmla="*/ 29 h 38"/>
                  <a:gd name="T20" fmla="*/ 87 w 96"/>
                  <a:gd name="T21" fmla="*/ 29 h 38"/>
                  <a:gd name="T22" fmla="*/ 87 w 96"/>
                  <a:gd name="T23" fmla="*/ 10 h 38"/>
                  <a:gd name="T24" fmla="*/ 10 w 96"/>
                  <a:gd name="T25" fmla="*/ 10 h 38"/>
                  <a:gd name="T26" fmla="*/ 10 w 96"/>
                  <a:gd name="T2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38">
                    <a:moveTo>
                      <a:pt x="91" y="38"/>
                    </a:moveTo>
                    <a:cubicBezTo>
                      <a:pt x="5" y="38"/>
                      <a:pt x="5" y="38"/>
                      <a:pt x="5" y="38"/>
                    </a:cubicBezTo>
                    <a:cubicBezTo>
                      <a:pt x="2" y="38"/>
                      <a:pt x="0" y="36"/>
                      <a:pt x="0" y="34"/>
                    </a:cubicBezTo>
                    <a:cubicBezTo>
                      <a:pt x="0" y="5"/>
                      <a:pt x="0" y="5"/>
                      <a:pt x="0" y="5"/>
                    </a:cubicBezTo>
                    <a:cubicBezTo>
                      <a:pt x="0" y="2"/>
                      <a:pt x="2" y="0"/>
                      <a:pt x="5" y="0"/>
                    </a:cubicBezTo>
                    <a:cubicBezTo>
                      <a:pt x="91" y="0"/>
                      <a:pt x="91" y="0"/>
                      <a:pt x="91" y="0"/>
                    </a:cubicBezTo>
                    <a:cubicBezTo>
                      <a:pt x="94" y="0"/>
                      <a:pt x="96" y="2"/>
                      <a:pt x="96" y="5"/>
                    </a:cubicBezTo>
                    <a:cubicBezTo>
                      <a:pt x="96" y="34"/>
                      <a:pt x="96" y="34"/>
                      <a:pt x="96" y="34"/>
                    </a:cubicBezTo>
                    <a:cubicBezTo>
                      <a:pt x="96" y="36"/>
                      <a:pt x="94" y="38"/>
                      <a:pt x="91" y="38"/>
                    </a:cubicBezTo>
                    <a:moveTo>
                      <a:pt x="10" y="29"/>
                    </a:moveTo>
                    <a:cubicBezTo>
                      <a:pt x="87" y="29"/>
                      <a:pt x="87" y="29"/>
                      <a:pt x="87" y="29"/>
                    </a:cubicBezTo>
                    <a:cubicBezTo>
                      <a:pt x="87" y="10"/>
                      <a:pt x="87" y="10"/>
                      <a:pt x="87" y="10"/>
                    </a:cubicBezTo>
                    <a:cubicBezTo>
                      <a:pt x="10" y="10"/>
                      <a:pt x="10" y="10"/>
                      <a:pt x="10" y="10"/>
                    </a:cubicBezTo>
                    <a:lnTo>
                      <a:pt x="10" y="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grpSp>
        <p:nvGrpSpPr>
          <p:cNvPr id="20" name="Group 99"/>
          <p:cNvGrpSpPr/>
          <p:nvPr/>
        </p:nvGrpSpPr>
        <p:grpSpPr>
          <a:xfrm>
            <a:off x="502920" y="3489648"/>
            <a:ext cx="585870" cy="585871"/>
            <a:chOff x="1750830" y="1156397"/>
            <a:chExt cx="585870" cy="585871"/>
          </a:xfrm>
        </p:grpSpPr>
        <p:sp>
          <p:nvSpPr>
            <p:cNvPr id="101" name="Oval 100"/>
            <p:cNvSpPr/>
            <p:nvPr/>
          </p:nvSpPr>
          <p:spPr>
            <a:xfrm>
              <a:off x="1750830" y="1156397"/>
              <a:ext cx="585870" cy="585871"/>
            </a:xfrm>
            <a:prstGeom prst="ellipse">
              <a:avLst/>
            </a:prstGeom>
            <a:solidFill>
              <a:schemeClr val="accent1"/>
            </a:solidFill>
            <a:ln w="25400" cap="rnd" cmpd="sng" algn="ctr">
              <a:solidFill>
                <a:srgbClr val="FFFFFF"/>
              </a:solidFill>
              <a:prstDash val="solid"/>
            </a:ln>
            <a:effectLst/>
          </p:spPr>
          <p:txBody>
            <a:bodyPr wrap="none"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mj-lt"/>
                <a:ea typeface="+mn-ea"/>
                <a:cs typeface="+mn-cs"/>
              </a:endParaRPr>
            </a:p>
          </p:txBody>
        </p:sp>
        <p:sp>
          <p:nvSpPr>
            <p:cNvPr id="102" name="Freeform 473"/>
            <p:cNvSpPr>
              <a:spLocks noEditPoints="1"/>
            </p:cNvSpPr>
            <p:nvPr/>
          </p:nvSpPr>
          <p:spPr bwMode="auto">
            <a:xfrm>
              <a:off x="1811759" y="1368430"/>
              <a:ext cx="464013" cy="161804"/>
            </a:xfrm>
            <a:custGeom>
              <a:avLst/>
              <a:gdLst/>
              <a:ahLst/>
              <a:cxnLst>
                <a:cxn ang="0">
                  <a:pos x="3744" y="1658"/>
                </a:cxn>
                <a:cxn ang="0">
                  <a:pos x="1464" y="1486"/>
                </a:cxn>
                <a:cxn ang="0">
                  <a:pos x="1256" y="1686"/>
                </a:cxn>
                <a:cxn ang="0">
                  <a:pos x="970" y="1710"/>
                </a:cxn>
                <a:cxn ang="0">
                  <a:pos x="702" y="1514"/>
                </a:cxn>
                <a:cxn ang="0">
                  <a:pos x="214" y="1398"/>
                </a:cxn>
                <a:cxn ang="0">
                  <a:pos x="28" y="1182"/>
                </a:cxn>
                <a:cxn ang="0">
                  <a:pos x="22" y="850"/>
                </a:cxn>
                <a:cxn ang="0">
                  <a:pos x="92" y="622"/>
                </a:cxn>
                <a:cxn ang="0">
                  <a:pos x="88" y="444"/>
                </a:cxn>
                <a:cxn ang="0">
                  <a:pos x="274" y="354"/>
                </a:cxn>
                <a:cxn ang="0">
                  <a:pos x="814" y="258"/>
                </a:cxn>
                <a:cxn ang="0">
                  <a:pos x="1448" y="40"/>
                </a:cxn>
                <a:cxn ang="0">
                  <a:pos x="2448" y="8"/>
                </a:cxn>
                <a:cxn ang="0">
                  <a:pos x="3064" y="160"/>
                </a:cxn>
                <a:cxn ang="0">
                  <a:pos x="3562" y="480"/>
                </a:cxn>
                <a:cxn ang="0">
                  <a:pos x="4596" y="694"/>
                </a:cxn>
                <a:cxn ang="0">
                  <a:pos x="4894" y="898"/>
                </a:cxn>
                <a:cxn ang="0">
                  <a:pos x="4934" y="1208"/>
                </a:cxn>
                <a:cxn ang="0">
                  <a:pos x="4828" y="1422"/>
                </a:cxn>
                <a:cxn ang="0">
                  <a:pos x="4318" y="1486"/>
                </a:cxn>
                <a:cxn ang="0">
                  <a:pos x="4178" y="1650"/>
                </a:cxn>
                <a:cxn ang="0">
                  <a:pos x="3956" y="1012"/>
                </a:cxn>
                <a:cxn ang="0">
                  <a:pos x="3740" y="1120"/>
                </a:cxn>
                <a:cxn ang="0">
                  <a:pos x="3678" y="1350"/>
                </a:cxn>
                <a:cxn ang="0">
                  <a:pos x="3770" y="1532"/>
                </a:cxn>
                <a:cxn ang="0">
                  <a:pos x="3956" y="1608"/>
                </a:cxn>
                <a:cxn ang="0">
                  <a:pos x="4156" y="1516"/>
                </a:cxn>
                <a:cxn ang="0">
                  <a:pos x="4234" y="1310"/>
                </a:cxn>
                <a:cxn ang="0">
                  <a:pos x="4132" y="1080"/>
                </a:cxn>
                <a:cxn ang="0">
                  <a:pos x="1078" y="1012"/>
                </a:cxn>
                <a:cxn ang="0">
                  <a:pos x="814" y="1144"/>
                </a:cxn>
                <a:cxn ang="0">
                  <a:pos x="766" y="1368"/>
                </a:cxn>
                <a:cxn ang="0">
                  <a:pos x="934" y="1576"/>
                </a:cxn>
                <a:cxn ang="0">
                  <a:pos x="1178" y="1592"/>
                </a:cxn>
                <a:cxn ang="0">
                  <a:pos x="1362" y="1434"/>
                </a:cxn>
                <a:cxn ang="0">
                  <a:pos x="1386" y="1250"/>
                </a:cxn>
                <a:cxn ang="0">
                  <a:pos x="1200" y="1036"/>
                </a:cxn>
                <a:cxn ang="0">
                  <a:pos x="4694" y="1346"/>
                </a:cxn>
                <a:cxn ang="0">
                  <a:pos x="4806" y="1254"/>
                </a:cxn>
                <a:cxn ang="0">
                  <a:pos x="4798" y="960"/>
                </a:cxn>
                <a:cxn ang="0">
                  <a:pos x="4428" y="760"/>
                </a:cxn>
                <a:cxn ang="0">
                  <a:pos x="3514" y="590"/>
                </a:cxn>
                <a:cxn ang="0">
                  <a:pos x="3106" y="310"/>
                </a:cxn>
                <a:cxn ang="0">
                  <a:pos x="2516" y="128"/>
                </a:cxn>
                <a:cxn ang="0">
                  <a:pos x="1558" y="144"/>
                </a:cxn>
                <a:cxn ang="0">
                  <a:pos x="920" y="336"/>
                </a:cxn>
                <a:cxn ang="0">
                  <a:pos x="372" y="464"/>
                </a:cxn>
                <a:cxn ang="0">
                  <a:pos x="186" y="502"/>
                </a:cxn>
                <a:cxn ang="0">
                  <a:pos x="204" y="708"/>
                </a:cxn>
                <a:cxn ang="0">
                  <a:pos x="122" y="936"/>
                </a:cxn>
                <a:cxn ang="0">
                  <a:pos x="154" y="1184"/>
                </a:cxn>
                <a:cxn ang="0">
                  <a:pos x="576" y="1200"/>
                </a:cxn>
                <a:cxn ang="0">
                  <a:pos x="864" y="864"/>
                </a:cxn>
                <a:cxn ang="0">
                  <a:pos x="1144" y="838"/>
                </a:cxn>
                <a:cxn ang="0">
                  <a:pos x="1448" y="1050"/>
                </a:cxn>
                <a:cxn ang="0">
                  <a:pos x="1532" y="1334"/>
                </a:cxn>
                <a:cxn ang="0">
                  <a:pos x="3494" y="1206"/>
                </a:cxn>
                <a:cxn ang="0">
                  <a:pos x="3776" y="868"/>
                </a:cxn>
                <a:cxn ang="0">
                  <a:pos x="3992" y="828"/>
                </a:cxn>
                <a:cxn ang="0">
                  <a:pos x="4274" y="944"/>
                </a:cxn>
                <a:cxn ang="0">
                  <a:pos x="4450" y="1282"/>
                </a:cxn>
              </a:cxnLst>
              <a:rect l="0" t="0" r="r" b="b"/>
              <a:pathLst>
                <a:path w="4944" h="1724">
                  <a:moveTo>
                    <a:pt x="3956" y="1724"/>
                  </a:moveTo>
                  <a:lnTo>
                    <a:pt x="3956" y="1724"/>
                  </a:lnTo>
                  <a:lnTo>
                    <a:pt x="3928" y="1722"/>
                  </a:lnTo>
                  <a:lnTo>
                    <a:pt x="3900" y="1720"/>
                  </a:lnTo>
                  <a:lnTo>
                    <a:pt x="3872" y="1714"/>
                  </a:lnTo>
                  <a:lnTo>
                    <a:pt x="3844" y="1706"/>
                  </a:lnTo>
                  <a:lnTo>
                    <a:pt x="3818" y="1698"/>
                  </a:lnTo>
                  <a:lnTo>
                    <a:pt x="3792" y="1686"/>
                  </a:lnTo>
                  <a:lnTo>
                    <a:pt x="3768" y="1674"/>
                  </a:lnTo>
                  <a:lnTo>
                    <a:pt x="3744" y="1658"/>
                  </a:lnTo>
                  <a:lnTo>
                    <a:pt x="3722" y="1642"/>
                  </a:lnTo>
                  <a:lnTo>
                    <a:pt x="3700" y="1624"/>
                  </a:lnTo>
                  <a:lnTo>
                    <a:pt x="3680" y="1604"/>
                  </a:lnTo>
                  <a:lnTo>
                    <a:pt x="3662" y="1584"/>
                  </a:lnTo>
                  <a:lnTo>
                    <a:pt x="3644" y="1562"/>
                  </a:lnTo>
                  <a:lnTo>
                    <a:pt x="3628" y="1538"/>
                  </a:lnTo>
                  <a:lnTo>
                    <a:pt x="3614" y="1512"/>
                  </a:lnTo>
                  <a:lnTo>
                    <a:pt x="3600" y="1486"/>
                  </a:lnTo>
                  <a:lnTo>
                    <a:pt x="1464" y="1486"/>
                  </a:lnTo>
                  <a:lnTo>
                    <a:pt x="1464" y="1486"/>
                  </a:lnTo>
                  <a:lnTo>
                    <a:pt x="1450" y="1512"/>
                  </a:lnTo>
                  <a:lnTo>
                    <a:pt x="1436" y="1538"/>
                  </a:lnTo>
                  <a:lnTo>
                    <a:pt x="1418" y="1562"/>
                  </a:lnTo>
                  <a:lnTo>
                    <a:pt x="1398" y="1584"/>
                  </a:lnTo>
                  <a:lnTo>
                    <a:pt x="1378" y="1604"/>
                  </a:lnTo>
                  <a:lnTo>
                    <a:pt x="1356" y="1624"/>
                  </a:lnTo>
                  <a:lnTo>
                    <a:pt x="1332" y="1642"/>
                  </a:lnTo>
                  <a:lnTo>
                    <a:pt x="1308" y="1658"/>
                  </a:lnTo>
                  <a:lnTo>
                    <a:pt x="1282" y="1674"/>
                  </a:lnTo>
                  <a:lnTo>
                    <a:pt x="1256" y="1686"/>
                  </a:lnTo>
                  <a:lnTo>
                    <a:pt x="1228" y="1698"/>
                  </a:lnTo>
                  <a:lnTo>
                    <a:pt x="1198" y="1706"/>
                  </a:lnTo>
                  <a:lnTo>
                    <a:pt x="1170" y="1714"/>
                  </a:lnTo>
                  <a:lnTo>
                    <a:pt x="1140" y="1720"/>
                  </a:lnTo>
                  <a:lnTo>
                    <a:pt x="1108" y="1722"/>
                  </a:lnTo>
                  <a:lnTo>
                    <a:pt x="1078" y="1724"/>
                  </a:lnTo>
                  <a:lnTo>
                    <a:pt x="1078" y="1724"/>
                  </a:lnTo>
                  <a:lnTo>
                    <a:pt x="1040" y="1722"/>
                  </a:lnTo>
                  <a:lnTo>
                    <a:pt x="1004" y="1718"/>
                  </a:lnTo>
                  <a:lnTo>
                    <a:pt x="970" y="1710"/>
                  </a:lnTo>
                  <a:lnTo>
                    <a:pt x="936" y="1702"/>
                  </a:lnTo>
                  <a:lnTo>
                    <a:pt x="904" y="1688"/>
                  </a:lnTo>
                  <a:lnTo>
                    <a:pt x="872" y="1674"/>
                  </a:lnTo>
                  <a:lnTo>
                    <a:pt x="842" y="1658"/>
                  </a:lnTo>
                  <a:lnTo>
                    <a:pt x="814" y="1638"/>
                  </a:lnTo>
                  <a:lnTo>
                    <a:pt x="788" y="1616"/>
                  </a:lnTo>
                  <a:lnTo>
                    <a:pt x="764" y="1594"/>
                  </a:lnTo>
                  <a:lnTo>
                    <a:pt x="740" y="1568"/>
                  </a:lnTo>
                  <a:lnTo>
                    <a:pt x="720" y="1542"/>
                  </a:lnTo>
                  <a:lnTo>
                    <a:pt x="702" y="1514"/>
                  </a:lnTo>
                  <a:lnTo>
                    <a:pt x="686" y="1482"/>
                  </a:lnTo>
                  <a:lnTo>
                    <a:pt x="672" y="1452"/>
                  </a:lnTo>
                  <a:lnTo>
                    <a:pt x="662" y="1418"/>
                  </a:lnTo>
                  <a:lnTo>
                    <a:pt x="612" y="1414"/>
                  </a:lnTo>
                  <a:lnTo>
                    <a:pt x="612" y="1414"/>
                  </a:lnTo>
                  <a:lnTo>
                    <a:pt x="522" y="1408"/>
                  </a:lnTo>
                  <a:lnTo>
                    <a:pt x="434" y="1402"/>
                  </a:lnTo>
                  <a:lnTo>
                    <a:pt x="346" y="1400"/>
                  </a:lnTo>
                  <a:lnTo>
                    <a:pt x="256" y="1398"/>
                  </a:lnTo>
                  <a:lnTo>
                    <a:pt x="214" y="1398"/>
                  </a:lnTo>
                  <a:lnTo>
                    <a:pt x="198" y="1342"/>
                  </a:lnTo>
                  <a:lnTo>
                    <a:pt x="116" y="1328"/>
                  </a:lnTo>
                  <a:lnTo>
                    <a:pt x="102" y="1314"/>
                  </a:lnTo>
                  <a:lnTo>
                    <a:pt x="102" y="1314"/>
                  </a:lnTo>
                  <a:lnTo>
                    <a:pt x="96" y="1306"/>
                  </a:lnTo>
                  <a:lnTo>
                    <a:pt x="80" y="1286"/>
                  </a:lnTo>
                  <a:lnTo>
                    <a:pt x="60" y="1252"/>
                  </a:lnTo>
                  <a:lnTo>
                    <a:pt x="50" y="1232"/>
                  </a:lnTo>
                  <a:lnTo>
                    <a:pt x="38" y="1208"/>
                  </a:lnTo>
                  <a:lnTo>
                    <a:pt x="28" y="1182"/>
                  </a:lnTo>
                  <a:lnTo>
                    <a:pt x="20" y="1152"/>
                  </a:lnTo>
                  <a:lnTo>
                    <a:pt x="12" y="1120"/>
                  </a:lnTo>
                  <a:lnTo>
                    <a:pt x="6" y="1086"/>
                  </a:lnTo>
                  <a:lnTo>
                    <a:pt x="2" y="1048"/>
                  </a:lnTo>
                  <a:lnTo>
                    <a:pt x="0" y="1008"/>
                  </a:lnTo>
                  <a:lnTo>
                    <a:pt x="2" y="964"/>
                  </a:lnTo>
                  <a:lnTo>
                    <a:pt x="8" y="918"/>
                  </a:lnTo>
                  <a:lnTo>
                    <a:pt x="8" y="918"/>
                  </a:lnTo>
                  <a:lnTo>
                    <a:pt x="14" y="882"/>
                  </a:lnTo>
                  <a:lnTo>
                    <a:pt x="22" y="850"/>
                  </a:lnTo>
                  <a:lnTo>
                    <a:pt x="30" y="822"/>
                  </a:lnTo>
                  <a:lnTo>
                    <a:pt x="40" y="798"/>
                  </a:lnTo>
                  <a:lnTo>
                    <a:pt x="56" y="756"/>
                  </a:lnTo>
                  <a:lnTo>
                    <a:pt x="72" y="724"/>
                  </a:lnTo>
                  <a:lnTo>
                    <a:pt x="72" y="724"/>
                  </a:lnTo>
                  <a:lnTo>
                    <a:pt x="88" y="694"/>
                  </a:lnTo>
                  <a:lnTo>
                    <a:pt x="92" y="680"/>
                  </a:lnTo>
                  <a:lnTo>
                    <a:pt x="94" y="664"/>
                  </a:lnTo>
                  <a:lnTo>
                    <a:pt x="94" y="646"/>
                  </a:lnTo>
                  <a:lnTo>
                    <a:pt x="92" y="622"/>
                  </a:lnTo>
                  <a:lnTo>
                    <a:pt x="86" y="596"/>
                  </a:lnTo>
                  <a:lnTo>
                    <a:pt x="76" y="562"/>
                  </a:lnTo>
                  <a:lnTo>
                    <a:pt x="76" y="562"/>
                  </a:lnTo>
                  <a:lnTo>
                    <a:pt x="72" y="540"/>
                  </a:lnTo>
                  <a:lnTo>
                    <a:pt x="68" y="520"/>
                  </a:lnTo>
                  <a:lnTo>
                    <a:pt x="70" y="502"/>
                  </a:lnTo>
                  <a:lnTo>
                    <a:pt x="72" y="484"/>
                  </a:lnTo>
                  <a:lnTo>
                    <a:pt x="76" y="470"/>
                  </a:lnTo>
                  <a:lnTo>
                    <a:pt x="82" y="456"/>
                  </a:lnTo>
                  <a:lnTo>
                    <a:pt x="88" y="444"/>
                  </a:lnTo>
                  <a:lnTo>
                    <a:pt x="94" y="434"/>
                  </a:lnTo>
                  <a:lnTo>
                    <a:pt x="94" y="434"/>
                  </a:lnTo>
                  <a:lnTo>
                    <a:pt x="102" y="424"/>
                  </a:lnTo>
                  <a:lnTo>
                    <a:pt x="112" y="414"/>
                  </a:lnTo>
                  <a:lnTo>
                    <a:pt x="124" y="406"/>
                  </a:lnTo>
                  <a:lnTo>
                    <a:pt x="136" y="396"/>
                  </a:lnTo>
                  <a:lnTo>
                    <a:pt x="162" y="382"/>
                  </a:lnTo>
                  <a:lnTo>
                    <a:pt x="194" y="370"/>
                  </a:lnTo>
                  <a:lnTo>
                    <a:pt x="232" y="360"/>
                  </a:lnTo>
                  <a:lnTo>
                    <a:pt x="274" y="354"/>
                  </a:lnTo>
                  <a:lnTo>
                    <a:pt x="320" y="350"/>
                  </a:lnTo>
                  <a:lnTo>
                    <a:pt x="372" y="348"/>
                  </a:lnTo>
                  <a:lnTo>
                    <a:pt x="372" y="348"/>
                  </a:lnTo>
                  <a:lnTo>
                    <a:pt x="436" y="350"/>
                  </a:lnTo>
                  <a:lnTo>
                    <a:pt x="496" y="354"/>
                  </a:lnTo>
                  <a:lnTo>
                    <a:pt x="544" y="360"/>
                  </a:lnTo>
                  <a:lnTo>
                    <a:pt x="580" y="364"/>
                  </a:lnTo>
                  <a:lnTo>
                    <a:pt x="580" y="364"/>
                  </a:lnTo>
                  <a:lnTo>
                    <a:pt x="712" y="302"/>
                  </a:lnTo>
                  <a:lnTo>
                    <a:pt x="814" y="258"/>
                  </a:lnTo>
                  <a:lnTo>
                    <a:pt x="924" y="208"/>
                  </a:lnTo>
                  <a:lnTo>
                    <a:pt x="1040" y="160"/>
                  </a:lnTo>
                  <a:lnTo>
                    <a:pt x="1150" y="116"/>
                  </a:lnTo>
                  <a:lnTo>
                    <a:pt x="1200" y="96"/>
                  </a:lnTo>
                  <a:lnTo>
                    <a:pt x="1246" y="80"/>
                  </a:lnTo>
                  <a:lnTo>
                    <a:pt x="1286" y="68"/>
                  </a:lnTo>
                  <a:lnTo>
                    <a:pt x="1320" y="60"/>
                  </a:lnTo>
                  <a:lnTo>
                    <a:pt x="1320" y="60"/>
                  </a:lnTo>
                  <a:lnTo>
                    <a:pt x="1372" y="50"/>
                  </a:lnTo>
                  <a:lnTo>
                    <a:pt x="1448" y="40"/>
                  </a:lnTo>
                  <a:lnTo>
                    <a:pt x="1540" y="30"/>
                  </a:lnTo>
                  <a:lnTo>
                    <a:pt x="1648" y="20"/>
                  </a:lnTo>
                  <a:lnTo>
                    <a:pt x="1768" y="12"/>
                  </a:lnTo>
                  <a:lnTo>
                    <a:pt x="1894" y="6"/>
                  </a:lnTo>
                  <a:lnTo>
                    <a:pt x="2026" y="0"/>
                  </a:lnTo>
                  <a:lnTo>
                    <a:pt x="2160" y="0"/>
                  </a:lnTo>
                  <a:lnTo>
                    <a:pt x="2160" y="0"/>
                  </a:lnTo>
                  <a:lnTo>
                    <a:pt x="2262" y="0"/>
                  </a:lnTo>
                  <a:lnTo>
                    <a:pt x="2358" y="2"/>
                  </a:lnTo>
                  <a:lnTo>
                    <a:pt x="2448" y="8"/>
                  </a:lnTo>
                  <a:lnTo>
                    <a:pt x="2532" y="14"/>
                  </a:lnTo>
                  <a:lnTo>
                    <a:pt x="2608" y="24"/>
                  </a:lnTo>
                  <a:lnTo>
                    <a:pt x="2680" y="34"/>
                  </a:lnTo>
                  <a:lnTo>
                    <a:pt x="2744" y="46"/>
                  </a:lnTo>
                  <a:lnTo>
                    <a:pt x="2800" y="60"/>
                  </a:lnTo>
                  <a:lnTo>
                    <a:pt x="2800" y="60"/>
                  </a:lnTo>
                  <a:lnTo>
                    <a:pt x="2868" y="80"/>
                  </a:lnTo>
                  <a:lnTo>
                    <a:pt x="2936" y="104"/>
                  </a:lnTo>
                  <a:lnTo>
                    <a:pt x="3000" y="132"/>
                  </a:lnTo>
                  <a:lnTo>
                    <a:pt x="3064" y="160"/>
                  </a:lnTo>
                  <a:lnTo>
                    <a:pt x="3124" y="190"/>
                  </a:lnTo>
                  <a:lnTo>
                    <a:pt x="3182" y="222"/>
                  </a:lnTo>
                  <a:lnTo>
                    <a:pt x="3238" y="254"/>
                  </a:lnTo>
                  <a:lnTo>
                    <a:pt x="3292" y="286"/>
                  </a:lnTo>
                  <a:lnTo>
                    <a:pt x="3340" y="316"/>
                  </a:lnTo>
                  <a:lnTo>
                    <a:pt x="3386" y="348"/>
                  </a:lnTo>
                  <a:lnTo>
                    <a:pt x="3464" y="404"/>
                  </a:lnTo>
                  <a:lnTo>
                    <a:pt x="3524" y="448"/>
                  </a:lnTo>
                  <a:lnTo>
                    <a:pt x="3562" y="480"/>
                  </a:lnTo>
                  <a:lnTo>
                    <a:pt x="3562" y="480"/>
                  </a:lnTo>
                  <a:lnTo>
                    <a:pt x="3642" y="490"/>
                  </a:lnTo>
                  <a:lnTo>
                    <a:pt x="3774" y="508"/>
                  </a:lnTo>
                  <a:lnTo>
                    <a:pt x="3940" y="536"/>
                  </a:lnTo>
                  <a:lnTo>
                    <a:pt x="4032" y="552"/>
                  </a:lnTo>
                  <a:lnTo>
                    <a:pt x="4128" y="572"/>
                  </a:lnTo>
                  <a:lnTo>
                    <a:pt x="4226" y="592"/>
                  </a:lnTo>
                  <a:lnTo>
                    <a:pt x="4322" y="614"/>
                  </a:lnTo>
                  <a:lnTo>
                    <a:pt x="4418" y="638"/>
                  </a:lnTo>
                  <a:lnTo>
                    <a:pt x="4510" y="664"/>
                  </a:lnTo>
                  <a:lnTo>
                    <a:pt x="4596" y="694"/>
                  </a:lnTo>
                  <a:lnTo>
                    <a:pt x="4674" y="724"/>
                  </a:lnTo>
                  <a:lnTo>
                    <a:pt x="4710" y="740"/>
                  </a:lnTo>
                  <a:lnTo>
                    <a:pt x="4744" y="756"/>
                  </a:lnTo>
                  <a:lnTo>
                    <a:pt x="4776" y="772"/>
                  </a:lnTo>
                  <a:lnTo>
                    <a:pt x="4804" y="788"/>
                  </a:lnTo>
                  <a:lnTo>
                    <a:pt x="4814" y="798"/>
                  </a:lnTo>
                  <a:lnTo>
                    <a:pt x="4814" y="798"/>
                  </a:lnTo>
                  <a:lnTo>
                    <a:pt x="4854" y="844"/>
                  </a:lnTo>
                  <a:lnTo>
                    <a:pt x="4874" y="870"/>
                  </a:lnTo>
                  <a:lnTo>
                    <a:pt x="4894" y="898"/>
                  </a:lnTo>
                  <a:lnTo>
                    <a:pt x="4912" y="926"/>
                  </a:lnTo>
                  <a:lnTo>
                    <a:pt x="4928" y="954"/>
                  </a:lnTo>
                  <a:lnTo>
                    <a:pt x="4938" y="982"/>
                  </a:lnTo>
                  <a:lnTo>
                    <a:pt x="4942" y="994"/>
                  </a:lnTo>
                  <a:lnTo>
                    <a:pt x="4944" y="1006"/>
                  </a:lnTo>
                  <a:lnTo>
                    <a:pt x="4944" y="1006"/>
                  </a:lnTo>
                  <a:lnTo>
                    <a:pt x="4944" y="1058"/>
                  </a:lnTo>
                  <a:lnTo>
                    <a:pt x="4942" y="1112"/>
                  </a:lnTo>
                  <a:lnTo>
                    <a:pt x="4938" y="1176"/>
                  </a:lnTo>
                  <a:lnTo>
                    <a:pt x="4934" y="1208"/>
                  </a:lnTo>
                  <a:lnTo>
                    <a:pt x="4926" y="1244"/>
                  </a:lnTo>
                  <a:lnTo>
                    <a:pt x="4918" y="1276"/>
                  </a:lnTo>
                  <a:lnTo>
                    <a:pt x="4908" y="1308"/>
                  </a:lnTo>
                  <a:lnTo>
                    <a:pt x="4896" y="1340"/>
                  </a:lnTo>
                  <a:lnTo>
                    <a:pt x="4880" y="1366"/>
                  </a:lnTo>
                  <a:lnTo>
                    <a:pt x="4872" y="1380"/>
                  </a:lnTo>
                  <a:lnTo>
                    <a:pt x="4862" y="1390"/>
                  </a:lnTo>
                  <a:lnTo>
                    <a:pt x="4852" y="1402"/>
                  </a:lnTo>
                  <a:lnTo>
                    <a:pt x="4842" y="1410"/>
                  </a:lnTo>
                  <a:lnTo>
                    <a:pt x="4828" y="1422"/>
                  </a:lnTo>
                  <a:lnTo>
                    <a:pt x="4810" y="1422"/>
                  </a:lnTo>
                  <a:lnTo>
                    <a:pt x="4810" y="1422"/>
                  </a:lnTo>
                  <a:lnTo>
                    <a:pt x="4802" y="1422"/>
                  </a:lnTo>
                  <a:lnTo>
                    <a:pt x="4782" y="1428"/>
                  </a:lnTo>
                  <a:lnTo>
                    <a:pt x="4772" y="1432"/>
                  </a:lnTo>
                  <a:lnTo>
                    <a:pt x="4760" y="1440"/>
                  </a:lnTo>
                  <a:lnTo>
                    <a:pt x="4750" y="1448"/>
                  </a:lnTo>
                  <a:lnTo>
                    <a:pt x="4742" y="1460"/>
                  </a:lnTo>
                  <a:lnTo>
                    <a:pt x="4724" y="1486"/>
                  </a:lnTo>
                  <a:lnTo>
                    <a:pt x="4318" y="1486"/>
                  </a:lnTo>
                  <a:lnTo>
                    <a:pt x="4322" y="1458"/>
                  </a:lnTo>
                  <a:lnTo>
                    <a:pt x="4322" y="1458"/>
                  </a:lnTo>
                  <a:lnTo>
                    <a:pt x="4310" y="1486"/>
                  </a:lnTo>
                  <a:lnTo>
                    <a:pt x="4296" y="1514"/>
                  </a:lnTo>
                  <a:lnTo>
                    <a:pt x="4280" y="1542"/>
                  </a:lnTo>
                  <a:lnTo>
                    <a:pt x="4262" y="1566"/>
                  </a:lnTo>
                  <a:lnTo>
                    <a:pt x="4244" y="1590"/>
                  </a:lnTo>
                  <a:lnTo>
                    <a:pt x="4222" y="1612"/>
                  </a:lnTo>
                  <a:lnTo>
                    <a:pt x="4200" y="1632"/>
                  </a:lnTo>
                  <a:lnTo>
                    <a:pt x="4178" y="1650"/>
                  </a:lnTo>
                  <a:lnTo>
                    <a:pt x="4152" y="1666"/>
                  </a:lnTo>
                  <a:lnTo>
                    <a:pt x="4128" y="1682"/>
                  </a:lnTo>
                  <a:lnTo>
                    <a:pt x="4100" y="1694"/>
                  </a:lnTo>
                  <a:lnTo>
                    <a:pt x="4072" y="1704"/>
                  </a:lnTo>
                  <a:lnTo>
                    <a:pt x="4044" y="1712"/>
                  </a:lnTo>
                  <a:lnTo>
                    <a:pt x="4016" y="1718"/>
                  </a:lnTo>
                  <a:lnTo>
                    <a:pt x="3986" y="1722"/>
                  </a:lnTo>
                  <a:lnTo>
                    <a:pt x="3956" y="1724"/>
                  </a:lnTo>
                  <a:lnTo>
                    <a:pt x="3956" y="1724"/>
                  </a:lnTo>
                  <a:close/>
                  <a:moveTo>
                    <a:pt x="3956" y="1012"/>
                  </a:moveTo>
                  <a:lnTo>
                    <a:pt x="3956" y="1012"/>
                  </a:lnTo>
                  <a:lnTo>
                    <a:pt x="3928" y="1014"/>
                  </a:lnTo>
                  <a:lnTo>
                    <a:pt x="3900" y="1018"/>
                  </a:lnTo>
                  <a:lnTo>
                    <a:pt x="3872" y="1026"/>
                  </a:lnTo>
                  <a:lnTo>
                    <a:pt x="3848" y="1036"/>
                  </a:lnTo>
                  <a:lnTo>
                    <a:pt x="3822" y="1048"/>
                  </a:lnTo>
                  <a:lnTo>
                    <a:pt x="3800" y="1062"/>
                  </a:lnTo>
                  <a:lnTo>
                    <a:pt x="3778" y="1080"/>
                  </a:lnTo>
                  <a:lnTo>
                    <a:pt x="3758" y="1100"/>
                  </a:lnTo>
                  <a:lnTo>
                    <a:pt x="3740" y="1120"/>
                  </a:lnTo>
                  <a:lnTo>
                    <a:pt x="3724" y="1144"/>
                  </a:lnTo>
                  <a:lnTo>
                    <a:pt x="3710" y="1168"/>
                  </a:lnTo>
                  <a:lnTo>
                    <a:pt x="3698" y="1194"/>
                  </a:lnTo>
                  <a:lnTo>
                    <a:pt x="3688" y="1222"/>
                  </a:lnTo>
                  <a:lnTo>
                    <a:pt x="3682" y="1250"/>
                  </a:lnTo>
                  <a:lnTo>
                    <a:pt x="3678" y="1280"/>
                  </a:lnTo>
                  <a:lnTo>
                    <a:pt x="3676" y="1310"/>
                  </a:lnTo>
                  <a:lnTo>
                    <a:pt x="3676" y="1310"/>
                  </a:lnTo>
                  <a:lnTo>
                    <a:pt x="3676" y="1330"/>
                  </a:lnTo>
                  <a:lnTo>
                    <a:pt x="3678" y="1350"/>
                  </a:lnTo>
                  <a:lnTo>
                    <a:pt x="3682" y="1368"/>
                  </a:lnTo>
                  <a:lnTo>
                    <a:pt x="3688" y="1388"/>
                  </a:lnTo>
                  <a:lnTo>
                    <a:pt x="3688" y="1388"/>
                  </a:lnTo>
                  <a:lnTo>
                    <a:pt x="3694" y="1412"/>
                  </a:lnTo>
                  <a:lnTo>
                    <a:pt x="3704" y="1434"/>
                  </a:lnTo>
                  <a:lnTo>
                    <a:pt x="3714" y="1458"/>
                  </a:lnTo>
                  <a:lnTo>
                    <a:pt x="3726" y="1478"/>
                  </a:lnTo>
                  <a:lnTo>
                    <a:pt x="3740" y="1498"/>
                  </a:lnTo>
                  <a:lnTo>
                    <a:pt x="3754" y="1516"/>
                  </a:lnTo>
                  <a:lnTo>
                    <a:pt x="3770" y="1532"/>
                  </a:lnTo>
                  <a:lnTo>
                    <a:pt x="3786" y="1548"/>
                  </a:lnTo>
                  <a:lnTo>
                    <a:pt x="3806" y="1562"/>
                  </a:lnTo>
                  <a:lnTo>
                    <a:pt x="3824" y="1574"/>
                  </a:lnTo>
                  <a:lnTo>
                    <a:pt x="3844" y="1584"/>
                  </a:lnTo>
                  <a:lnTo>
                    <a:pt x="3866" y="1592"/>
                  </a:lnTo>
                  <a:lnTo>
                    <a:pt x="3886" y="1600"/>
                  </a:lnTo>
                  <a:lnTo>
                    <a:pt x="3910" y="1604"/>
                  </a:lnTo>
                  <a:lnTo>
                    <a:pt x="3932" y="1608"/>
                  </a:lnTo>
                  <a:lnTo>
                    <a:pt x="3956" y="1608"/>
                  </a:lnTo>
                  <a:lnTo>
                    <a:pt x="3956" y="1608"/>
                  </a:lnTo>
                  <a:lnTo>
                    <a:pt x="3980" y="1608"/>
                  </a:lnTo>
                  <a:lnTo>
                    <a:pt x="4002" y="1604"/>
                  </a:lnTo>
                  <a:lnTo>
                    <a:pt x="4024" y="1600"/>
                  </a:lnTo>
                  <a:lnTo>
                    <a:pt x="4046" y="1592"/>
                  </a:lnTo>
                  <a:lnTo>
                    <a:pt x="4066" y="1584"/>
                  </a:lnTo>
                  <a:lnTo>
                    <a:pt x="4086" y="1574"/>
                  </a:lnTo>
                  <a:lnTo>
                    <a:pt x="4106" y="1562"/>
                  </a:lnTo>
                  <a:lnTo>
                    <a:pt x="4124" y="1548"/>
                  </a:lnTo>
                  <a:lnTo>
                    <a:pt x="4140" y="1532"/>
                  </a:lnTo>
                  <a:lnTo>
                    <a:pt x="4156" y="1516"/>
                  </a:lnTo>
                  <a:lnTo>
                    <a:pt x="4172" y="1498"/>
                  </a:lnTo>
                  <a:lnTo>
                    <a:pt x="4184" y="1478"/>
                  </a:lnTo>
                  <a:lnTo>
                    <a:pt x="4196" y="1458"/>
                  </a:lnTo>
                  <a:lnTo>
                    <a:pt x="4208" y="1436"/>
                  </a:lnTo>
                  <a:lnTo>
                    <a:pt x="4216" y="1412"/>
                  </a:lnTo>
                  <a:lnTo>
                    <a:pt x="4224" y="1388"/>
                  </a:lnTo>
                  <a:lnTo>
                    <a:pt x="4224" y="1388"/>
                  </a:lnTo>
                  <a:lnTo>
                    <a:pt x="4232" y="1348"/>
                  </a:lnTo>
                  <a:lnTo>
                    <a:pt x="4234" y="1328"/>
                  </a:lnTo>
                  <a:lnTo>
                    <a:pt x="4234" y="1310"/>
                  </a:lnTo>
                  <a:lnTo>
                    <a:pt x="4234" y="1310"/>
                  </a:lnTo>
                  <a:lnTo>
                    <a:pt x="4232" y="1280"/>
                  </a:lnTo>
                  <a:lnTo>
                    <a:pt x="4228" y="1250"/>
                  </a:lnTo>
                  <a:lnTo>
                    <a:pt x="4222" y="1222"/>
                  </a:lnTo>
                  <a:lnTo>
                    <a:pt x="4212" y="1194"/>
                  </a:lnTo>
                  <a:lnTo>
                    <a:pt x="4200" y="1168"/>
                  </a:lnTo>
                  <a:lnTo>
                    <a:pt x="4186" y="1144"/>
                  </a:lnTo>
                  <a:lnTo>
                    <a:pt x="4170" y="1120"/>
                  </a:lnTo>
                  <a:lnTo>
                    <a:pt x="4152" y="1100"/>
                  </a:lnTo>
                  <a:lnTo>
                    <a:pt x="4132" y="1080"/>
                  </a:lnTo>
                  <a:lnTo>
                    <a:pt x="4112" y="1062"/>
                  </a:lnTo>
                  <a:lnTo>
                    <a:pt x="4088" y="1048"/>
                  </a:lnTo>
                  <a:lnTo>
                    <a:pt x="4064" y="1036"/>
                  </a:lnTo>
                  <a:lnTo>
                    <a:pt x="4038" y="1026"/>
                  </a:lnTo>
                  <a:lnTo>
                    <a:pt x="4012" y="1018"/>
                  </a:lnTo>
                  <a:lnTo>
                    <a:pt x="3984" y="1014"/>
                  </a:lnTo>
                  <a:lnTo>
                    <a:pt x="3956" y="1012"/>
                  </a:lnTo>
                  <a:lnTo>
                    <a:pt x="3956" y="1012"/>
                  </a:lnTo>
                  <a:close/>
                  <a:moveTo>
                    <a:pt x="1078" y="1012"/>
                  </a:moveTo>
                  <a:lnTo>
                    <a:pt x="1078" y="1012"/>
                  </a:lnTo>
                  <a:lnTo>
                    <a:pt x="1044" y="1014"/>
                  </a:lnTo>
                  <a:lnTo>
                    <a:pt x="1014" y="1018"/>
                  </a:lnTo>
                  <a:lnTo>
                    <a:pt x="982" y="1026"/>
                  </a:lnTo>
                  <a:lnTo>
                    <a:pt x="954" y="1036"/>
                  </a:lnTo>
                  <a:lnTo>
                    <a:pt x="926" y="1048"/>
                  </a:lnTo>
                  <a:lnTo>
                    <a:pt x="900" y="1062"/>
                  </a:lnTo>
                  <a:lnTo>
                    <a:pt x="876" y="1080"/>
                  </a:lnTo>
                  <a:lnTo>
                    <a:pt x="852" y="1100"/>
                  </a:lnTo>
                  <a:lnTo>
                    <a:pt x="832" y="1120"/>
                  </a:lnTo>
                  <a:lnTo>
                    <a:pt x="814" y="1144"/>
                  </a:lnTo>
                  <a:lnTo>
                    <a:pt x="798" y="1168"/>
                  </a:lnTo>
                  <a:lnTo>
                    <a:pt x="784" y="1194"/>
                  </a:lnTo>
                  <a:lnTo>
                    <a:pt x="774" y="1222"/>
                  </a:lnTo>
                  <a:lnTo>
                    <a:pt x="766" y="1250"/>
                  </a:lnTo>
                  <a:lnTo>
                    <a:pt x="762" y="1280"/>
                  </a:lnTo>
                  <a:lnTo>
                    <a:pt x="760" y="1310"/>
                  </a:lnTo>
                  <a:lnTo>
                    <a:pt x="760" y="1310"/>
                  </a:lnTo>
                  <a:lnTo>
                    <a:pt x="762" y="1340"/>
                  </a:lnTo>
                  <a:lnTo>
                    <a:pt x="762" y="1340"/>
                  </a:lnTo>
                  <a:lnTo>
                    <a:pt x="766" y="1368"/>
                  </a:lnTo>
                  <a:lnTo>
                    <a:pt x="774" y="1396"/>
                  </a:lnTo>
                  <a:lnTo>
                    <a:pt x="782" y="1422"/>
                  </a:lnTo>
                  <a:lnTo>
                    <a:pt x="794" y="1446"/>
                  </a:lnTo>
                  <a:lnTo>
                    <a:pt x="808" y="1470"/>
                  </a:lnTo>
                  <a:lnTo>
                    <a:pt x="826" y="1492"/>
                  </a:lnTo>
                  <a:lnTo>
                    <a:pt x="844" y="1512"/>
                  </a:lnTo>
                  <a:lnTo>
                    <a:pt x="864" y="1532"/>
                  </a:lnTo>
                  <a:lnTo>
                    <a:pt x="886" y="1548"/>
                  </a:lnTo>
                  <a:lnTo>
                    <a:pt x="910" y="1564"/>
                  </a:lnTo>
                  <a:lnTo>
                    <a:pt x="934" y="1576"/>
                  </a:lnTo>
                  <a:lnTo>
                    <a:pt x="960" y="1588"/>
                  </a:lnTo>
                  <a:lnTo>
                    <a:pt x="988" y="1596"/>
                  </a:lnTo>
                  <a:lnTo>
                    <a:pt x="1018" y="1604"/>
                  </a:lnTo>
                  <a:lnTo>
                    <a:pt x="1046" y="1608"/>
                  </a:lnTo>
                  <a:lnTo>
                    <a:pt x="1078" y="1608"/>
                  </a:lnTo>
                  <a:lnTo>
                    <a:pt x="1078" y="1608"/>
                  </a:lnTo>
                  <a:lnTo>
                    <a:pt x="1104" y="1608"/>
                  </a:lnTo>
                  <a:lnTo>
                    <a:pt x="1130" y="1604"/>
                  </a:lnTo>
                  <a:lnTo>
                    <a:pt x="1154" y="1600"/>
                  </a:lnTo>
                  <a:lnTo>
                    <a:pt x="1178" y="1592"/>
                  </a:lnTo>
                  <a:lnTo>
                    <a:pt x="1202" y="1584"/>
                  </a:lnTo>
                  <a:lnTo>
                    <a:pt x="1226" y="1574"/>
                  </a:lnTo>
                  <a:lnTo>
                    <a:pt x="1246" y="1560"/>
                  </a:lnTo>
                  <a:lnTo>
                    <a:pt x="1268" y="1548"/>
                  </a:lnTo>
                  <a:lnTo>
                    <a:pt x="1286" y="1532"/>
                  </a:lnTo>
                  <a:lnTo>
                    <a:pt x="1304" y="1514"/>
                  </a:lnTo>
                  <a:lnTo>
                    <a:pt x="1322" y="1496"/>
                  </a:lnTo>
                  <a:lnTo>
                    <a:pt x="1336" y="1478"/>
                  </a:lnTo>
                  <a:lnTo>
                    <a:pt x="1350" y="1456"/>
                  </a:lnTo>
                  <a:lnTo>
                    <a:pt x="1362" y="1434"/>
                  </a:lnTo>
                  <a:lnTo>
                    <a:pt x="1372" y="1412"/>
                  </a:lnTo>
                  <a:lnTo>
                    <a:pt x="1380" y="1388"/>
                  </a:lnTo>
                  <a:lnTo>
                    <a:pt x="1380" y="1388"/>
                  </a:lnTo>
                  <a:lnTo>
                    <a:pt x="1386" y="1368"/>
                  </a:lnTo>
                  <a:lnTo>
                    <a:pt x="1390" y="1348"/>
                  </a:lnTo>
                  <a:lnTo>
                    <a:pt x="1392" y="1330"/>
                  </a:lnTo>
                  <a:lnTo>
                    <a:pt x="1392" y="1310"/>
                  </a:lnTo>
                  <a:lnTo>
                    <a:pt x="1392" y="1310"/>
                  </a:lnTo>
                  <a:lnTo>
                    <a:pt x="1390" y="1280"/>
                  </a:lnTo>
                  <a:lnTo>
                    <a:pt x="1386" y="1250"/>
                  </a:lnTo>
                  <a:lnTo>
                    <a:pt x="1378" y="1222"/>
                  </a:lnTo>
                  <a:lnTo>
                    <a:pt x="1368" y="1194"/>
                  </a:lnTo>
                  <a:lnTo>
                    <a:pt x="1354" y="1168"/>
                  </a:lnTo>
                  <a:lnTo>
                    <a:pt x="1338" y="1144"/>
                  </a:lnTo>
                  <a:lnTo>
                    <a:pt x="1320" y="1120"/>
                  </a:lnTo>
                  <a:lnTo>
                    <a:pt x="1300" y="1100"/>
                  </a:lnTo>
                  <a:lnTo>
                    <a:pt x="1278" y="1080"/>
                  </a:lnTo>
                  <a:lnTo>
                    <a:pt x="1254" y="1062"/>
                  </a:lnTo>
                  <a:lnTo>
                    <a:pt x="1228" y="1048"/>
                  </a:lnTo>
                  <a:lnTo>
                    <a:pt x="1200" y="1036"/>
                  </a:lnTo>
                  <a:lnTo>
                    <a:pt x="1170" y="1026"/>
                  </a:lnTo>
                  <a:lnTo>
                    <a:pt x="1140" y="1018"/>
                  </a:lnTo>
                  <a:lnTo>
                    <a:pt x="1110" y="1014"/>
                  </a:lnTo>
                  <a:lnTo>
                    <a:pt x="1078" y="1012"/>
                  </a:lnTo>
                  <a:lnTo>
                    <a:pt x="1078" y="1012"/>
                  </a:lnTo>
                  <a:close/>
                  <a:moveTo>
                    <a:pt x="4450" y="1372"/>
                  </a:moveTo>
                  <a:lnTo>
                    <a:pt x="4664" y="1372"/>
                  </a:lnTo>
                  <a:lnTo>
                    <a:pt x="4664" y="1372"/>
                  </a:lnTo>
                  <a:lnTo>
                    <a:pt x="4678" y="1358"/>
                  </a:lnTo>
                  <a:lnTo>
                    <a:pt x="4694" y="1346"/>
                  </a:lnTo>
                  <a:lnTo>
                    <a:pt x="4710" y="1336"/>
                  </a:lnTo>
                  <a:lnTo>
                    <a:pt x="4726" y="1328"/>
                  </a:lnTo>
                  <a:lnTo>
                    <a:pt x="4740" y="1320"/>
                  </a:lnTo>
                  <a:lnTo>
                    <a:pt x="4756" y="1316"/>
                  </a:lnTo>
                  <a:lnTo>
                    <a:pt x="4780" y="1310"/>
                  </a:lnTo>
                  <a:lnTo>
                    <a:pt x="4780" y="1310"/>
                  </a:lnTo>
                  <a:lnTo>
                    <a:pt x="4788" y="1300"/>
                  </a:lnTo>
                  <a:lnTo>
                    <a:pt x="4794" y="1286"/>
                  </a:lnTo>
                  <a:lnTo>
                    <a:pt x="4800" y="1270"/>
                  </a:lnTo>
                  <a:lnTo>
                    <a:pt x="4806" y="1254"/>
                  </a:lnTo>
                  <a:lnTo>
                    <a:pt x="4816" y="1214"/>
                  </a:lnTo>
                  <a:lnTo>
                    <a:pt x="4822" y="1172"/>
                  </a:lnTo>
                  <a:lnTo>
                    <a:pt x="4826" y="1130"/>
                  </a:lnTo>
                  <a:lnTo>
                    <a:pt x="4830" y="1086"/>
                  </a:lnTo>
                  <a:lnTo>
                    <a:pt x="4830" y="1048"/>
                  </a:lnTo>
                  <a:lnTo>
                    <a:pt x="4828" y="1014"/>
                  </a:lnTo>
                  <a:lnTo>
                    <a:pt x="4828" y="1014"/>
                  </a:lnTo>
                  <a:lnTo>
                    <a:pt x="4826" y="1006"/>
                  </a:lnTo>
                  <a:lnTo>
                    <a:pt x="4818" y="992"/>
                  </a:lnTo>
                  <a:lnTo>
                    <a:pt x="4798" y="960"/>
                  </a:lnTo>
                  <a:lnTo>
                    <a:pt x="4768" y="922"/>
                  </a:lnTo>
                  <a:lnTo>
                    <a:pt x="4734" y="882"/>
                  </a:lnTo>
                  <a:lnTo>
                    <a:pt x="4734" y="882"/>
                  </a:lnTo>
                  <a:lnTo>
                    <a:pt x="4706" y="864"/>
                  </a:lnTo>
                  <a:lnTo>
                    <a:pt x="4674" y="848"/>
                  </a:lnTo>
                  <a:lnTo>
                    <a:pt x="4638" y="832"/>
                  </a:lnTo>
                  <a:lnTo>
                    <a:pt x="4602" y="816"/>
                  </a:lnTo>
                  <a:lnTo>
                    <a:pt x="4560" y="802"/>
                  </a:lnTo>
                  <a:lnTo>
                    <a:pt x="4518" y="788"/>
                  </a:lnTo>
                  <a:lnTo>
                    <a:pt x="4428" y="760"/>
                  </a:lnTo>
                  <a:lnTo>
                    <a:pt x="4332" y="734"/>
                  </a:lnTo>
                  <a:lnTo>
                    <a:pt x="4232" y="710"/>
                  </a:lnTo>
                  <a:lnTo>
                    <a:pt x="4130" y="688"/>
                  </a:lnTo>
                  <a:lnTo>
                    <a:pt x="4030" y="670"/>
                  </a:lnTo>
                  <a:lnTo>
                    <a:pt x="3932" y="652"/>
                  </a:lnTo>
                  <a:lnTo>
                    <a:pt x="3842" y="636"/>
                  </a:lnTo>
                  <a:lnTo>
                    <a:pt x="3684" y="612"/>
                  </a:lnTo>
                  <a:lnTo>
                    <a:pt x="3574" y="596"/>
                  </a:lnTo>
                  <a:lnTo>
                    <a:pt x="3532" y="592"/>
                  </a:lnTo>
                  <a:lnTo>
                    <a:pt x="3514" y="590"/>
                  </a:lnTo>
                  <a:lnTo>
                    <a:pt x="3500" y="578"/>
                  </a:lnTo>
                  <a:lnTo>
                    <a:pt x="3500" y="578"/>
                  </a:lnTo>
                  <a:lnTo>
                    <a:pt x="3484" y="564"/>
                  </a:lnTo>
                  <a:lnTo>
                    <a:pt x="3438" y="528"/>
                  </a:lnTo>
                  <a:lnTo>
                    <a:pt x="3368" y="476"/>
                  </a:lnTo>
                  <a:lnTo>
                    <a:pt x="3324" y="444"/>
                  </a:lnTo>
                  <a:lnTo>
                    <a:pt x="3276" y="412"/>
                  </a:lnTo>
                  <a:lnTo>
                    <a:pt x="3222" y="378"/>
                  </a:lnTo>
                  <a:lnTo>
                    <a:pt x="3166" y="344"/>
                  </a:lnTo>
                  <a:lnTo>
                    <a:pt x="3106" y="310"/>
                  </a:lnTo>
                  <a:lnTo>
                    <a:pt x="3042" y="278"/>
                  </a:lnTo>
                  <a:lnTo>
                    <a:pt x="2978" y="246"/>
                  </a:lnTo>
                  <a:lnTo>
                    <a:pt x="2910" y="218"/>
                  </a:lnTo>
                  <a:lnTo>
                    <a:pt x="2840" y="192"/>
                  </a:lnTo>
                  <a:lnTo>
                    <a:pt x="2770" y="172"/>
                  </a:lnTo>
                  <a:lnTo>
                    <a:pt x="2770" y="172"/>
                  </a:lnTo>
                  <a:lnTo>
                    <a:pt x="2716" y="158"/>
                  </a:lnTo>
                  <a:lnTo>
                    <a:pt x="2656" y="146"/>
                  </a:lnTo>
                  <a:lnTo>
                    <a:pt x="2590" y="136"/>
                  </a:lnTo>
                  <a:lnTo>
                    <a:pt x="2516" y="128"/>
                  </a:lnTo>
                  <a:lnTo>
                    <a:pt x="2436" y="122"/>
                  </a:lnTo>
                  <a:lnTo>
                    <a:pt x="2350" y="118"/>
                  </a:lnTo>
                  <a:lnTo>
                    <a:pt x="2258" y="116"/>
                  </a:lnTo>
                  <a:lnTo>
                    <a:pt x="2160" y="114"/>
                  </a:lnTo>
                  <a:lnTo>
                    <a:pt x="2160" y="114"/>
                  </a:lnTo>
                  <a:lnTo>
                    <a:pt x="2032" y="116"/>
                  </a:lnTo>
                  <a:lnTo>
                    <a:pt x="1902" y="120"/>
                  </a:lnTo>
                  <a:lnTo>
                    <a:pt x="1778" y="126"/>
                  </a:lnTo>
                  <a:lnTo>
                    <a:pt x="1662" y="134"/>
                  </a:lnTo>
                  <a:lnTo>
                    <a:pt x="1558" y="144"/>
                  </a:lnTo>
                  <a:lnTo>
                    <a:pt x="1468" y="152"/>
                  </a:lnTo>
                  <a:lnTo>
                    <a:pt x="1396" y="162"/>
                  </a:lnTo>
                  <a:lnTo>
                    <a:pt x="1344" y="172"/>
                  </a:lnTo>
                  <a:lnTo>
                    <a:pt x="1344" y="172"/>
                  </a:lnTo>
                  <a:lnTo>
                    <a:pt x="1310" y="180"/>
                  </a:lnTo>
                  <a:lnTo>
                    <a:pt x="1266" y="194"/>
                  </a:lnTo>
                  <a:lnTo>
                    <a:pt x="1216" y="212"/>
                  </a:lnTo>
                  <a:lnTo>
                    <a:pt x="1162" y="234"/>
                  </a:lnTo>
                  <a:lnTo>
                    <a:pt x="1042" y="282"/>
                  </a:lnTo>
                  <a:lnTo>
                    <a:pt x="920" y="336"/>
                  </a:lnTo>
                  <a:lnTo>
                    <a:pt x="706" y="432"/>
                  </a:lnTo>
                  <a:lnTo>
                    <a:pt x="612" y="476"/>
                  </a:lnTo>
                  <a:lnTo>
                    <a:pt x="596" y="484"/>
                  </a:lnTo>
                  <a:lnTo>
                    <a:pt x="578" y="480"/>
                  </a:lnTo>
                  <a:lnTo>
                    <a:pt x="578" y="480"/>
                  </a:lnTo>
                  <a:lnTo>
                    <a:pt x="560" y="478"/>
                  </a:lnTo>
                  <a:lnTo>
                    <a:pt x="514" y="472"/>
                  </a:lnTo>
                  <a:lnTo>
                    <a:pt x="448" y="466"/>
                  </a:lnTo>
                  <a:lnTo>
                    <a:pt x="410" y="464"/>
                  </a:lnTo>
                  <a:lnTo>
                    <a:pt x="372" y="464"/>
                  </a:lnTo>
                  <a:lnTo>
                    <a:pt x="372" y="464"/>
                  </a:lnTo>
                  <a:lnTo>
                    <a:pt x="332" y="464"/>
                  </a:lnTo>
                  <a:lnTo>
                    <a:pt x="296" y="468"/>
                  </a:lnTo>
                  <a:lnTo>
                    <a:pt x="266" y="472"/>
                  </a:lnTo>
                  <a:lnTo>
                    <a:pt x="240" y="476"/>
                  </a:lnTo>
                  <a:lnTo>
                    <a:pt x="220" y="482"/>
                  </a:lnTo>
                  <a:lnTo>
                    <a:pt x="206" y="490"/>
                  </a:lnTo>
                  <a:lnTo>
                    <a:pt x="194" y="496"/>
                  </a:lnTo>
                  <a:lnTo>
                    <a:pt x="186" y="502"/>
                  </a:lnTo>
                  <a:lnTo>
                    <a:pt x="186" y="502"/>
                  </a:lnTo>
                  <a:lnTo>
                    <a:pt x="186" y="506"/>
                  </a:lnTo>
                  <a:lnTo>
                    <a:pt x="184" y="510"/>
                  </a:lnTo>
                  <a:lnTo>
                    <a:pt x="184" y="518"/>
                  </a:lnTo>
                  <a:lnTo>
                    <a:pt x="186" y="528"/>
                  </a:lnTo>
                  <a:lnTo>
                    <a:pt x="186" y="528"/>
                  </a:lnTo>
                  <a:lnTo>
                    <a:pt x="200" y="576"/>
                  </a:lnTo>
                  <a:lnTo>
                    <a:pt x="206" y="616"/>
                  </a:lnTo>
                  <a:lnTo>
                    <a:pt x="210" y="650"/>
                  </a:lnTo>
                  <a:lnTo>
                    <a:pt x="208" y="680"/>
                  </a:lnTo>
                  <a:lnTo>
                    <a:pt x="204" y="708"/>
                  </a:lnTo>
                  <a:lnTo>
                    <a:pt x="196" y="732"/>
                  </a:lnTo>
                  <a:lnTo>
                    <a:pt x="186" y="754"/>
                  </a:lnTo>
                  <a:lnTo>
                    <a:pt x="174" y="778"/>
                  </a:lnTo>
                  <a:lnTo>
                    <a:pt x="174" y="778"/>
                  </a:lnTo>
                  <a:lnTo>
                    <a:pt x="160" y="806"/>
                  </a:lnTo>
                  <a:lnTo>
                    <a:pt x="146" y="840"/>
                  </a:lnTo>
                  <a:lnTo>
                    <a:pt x="140" y="858"/>
                  </a:lnTo>
                  <a:lnTo>
                    <a:pt x="132" y="882"/>
                  </a:lnTo>
                  <a:lnTo>
                    <a:pt x="126" y="908"/>
                  </a:lnTo>
                  <a:lnTo>
                    <a:pt x="122" y="936"/>
                  </a:lnTo>
                  <a:lnTo>
                    <a:pt x="122" y="936"/>
                  </a:lnTo>
                  <a:lnTo>
                    <a:pt x="118" y="966"/>
                  </a:lnTo>
                  <a:lnTo>
                    <a:pt x="116" y="992"/>
                  </a:lnTo>
                  <a:lnTo>
                    <a:pt x="116" y="1018"/>
                  </a:lnTo>
                  <a:lnTo>
                    <a:pt x="116" y="1042"/>
                  </a:lnTo>
                  <a:lnTo>
                    <a:pt x="118" y="1064"/>
                  </a:lnTo>
                  <a:lnTo>
                    <a:pt x="122" y="1086"/>
                  </a:lnTo>
                  <a:lnTo>
                    <a:pt x="130" y="1124"/>
                  </a:lnTo>
                  <a:lnTo>
                    <a:pt x="142" y="1158"/>
                  </a:lnTo>
                  <a:lnTo>
                    <a:pt x="154" y="1184"/>
                  </a:lnTo>
                  <a:lnTo>
                    <a:pt x="166" y="1206"/>
                  </a:lnTo>
                  <a:lnTo>
                    <a:pt x="176" y="1222"/>
                  </a:lnTo>
                  <a:lnTo>
                    <a:pt x="288" y="1242"/>
                  </a:lnTo>
                  <a:lnTo>
                    <a:pt x="300" y="1284"/>
                  </a:lnTo>
                  <a:lnTo>
                    <a:pt x="300" y="1284"/>
                  </a:lnTo>
                  <a:lnTo>
                    <a:pt x="430" y="1286"/>
                  </a:lnTo>
                  <a:lnTo>
                    <a:pt x="560" y="1294"/>
                  </a:lnTo>
                  <a:lnTo>
                    <a:pt x="560" y="1294"/>
                  </a:lnTo>
                  <a:lnTo>
                    <a:pt x="566" y="1246"/>
                  </a:lnTo>
                  <a:lnTo>
                    <a:pt x="576" y="1200"/>
                  </a:lnTo>
                  <a:lnTo>
                    <a:pt x="590" y="1154"/>
                  </a:lnTo>
                  <a:lnTo>
                    <a:pt x="608" y="1112"/>
                  </a:lnTo>
                  <a:lnTo>
                    <a:pt x="630" y="1070"/>
                  </a:lnTo>
                  <a:lnTo>
                    <a:pt x="654" y="1032"/>
                  </a:lnTo>
                  <a:lnTo>
                    <a:pt x="682" y="996"/>
                  </a:lnTo>
                  <a:lnTo>
                    <a:pt x="714" y="964"/>
                  </a:lnTo>
                  <a:lnTo>
                    <a:pt x="748" y="934"/>
                  </a:lnTo>
                  <a:lnTo>
                    <a:pt x="784" y="906"/>
                  </a:lnTo>
                  <a:lnTo>
                    <a:pt x="824" y="884"/>
                  </a:lnTo>
                  <a:lnTo>
                    <a:pt x="864" y="864"/>
                  </a:lnTo>
                  <a:lnTo>
                    <a:pt x="908" y="848"/>
                  </a:lnTo>
                  <a:lnTo>
                    <a:pt x="952" y="836"/>
                  </a:lnTo>
                  <a:lnTo>
                    <a:pt x="998" y="830"/>
                  </a:lnTo>
                  <a:lnTo>
                    <a:pt x="1022" y="828"/>
                  </a:lnTo>
                  <a:lnTo>
                    <a:pt x="1046" y="828"/>
                  </a:lnTo>
                  <a:lnTo>
                    <a:pt x="1046" y="828"/>
                  </a:lnTo>
                  <a:lnTo>
                    <a:pt x="1072" y="828"/>
                  </a:lnTo>
                  <a:lnTo>
                    <a:pt x="1096" y="830"/>
                  </a:lnTo>
                  <a:lnTo>
                    <a:pt x="1120" y="834"/>
                  </a:lnTo>
                  <a:lnTo>
                    <a:pt x="1144" y="838"/>
                  </a:lnTo>
                  <a:lnTo>
                    <a:pt x="1168" y="844"/>
                  </a:lnTo>
                  <a:lnTo>
                    <a:pt x="1190" y="850"/>
                  </a:lnTo>
                  <a:lnTo>
                    <a:pt x="1214" y="858"/>
                  </a:lnTo>
                  <a:lnTo>
                    <a:pt x="1236" y="868"/>
                  </a:lnTo>
                  <a:lnTo>
                    <a:pt x="1278" y="888"/>
                  </a:lnTo>
                  <a:lnTo>
                    <a:pt x="1318" y="914"/>
                  </a:lnTo>
                  <a:lnTo>
                    <a:pt x="1354" y="944"/>
                  </a:lnTo>
                  <a:lnTo>
                    <a:pt x="1390" y="976"/>
                  </a:lnTo>
                  <a:lnTo>
                    <a:pt x="1420" y="1012"/>
                  </a:lnTo>
                  <a:lnTo>
                    <a:pt x="1448" y="1050"/>
                  </a:lnTo>
                  <a:lnTo>
                    <a:pt x="1474" y="1092"/>
                  </a:lnTo>
                  <a:lnTo>
                    <a:pt x="1494" y="1136"/>
                  </a:lnTo>
                  <a:lnTo>
                    <a:pt x="1510" y="1182"/>
                  </a:lnTo>
                  <a:lnTo>
                    <a:pt x="1516" y="1206"/>
                  </a:lnTo>
                  <a:lnTo>
                    <a:pt x="1522" y="1232"/>
                  </a:lnTo>
                  <a:lnTo>
                    <a:pt x="1526" y="1256"/>
                  </a:lnTo>
                  <a:lnTo>
                    <a:pt x="1530" y="1282"/>
                  </a:lnTo>
                  <a:lnTo>
                    <a:pt x="1532" y="1308"/>
                  </a:lnTo>
                  <a:lnTo>
                    <a:pt x="1532" y="1334"/>
                  </a:lnTo>
                  <a:lnTo>
                    <a:pt x="1532" y="1334"/>
                  </a:lnTo>
                  <a:lnTo>
                    <a:pt x="1530" y="1372"/>
                  </a:lnTo>
                  <a:lnTo>
                    <a:pt x="3480" y="1372"/>
                  </a:lnTo>
                  <a:lnTo>
                    <a:pt x="3480" y="1372"/>
                  </a:lnTo>
                  <a:lnTo>
                    <a:pt x="3478" y="1334"/>
                  </a:lnTo>
                  <a:lnTo>
                    <a:pt x="3478" y="1334"/>
                  </a:lnTo>
                  <a:lnTo>
                    <a:pt x="3480" y="1308"/>
                  </a:lnTo>
                  <a:lnTo>
                    <a:pt x="3482" y="1282"/>
                  </a:lnTo>
                  <a:lnTo>
                    <a:pt x="3484" y="1256"/>
                  </a:lnTo>
                  <a:lnTo>
                    <a:pt x="3488" y="1232"/>
                  </a:lnTo>
                  <a:lnTo>
                    <a:pt x="3494" y="1206"/>
                  </a:lnTo>
                  <a:lnTo>
                    <a:pt x="3500" y="1182"/>
                  </a:lnTo>
                  <a:lnTo>
                    <a:pt x="3516" y="1136"/>
                  </a:lnTo>
                  <a:lnTo>
                    <a:pt x="3538" y="1092"/>
                  </a:lnTo>
                  <a:lnTo>
                    <a:pt x="3562" y="1050"/>
                  </a:lnTo>
                  <a:lnTo>
                    <a:pt x="3590" y="1012"/>
                  </a:lnTo>
                  <a:lnTo>
                    <a:pt x="3622" y="976"/>
                  </a:lnTo>
                  <a:lnTo>
                    <a:pt x="3656" y="944"/>
                  </a:lnTo>
                  <a:lnTo>
                    <a:pt x="3694" y="914"/>
                  </a:lnTo>
                  <a:lnTo>
                    <a:pt x="3734" y="888"/>
                  </a:lnTo>
                  <a:lnTo>
                    <a:pt x="3776" y="868"/>
                  </a:lnTo>
                  <a:lnTo>
                    <a:pt x="3798" y="858"/>
                  </a:lnTo>
                  <a:lnTo>
                    <a:pt x="3822" y="850"/>
                  </a:lnTo>
                  <a:lnTo>
                    <a:pt x="3844" y="844"/>
                  </a:lnTo>
                  <a:lnTo>
                    <a:pt x="3868" y="838"/>
                  </a:lnTo>
                  <a:lnTo>
                    <a:pt x="3892" y="834"/>
                  </a:lnTo>
                  <a:lnTo>
                    <a:pt x="3916" y="830"/>
                  </a:lnTo>
                  <a:lnTo>
                    <a:pt x="3942" y="828"/>
                  </a:lnTo>
                  <a:lnTo>
                    <a:pt x="3966" y="828"/>
                  </a:lnTo>
                  <a:lnTo>
                    <a:pt x="3966" y="828"/>
                  </a:lnTo>
                  <a:lnTo>
                    <a:pt x="3992" y="828"/>
                  </a:lnTo>
                  <a:lnTo>
                    <a:pt x="4016" y="830"/>
                  </a:lnTo>
                  <a:lnTo>
                    <a:pt x="4040" y="834"/>
                  </a:lnTo>
                  <a:lnTo>
                    <a:pt x="4064" y="838"/>
                  </a:lnTo>
                  <a:lnTo>
                    <a:pt x="4088" y="844"/>
                  </a:lnTo>
                  <a:lnTo>
                    <a:pt x="4110" y="850"/>
                  </a:lnTo>
                  <a:lnTo>
                    <a:pt x="4132" y="858"/>
                  </a:lnTo>
                  <a:lnTo>
                    <a:pt x="4154" y="868"/>
                  </a:lnTo>
                  <a:lnTo>
                    <a:pt x="4198" y="888"/>
                  </a:lnTo>
                  <a:lnTo>
                    <a:pt x="4238" y="914"/>
                  </a:lnTo>
                  <a:lnTo>
                    <a:pt x="4274" y="944"/>
                  </a:lnTo>
                  <a:lnTo>
                    <a:pt x="4310" y="976"/>
                  </a:lnTo>
                  <a:lnTo>
                    <a:pt x="4340" y="1012"/>
                  </a:lnTo>
                  <a:lnTo>
                    <a:pt x="4368" y="1050"/>
                  </a:lnTo>
                  <a:lnTo>
                    <a:pt x="4394" y="1092"/>
                  </a:lnTo>
                  <a:lnTo>
                    <a:pt x="4414" y="1136"/>
                  </a:lnTo>
                  <a:lnTo>
                    <a:pt x="4430" y="1182"/>
                  </a:lnTo>
                  <a:lnTo>
                    <a:pt x="4436" y="1206"/>
                  </a:lnTo>
                  <a:lnTo>
                    <a:pt x="4442" y="1232"/>
                  </a:lnTo>
                  <a:lnTo>
                    <a:pt x="4446" y="1256"/>
                  </a:lnTo>
                  <a:lnTo>
                    <a:pt x="4450" y="1282"/>
                  </a:lnTo>
                  <a:lnTo>
                    <a:pt x="4452" y="1308"/>
                  </a:lnTo>
                  <a:lnTo>
                    <a:pt x="4452" y="1334"/>
                  </a:lnTo>
                  <a:lnTo>
                    <a:pt x="4452" y="1334"/>
                  </a:lnTo>
                  <a:lnTo>
                    <a:pt x="4450" y="1372"/>
                  </a:lnTo>
                  <a:lnTo>
                    <a:pt x="4450" y="137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03" name="Rectangle 102"/>
          <p:cNvSpPr/>
          <p:nvPr/>
        </p:nvSpPr>
        <p:spPr>
          <a:xfrm>
            <a:off x="1847069" y="3690618"/>
            <a:ext cx="515131" cy="29461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063">
              <a:lnSpc>
                <a:spcPct val="80000"/>
              </a:lnSpc>
            </a:pPr>
            <a:r>
              <a:rPr lang="en-US" sz="1000" dirty="0" smtClean="0">
                <a:solidFill>
                  <a:schemeClr val="bg1"/>
                </a:solidFill>
                <a:latin typeface="+mj-lt"/>
              </a:rPr>
              <a:t>S/PGW</a:t>
            </a:r>
            <a:endParaRPr lang="en-US" sz="1000" dirty="0">
              <a:solidFill>
                <a:schemeClr val="bg1"/>
              </a:solidFill>
              <a:latin typeface="+mj-lt"/>
            </a:endParaRPr>
          </a:p>
        </p:txBody>
      </p:sp>
      <p:sp>
        <p:nvSpPr>
          <p:cNvPr id="104" name="Rectangle 103"/>
          <p:cNvSpPr/>
          <p:nvPr/>
        </p:nvSpPr>
        <p:spPr>
          <a:xfrm>
            <a:off x="1817761" y="2953782"/>
            <a:ext cx="536819" cy="29461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r>
              <a:rPr lang="en-US" sz="1000" dirty="0">
                <a:solidFill>
                  <a:schemeClr val="bg1"/>
                </a:solidFill>
                <a:latin typeface="+mj-lt"/>
              </a:rPr>
              <a:t>PCRF</a:t>
            </a:r>
          </a:p>
        </p:txBody>
      </p:sp>
      <p:grpSp>
        <p:nvGrpSpPr>
          <p:cNvPr id="21" name="Group 15"/>
          <p:cNvGrpSpPr/>
          <p:nvPr/>
        </p:nvGrpSpPr>
        <p:grpSpPr>
          <a:xfrm>
            <a:off x="2910766" y="2952911"/>
            <a:ext cx="3429001" cy="969264"/>
            <a:chOff x="2831364" y="-1871633"/>
            <a:chExt cx="3673093" cy="1020108"/>
          </a:xfrm>
        </p:grpSpPr>
        <p:sp>
          <p:nvSpPr>
            <p:cNvPr id="68" name="Rounded Rectangle 67"/>
            <p:cNvSpPr/>
            <p:nvPr/>
          </p:nvSpPr>
          <p:spPr>
            <a:xfrm>
              <a:off x="2831364" y="-1871633"/>
              <a:ext cx="3673093" cy="1020108"/>
            </a:xfrm>
            <a:prstGeom prst="roundRect">
              <a:avLst/>
            </a:prstGeom>
            <a:solidFill>
              <a:srgbClr val="36A4D7">
                <a:alpha val="9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4" name="Rectangle 73"/>
            <p:cNvSpPr/>
            <p:nvPr/>
          </p:nvSpPr>
          <p:spPr>
            <a:xfrm>
              <a:off x="2841968" y="-1820264"/>
              <a:ext cx="958538" cy="2485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457063"/>
              <a:r>
                <a:rPr lang="en-US" sz="1600" dirty="0" err="1">
                  <a:solidFill>
                    <a:srgbClr val="FFFFFF"/>
                  </a:solidFill>
                  <a:latin typeface="+mj-lt"/>
                </a:rPr>
                <a:t>e</a:t>
              </a:r>
              <a:r>
                <a:rPr lang="en-US" sz="1600" dirty="0" err="1" smtClean="0">
                  <a:solidFill>
                    <a:srgbClr val="FFFFFF"/>
                  </a:solidFill>
                  <a:latin typeface="+mj-lt"/>
                </a:rPr>
                <a:t>SCEF</a:t>
              </a:r>
              <a:endParaRPr lang="en-US" sz="1600" dirty="0">
                <a:solidFill>
                  <a:srgbClr val="FFFFFF"/>
                </a:solidFill>
                <a:latin typeface="+mj-lt"/>
              </a:endParaRPr>
            </a:p>
          </p:txBody>
        </p:sp>
      </p:grpSp>
      <p:sp>
        <p:nvSpPr>
          <p:cNvPr id="80" name="TextBox 79"/>
          <p:cNvSpPr txBox="1"/>
          <p:nvPr/>
        </p:nvSpPr>
        <p:spPr>
          <a:xfrm>
            <a:off x="2874714" y="3979585"/>
            <a:ext cx="3662683" cy="681038"/>
          </a:xfrm>
          <a:prstGeom prst="roundRect">
            <a:avLst/>
          </a:prstGeom>
          <a:solidFill>
            <a:schemeClr val="bg2">
              <a:lumMod val="20000"/>
              <a:lumOff val="80000"/>
            </a:schemeClr>
          </a:solidFill>
        </p:spPr>
        <p:txBody>
          <a:bodyPr wrap="square" lIns="91412" tIns="0" rIns="91412" bIns="0" numCol="2" spcCol="0" rtlCol="0">
            <a:spAutoFit/>
          </a:bodyPr>
          <a:lstStyle/>
          <a:p>
            <a:pPr marL="171399" indent="-171399" defTabSz="457063">
              <a:buFont typeface="Wingdings" pitchFamily="2" charset="2"/>
              <a:buChar char="§"/>
            </a:pPr>
            <a:r>
              <a:rPr lang="en-US" sz="800" dirty="0">
                <a:latin typeface="+mj-lt"/>
              </a:rPr>
              <a:t>Protocol Mediation</a:t>
            </a:r>
          </a:p>
          <a:p>
            <a:pPr marL="171399" indent="-171399" defTabSz="457063">
              <a:buFont typeface="Wingdings" pitchFamily="2" charset="2"/>
              <a:buChar char="§"/>
            </a:pPr>
            <a:r>
              <a:rPr lang="en-US" sz="800" dirty="0">
                <a:latin typeface="+mj-lt"/>
              </a:rPr>
              <a:t>Data Buffering</a:t>
            </a:r>
          </a:p>
          <a:p>
            <a:pPr marL="171399" indent="-171399" defTabSz="457063">
              <a:buFont typeface="Wingdings" pitchFamily="2" charset="2"/>
              <a:buChar char="§"/>
            </a:pPr>
            <a:r>
              <a:rPr lang="en-US" sz="800" dirty="0" smtClean="0">
                <a:latin typeface="+mj-lt"/>
              </a:rPr>
              <a:t>Device </a:t>
            </a:r>
            <a:r>
              <a:rPr lang="en-US" sz="800" dirty="0">
                <a:latin typeface="+mj-lt"/>
              </a:rPr>
              <a:t>Authentication</a:t>
            </a:r>
          </a:p>
          <a:p>
            <a:pPr marL="171399" indent="-171399" defTabSz="457063">
              <a:buFont typeface="Wingdings" pitchFamily="2" charset="2"/>
              <a:buChar char="§"/>
            </a:pPr>
            <a:r>
              <a:rPr lang="en-US" sz="800" dirty="0">
                <a:latin typeface="+mj-lt"/>
              </a:rPr>
              <a:t>Connectivity Hiding</a:t>
            </a:r>
          </a:p>
          <a:p>
            <a:pPr marL="171399" indent="-171399" defTabSz="457063">
              <a:buFont typeface="Wingdings" pitchFamily="2" charset="2"/>
              <a:buChar char="§"/>
            </a:pPr>
            <a:r>
              <a:rPr lang="en-US" sz="800" dirty="0">
                <a:latin typeface="+mj-lt"/>
              </a:rPr>
              <a:t>Event </a:t>
            </a:r>
            <a:r>
              <a:rPr lang="en-US" sz="800" dirty="0" smtClean="0">
                <a:latin typeface="+mj-lt"/>
              </a:rPr>
              <a:t>Notifications</a:t>
            </a:r>
          </a:p>
          <a:p>
            <a:pPr marL="171399" indent="-171399" defTabSz="457063">
              <a:buFont typeface="Wingdings" pitchFamily="2" charset="2"/>
              <a:buChar char="§"/>
            </a:pPr>
            <a:r>
              <a:rPr lang="en-US" sz="800" dirty="0" smtClean="0">
                <a:latin typeface="+mj-lt"/>
              </a:rPr>
              <a:t>Security/Encryption</a:t>
            </a:r>
          </a:p>
          <a:p>
            <a:pPr marL="171399" indent="-171399" defTabSz="457063">
              <a:buFont typeface="Wingdings" pitchFamily="2" charset="2"/>
              <a:buChar char="§"/>
            </a:pPr>
            <a:r>
              <a:rPr lang="en-US" sz="800" dirty="0" smtClean="0">
                <a:latin typeface="+mj-lt"/>
              </a:rPr>
              <a:t>AS authentication and</a:t>
            </a:r>
            <a:br>
              <a:rPr lang="en-US" sz="800" dirty="0" smtClean="0">
                <a:latin typeface="+mj-lt"/>
              </a:rPr>
            </a:br>
            <a:r>
              <a:rPr lang="en-US" sz="800" dirty="0" smtClean="0">
                <a:latin typeface="+mj-lt"/>
              </a:rPr>
              <a:t>policy control</a:t>
            </a:r>
          </a:p>
          <a:p>
            <a:pPr marL="171399" indent="-171399" defTabSz="457063">
              <a:buFont typeface="Wingdings" pitchFamily="2" charset="2"/>
              <a:buChar char="§"/>
            </a:pPr>
            <a:r>
              <a:rPr lang="en-US" sz="800" dirty="0" smtClean="0">
                <a:latin typeface="+mj-lt"/>
              </a:rPr>
              <a:t>Grouping</a:t>
            </a:r>
          </a:p>
          <a:p>
            <a:pPr marL="171399" indent="-171399" defTabSz="457063">
              <a:buFont typeface="Wingdings" pitchFamily="2" charset="2"/>
              <a:buChar char="§"/>
            </a:pPr>
            <a:r>
              <a:rPr lang="en-US" sz="800" dirty="0" smtClean="0">
                <a:latin typeface="+mj-lt"/>
              </a:rPr>
              <a:t>SLA/</a:t>
            </a:r>
            <a:r>
              <a:rPr lang="en-US" sz="800" dirty="0" err="1" smtClean="0">
                <a:latin typeface="+mj-lt"/>
              </a:rPr>
              <a:t>QoS</a:t>
            </a:r>
            <a:r>
              <a:rPr lang="en-US" sz="800" dirty="0" smtClean="0">
                <a:latin typeface="+mj-lt"/>
              </a:rPr>
              <a:t> enforcement</a:t>
            </a:r>
          </a:p>
        </p:txBody>
      </p:sp>
      <p:grpSp>
        <p:nvGrpSpPr>
          <p:cNvPr id="22" name="Group 105"/>
          <p:cNvGrpSpPr/>
          <p:nvPr/>
        </p:nvGrpSpPr>
        <p:grpSpPr>
          <a:xfrm>
            <a:off x="736559" y="3556000"/>
            <a:ext cx="118592" cy="91235"/>
            <a:chOff x="9666288" y="-2489343"/>
            <a:chExt cx="7294563" cy="5611813"/>
          </a:xfrm>
          <a:solidFill>
            <a:schemeClr val="bg1"/>
          </a:solidFill>
        </p:grpSpPr>
        <p:sp>
          <p:nvSpPr>
            <p:cNvPr id="107" name="Freeform 6"/>
            <p:cNvSpPr>
              <a:spLocks/>
            </p:cNvSpPr>
            <p:nvPr/>
          </p:nvSpPr>
          <p:spPr bwMode="auto">
            <a:xfrm>
              <a:off x="9666288" y="-2489343"/>
              <a:ext cx="7294563" cy="2100263"/>
            </a:xfrm>
            <a:custGeom>
              <a:avLst/>
              <a:gdLst>
                <a:gd name="T0" fmla="*/ 970 w 1942"/>
                <a:gd name="T1" fmla="*/ 0 h 559"/>
                <a:gd name="T2" fmla="*/ 1903 w 1942"/>
                <a:gd name="T3" fmla="*/ 377 h 559"/>
                <a:gd name="T4" fmla="*/ 1900 w 1942"/>
                <a:gd name="T5" fmla="*/ 516 h 559"/>
                <a:gd name="T6" fmla="*/ 1766 w 1942"/>
                <a:gd name="T7" fmla="*/ 520 h 559"/>
                <a:gd name="T8" fmla="*/ 1126 w 1942"/>
                <a:gd name="T9" fmla="*/ 210 h 559"/>
                <a:gd name="T10" fmla="*/ 212 w 1942"/>
                <a:gd name="T11" fmla="*/ 489 h 559"/>
                <a:gd name="T12" fmla="*/ 178 w 1942"/>
                <a:gd name="T13" fmla="*/ 520 h 559"/>
                <a:gd name="T14" fmla="*/ 39 w 1942"/>
                <a:gd name="T15" fmla="*/ 514 h 559"/>
                <a:gd name="T16" fmla="*/ 43 w 1942"/>
                <a:gd name="T17" fmla="*/ 375 h 559"/>
                <a:gd name="T18" fmla="*/ 181 w 1942"/>
                <a:gd name="T19" fmla="*/ 260 h 559"/>
                <a:gd name="T20" fmla="*/ 830 w 1942"/>
                <a:gd name="T21" fmla="*/ 9 h 559"/>
                <a:gd name="T22" fmla="*/ 970 w 1942"/>
                <a:gd name="T23"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2" h="559">
                  <a:moveTo>
                    <a:pt x="970" y="0"/>
                  </a:moveTo>
                  <a:cubicBezTo>
                    <a:pt x="1331" y="9"/>
                    <a:pt x="1642" y="130"/>
                    <a:pt x="1903" y="377"/>
                  </a:cubicBezTo>
                  <a:cubicBezTo>
                    <a:pt x="1942" y="415"/>
                    <a:pt x="1941" y="473"/>
                    <a:pt x="1900" y="516"/>
                  </a:cubicBezTo>
                  <a:cubicBezTo>
                    <a:pt x="1864" y="555"/>
                    <a:pt x="1804" y="557"/>
                    <a:pt x="1766" y="520"/>
                  </a:cubicBezTo>
                  <a:cubicBezTo>
                    <a:pt x="1586" y="348"/>
                    <a:pt x="1373" y="242"/>
                    <a:pt x="1126" y="210"/>
                  </a:cubicBezTo>
                  <a:cubicBezTo>
                    <a:pt x="781" y="165"/>
                    <a:pt x="476" y="262"/>
                    <a:pt x="212" y="489"/>
                  </a:cubicBezTo>
                  <a:cubicBezTo>
                    <a:pt x="200" y="499"/>
                    <a:pt x="189" y="510"/>
                    <a:pt x="178" y="520"/>
                  </a:cubicBezTo>
                  <a:cubicBezTo>
                    <a:pt x="134" y="559"/>
                    <a:pt x="79" y="557"/>
                    <a:pt x="39" y="514"/>
                  </a:cubicBezTo>
                  <a:cubicBezTo>
                    <a:pt x="0" y="473"/>
                    <a:pt x="0" y="414"/>
                    <a:pt x="43" y="375"/>
                  </a:cubicBezTo>
                  <a:cubicBezTo>
                    <a:pt x="87" y="335"/>
                    <a:pt x="132" y="296"/>
                    <a:pt x="181" y="260"/>
                  </a:cubicBezTo>
                  <a:cubicBezTo>
                    <a:pt x="374" y="118"/>
                    <a:pt x="592" y="36"/>
                    <a:pt x="830" y="9"/>
                  </a:cubicBezTo>
                  <a:cubicBezTo>
                    <a:pt x="878" y="4"/>
                    <a:pt x="926" y="3"/>
                    <a:pt x="97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7"/>
            <p:cNvSpPr>
              <a:spLocks/>
            </p:cNvSpPr>
            <p:nvPr/>
          </p:nvSpPr>
          <p:spPr bwMode="auto">
            <a:xfrm>
              <a:off x="10609263" y="-1114567"/>
              <a:ext cx="5468938" cy="1724025"/>
            </a:xfrm>
            <a:custGeom>
              <a:avLst/>
              <a:gdLst>
                <a:gd name="T0" fmla="*/ 721 w 1456"/>
                <a:gd name="T1" fmla="*/ 0 h 459"/>
                <a:gd name="T2" fmla="*/ 1394 w 1456"/>
                <a:gd name="T3" fmla="*/ 270 h 459"/>
                <a:gd name="T4" fmla="*/ 1374 w 1456"/>
                <a:gd name="T5" fmla="*/ 438 h 459"/>
                <a:gd name="T6" fmla="*/ 1267 w 1456"/>
                <a:gd name="T7" fmla="*/ 422 h 459"/>
                <a:gd name="T8" fmla="*/ 867 w 1456"/>
                <a:gd name="T9" fmla="*/ 213 h 459"/>
                <a:gd name="T10" fmla="*/ 179 w 1456"/>
                <a:gd name="T11" fmla="*/ 418 h 459"/>
                <a:gd name="T12" fmla="*/ 62 w 1456"/>
                <a:gd name="T13" fmla="*/ 437 h 459"/>
                <a:gd name="T14" fmla="*/ 13 w 1456"/>
                <a:gd name="T15" fmla="*/ 323 h 459"/>
                <a:gd name="T16" fmla="*/ 40 w 1456"/>
                <a:gd name="T17" fmla="*/ 278 h 459"/>
                <a:gd name="T18" fmla="*/ 721 w 1456"/>
                <a:gd name="T19"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56" h="459">
                  <a:moveTo>
                    <a:pt x="721" y="0"/>
                  </a:moveTo>
                  <a:cubicBezTo>
                    <a:pt x="979" y="6"/>
                    <a:pt x="1203" y="94"/>
                    <a:pt x="1394" y="270"/>
                  </a:cubicBezTo>
                  <a:cubicBezTo>
                    <a:pt x="1456" y="327"/>
                    <a:pt x="1433" y="407"/>
                    <a:pt x="1374" y="438"/>
                  </a:cubicBezTo>
                  <a:cubicBezTo>
                    <a:pt x="1338" y="456"/>
                    <a:pt x="1296" y="450"/>
                    <a:pt x="1267" y="422"/>
                  </a:cubicBezTo>
                  <a:cubicBezTo>
                    <a:pt x="1154" y="314"/>
                    <a:pt x="1022" y="241"/>
                    <a:pt x="867" y="213"/>
                  </a:cubicBezTo>
                  <a:cubicBezTo>
                    <a:pt x="604" y="165"/>
                    <a:pt x="375" y="237"/>
                    <a:pt x="179" y="418"/>
                  </a:cubicBezTo>
                  <a:cubicBezTo>
                    <a:pt x="144" y="451"/>
                    <a:pt x="101" y="459"/>
                    <a:pt x="62" y="437"/>
                  </a:cubicBezTo>
                  <a:cubicBezTo>
                    <a:pt x="21" y="414"/>
                    <a:pt x="0" y="367"/>
                    <a:pt x="13" y="323"/>
                  </a:cubicBezTo>
                  <a:cubicBezTo>
                    <a:pt x="17" y="307"/>
                    <a:pt x="28" y="290"/>
                    <a:pt x="40" y="278"/>
                  </a:cubicBezTo>
                  <a:cubicBezTo>
                    <a:pt x="230" y="96"/>
                    <a:pt x="458" y="6"/>
                    <a:pt x="72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8"/>
            <p:cNvSpPr>
              <a:spLocks/>
            </p:cNvSpPr>
            <p:nvPr/>
          </p:nvSpPr>
          <p:spPr bwMode="auto">
            <a:xfrm>
              <a:off x="11568113" y="260208"/>
              <a:ext cx="3530600" cy="1352550"/>
            </a:xfrm>
            <a:custGeom>
              <a:avLst/>
              <a:gdLst>
                <a:gd name="T0" fmla="*/ 456 w 940"/>
                <a:gd name="T1" fmla="*/ 0 h 360"/>
                <a:gd name="T2" fmla="*/ 897 w 940"/>
                <a:gd name="T3" fmla="*/ 180 h 360"/>
                <a:gd name="T4" fmla="*/ 893 w 940"/>
                <a:gd name="T5" fmla="*/ 323 h 360"/>
                <a:gd name="T6" fmla="*/ 759 w 940"/>
                <a:gd name="T7" fmla="*/ 320 h 360"/>
                <a:gd name="T8" fmla="*/ 175 w 940"/>
                <a:gd name="T9" fmla="*/ 319 h 360"/>
                <a:gd name="T10" fmla="*/ 65 w 940"/>
                <a:gd name="T11" fmla="*/ 343 h 360"/>
                <a:gd name="T12" fmla="*/ 4 w 940"/>
                <a:gd name="T13" fmla="*/ 244 h 360"/>
                <a:gd name="T14" fmla="*/ 26 w 940"/>
                <a:gd name="T15" fmla="*/ 190 h 360"/>
                <a:gd name="T16" fmla="*/ 373 w 940"/>
                <a:gd name="T17" fmla="*/ 8 h 360"/>
                <a:gd name="T18" fmla="*/ 456 w 940"/>
                <a:gd name="T19" fmla="*/ 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0" h="360">
                  <a:moveTo>
                    <a:pt x="456" y="0"/>
                  </a:moveTo>
                  <a:cubicBezTo>
                    <a:pt x="633" y="4"/>
                    <a:pt x="778" y="62"/>
                    <a:pt x="897" y="180"/>
                  </a:cubicBezTo>
                  <a:cubicBezTo>
                    <a:pt x="940" y="222"/>
                    <a:pt x="938" y="279"/>
                    <a:pt x="893" y="323"/>
                  </a:cubicBezTo>
                  <a:cubicBezTo>
                    <a:pt x="856" y="360"/>
                    <a:pt x="798" y="358"/>
                    <a:pt x="759" y="320"/>
                  </a:cubicBezTo>
                  <a:cubicBezTo>
                    <a:pt x="592" y="157"/>
                    <a:pt x="340" y="157"/>
                    <a:pt x="175" y="319"/>
                  </a:cubicBezTo>
                  <a:cubicBezTo>
                    <a:pt x="142" y="351"/>
                    <a:pt x="103" y="360"/>
                    <a:pt x="65" y="343"/>
                  </a:cubicBezTo>
                  <a:cubicBezTo>
                    <a:pt x="28" y="327"/>
                    <a:pt x="0" y="285"/>
                    <a:pt x="4" y="244"/>
                  </a:cubicBezTo>
                  <a:cubicBezTo>
                    <a:pt x="6" y="225"/>
                    <a:pt x="13" y="204"/>
                    <a:pt x="26" y="190"/>
                  </a:cubicBezTo>
                  <a:cubicBezTo>
                    <a:pt x="119" y="89"/>
                    <a:pt x="237" y="30"/>
                    <a:pt x="373" y="8"/>
                  </a:cubicBezTo>
                  <a:cubicBezTo>
                    <a:pt x="403" y="3"/>
                    <a:pt x="435" y="2"/>
                    <a:pt x="4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 name="Freeform 9"/>
            <p:cNvSpPr>
              <a:spLocks/>
            </p:cNvSpPr>
            <p:nvPr/>
          </p:nvSpPr>
          <p:spPr bwMode="auto">
            <a:xfrm>
              <a:off x="12522201" y="1538145"/>
              <a:ext cx="1587500" cy="1584325"/>
            </a:xfrm>
            <a:custGeom>
              <a:avLst/>
              <a:gdLst>
                <a:gd name="T0" fmla="*/ 213 w 423"/>
                <a:gd name="T1" fmla="*/ 0 h 422"/>
                <a:gd name="T2" fmla="*/ 423 w 423"/>
                <a:gd name="T3" fmla="*/ 214 h 422"/>
                <a:gd name="T4" fmla="*/ 211 w 423"/>
                <a:gd name="T5" fmla="*/ 422 h 422"/>
                <a:gd name="T6" fmla="*/ 0 w 423"/>
                <a:gd name="T7" fmla="*/ 209 h 422"/>
                <a:gd name="T8" fmla="*/ 213 w 423"/>
                <a:gd name="T9" fmla="*/ 0 h 422"/>
              </a:gdLst>
              <a:ahLst/>
              <a:cxnLst>
                <a:cxn ang="0">
                  <a:pos x="T0" y="T1"/>
                </a:cxn>
                <a:cxn ang="0">
                  <a:pos x="T2" y="T3"/>
                </a:cxn>
                <a:cxn ang="0">
                  <a:pos x="T4" y="T5"/>
                </a:cxn>
                <a:cxn ang="0">
                  <a:pos x="T6" y="T7"/>
                </a:cxn>
                <a:cxn ang="0">
                  <a:pos x="T8" y="T9"/>
                </a:cxn>
              </a:cxnLst>
              <a:rect l="0" t="0" r="r" b="b"/>
              <a:pathLst>
                <a:path w="423" h="422">
                  <a:moveTo>
                    <a:pt x="213" y="0"/>
                  </a:moveTo>
                  <a:cubicBezTo>
                    <a:pt x="328" y="0"/>
                    <a:pt x="422" y="96"/>
                    <a:pt x="423" y="214"/>
                  </a:cubicBezTo>
                  <a:cubicBezTo>
                    <a:pt x="423" y="327"/>
                    <a:pt x="326" y="422"/>
                    <a:pt x="211" y="422"/>
                  </a:cubicBezTo>
                  <a:cubicBezTo>
                    <a:pt x="94" y="422"/>
                    <a:pt x="0" y="327"/>
                    <a:pt x="0" y="209"/>
                  </a:cubicBezTo>
                  <a:cubicBezTo>
                    <a:pt x="0" y="95"/>
                    <a:pt x="96" y="0"/>
                    <a:pt x="21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2" name="Rounded Rectangle 111"/>
          <p:cNvSpPr/>
          <p:nvPr/>
        </p:nvSpPr>
        <p:spPr>
          <a:xfrm>
            <a:off x="3152862" y="3260642"/>
            <a:ext cx="1158218" cy="455313"/>
          </a:xfrm>
          <a:prstGeom prst="round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r>
              <a:rPr lang="en-US" sz="1200" dirty="0">
                <a:solidFill>
                  <a:schemeClr val="accent1"/>
                </a:solidFill>
                <a:latin typeface="+mj-lt"/>
              </a:rPr>
              <a:t>IoT Protocol </a:t>
            </a:r>
            <a:r>
              <a:rPr lang="en-US" sz="1200" dirty="0" smtClean="0">
                <a:solidFill>
                  <a:schemeClr val="accent1"/>
                </a:solidFill>
                <a:latin typeface="+mj-lt"/>
              </a:rPr>
              <a:t>Termination</a:t>
            </a:r>
            <a:endParaRPr lang="en-US" sz="1200" dirty="0">
              <a:solidFill>
                <a:schemeClr val="accent1"/>
              </a:solidFill>
              <a:latin typeface="+mj-lt"/>
            </a:endParaRPr>
          </a:p>
        </p:txBody>
      </p:sp>
      <p:sp>
        <p:nvSpPr>
          <p:cNvPr id="113" name="Rounded Rectangle 112"/>
          <p:cNvSpPr/>
          <p:nvPr/>
        </p:nvSpPr>
        <p:spPr>
          <a:xfrm>
            <a:off x="4858545" y="3081611"/>
            <a:ext cx="1158218" cy="291085"/>
          </a:xfrm>
          <a:prstGeom prst="round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r>
              <a:rPr lang="en-US" sz="1200" dirty="0" smtClean="0">
                <a:solidFill>
                  <a:schemeClr val="accent1"/>
                </a:solidFill>
                <a:latin typeface="+mj-lt"/>
              </a:rPr>
              <a:t>Rest/JSON</a:t>
            </a:r>
            <a:endParaRPr lang="en-US" sz="1200" dirty="0">
              <a:solidFill>
                <a:schemeClr val="accent1"/>
              </a:solidFill>
              <a:latin typeface="+mj-lt"/>
            </a:endParaRPr>
          </a:p>
        </p:txBody>
      </p:sp>
      <p:sp>
        <p:nvSpPr>
          <p:cNvPr id="114" name="Rounded Rectangle 113"/>
          <p:cNvSpPr/>
          <p:nvPr/>
        </p:nvSpPr>
        <p:spPr>
          <a:xfrm>
            <a:off x="4858545" y="3437570"/>
            <a:ext cx="1158218" cy="291085"/>
          </a:xfrm>
          <a:prstGeom prst="roundRect">
            <a:avLst/>
          </a:prstGeom>
          <a:solidFill>
            <a:schemeClr val="bg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a:r>
              <a:rPr lang="en-US" sz="1200" dirty="0" smtClean="0">
                <a:solidFill>
                  <a:schemeClr val="accent1"/>
                </a:solidFill>
                <a:latin typeface="+mj-lt"/>
              </a:rPr>
              <a:t>HTTPS</a:t>
            </a:r>
            <a:endParaRPr lang="en-US" sz="1200" dirty="0">
              <a:solidFill>
                <a:schemeClr val="accent1"/>
              </a:solidFill>
              <a:latin typeface="+mj-lt"/>
            </a:endParaRPr>
          </a:p>
        </p:txBody>
      </p:sp>
    </p:spTree>
    <p:extLst>
      <p:ext uri="{BB962C8B-B14F-4D97-AF65-F5344CB8AC3E}">
        <p14:creationId xmlns:p14="http://schemas.microsoft.com/office/powerpoint/2010/main" val="615206525"/>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loud 4"/>
          <p:cNvSpPr/>
          <p:nvPr/>
        </p:nvSpPr>
        <p:spPr>
          <a:xfrm>
            <a:off x="172640" y="1069348"/>
            <a:ext cx="8909624" cy="3774116"/>
          </a:xfrm>
          <a:prstGeom prst="cloud">
            <a:avLst/>
          </a:prstGeom>
          <a:ln/>
        </p:spPr>
        <p:style>
          <a:lnRef idx="2">
            <a:schemeClr val="accent1"/>
          </a:lnRef>
          <a:fillRef idx="1">
            <a:schemeClr val="lt1"/>
          </a:fillRef>
          <a:effectRef idx="0">
            <a:schemeClr val="accent1"/>
          </a:effectRef>
          <a:fontRef idx="minor">
            <a:schemeClr val="dk1"/>
          </a:fontRef>
        </p:style>
        <p:txBody>
          <a:bodyPr lIns="68526" tIns="34264" rIns="68526" bIns="34264" rtlCol="0" anchor="ctr"/>
          <a:lstStyle/>
          <a:p>
            <a:pPr algn="ctr" defTabSz="456493"/>
            <a:endParaRPr lang="en-US" dirty="0" smtClean="0">
              <a:solidFill>
                <a:srgbClr val="676767"/>
              </a:solidFill>
            </a:endParaRPr>
          </a:p>
        </p:txBody>
      </p:sp>
      <p:sp>
        <p:nvSpPr>
          <p:cNvPr id="54" name="Title 2"/>
          <p:cNvSpPr txBox="1">
            <a:spLocks noGrp="1"/>
          </p:cNvSpPr>
          <p:nvPr>
            <p:ph type="title"/>
          </p:nvPr>
        </p:nvSpPr>
        <p:spPr>
          <a:prstGeom prst="rect">
            <a:avLst/>
          </a:prstGeom>
        </p:spPr>
        <p:txBody>
          <a:bodyPr vert="horz" wrap="square" lIns="91328" tIns="45664" rIns="91328" bIns="45664" numCol="1" rtlCol="0" anchor="t" anchorCtr="0" compatLnSpc="1">
            <a:prstTxWarp prst="textNoShape">
              <a:avLst/>
            </a:prstTxWarp>
            <a:noAutofit/>
          </a:bodyPr>
          <a:lstStyle>
            <a:lvl1pPr algn="l" defTabSz="685891" rtl="0" eaLnBrk="1" latinLnBrk="0" hangingPunct="1">
              <a:lnSpc>
                <a:spcPct val="80000"/>
              </a:lnSpc>
              <a:spcBef>
                <a:spcPct val="0"/>
              </a:spcBef>
              <a:buNone/>
              <a:defRPr lang="en-US" sz="2500" b="0" kern="1200" spc="0" baseline="0" dirty="0">
                <a:solidFill>
                  <a:srgbClr val="00A2BF"/>
                </a:solidFill>
                <a:latin typeface="+mj-lt"/>
                <a:ea typeface="+mj-ea"/>
                <a:cs typeface="CiscoSans"/>
              </a:defRPr>
            </a:lvl1pPr>
          </a:lstStyle>
          <a:p>
            <a:r>
              <a:rPr lang="en-US" sz="3000" dirty="0" smtClean="0">
                <a:solidFill>
                  <a:srgbClr val="58585B"/>
                </a:solidFill>
              </a:rPr>
              <a:t>Cisco </a:t>
            </a:r>
            <a:r>
              <a:rPr lang="en-US" sz="3000" dirty="0" err="1" smtClean="0">
                <a:solidFill>
                  <a:srgbClr val="58585B"/>
                </a:solidFill>
              </a:rPr>
              <a:t>eSCEF</a:t>
            </a:r>
            <a:r>
              <a:rPr lang="en-US" sz="3000" dirty="0" smtClean="0">
                <a:solidFill>
                  <a:srgbClr val="58585B"/>
                </a:solidFill>
              </a:rPr>
              <a:t> </a:t>
            </a:r>
            <a:r>
              <a:rPr lang="en-US" sz="3000" dirty="0">
                <a:solidFill>
                  <a:srgbClr val="58585B"/>
                </a:solidFill>
              </a:rPr>
              <a:t>API Gateway</a:t>
            </a:r>
          </a:p>
        </p:txBody>
      </p:sp>
      <p:sp>
        <p:nvSpPr>
          <p:cNvPr id="2" name="Rectangle 1"/>
          <p:cNvSpPr/>
          <p:nvPr/>
        </p:nvSpPr>
        <p:spPr>
          <a:xfrm>
            <a:off x="2584639" y="1857800"/>
            <a:ext cx="4187132" cy="653653"/>
          </a:xfrm>
          <a:prstGeom prst="rect">
            <a:avLst/>
          </a:prstGeom>
          <a:ln/>
        </p:spPr>
        <p:style>
          <a:lnRef idx="3">
            <a:schemeClr val="lt1"/>
          </a:lnRef>
          <a:fillRef idx="1">
            <a:schemeClr val="accent1"/>
          </a:fillRef>
          <a:effectRef idx="1">
            <a:schemeClr val="accent1"/>
          </a:effectRef>
          <a:fontRef idx="minor">
            <a:schemeClr val="lt1"/>
          </a:fontRef>
        </p:style>
        <p:txBody>
          <a:bodyPr lIns="68526" tIns="34264" rIns="68526" bIns="34264" rtlCol="0" anchor="ctr"/>
          <a:lstStyle/>
          <a:p>
            <a:pPr algn="ctr" defTabSz="456493"/>
            <a:r>
              <a:rPr lang="en-US" dirty="0" smtClean="0">
                <a:solidFill>
                  <a:srgbClr val="FFFFFF"/>
                </a:solidFill>
              </a:rPr>
              <a:t>eSCEF API GW</a:t>
            </a:r>
          </a:p>
        </p:txBody>
      </p:sp>
      <p:sp>
        <p:nvSpPr>
          <p:cNvPr id="3" name="Rectangle 2"/>
          <p:cNvSpPr/>
          <p:nvPr/>
        </p:nvSpPr>
        <p:spPr>
          <a:xfrm>
            <a:off x="719137" y="2410987"/>
            <a:ext cx="1425179" cy="750094"/>
          </a:xfrm>
          <a:prstGeom prst="rect">
            <a:avLst/>
          </a:prstGeom>
          <a:ln/>
        </p:spPr>
        <p:style>
          <a:lnRef idx="2">
            <a:schemeClr val="accent1"/>
          </a:lnRef>
          <a:fillRef idx="1">
            <a:schemeClr val="lt1"/>
          </a:fillRef>
          <a:effectRef idx="0">
            <a:schemeClr val="accent1"/>
          </a:effectRef>
          <a:fontRef idx="minor">
            <a:schemeClr val="dk1"/>
          </a:fontRef>
        </p:style>
        <p:txBody>
          <a:bodyPr lIns="68526" tIns="34264" rIns="68526" bIns="34264" rtlCol="0" anchor="ctr"/>
          <a:lstStyle/>
          <a:p>
            <a:pPr algn="ctr" defTabSz="456493"/>
            <a:r>
              <a:rPr lang="en-US" sz="1200" dirty="0">
                <a:solidFill>
                  <a:srgbClr val="676767"/>
                </a:solidFill>
              </a:rPr>
              <a:t>Tenant and AS Provisioning APIs</a:t>
            </a:r>
          </a:p>
        </p:txBody>
      </p:sp>
      <p:sp>
        <p:nvSpPr>
          <p:cNvPr id="26" name="Rectangle 25"/>
          <p:cNvSpPr/>
          <p:nvPr/>
        </p:nvSpPr>
        <p:spPr>
          <a:xfrm>
            <a:off x="1289923" y="3406803"/>
            <a:ext cx="1425179" cy="750094"/>
          </a:xfrm>
          <a:prstGeom prst="rect">
            <a:avLst/>
          </a:prstGeom>
          <a:ln/>
        </p:spPr>
        <p:style>
          <a:lnRef idx="2">
            <a:schemeClr val="accent1"/>
          </a:lnRef>
          <a:fillRef idx="1">
            <a:schemeClr val="lt1"/>
          </a:fillRef>
          <a:effectRef idx="0">
            <a:schemeClr val="accent1"/>
          </a:effectRef>
          <a:fontRef idx="minor">
            <a:schemeClr val="dk1"/>
          </a:fontRef>
        </p:style>
        <p:txBody>
          <a:bodyPr lIns="68526" tIns="34264" rIns="68526" bIns="34264" rtlCol="0" anchor="ctr"/>
          <a:lstStyle/>
          <a:p>
            <a:pPr algn="ctr" defTabSz="456493"/>
            <a:r>
              <a:rPr lang="en-US" sz="1200" dirty="0">
                <a:solidFill>
                  <a:srgbClr val="676767"/>
                </a:solidFill>
              </a:rPr>
              <a:t>Device and Identity Provisioning APIs</a:t>
            </a:r>
          </a:p>
        </p:txBody>
      </p:sp>
      <p:sp>
        <p:nvSpPr>
          <p:cNvPr id="27" name="Rectangle 26"/>
          <p:cNvSpPr/>
          <p:nvPr/>
        </p:nvSpPr>
        <p:spPr>
          <a:xfrm>
            <a:off x="2960132" y="3406803"/>
            <a:ext cx="1425179" cy="750094"/>
          </a:xfrm>
          <a:prstGeom prst="rect">
            <a:avLst/>
          </a:prstGeom>
          <a:ln/>
        </p:spPr>
        <p:style>
          <a:lnRef idx="2">
            <a:schemeClr val="accent1"/>
          </a:lnRef>
          <a:fillRef idx="1">
            <a:schemeClr val="lt1"/>
          </a:fillRef>
          <a:effectRef idx="0">
            <a:schemeClr val="accent1"/>
          </a:effectRef>
          <a:fontRef idx="minor">
            <a:schemeClr val="dk1"/>
          </a:fontRef>
        </p:style>
        <p:txBody>
          <a:bodyPr lIns="68526" tIns="34264" rIns="68526" bIns="34264" rtlCol="0" anchor="ctr"/>
          <a:lstStyle/>
          <a:p>
            <a:pPr algn="ctr" defTabSz="456493"/>
            <a:r>
              <a:rPr lang="en-US" sz="1200" dirty="0">
                <a:solidFill>
                  <a:srgbClr val="676767"/>
                </a:solidFill>
              </a:rPr>
              <a:t>3GPP SCEF APIs</a:t>
            </a:r>
          </a:p>
        </p:txBody>
      </p:sp>
      <p:sp>
        <p:nvSpPr>
          <p:cNvPr id="28" name="Rectangle 27"/>
          <p:cNvSpPr/>
          <p:nvPr/>
        </p:nvSpPr>
        <p:spPr>
          <a:xfrm>
            <a:off x="4720354" y="3406803"/>
            <a:ext cx="1425179" cy="750094"/>
          </a:xfrm>
          <a:prstGeom prst="rect">
            <a:avLst/>
          </a:prstGeom>
          <a:ln/>
        </p:spPr>
        <p:style>
          <a:lnRef idx="2">
            <a:schemeClr val="accent1"/>
          </a:lnRef>
          <a:fillRef idx="1">
            <a:schemeClr val="lt1"/>
          </a:fillRef>
          <a:effectRef idx="0">
            <a:schemeClr val="accent1"/>
          </a:effectRef>
          <a:fontRef idx="minor">
            <a:schemeClr val="dk1"/>
          </a:fontRef>
        </p:style>
        <p:txBody>
          <a:bodyPr lIns="68526" tIns="34264" rIns="68526" bIns="34264" rtlCol="0" anchor="ctr"/>
          <a:lstStyle/>
          <a:p>
            <a:pPr algn="ctr" defTabSz="456493"/>
            <a:r>
              <a:rPr lang="en-US" sz="1200" dirty="0">
                <a:solidFill>
                  <a:srgbClr val="676767"/>
                </a:solidFill>
              </a:rPr>
              <a:t>Device MO/MT Data APIs</a:t>
            </a:r>
          </a:p>
          <a:p>
            <a:pPr algn="ctr" defTabSz="456493"/>
            <a:r>
              <a:rPr lang="en-US" sz="1200" dirty="0">
                <a:solidFill>
                  <a:srgbClr val="676767"/>
                </a:solidFill>
              </a:rPr>
              <a:t>(Non-IP + IP)</a:t>
            </a:r>
          </a:p>
        </p:txBody>
      </p:sp>
      <p:sp>
        <p:nvSpPr>
          <p:cNvPr id="29" name="Rectangle 28"/>
          <p:cNvSpPr/>
          <p:nvPr/>
        </p:nvSpPr>
        <p:spPr>
          <a:xfrm>
            <a:off x="6390562" y="3406803"/>
            <a:ext cx="1425179" cy="750094"/>
          </a:xfrm>
          <a:prstGeom prst="rect">
            <a:avLst/>
          </a:prstGeom>
          <a:ln/>
        </p:spPr>
        <p:style>
          <a:lnRef idx="2">
            <a:schemeClr val="accent1"/>
          </a:lnRef>
          <a:fillRef idx="1">
            <a:schemeClr val="lt1"/>
          </a:fillRef>
          <a:effectRef idx="0">
            <a:schemeClr val="accent1"/>
          </a:effectRef>
          <a:fontRef idx="minor">
            <a:schemeClr val="dk1"/>
          </a:fontRef>
        </p:style>
        <p:txBody>
          <a:bodyPr lIns="68526" tIns="34264" rIns="68526" bIns="34264" rtlCol="0" anchor="ctr"/>
          <a:lstStyle/>
          <a:p>
            <a:pPr algn="ctr" defTabSz="456493"/>
            <a:r>
              <a:rPr lang="en-US" sz="1200" dirty="0">
                <a:solidFill>
                  <a:srgbClr val="676767"/>
                </a:solidFill>
              </a:rPr>
              <a:t>Session State APIs</a:t>
            </a:r>
          </a:p>
        </p:txBody>
      </p:sp>
      <p:sp>
        <p:nvSpPr>
          <p:cNvPr id="30" name="Rectangle 29"/>
          <p:cNvSpPr/>
          <p:nvPr/>
        </p:nvSpPr>
        <p:spPr>
          <a:xfrm>
            <a:off x="7383544" y="2387019"/>
            <a:ext cx="1425179" cy="750094"/>
          </a:xfrm>
          <a:prstGeom prst="rect">
            <a:avLst/>
          </a:prstGeom>
          <a:ln/>
        </p:spPr>
        <p:style>
          <a:lnRef idx="2">
            <a:schemeClr val="accent1"/>
          </a:lnRef>
          <a:fillRef idx="1">
            <a:schemeClr val="lt1"/>
          </a:fillRef>
          <a:effectRef idx="0">
            <a:schemeClr val="accent1"/>
          </a:effectRef>
          <a:fontRef idx="minor">
            <a:schemeClr val="dk1"/>
          </a:fontRef>
        </p:style>
        <p:txBody>
          <a:bodyPr lIns="68526" tIns="34264" rIns="68526" bIns="34264" rtlCol="0" anchor="ctr"/>
          <a:lstStyle/>
          <a:p>
            <a:pPr algn="ctr" defTabSz="456493"/>
            <a:r>
              <a:rPr lang="en-US" sz="1200" dirty="0" smtClean="0">
                <a:solidFill>
                  <a:srgbClr val="676767"/>
                </a:solidFill>
              </a:rPr>
              <a:t>Event </a:t>
            </a:r>
            <a:r>
              <a:rPr lang="en-US" sz="1200" dirty="0">
                <a:solidFill>
                  <a:srgbClr val="676767"/>
                </a:solidFill>
              </a:rPr>
              <a:t>Notifications</a:t>
            </a:r>
          </a:p>
        </p:txBody>
      </p:sp>
      <p:sp>
        <p:nvSpPr>
          <p:cNvPr id="6" name="Line Callout 1 5"/>
          <p:cNvSpPr/>
          <p:nvPr/>
        </p:nvSpPr>
        <p:spPr>
          <a:xfrm>
            <a:off x="6390563" y="514371"/>
            <a:ext cx="2526028" cy="1189435"/>
          </a:xfrm>
          <a:prstGeom prst="borderCallout1">
            <a:avLst>
              <a:gd name="adj1" fmla="val 30224"/>
              <a:gd name="adj2" fmla="val -2120"/>
              <a:gd name="adj3" fmla="val 112500"/>
              <a:gd name="adj4" fmla="val -38333"/>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8526" tIns="34264" rIns="68526" bIns="34264" rtlCol="0" anchor="ctr"/>
          <a:lstStyle/>
          <a:p>
            <a:pPr marL="256985" indent="-256985" defTabSz="456493">
              <a:buFont typeface="Arial" charset="0"/>
              <a:buChar char="•"/>
            </a:pPr>
            <a:r>
              <a:rPr lang="en-US" sz="900" dirty="0">
                <a:solidFill>
                  <a:srgbClr val="676767"/>
                </a:solidFill>
              </a:rPr>
              <a:t>Single GW for all API Management</a:t>
            </a:r>
          </a:p>
          <a:p>
            <a:pPr marL="256985" indent="-256985" defTabSz="456493">
              <a:buFont typeface="Arial" charset="0"/>
              <a:buChar char="•"/>
            </a:pPr>
            <a:r>
              <a:rPr lang="en-US" sz="900" dirty="0">
                <a:solidFill>
                  <a:srgbClr val="676767"/>
                </a:solidFill>
              </a:rPr>
              <a:t>Client Authentication, e.g., Oauth2</a:t>
            </a:r>
          </a:p>
          <a:p>
            <a:pPr marL="256985" indent="-256985" defTabSz="456493">
              <a:buFont typeface="Arial" charset="0"/>
              <a:buChar char="•"/>
            </a:pPr>
            <a:r>
              <a:rPr lang="en-US" sz="900" dirty="0">
                <a:solidFill>
                  <a:srgbClr val="676767"/>
                </a:solidFill>
              </a:rPr>
              <a:t>API versioning</a:t>
            </a:r>
          </a:p>
          <a:p>
            <a:pPr marL="256985" indent="-256985" defTabSz="456493">
              <a:buFont typeface="Arial" charset="0"/>
              <a:buChar char="•"/>
            </a:pPr>
            <a:r>
              <a:rPr lang="en-US" sz="900" dirty="0">
                <a:solidFill>
                  <a:srgbClr val="676767"/>
                </a:solidFill>
              </a:rPr>
              <a:t>API documentation and </a:t>
            </a:r>
            <a:r>
              <a:rPr lang="en-US" sz="900" dirty="0" smtClean="0">
                <a:solidFill>
                  <a:srgbClr val="676767"/>
                </a:solidFill>
              </a:rPr>
              <a:t>schema</a:t>
            </a:r>
            <a:endParaRPr lang="en-US" sz="900" dirty="0">
              <a:solidFill>
                <a:srgbClr val="676767"/>
              </a:solidFill>
            </a:endParaRPr>
          </a:p>
          <a:p>
            <a:pPr marL="256985" indent="-256985" defTabSz="456493">
              <a:buFont typeface="Arial" charset="0"/>
              <a:buChar char="•"/>
            </a:pPr>
            <a:r>
              <a:rPr lang="en-US" sz="900" dirty="0" smtClean="0">
                <a:solidFill>
                  <a:srgbClr val="676767"/>
                </a:solidFill>
              </a:rPr>
              <a:t>Rate </a:t>
            </a:r>
            <a:r>
              <a:rPr lang="en-US" sz="900" dirty="0">
                <a:solidFill>
                  <a:srgbClr val="676767"/>
                </a:solidFill>
              </a:rPr>
              <a:t>limiting/Policing</a:t>
            </a:r>
          </a:p>
          <a:p>
            <a:pPr marL="256985" indent="-256985" defTabSz="456493">
              <a:buFont typeface="Arial" charset="0"/>
              <a:buChar char="•"/>
            </a:pPr>
            <a:r>
              <a:rPr lang="en-US" sz="900" dirty="0">
                <a:solidFill>
                  <a:srgbClr val="676767"/>
                </a:solidFill>
              </a:rPr>
              <a:t>Accounting</a:t>
            </a:r>
          </a:p>
          <a:p>
            <a:pPr marL="256985" indent="-256985" defTabSz="456493">
              <a:buFont typeface="Arial" charset="0"/>
              <a:buChar char="•"/>
            </a:pPr>
            <a:r>
              <a:rPr lang="en-US" sz="900" dirty="0">
                <a:solidFill>
                  <a:srgbClr val="676767"/>
                </a:solidFill>
              </a:rPr>
              <a:t>Internal routing to API endpoints</a:t>
            </a:r>
          </a:p>
        </p:txBody>
      </p:sp>
      <p:cxnSp>
        <p:nvCxnSpPr>
          <p:cNvPr id="9" name="Straight Arrow Connector 8"/>
          <p:cNvCxnSpPr>
            <a:stCxn id="2" idx="2"/>
            <a:endCxn id="27" idx="0"/>
          </p:cNvCxnSpPr>
          <p:nvPr/>
        </p:nvCxnSpPr>
        <p:spPr>
          <a:xfrm flipH="1">
            <a:off x="3672723" y="2511434"/>
            <a:ext cx="1005483" cy="89536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flipV="1">
            <a:off x="5013249" y="2511434"/>
            <a:ext cx="329684" cy="89536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flipV="1">
            <a:off x="5533671" y="2511436"/>
            <a:ext cx="1300523" cy="89934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H="1" flipV="1">
            <a:off x="6737053" y="2161150"/>
            <a:ext cx="646508" cy="43800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a:off x="1852272" y="2136893"/>
            <a:ext cx="732368" cy="27409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flipH="1">
            <a:off x="2084020" y="2511434"/>
            <a:ext cx="1299458" cy="89536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565190"/>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37766" y="327945"/>
            <a:ext cx="8345488" cy="731837"/>
          </a:xfrm>
        </p:spPr>
        <p:txBody>
          <a:bodyPr/>
          <a:lstStyle/>
          <a:p>
            <a:r>
              <a:rPr lang="en-US" dirty="0" smtClean="0"/>
              <a:t>Agenda  </a:t>
            </a:r>
            <a:endParaRPr lang="en-US" sz="1200" dirty="0">
              <a:solidFill>
                <a:srgbClr val="FF0000"/>
              </a:solidFill>
            </a:endParaRPr>
          </a:p>
        </p:txBody>
      </p:sp>
      <p:sp>
        <p:nvSpPr>
          <p:cNvPr id="20" name="Text Placeholder 7"/>
          <p:cNvSpPr txBox="1">
            <a:spLocks/>
          </p:cNvSpPr>
          <p:nvPr/>
        </p:nvSpPr>
        <p:spPr>
          <a:xfrm>
            <a:off x="522434" y="1506174"/>
            <a:ext cx="8141464" cy="325437"/>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charset="0"/>
              <a:buNone/>
            </a:pPr>
            <a:r>
              <a:rPr lang="en-US" sz="2000" dirty="0" smtClean="0">
                <a:solidFill>
                  <a:schemeClr val="tx2"/>
                </a:solidFill>
              </a:rPr>
              <a:t>IoT Market Overview			      </a:t>
            </a:r>
          </a:p>
        </p:txBody>
      </p:sp>
      <p:sp>
        <p:nvSpPr>
          <p:cNvPr id="16" name="Text Placeholder 7"/>
          <p:cNvSpPr txBox="1">
            <a:spLocks/>
          </p:cNvSpPr>
          <p:nvPr/>
        </p:nvSpPr>
        <p:spPr>
          <a:xfrm>
            <a:off x="523202" y="2600946"/>
            <a:ext cx="8141464" cy="325437"/>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000" dirty="0" smtClean="0">
                <a:solidFill>
                  <a:schemeClr val="tx2"/>
                </a:solidFill>
              </a:rPr>
              <a:t>Network Core Capabilities for IoT			    </a:t>
            </a:r>
            <a:r>
              <a:rPr lang="en-US" sz="2000" dirty="0">
                <a:solidFill>
                  <a:schemeClr val="tx2"/>
                </a:solidFill>
              </a:rPr>
              <a:t> </a:t>
            </a:r>
            <a:r>
              <a:rPr lang="en-US" sz="2000" dirty="0" smtClean="0">
                <a:solidFill>
                  <a:schemeClr val="tx2"/>
                </a:solidFill>
              </a:rPr>
              <a:t>           </a:t>
            </a:r>
            <a:endParaRPr lang="en-US" sz="2000" dirty="0">
              <a:solidFill>
                <a:schemeClr val="tx2"/>
              </a:solidFill>
            </a:endParaRPr>
          </a:p>
        </p:txBody>
      </p:sp>
      <p:sp>
        <p:nvSpPr>
          <p:cNvPr id="17" name="Text Placeholder 7"/>
          <p:cNvSpPr txBox="1">
            <a:spLocks/>
          </p:cNvSpPr>
          <p:nvPr/>
        </p:nvSpPr>
        <p:spPr>
          <a:xfrm>
            <a:off x="516666" y="2052419"/>
            <a:ext cx="8141464" cy="325437"/>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000" dirty="0" smtClean="0">
                <a:solidFill>
                  <a:schemeClr val="tx2"/>
                </a:solidFill>
              </a:rPr>
              <a:t>LPWA Network Opportunity</a:t>
            </a:r>
            <a:endParaRPr lang="en-US" sz="2000" dirty="0">
              <a:solidFill>
                <a:schemeClr val="tx2"/>
              </a:solidFill>
            </a:endParaRPr>
          </a:p>
        </p:txBody>
      </p:sp>
      <p:sp>
        <p:nvSpPr>
          <p:cNvPr id="25" name="Text Placeholder 7"/>
          <p:cNvSpPr txBox="1">
            <a:spLocks/>
          </p:cNvSpPr>
          <p:nvPr/>
        </p:nvSpPr>
        <p:spPr>
          <a:xfrm>
            <a:off x="523201" y="3295211"/>
            <a:ext cx="8141464" cy="325437"/>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1600" dirty="0" smtClean="0">
                <a:solidFill>
                  <a:schemeClr val="tx2"/>
                </a:solidFill>
              </a:rPr>
              <a:t>			    </a:t>
            </a:r>
            <a:r>
              <a:rPr lang="en-US" sz="1600" dirty="0">
                <a:solidFill>
                  <a:schemeClr val="tx2"/>
                </a:solidFill>
              </a:rPr>
              <a:t> </a:t>
            </a:r>
            <a:r>
              <a:rPr lang="en-US" sz="1600" dirty="0" smtClean="0">
                <a:solidFill>
                  <a:schemeClr val="tx2"/>
                </a:solidFill>
              </a:rPr>
              <a:t>           </a:t>
            </a:r>
            <a:endParaRPr lang="en-US" sz="1600" dirty="0">
              <a:solidFill>
                <a:schemeClr val="tx2"/>
              </a:solidFill>
            </a:endParaRPr>
          </a:p>
        </p:txBody>
      </p:sp>
      <p:sp>
        <p:nvSpPr>
          <p:cNvPr id="39" name="Text Placeholder 7"/>
          <p:cNvSpPr txBox="1">
            <a:spLocks/>
          </p:cNvSpPr>
          <p:nvPr/>
        </p:nvSpPr>
        <p:spPr>
          <a:xfrm>
            <a:off x="516665" y="3170034"/>
            <a:ext cx="8141464" cy="325437"/>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2000" dirty="0" smtClean="0">
                <a:solidFill>
                  <a:schemeClr val="tx2"/>
                </a:solidFill>
              </a:rPr>
              <a:t>New IoT Monetization Models</a:t>
            </a:r>
            <a:endParaRPr lang="en-US" sz="2000" dirty="0">
              <a:solidFill>
                <a:schemeClr val="tx2"/>
              </a:solidFill>
            </a:endParaRPr>
          </a:p>
        </p:txBody>
      </p:sp>
    </p:spTree>
    <p:extLst>
      <p:ext uri="{BB962C8B-B14F-4D97-AF65-F5344CB8AC3E}">
        <p14:creationId xmlns:p14="http://schemas.microsoft.com/office/powerpoint/2010/main" val="35871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a:xfrm>
            <a:off x="6025228" y="1524584"/>
            <a:ext cx="2834640" cy="2012794"/>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 name="Title 1"/>
          <p:cNvSpPr>
            <a:spLocks noGrp="1"/>
          </p:cNvSpPr>
          <p:nvPr>
            <p:ph type="title"/>
          </p:nvPr>
        </p:nvSpPr>
        <p:spPr/>
        <p:txBody>
          <a:bodyPr/>
          <a:lstStyle/>
          <a:p>
            <a:r>
              <a:rPr lang="en-US" smtClean="0"/>
              <a:t>Cisco Ultra Services Platform</a:t>
            </a:r>
            <a:endParaRPr lang="en-US" dirty="0"/>
          </a:p>
        </p:txBody>
      </p:sp>
      <p:grpSp>
        <p:nvGrpSpPr>
          <p:cNvPr id="3" name="Group 68"/>
          <p:cNvGrpSpPr/>
          <p:nvPr/>
        </p:nvGrpSpPr>
        <p:grpSpPr>
          <a:xfrm>
            <a:off x="536727" y="3571399"/>
            <a:ext cx="8331048" cy="1097280"/>
            <a:chOff x="536727" y="3438049"/>
            <a:chExt cx="8331048" cy="1097280"/>
          </a:xfrm>
        </p:grpSpPr>
        <p:sp>
          <p:nvSpPr>
            <p:cNvPr id="38" name="Rectangle 37"/>
            <p:cNvSpPr/>
            <p:nvPr/>
          </p:nvSpPr>
          <p:spPr>
            <a:xfrm>
              <a:off x="1168400" y="3438049"/>
              <a:ext cx="7699375" cy="1097280"/>
            </a:xfrm>
            <a:prstGeom prst="rect">
              <a:avLst/>
            </a:prstGeom>
            <a:solidFill>
              <a:schemeClr val="accent5">
                <a:lumMod val="20000"/>
                <a:lumOff val="8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39" name="Rectangle 38"/>
            <p:cNvSpPr/>
            <p:nvPr/>
          </p:nvSpPr>
          <p:spPr>
            <a:xfrm>
              <a:off x="1882140" y="3594274"/>
              <a:ext cx="5295900" cy="784830"/>
            </a:xfrm>
            <a:prstGeom prst="rect">
              <a:avLst/>
            </a:prstGeom>
          </p:spPr>
          <p:txBody>
            <a:bodyPr wrap="square">
              <a:spAutoFit/>
            </a:bodyPr>
            <a:lstStyle/>
            <a:p>
              <a:pPr>
                <a:spcAft>
                  <a:spcPts val="600"/>
                </a:spcAft>
              </a:pPr>
              <a:r>
                <a:rPr lang="en-US" sz="1500" dirty="0" smtClean="0">
                  <a:latin typeface="+mj-lt"/>
                </a:rPr>
                <a:t>“…Cisco’s </a:t>
              </a:r>
              <a:r>
                <a:rPr lang="en-US" sz="1500" dirty="0">
                  <a:latin typeface="+mj-lt"/>
                </a:rPr>
                <a:t>approach of integrating SDN into the mobile services core </a:t>
              </a:r>
              <a:r>
                <a:rPr lang="en-US" sz="1500" dirty="0" smtClean="0">
                  <a:latin typeface="+mj-lt"/>
                </a:rPr>
                <a:t>will </a:t>
              </a:r>
              <a:r>
                <a:rPr lang="en-US" sz="1500" dirty="0">
                  <a:latin typeface="+mj-lt"/>
                </a:rPr>
                <a:t>enable our customers to </a:t>
              </a:r>
              <a:r>
                <a:rPr lang="en-US" sz="1500" dirty="0" smtClean="0">
                  <a:latin typeface="+mj-lt"/>
                </a:rPr>
                <a:t>be </a:t>
              </a:r>
              <a:r>
                <a:rPr lang="en-US" sz="1500" dirty="0">
                  <a:latin typeface="+mj-lt"/>
                </a:rPr>
                <a:t>served better with exactly </a:t>
              </a:r>
              <a:r>
                <a:rPr lang="en-US" sz="1500" dirty="0" smtClean="0">
                  <a:latin typeface="+mj-lt"/>
                </a:rPr>
                <a:t>what </a:t>
              </a:r>
              <a:r>
                <a:rPr lang="en-US" sz="1500" dirty="0">
                  <a:latin typeface="+mj-lt"/>
                </a:rPr>
                <a:t>they want, </a:t>
              </a:r>
              <a:r>
                <a:rPr lang="en-US" sz="1500" dirty="0" smtClean="0">
                  <a:latin typeface="+mj-lt"/>
                </a:rPr>
                <a:t>when </a:t>
              </a:r>
              <a:r>
                <a:rPr lang="en-US" sz="1500" dirty="0">
                  <a:latin typeface="+mj-lt"/>
                </a:rPr>
                <a:t>they want it</a:t>
              </a:r>
              <a:r>
                <a:rPr lang="en-US" sz="1500" dirty="0" smtClean="0">
                  <a:latin typeface="+mj-lt"/>
                </a:rPr>
                <a:t>.”</a:t>
              </a:r>
              <a:endParaRPr lang="en-US" sz="1500" dirty="0">
                <a:latin typeface="+mj-lt"/>
              </a:endParaRPr>
            </a:p>
          </p:txBody>
        </p:sp>
        <p:pic>
          <p:nvPicPr>
            <p:cNvPr id="40" name="Picture 3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27827" y="3775570"/>
              <a:ext cx="1071661" cy="422239"/>
            </a:xfrm>
            <a:prstGeom prst="rect">
              <a:avLst/>
            </a:prstGeom>
          </p:spPr>
        </p:pic>
        <p:sp>
          <p:nvSpPr>
            <p:cNvPr id="44" name="Rounded Rectangle 43"/>
            <p:cNvSpPr/>
            <p:nvPr/>
          </p:nvSpPr>
          <p:spPr>
            <a:xfrm>
              <a:off x="536727" y="3438049"/>
              <a:ext cx="1097280" cy="1097280"/>
            </a:xfrm>
            <a:prstGeom prst="roundRect">
              <a:avLst>
                <a:gd name="adj" fmla="val 50000"/>
              </a:avLst>
            </a:prstGeom>
            <a:solidFill>
              <a:schemeClr val="accent1">
                <a:lumMod val="20000"/>
                <a:lumOff val="80000"/>
              </a:schemeClr>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latin typeface="+mj-lt"/>
              </a:endParaRPr>
            </a:p>
          </p:txBody>
        </p:sp>
        <p:grpSp>
          <p:nvGrpSpPr>
            <p:cNvPr id="4" name="Group 48"/>
            <p:cNvGrpSpPr/>
            <p:nvPr/>
          </p:nvGrpSpPr>
          <p:grpSpPr>
            <a:xfrm>
              <a:off x="585305" y="3565163"/>
              <a:ext cx="1000125" cy="843052"/>
              <a:chOff x="585305" y="3589020"/>
              <a:chExt cx="1000125" cy="843052"/>
            </a:xfrm>
          </p:grpSpPr>
          <p:sp>
            <p:nvSpPr>
              <p:cNvPr id="45" name="TextBox 44"/>
              <p:cNvSpPr txBox="1">
                <a:spLocks noChangeAspect="1"/>
              </p:cNvSpPr>
              <p:nvPr/>
            </p:nvSpPr>
            <p:spPr>
              <a:xfrm>
                <a:off x="585305" y="3589020"/>
                <a:ext cx="1000125" cy="465455"/>
              </a:xfrm>
              <a:prstGeom prst="rect">
                <a:avLst/>
              </a:prstGeom>
              <a:noFill/>
              <a:effectLst/>
            </p:spPr>
            <p:txBody>
              <a:bodyPr wrap="none" rtlCol="0">
                <a:noAutofit/>
              </a:bodyPr>
              <a:lstStyle/>
              <a:p>
                <a:pPr algn="ctr">
                  <a:lnSpc>
                    <a:spcPct val="95000"/>
                  </a:lnSpc>
                </a:pPr>
                <a:r>
                  <a:rPr lang="en-US" sz="3200" b="1" dirty="0" smtClean="0">
                    <a:solidFill>
                      <a:schemeClr val="accent1"/>
                    </a:solidFill>
                    <a:latin typeface="+mj-lt"/>
                  </a:rPr>
                  <a:t>35%</a:t>
                </a:r>
              </a:p>
            </p:txBody>
          </p:sp>
          <p:sp>
            <p:nvSpPr>
              <p:cNvPr id="48" name="Rectangle 47"/>
              <p:cNvSpPr/>
              <p:nvPr/>
            </p:nvSpPr>
            <p:spPr>
              <a:xfrm>
                <a:off x="609601" y="4001185"/>
                <a:ext cx="950912" cy="430887"/>
              </a:xfrm>
              <a:prstGeom prst="rect">
                <a:avLst/>
              </a:prstGeom>
            </p:spPr>
            <p:txBody>
              <a:bodyPr wrap="square">
                <a:spAutoFit/>
              </a:bodyPr>
              <a:lstStyle/>
              <a:p>
                <a:pPr algn="ctr"/>
                <a:r>
                  <a:rPr lang="en-US" sz="1100" b="1" dirty="0" err="1" smtClean="0">
                    <a:solidFill>
                      <a:schemeClr val="accent1"/>
                    </a:solidFill>
                    <a:latin typeface="+mj-lt"/>
                  </a:rPr>
                  <a:t>OpEx</a:t>
                </a:r>
                <a:r>
                  <a:rPr lang="en-US" sz="1100" b="1" dirty="0" smtClean="0">
                    <a:solidFill>
                      <a:schemeClr val="accent1"/>
                    </a:solidFill>
                    <a:latin typeface="+mj-lt"/>
                  </a:rPr>
                  <a:t/>
                </a:r>
                <a:br>
                  <a:rPr lang="en-US" sz="1100" b="1" dirty="0" smtClean="0">
                    <a:solidFill>
                      <a:schemeClr val="accent1"/>
                    </a:solidFill>
                    <a:latin typeface="+mj-lt"/>
                  </a:rPr>
                </a:br>
                <a:r>
                  <a:rPr lang="en-US" sz="1100" b="1" dirty="0" smtClean="0">
                    <a:solidFill>
                      <a:schemeClr val="accent1"/>
                    </a:solidFill>
                    <a:latin typeface="+mj-lt"/>
                  </a:rPr>
                  <a:t>Savings</a:t>
                </a:r>
                <a:endParaRPr lang="en-US" sz="1100" dirty="0">
                  <a:latin typeface="+mj-lt"/>
                </a:endParaRPr>
              </a:p>
            </p:txBody>
          </p:sp>
        </p:grpSp>
      </p:grpSp>
      <p:sp>
        <p:nvSpPr>
          <p:cNvPr id="50" name="Rectangle 49"/>
          <p:cNvSpPr/>
          <p:nvPr/>
        </p:nvSpPr>
        <p:spPr>
          <a:xfrm>
            <a:off x="265430" y="1152009"/>
            <a:ext cx="2315930" cy="338554"/>
          </a:xfrm>
          <a:prstGeom prst="rect">
            <a:avLst/>
          </a:prstGeom>
          <a:solidFill>
            <a:schemeClr val="accent1"/>
          </a:solidFill>
        </p:spPr>
        <p:txBody>
          <a:bodyPr wrap="square">
            <a:spAutoFit/>
          </a:bodyPr>
          <a:lstStyle/>
          <a:p>
            <a:r>
              <a:rPr lang="en-US" sz="1600" dirty="0" smtClean="0">
                <a:solidFill>
                  <a:srgbClr val="FFFFFF"/>
                </a:solidFill>
                <a:latin typeface="+mj-lt"/>
              </a:rPr>
              <a:t>5G Ready Architecture</a:t>
            </a:r>
          </a:p>
        </p:txBody>
      </p:sp>
      <p:sp>
        <p:nvSpPr>
          <p:cNvPr id="68" name="Rectangle 67"/>
          <p:cNvSpPr/>
          <p:nvPr/>
        </p:nvSpPr>
        <p:spPr>
          <a:xfrm>
            <a:off x="273050" y="1524584"/>
            <a:ext cx="2834640" cy="2012794"/>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72" name="Rectangle 71"/>
          <p:cNvSpPr/>
          <p:nvPr/>
        </p:nvSpPr>
        <p:spPr>
          <a:xfrm>
            <a:off x="3149139" y="1524584"/>
            <a:ext cx="2834640" cy="2012794"/>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pic>
        <p:nvPicPr>
          <p:cNvPr id="75" name="Picture 74"/>
          <p:cNvPicPr>
            <a:picLocks noChangeAspect="1"/>
          </p:cNvPicPr>
          <p:nvPr/>
        </p:nvPicPr>
        <p:blipFill rotWithShape="1">
          <a:blip r:embed="rId4" cstate="screen">
            <a:extLst>
              <a:ext uri="{28A0092B-C50C-407E-A947-70E740481C1C}">
                <a14:useLocalDpi xmlns:a14="http://schemas.microsoft.com/office/drawing/2010/main"/>
              </a:ext>
            </a:extLst>
          </a:blip>
          <a:srcRect l="1658" t="5400" r="2997" b="4979"/>
          <a:stretch/>
        </p:blipFill>
        <p:spPr>
          <a:xfrm>
            <a:off x="684321" y="2182231"/>
            <a:ext cx="2012099" cy="1149138"/>
          </a:xfrm>
          <a:prstGeom prst="roundRect">
            <a:avLst>
              <a:gd name="adj" fmla="val 2679"/>
            </a:avLst>
          </a:prstGeom>
          <a:noFill/>
          <a:ln>
            <a:noFill/>
          </a:ln>
        </p:spPr>
      </p:pic>
      <p:pic>
        <p:nvPicPr>
          <p:cNvPr id="76" name="Picture 7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457237" y="2379560"/>
            <a:ext cx="2218445" cy="951809"/>
          </a:xfrm>
          <a:prstGeom prst="rect">
            <a:avLst/>
          </a:prstGeom>
          <a:noFill/>
          <a:ln>
            <a:noFill/>
          </a:ln>
        </p:spPr>
      </p:pic>
      <p:grpSp>
        <p:nvGrpSpPr>
          <p:cNvPr id="5" name="Group 90"/>
          <p:cNvGrpSpPr/>
          <p:nvPr/>
        </p:nvGrpSpPr>
        <p:grpSpPr>
          <a:xfrm>
            <a:off x="6497011" y="2442225"/>
            <a:ext cx="1891074" cy="889144"/>
            <a:chOff x="6382976" y="2267220"/>
            <a:chExt cx="2119146" cy="996379"/>
          </a:xfrm>
        </p:grpSpPr>
        <p:sp>
          <p:nvSpPr>
            <p:cNvPr id="86" name="Freeform 6"/>
            <p:cNvSpPr>
              <a:spLocks/>
            </p:cNvSpPr>
            <p:nvPr/>
          </p:nvSpPr>
          <p:spPr bwMode="auto">
            <a:xfrm>
              <a:off x="6599817" y="2299001"/>
              <a:ext cx="1685464" cy="964598"/>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a:latin typeface="+mj-lt"/>
              </a:endParaRPr>
            </a:p>
          </p:txBody>
        </p:sp>
        <p:grpSp>
          <p:nvGrpSpPr>
            <p:cNvPr id="6" name="Group 89"/>
            <p:cNvGrpSpPr/>
            <p:nvPr/>
          </p:nvGrpSpPr>
          <p:grpSpPr>
            <a:xfrm>
              <a:off x="6693835" y="2506813"/>
              <a:ext cx="1497430" cy="617448"/>
              <a:chOff x="6706110" y="2506813"/>
              <a:chExt cx="1497430" cy="617448"/>
            </a:xfrm>
          </p:grpSpPr>
          <p:cxnSp>
            <p:nvCxnSpPr>
              <p:cNvPr id="79" name="Straight Connector 78"/>
              <p:cNvCxnSpPr>
                <a:endCxn id="82" idx="2"/>
              </p:cNvCxnSpPr>
              <p:nvPr/>
            </p:nvCxnSpPr>
            <p:spPr>
              <a:xfrm flipV="1">
                <a:off x="6706110" y="2506813"/>
                <a:ext cx="748715" cy="59250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endCxn id="82" idx="2"/>
              </p:cNvCxnSpPr>
              <p:nvPr/>
            </p:nvCxnSpPr>
            <p:spPr>
              <a:xfrm flipH="1" flipV="1">
                <a:off x="7454825" y="2506813"/>
                <a:ext cx="748715" cy="617448"/>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81" name="Rounded Rectangle 80"/>
            <p:cNvSpPr/>
            <p:nvPr/>
          </p:nvSpPr>
          <p:spPr>
            <a:xfrm>
              <a:off x="6912321" y="2267220"/>
              <a:ext cx="1060457" cy="115816"/>
            </a:xfrm>
            <a:prstGeom prst="roundRect">
              <a:avLst>
                <a:gd name="adj" fmla="val 0"/>
              </a:avLst>
            </a:prstGeom>
            <a:solidFill>
              <a:schemeClr val="bg2"/>
            </a:solidFill>
            <a:ln w="9525" cap="flat" cmpd="sng" algn="ctr">
              <a:noFill/>
              <a:prstDash val="solid"/>
            </a:ln>
            <a:effectLst/>
          </p:spPr>
          <p:txBody>
            <a:bodyPr wrap="none" rtlCol="0" anchor="ctr"/>
            <a:lstStyle/>
            <a:p>
              <a:pPr algn="ctr" defTabSz="914400" fontAlgn="auto">
                <a:spcBef>
                  <a:spcPts val="0"/>
                </a:spcBef>
                <a:spcAft>
                  <a:spcPts val="0"/>
                </a:spcAft>
              </a:pPr>
              <a:r>
                <a:rPr lang="en-US" sz="700" kern="0" dirty="0">
                  <a:solidFill>
                    <a:prstClr val="white"/>
                  </a:solidFill>
                  <a:latin typeface="+mj-lt"/>
                  <a:ea typeface=""/>
                </a:rPr>
                <a:t>Management Plane</a:t>
              </a:r>
            </a:p>
          </p:txBody>
        </p:sp>
        <p:sp>
          <p:nvSpPr>
            <p:cNvPr id="82" name="Rounded Rectangle 81"/>
            <p:cNvSpPr/>
            <p:nvPr/>
          </p:nvSpPr>
          <p:spPr>
            <a:xfrm>
              <a:off x="6912321" y="2390997"/>
              <a:ext cx="1060457" cy="115816"/>
            </a:xfrm>
            <a:prstGeom prst="roundRect">
              <a:avLst>
                <a:gd name="adj" fmla="val 0"/>
              </a:avLst>
            </a:prstGeom>
            <a:solidFill>
              <a:schemeClr val="bg2"/>
            </a:solidFill>
            <a:ln w="9525" cap="flat" cmpd="sng" algn="ctr">
              <a:noFill/>
              <a:prstDash val="solid"/>
            </a:ln>
            <a:effectLst/>
          </p:spPr>
          <p:txBody>
            <a:bodyPr wrap="none" rtlCol="0" anchor="ctr"/>
            <a:lstStyle/>
            <a:p>
              <a:pPr algn="ctr" defTabSz="914400" fontAlgn="auto">
                <a:spcBef>
                  <a:spcPts val="0"/>
                </a:spcBef>
                <a:spcAft>
                  <a:spcPts val="0"/>
                </a:spcAft>
              </a:pPr>
              <a:r>
                <a:rPr lang="en-US" sz="700" kern="0" dirty="0">
                  <a:solidFill>
                    <a:prstClr val="white"/>
                  </a:solidFill>
                  <a:latin typeface="+mj-lt"/>
                  <a:ea typeface=""/>
                </a:rPr>
                <a:t>Control Plane</a:t>
              </a:r>
            </a:p>
          </p:txBody>
        </p:sp>
        <p:grpSp>
          <p:nvGrpSpPr>
            <p:cNvPr id="7" name="Group 88"/>
            <p:cNvGrpSpPr/>
            <p:nvPr/>
          </p:nvGrpSpPr>
          <p:grpSpPr>
            <a:xfrm>
              <a:off x="6382976" y="3083756"/>
              <a:ext cx="2119146" cy="80657"/>
              <a:chOff x="6382976" y="3083756"/>
              <a:chExt cx="2119146" cy="80657"/>
            </a:xfrm>
            <a:solidFill>
              <a:schemeClr val="bg2"/>
            </a:solidFill>
          </p:grpSpPr>
          <p:sp>
            <p:nvSpPr>
              <p:cNvPr id="83" name="Rounded Rectangle 82"/>
              <p:cNvSpPr/>
              <p:nvPr/>
            </p:nvSpPr>
            <p:spPr>
              <a:xfrm>
                <a:off x="6382976" y="3083756"/>
                <a:ext cx="558259" cy="80657"/>
              </a:xfrm>
              <a:prstGeom prst="roundRect">
                <a:avLst>
                  <a:gd name="adj" fmla="val 0"/>
                </a:avLst>
              </a:prstGeom>
              <a:grpFill/>
              <a:ln w="9525" cap="flat" cmpd="sng" algn="ctr">
                <a:noFill/>
                <a:prstDash val="solid"/>
              </a:ln>
              <a:effectLst/>
            </p:spPr>
            <p:txBody>
              <a:bodyPr wrap="none" rtlCol="0" anchor="ctr"/>
              <a:lstStyle/>
              <a:p>
                <a:pPr algn="ctr" defTabSz="914400" fontAlgn="auto">
                  <a:spcBef>
                    <a:spcPts val="0"/>
                  </a:spcBef>
                  <a:spcAft>
                    <a:spcPts val="0"/>
                  </a:spcAft>
                </a:pPr>
                <a:r>
                  <a:rPr lang="en-US" sz="500" kern="0" dirty="0">
                    <a:solidFill>
                      <a:prstClr val="white"/>
                    </a:solidFill>
                    <a:latin typeface="+mj-lt"/>
                    <a:ea typeface=""/>
                  </a:rPr>
                  <a:t>User Plane</a:t>
                </a:r>
              </a:p>
            </p:txBody>
          </p:sp>
          <p:sp>
            <p:nvSpPr>
              <p:cNvPr id="84" name="Rounded Rectangle 83"/>
              <p:cNvSpPr/>
              <p:nvPr/>
            </p:nvSpPr>
            <p:spPr>
              <a:xfrm>
                <a:off x="7943863" y="3083756"/>
                <a:ext cx="558259" cy="80657"/>
              </a:xfrm>
              <a:prstGeom prst="roundRect">
                <a:avLst>
                  <a:gd name="adj" fmla="val 0"/>
                </a:avLst>
              </a:prstGeom>
              <a:grpFill/>
              <a:ln w="9525" cap="flat" cmpd="sng" algn="ctr">
                <a:noFill/>
                <a:prstDash val="solid"/>
              </a:ln>
              <a:effectLst/>
            </p:spPr>
            <p:txBody>
              <a:bodyPr wrap="none" rtlCol="0" anchor="ctr"/>
              <a:lstStyle/>
              <a:p>
                <a:pPr algn="ctr" defTabSz="914400" fontAlgn="auto">
                  <a:spcBef>
                    <a:spcPts val="0"/>
                  </a:spcBef>
                  <a:spcAft>
                    <a:spcPts val="0"/>
                  </a:spcAft>
                </a:pPr>
                <a:r>
                  <a:rPr lang="en-US" sz="500" kern="0" dirty="0">
                    <a:solidFill>
                      <a:prstClr val="white"/>
                    </a:solidFill>
                    <a:latin typeface="+mj-lt"/>
                    <a:ea typeface=""/>
                  </a:rPr>
                  <a:t>User Plane</a:t>
                </a:r>
              </a:p>
            </p:txBody>
          </p:sp>
        </p:grpSp>
      </p:grpSp>
      <p:sp>
        <p:nvSpPr>
          <p:cNvPr id="92" name="TextBox 91"/>
          <p:cNvSpPr txBox="1"/>
          <p:nvPr/>
        </p:nvSpPr>
        <p:spPr>
          <a:xfrm>
            <a:off x="3797299" y="1705360"/>
            <a:ext cx="1538321" cy="276999"/>
          </a:xfrm>
          <a:prstGeom prst="rect">
            <a:avLst/>
          </a:prstGeom>
          <a:noFill/>
        </p:spPr>
        <p:txBody>
          <a:bodyPr wrap="square" rtlCol="0">
            <a:spAutoFit/>
          </a:bodyPr>
          <a:lstStyle/>
          <a:p>
            <a:pPr algn="ctr"/>
            <a:r>
              <a:rPr lang="en-US" sz="1200" dirty="0" smtClean="0">
                <a:solidFill>
                  <a:schemeClr val="accent1"/>
                </a:solidFill>
                <a:latin typeface="+mj-lt"/>
              </a:rPr>
              <a:t>Network Slicing</a:t>
            </a:r>
            <a:endParaRPr lang="en-US" sz="1200" dirty="0">
              <a:solidFill>
                <a:schemeClr val="accent1"/>
              </a:solidFill>
              <a:latin typeface="+mj-lt"/>
            </a:endParaRPr>
          </a:p>
        </p:txBody>
      </p:sp>
      <p:sp>
        <p:nvSpPr>
          <p:cNvPr id="93" name="TextBox 92"/>
          <p:cNvSpPr txBox="1"/>
          <p:nvPr/>
        </p:nvSpPr>
        <p:spPr>
          <a:xfrm>
            <a:off x="6096001" y="1705360"/>
            <a:ext cx="2693096" cy="461665"/>
          </a:xfrm>
          <a:prstGeom prst="rect">
            <a:avLst/>
          </a:prstGeom>
          <a:noFill/>
        </p:spPr>
        <p:txBody>
          <a:bodyPr wrap="square" rtlCol="0" anchor="ctr">
            <a:spAutoFit/>
          </a:bodyPr>
          <a:lstStyle/>
          <a:p>
            <a:pPr algn="ctr"/>
            <a:r>
              <a:rPr lang="en-US" sz="1200" dirty="0" smtClean="0">
                <a:solidFill>
                  <a:schemeClr val="accent1"/>
                </a:solidFill>
                <a:latin typeface="+mj-lt"/>
              </a:rPr>
              <a:t>Distributed Architecture Control, </a:t>
            </a:r>
            <a:br>
              <a:rPr lang="en-US" sz="1200" dirty="0" smtClean="0">
                <a:solidFill>
                  <a:schemeClr val="accent1"/>
                </a:solidFill>
                <a:latin typeface="+mj-lt"/>
              </a:rPr>
            </a:br>
            <a:r>
              <a:rPr lang="en-US" sz="1200" dirty="0" smtClean="0">
                <a:solidFill>
                  <a:schemeClr val="accent1"/>
                </a:solidFill>
                <a:latin typeface="+mj-lt"/>
              </a:rPr>
              <a:t>User Plane Separation (CUPS)</a:t>
            </a:r>
            <a:endParaRPr lang="en-US" sz="1200" dirty="0">
              <a:solidFill>
                <a:schemeClr val="accent1"/>
              </a:solidFill>
              <a:latin typeface="+mj-lt"/>
            </a:endParaRPr>
          </a:p>
        </p:txBody>
      </p:sp>
      <p:sp>
        <p:nvSpPr>
          <p:cNvPr id="94" name="TextBox 93"/>
          <p:cNvSpPr txBox="1"/>
          <p:nvPr/>
        </p:nvSpPr>
        <p:spPr>
          <a:xfrm>
            <a:off x="967576" y="1705360"/>
            <a:ext cx="1445588" cy="276999"/>
          </a:xfrm>
          <a:prstGeom prst="rect">
            <a:avLst/>
          </a:prstGeom>
          <a:noFill/>
        </p:spPr>
        <p:txBody>
          <a:bodyPr wrap="none" rtlCol="0">
            <a:spAutoFit/>
          </a:bodyPr>
          <a:lstStyle/>
          <a:p>
            <a:pPr algn="ctr"/>
            <a:r>
              <a:rPr lang="en-US" sz="1200" dirty="0" smtClean="0">
                <a:solidFill>
                  <a:schemeClr val="accent1"/>
                </a:solidFill>
                <a:latin typeface="+mj-lt"/>
              </a:rPr>
              <a:t>Simplify, Automate</a:t>
            </a:r>
            <a:endParaRPr lang="en-US" sz="1200" dirty="0">
              <a:solidFill>
                <a:schemeClr val="accent1"/>
              </a:solidFill>
              <a:latin typeface="+mj-lt"/>
            </a:endParaRPr>
          </a:p>
        </p:txBody>
      </p:sp>
      <p:sp>
        <p:nvSpPr>
          <p:cNvPr id="32" name="TextBox 31"/>
          <p:cNvSpPr txBox="1"/>
          <p:nvPr/>
        </p:nvSpPr>
        <p:spPr>
          <a:xfrm>
            <a:off x="2006440" y="4531045"/>
            <a:ext cx="597921" cy="107722"/>
          </a:xfrm>
          <a:prstGeom prst="rect">
            <a:avLst/>
          </a:prstGeom>
          <a:noFill/>
        </p:spPr>
        <p:txBody>
          <a:bodyPr wrap="none" lIns="0" tIns="0" rIns="0" bIns="0" rtlCol="0">
            <a:spAutoFit/>
          </a:bodyPr>
          <a:lstStyle/>
          <a:p>
            <a:r>
              <a:rPr lang="en-US" sz="700" dirty="0" smtClean="0">
                <a:latin typeface="+mj-lt"/>
              </a:rPr>
              <a:t>*IDC Research</a:t>
            </a:r>
            <a:endParaRPr lang="en-US" sz="700" dirty="0">
              <a:latin typeface="+mj-lt"/>
            </a:endParaRPr>
          </a:p>
        </p:txBody>
      </p:sp>
    </p:spTree>
    <p:extLst>
      <p:ext uri="{BB962C8B-B14F-4D97-AF65-F5344CB8AC3E}">
        <p14:creationId xmlns:p14="http://schemas.microsoft.com/office/powerpoint/2010/main" val="1828403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isco Ultra Services Platform</a:t>
            </a:r>
            <a:endParaRPr lang="en-US" dirty="0"/>
          </a:p>
        </p:txBody>
      </p:sp>
      <p:sp>
        <p:nvSpPr>
          <p:cNvPr id="39" name="Rectangle 38"/>
          <p:cNvSpPr/>
          <p:nvPr/>
        </p:nvSpPr>
        <p:spPr>
          <a:xfrm>
            <a:off x="265430" y="1152009"/>
            <a:ext cx="4985766" cy="338554"/>
          </a:xfrm>
          <a:prstGeom prst="rect">
            <a:avLst/>
          </a:prstGeom>
          <a:solidFill>
            <a:schemeClr val="accent1"/>
          </a:solidFill>
        </p:spPr>
        <p:txBody>
          <a:bodyPr wrap="square">
            <a:spAutoFit/>
          </a:bodyPr>
          <a:lstStyle/>
          <a:p>
            <a:r>
              <a:rPr lang="en-US" sz="1600" dirty="0" smtClean="0">
                <a:solidFill>
                  <a:srgbClr val="FFFFFF"/>
                </a:solidFill>
                <a:latin typeface="+mj-lt"/>
              </a:rPr>
              <a:t>Deliver Instant Mobile Networks with Network Slicing</a:t>
            </a:r>
          </a:p>
        </p:txBody>
      </p:sp>
      <p:sp>
        <p:nvSpPr>
          <p:cNvPr id="40" name="Rectangle 39"/>
          <p:cNvSpPr/>
          <p:nvPr/>
        </p:nvSpPr>
        <p:spPr>
          <a:xfrm>
            <a:off x="4590923" y="1543050"/>
            <a:ext cx="4270248" cy="3174999"/>
          </a:xfrm>
          <a:prstGeom prst="rect">
            <a:avLst/>
          </a:pr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41" name="Rectangle 40"/>
          <p:cNvSpPr/>
          <p:nvPr/>
        </p:nvSpPr>
        <p:spPr>
          <a:xfrm>
            <a:off x="273050" y="1543051"/>
            <a:ext cx="4270248" cy="317499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sp>
        <p:nvSpPr>
          <p:cNvPr id="43" name="Rectangle 42"/>
          <p:cNvSpPr/>
          <p:nvPr/>
        </p:nvSpPr>
        <p:spPr>
          <a:xfrm>
            <a:off x="3495420" y="1810157"/>
            <a:ext cx="2143380" cy="2640785"/>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6" name="Freeform 6"/>
          <p:cNvSpPr>
            <a:spLocks noEditPoints="1"/>
          </p:cNvSpPr>
          <p:nvPr/>
        </p:nvSpPr>
        <p:spPr bwMode="auto">
          <a:xfrm>
            <a:off x="3616778" y="3257261"/>
            <a:ext cx="426047" cy="468138"/>
          </a:xfrm>
          <a:custGeom>
            <a:avLst/>
            <a:gdLst/>
            <a:ahLst/>
            <a:cxnLst>
              <a:cxn ang="0">
                <a:pos x="276" y="1369"/>
              </a:cxn>
              <a:cxn ang="0">
                <a:pos x="633" y="506"/>
              </a:cxn>
              <a:cxn ang="0">
                <a:pos x="311" y="1220"/>
              </a:cxn>
              <a:cxn ang="0">
                <a:pos x="276" y="1185"/>
              </a:cxn>
              <a:cxn ang="0">
                <a:pos x="311" y="1565"/>
              </a:cxn>
              <a:cxn ang="0">
                <a:pos x="621" y="955"/>
              </a:cxn>
              <a:cxn ang="0">
                <a:pos x="587" y="989"/>
              </a:cxn>
              <a:cxn ang="0">
                <a:pos x="552" y="1369"/>
              </a:cxn>
              <a:cxn ang="0">
                <a:pos x="621" y="1139"/>
              </a:cxn>
              <a:cxn ang="0">
                <a:pos x="587" y="1680"/>
              </a:cxn>
              <a:cxn ang="0">
                <a:pos x="552" y="1645"/>
              </a:cxn>
              <a:cxn ang="0">
                <a:pos x="449" y="1105"/>
              </a:cxn>
              <a:cxn ang="0">
                <a:pos x="483" y="1415"/>
              </a:cxn>
              <a:cxn ang="0">
                <a:pos x="449" y="1450"/>
              </a:cxn>
              <a:cxn ang="0">
                <a:pos x="414" y="1599"/>
              </a:cxn>
              <a:cxn ang="0">
                <a:pos x="483" y="909"/>
              </a:cxn>
              <a:cxn ang="0">
                <a:pos x="311" y="989"/>
              </a:cxn>
              <a:cxn ang="0">
                <a:pos x="276" y="955"/>
              </a:cxn>
              <a:cxn ang="0">
                <a:pos x="1553" y="1703"/>
              </a:cxn>
              <a:cxn ang="0">
                <a:pos x="1450" y="633"/>
              </a:cxn>
              <a:cxn ang="0">
                <a:pos x="1415" y="667"/>
              </a:cxn>
              <a:cxn ang="0">
                <a:pos x="1381" y="817"/>
              </a:cxn>
              <a:cxn ang="0">
                <a:pos x="1450" y="357"/>
              </a:cxn>
              <a:cxn ang="0">
                <a:pos x="1277" y="437"/>
              </a:cxn>
              <a:cxn ang="0">
                <a:pos x="1243" y="403"/>
              </a:cxn>
              <a:cxn ang="0">
                <a:pos x="1277" y="552"/>
              </a:cxn>
              <a:cxn ang="0">
                <a:pos x="1772" y="1979"/>
              </a:cxn>
              <a:cxn ang="0">
                <a:pos x="1059" y="322"/>
              </a:cxn>
              <a:cxn ang="0">
                <a:pos x="805" y="35"/>
              </a:cxn>
              <a:cxn ang="0">
                <a:pos x="552" y="173"/>
              </a:cxn>
              <a:cxn ang="0">
                <a:pos x="127" y="644"/>
              </a:cxn>
              <a:cxn ang="0">
                <a:pos x="35" y="2048"/>
              </a:cxn>
              <a:cxn ang="0">
                <a:pos x="920" y="207"/>
              </a:cxn>
              <a:cxn ang="0">
                <a:pos x="483" y="1979"/>
              </a:cxn>
              <a:cxn ang="0">
                <a:pos x="391" y="1979"/>
              </a:cxn>
              <a:cxn ang="0">
                <a:pos x="575" y="1979"/>
              </a:cxn>
              <a:cxn ang="0">
                <a:pos x="322" y="1979"/>
              </a:cxn>
              <a:cxn ang="0">
                <a:pos x="771" y="644"/>
              </a:cxn>
              <a:cxn ang="0">
                <a:pos x="805" y="1059"/>
              </a:cxn>
              <a:cxn ang="0">
                <a:pos x="805" y="874"/>
              </a:cxn>
              <a:cxn ang="0">
                <a:pos x="805" y="690"/>
              </a:cxn>
              <a:cxn ang="0">
                <a:pos x="805" y="1128"/>
              </a:cxn>
              <a:cxn ang="0">
                <a:pos x="1450" y="1047"/>
              </a:cxn>
              <a:cxn ang="0">
                <a:pos x="1312" y="1047"/>
              </a:cxn>
              <a:cxn ang="0">
                <a:pos x="1128" y="207"/>
              </a:cxn>
              <a:cxn ang="0">
                <a:pos x="1312" y="817"/>
              </a:cxn>
              <a:cxn ang="0">
                <a:pos x="955" y="1910"/>
              </a:cxn>
              <a:cxn ang="0">
                <a:pos x="920" y="1875"/>
              </a:cxn>
              <a:cxn ang="0">
                <a:pos x="1553" y="552"/>
              </a:cxn>
              <a:cxn ang="0">
                <a:pos x="1266" y="1875"/>
              </a:cxn>
              <a:cxn ang="0">
                <a:pos x="1231" y="1910"/>
              </a:cxn>
              <a:cxn ang="0">
                <a:pos x="1519" y="357"/>
              </a:cxn>
              <a:cxn ang="0">
                <a:pos x="1128" y="1231"/>
              </a:cxn>
              <a:cxn ang="0">
                <a:pos x="1553" y="1588"/>
              </a:cxn>
              <a:cxn ang="0">
                <a:pos x="1519" y="1553"/>
              </a:cxn>
              <a:cxn ang="0">
                <a:pos x="1553" y="782"/>
              </a:cxn>
              <a:cxn ang="0">
                <a:pos x="1588" y="1323"/>
              </a:cxn>
              <a:cxn ang="0">
                <a:pos x="1553" y="1358"/>
              </a:cxn>
              <a:cxn ang="0">
                <a:pos x="1519" y="1047"/>
              </a:cxn>
            </a:cxnLst>
            <a:rect l="0" t="0" r="r" b="b"/>
            <a:pathLst>
              <a:path w="1864" h="2048">
                <a:moveTo>
                  <a:pt x="311" y="1450"/>
                </a:moveTo>
                <a:cubicBezTo>
                  <a:pt x="330" y="1450"/>
                  <a:pt x="345" y="1434"/>
                  <a:pt x="345" y="1415"/>
                </a:cubicBezTo>
                <a:cubicBezTo>
                  <a:pt x="345" y="1369"/>
                  <a:pt x="345" y="1369"/>
                  <a:pt x="345" y="1369"/>
                </a:cubicBezTo>
                <a:cubicBezTo>
                  <a:pt x="345" y="1350"/>
                  <a:pt x="330" y="1335"/>
                  <a:pt x="311" y="1335"/>
                </a:cubicBezTo>
                <a:cubicBezTo>
                  <a:pt x="292" y="1335"/>
                  <a:pt x="276" y="1350"/>
                  <a:pt x="276" y="1369"/>
                </a:cubicBezTo>
                <a:cubicBezTo>
                  <a:pt x="276" y="1415"/>
                  <a:pt x="276" y="1415"/>
                  <a:pt x="276" y="1415"/>
                </a:cubicBezTo>
                <a:cubicBezTo>
                  <a:pt x="276" y="1434"/>
                  <a:pt x="292" y="1450"/>
                  <a:pt x="311" y="1450"/>
                </a:cubicBezTo>
                <a:close/>
                <a:moveTo>
                  <a:pt x="944" y="541"/>
                </a:moveTo>
                <a:cubicBezTo>
                  <a:pt x="944" y="522"/>
                  <a:pt x="928" y="506"/>
                  <a:pt x="909" y="506"/>
                </a:cubicBezTo>
                <a:cubicBezTo>
                  <a:pt x="633" y="506"/>
                  <a:pt x="633" y="506"/>
                  <a:pt x="633" y="506"/>
                </a:cubicBezTo>
                <a:cubicBezTo>
                  <a:pt x="614" y="506"/>
                  <a:pt x="598" y="522"/>
                  <a:pt x="598" y="541"/>
                </a:cubicBezTo>
                <a:cubicBezTo>
                  <a:pt x="598" y="560"/>
                  <a:pt x="614" y="575"/>
                  <a:pt x="633" y="575"/>
                </a:cubicBezTo>
                <a:cubicBezTo>
                  <a:pt x="909" y="575"/>
                  <a:pt x="909" y="575"/>
                  <a:pt x="909" y="575"/>
                </a:cubicBezTo>
                <a:cubicBezTo>
                  <a:pt x="928" y="575"/>
                  <a:pt x="944" y="560"/>
                  <a:pt x="944" y="541"/>
                </a:cubicBezTo>
                <a:close/>
                <a:moveTo>
                  <a:pt x="311" y="1220"/>
                </a:moveTo>
                <a:cubicBezTo>
                  <a:pt x="330" y="1220"/>
                  <a:pt x="345" y="1204"/>
                  <a:pt x="345" y="1185"/>
                </a:cubicBezTo>
                <a:cubicBezTo>
                  <a:pt x="345" y="1139"/>
                  <a:pt x="345" y="1139"/>
                  <a:pt x="345" y="1139"/>
                </a:cubicBezTo>
                <a:cubicBezTo>
                  <a:pt x="345" y="1120"/>
                  <a:pt x="330" y="1105"/>
                  <a:pt x="311" y="1105"/>
                </a:cubicBezTo>
                <a:cubicBezTo>
                  <a:pt x="292" y="1105"/>
                  <a:pt x="276" y="1120"/>
                  <a:pt x="276" y="1139"/>
                </a:cubicBezTo>
                <a:cubicBezTo>
                  <a:pt x="276" y="1185"/>
                  <a:pt x="276" y="1185"/>
                  <a:pt x="276" y="1185"/>
                </a:cubicBezTo>
                <a:cubicBezTo>
                  <a:pt x="276" y="1204"/>
                  <a:pt x="292" y="1220"/>
                  <a:pt x="311" y="1220"/>
                </a:cubicBezTo>
                <a:close/>
                <a:moveTo>
                  <a:pt x="311" y="1680"/>
                </a:moveTo>
                <a:cubicBezTo>
                  <a:pt x="330" y="1680"/>
                  <a:pt x="345" y="1664"/>
                  <a:pt x="345" y="1645"/>
                </a:cubicBezTo>
                <a:cubicBezTo>
                  <a:pt x="345" y="1599"/>
                  <a:pt x="345" y="1599"/>
                  <a:pt x="345" y="1599"/>
                </a:cubicBezTo>
                <a:cubicBezTo>
                  <a:pt x="345" y="1580"/>
                  <a:pt x="330" y="1565"/>
                  <a:pt x="311" y="1565"/>
                </a:cubicBezTo>
                <a:cubicBezTo>
                  <a:pt x="292" y="1565"/>
                  <a:pt x="276" y="1580"/>
                  <a:pt x="276" y="1599"/>
                </a:cubicBezTo>
                <a:cubicBezTo>
                  <a:pt x="276" y="1645"/>
                  <a:pt x="276" y="1645"/>
                  <a:pt x="276" y="1645"/>
                </a:cubicBezTo>
                <a:cubicBezTo>
                  <a:pt x="276" y="1664"/>
                  <a:pt x="292" y="1680"/>
                  <a:pt x="311" y="1680"/>
                </a:cubicBezTo>
                <a:close/>
                <a:moveTo>
                  <a:pt x="587" y="989"/>
                </a:moveTo>
                <a:cubicBezTo>
                  <a:pt x="606" y="989"/>
                  <a:pt x="621" y="974"/>
                  <a:pt x="621" y="955"/>
                </a:cubicBezTo>
                <a:cubicBezTo>
                  <a:pt x="621" y="909"/>
                  <a:pt x="621" y="909"/>
                  <a:pt x="621" y="909"/>
                </a:cubicBezTo>
                <a:cubicBezTo>
                  <a:pt x="621" y="890"/>
                  <a:pt x="606" y="874"/>
                  <a:pt x="587" y="874"/>
                </a:cubicBezTo>
                <a:cubicBezTo>
                  <a:pt x="568" y="874"/>
                  <a:pt x="552" y="890"/>
                  <a:pt x="552" y="909"/>
                </a:cubicBezTo>
                <a:cubicBezTo>
                  <a:pt x="552" y="955"/>
                  <a:pt x="552" y="955"/>
                  <a:pt x="552" y="955"/>
                </a:cubicBezTo>
                <a:cubicBezTo>
                  <a:pt x="552" y="974"/>
                  <a:pt x="568" y="989"/>
                  <a:pt x="587" y="989"/>
                </a:cubicBezTo>
                <a:close/>
                <a:moveTo>
                  <a:pt x="587" y="1450"/>
                </a:moveTo>
                <a:cubicBezTo>
                  <a:pt x="606" y="1450"/>
                  <a:pt x="621" y="1434"/>
                  <a:pt x="621" y="1415"/>
                </a:cubicBezTo>
                <a:cubicBezTo>
                  <a:pt x="621" y="1369"/>
                  <a:pt x="621" y="1369"/>
                  <a:pt x="621" y="1369"/>
                </a:cubicBezTo>
                <a:cubicBezTo>
                  <a:pt x="621" y="1350"/>
                  <a:pt x="606" y="1335"/>
                  <a:pt x="587" y="1335"/>
                </a:cubicBezTo>
                <a:cubicBezTo>
                  <a:pt x="568" y="1335"/>
                  <a:pt x="552" y="1350"/>
                  <a:pt x="552" y="1369"/>
                </a:cubicBezTo>
                <a:cubicBezTo>
                  <a:pt x="552" y="1415"/>
                  <a:pt x="552" y="1415"/>
                  <a:pt x="552" y="1415"/>
                </a:cubicBezTo>
                <a:cubicBezTo>
                  <a:pt x="552" y="1434"/>
                  <a:pt x="568" y="1450"/>
                  <a:pt x="587" y="1450"/>
                </a:cubicBezTo>
                <a:close/>
                <a:moveTo>
                  <a:pt x="587" y="1220"/>
                </a:moveTo>
                <a:cubicBezTo>
                  <a:pt x="606" y="1220"/>
                  <a:pt x="621" y="1204"/>
                  <a:pt x="621" y="1185"/>
                </a:cubicBezTo>
                <a:cubicBezTo>
                  <a:pt x="621" y="1139"/>
                  <a:pt x="621" y="1139"/>
                  <a:pt x="621" y="1139"/>
                </a:cubicBezTo>
                <a:cubicBezTo>
                  <a:pt x="621" y="1120"/>
                  <a:pt x="606" y="1105"/>
                  <a:pt x="587" y="1105"/>
                </a:cubicBezTo>
                <a:cubicBezTo>
                  <a:pt x="568" y="1105"/>
                  <a:pt x="552" y="1120"/>
                  <a:pt x="552" y="1139"/>
                </a:cubicBezTo>
                <a:cubicBezTo>
                  <a:pt x="552" y="1185"/>
                  <a:pt x="552" y="1185"/>
                  <a:pt x="552" y="1185"/>
                </a:cubicBezTo>
                <a:cubicBezTo>
                  <a:pt x="552" y="1204"/>
                  <a:pt x="568" y="1220"/>
                  <a:pt x="587" y="1220"/>
                </a:cubicBezTo>
                <a:close/>
                <a:moveTo>
                  <a:pt x="587" y="1680"/>
                </a:moveTo>
                <a:cubicBezTo>
                  <a:pt x="606" y="1680"/>
                  <a:pt x="621" y="1664"/>
                  <a:pt x="621" y="1645"/>
                </a:cubicBezTo>
                <a:cubicBezTo>
                  <a:pt x="621" y="1599"/>
                  <a:pt x="621" y="1599"/>
                  <a:pt x="621" y="1599"/>
                </a:cubicBezTo>
                <a:cubicBezTo>
                  <a:pt x="621" y="1580"/>
                  <a:pt x="606" y="1565"/>
                  <a:pt x="587" y="1565"/>
                </a:cubicBezTo>
                <a:cubicBezTo>
                  <a:pt x="568" y="1565"/>
                  <a:pt x="552" y="1580"/>
                  <a:pt x="552" y="1599"/>
                </a:cubicBezTo>
                <a:cubicBezTo>
                  <a:pt x="552" y="1645"/>
                  <a:pt x="552" y="1645"/>
                  <a:pt x="552" y="1645"/>
                </a:cubicBezTo>
                <a:cubicBezTo>
                  <a:pt x="552" y="1664"/>
                  <a:pt x="568" y="1680"/>
                  <a:pt x="587" y="1680"/>
                </a:cubicBezTo>
                <a:close/>
                <a:moveTo>
                  <a:pt x="449" y="1220"/>
                </a:moveTo>
                <a:cubicBezTo>
                  <a:pt x="468" y="1220"/>
                  <a:pt x="483" y="1204"/>
                  <a:pt x="483" y="1185"/>
                </a:cubicBezTo>
                <a:cubicBezTo>
                  <a:pt x="483" y="1139"/>
                  <a:pt x="483" y="1139"/>
                  <a:pt x="483" y="1139"/>
                </a:cubicBezTo>
                <a:cubicBezTo>
                  <a:pt x="483" y="1120"/>
                  <a:pt x="468" y="1105"/>
                  <a:pt x="449" y="1105"/>
                </a:cubicBezTo>
                <a:cubicBezTo>
                  <a:pt x="430" y="1105"/>
                  <a:pt x="414" y="1120"/>
                  <a:pt x="414" y="1139"/>
                </a:cubicBezTo>
                <a:cubicBezTo>
                  <a:pt x="414" y="1185"/>
                  <a:pt x="414" y="1185"/>
                  <a:pt x="414" y="1185"/>
                </a:cubicBezTo>
                <a:cubicBezTo>
                  <a:pt x="414" y="1204"/>
                  <a:pt x="430" y="1220"/>
                  <a:pt x="449" y="1220"/>
                </a:cubicBezTo>
                <a:close/>
                <a:moveTo>
                  <a:pt x="449" y="1450"/>
                </a:moveTo>
                <a:cubicBezTo>
                  <a:pt x="468" y="1450"/>
                  <a:pt x="483" y="1434"/>
                  <a:pt x="483" y="1415"/>
                </a:cubicBezTo>
                <a:cubicBezTo>
                  <a:pt x="483" y="1369"/>
                  <a:pt x="483" y="1369"/>
                  <a:pt x="483" y="1369"/>
                </a:cubicBezTo>
                <a:cubicBezTo>
                  <a:pt x="483" y="1350"/>
                  <a:pt x="468" y="1335"/>
                  <a:pt x="449" y="1335"/>
                </a:cubicBezTo>
                <a:cubicBezTo>
                  <a:pt x="430" y="1335"/>
                  <a:pt x="414" y="1350"/>
                  <a:pt x="414" y="1369"/>
                </a:cubicBezTo>
                <a:cubicBezTo>
                  <a:pt x="414" y="1415"/>
                  <a:pt x="414" y="1415"/>
                  <a:pt x="414" y="1415"/>
                </a:cubicBezTo>
                <a:cubicBezTo>
                  <a:pt x="414" y="1434"/>
                  <a:pt x="430" y="1450"/>
                  <a:pt x="449" y="1450"/>
                </a:cubicBezTo>
                <a:close/>
                <a:moveTo>
                  <a:pt x="449" y="1680"/>
                </a:moveTo>
                <a:cubicBezTo>
                  <a:pt x="468" y="1680"/>
                  <a:pt x="483" y="1664"/>
                  <a:pt x="483" y="1645"/>
                </a:cubicBezTo>
                <a:cubicBezTo>
                  <a:pt x="483" y="1599"/>
                  <a:pt x="483" y="1599"/>
                  <a:pt x="483" y="1599"/>
                </a:cubicBezTo>
                <a:cubicBezTo>
                  <a:pt x="483" y="1580"/>
                  <a:pt x="468" y="1565"/>
                  <a:pt x="449" y="1565"/>
                </a:cubicBezTo>
                <a:cubicBezTo>
                  <a:pt x="430" y="1565"/>
                  <a:pt x="414" y="1580"/>
                  <a:pt x="414" y="1599"/>
                </a:cubicBezTo>
                <a:cubicBezTo>
                  <a:pt x="414" y="1645"/>
                  <a:pt x="414" y="1645"/>
                  <a:pt x="414" y="1645"/>
                </a:cubicBezTo>
                <a:cubicBezTo>
                  <a:pt x="414" y="1664"/>
                  <a:pt x="430" y="1680"/>
                  <a:pt x="449" y="1680"/>
                </a:cubicBezTo>
                <a:close/>
                <a:moveTo>
                  <a:pt x="449" y="989"/>
                </a:moveTo>
                <a:cubicBezTo>
                  <a:pt x="468" y="989"/>
                  <a:pt x="483" y="974"/>
                  <a:pt x="483" y="955"/>
                </a:cubicBezTo>
                <a:cubicBezTo>
                  <a:pt x="483" y="909"/>
                  <a:pt x="483" y="909"/>
                  <a:pt x="483" y="909"/>
                </a:cubicBezTo>
                <a:cubicBezTo>
                  <a:pt x="483" y="890"/>
                  <a:pt x="468" y="874"/>
                  <a:pt x="449" y="874"/>
                </a:cubicBezTo>
                <a:cubicBezTo>
                  <a:pt x="430" y="874"/>
                  <a:pt x="414" y="890"/>
                  <a:pt x="414" y="909"/>
                </a:cubicBezTo>
                <a:cubicBezTo>
                  <a:pt x="414" y="955"/>
                  <a:pt x="414" y="955"/>
                  <a:pt x="414" y="955"/>
                </a:cubicBezTo>
                <a:cubicBezTo>
                  <a:pt x="414" y="974"/>
                  <a:pt x="430" y="989"/>
                  <a:pt x="449" y="989"/>
                </a:cubicBezTo>
                <a:close/>
                <a:moveTo>
                  <a:pt x="311" y="989"/>
                </a:moveTo>
                <a:cubicBezTo>
                  <a:pt x="330" y="989"/>
                  <a:pt x="345" y="974"/>
                  <a:pt x="345" y="955"/>
                </a:cubicBezTo>
                <a:cubicBezTo>
                  <a:pt x="345" y="909"/>
                  <a:pt x="345" y="909"/>
                  <a:pt x="345" y="909"/>
                </a:cubicBezTo>
                <a:cubicBezTo>
                  <a:pt x="345" y="890"/>
                  <a:pt x="330" y="874"/>
                  <a:pt x="311" y="874"/>
                </a:cubicBezTo>
                <a:cubicBezTo>
                  <a:pt x="292" y="874"/>
                  <a:pt x="276" y="890"/>
                  <a:pt x="276" y="909"/>
                </a:cubicBezTo>
                <a:cubicBezTo>
                  <a:pt x="276" y="955"/>
                  <a:pt x="276" y="955"/>
                  <a:pt x="276" y="955"/>
                </a:cubicBezTo>
                <a:cubicBezTo>
                  <a:pt x="276" y="974"/>
                  <a:pt x="292" y="989"/>
                  <a:pt x="311" y="989"/>
                </a:cubicBezTo>
                <a:close/>
                <a:moveTo>
                  <a:pt x="1553" y="1818"/>
                </a:moveTo>
                <a:cubicBezTo>
                  <a:pt x="1572" y="1818"/>
                  <a:pt x="1588" y="1802"/>
                  <a:pt x="1588" y="1783"/>
                </a:cubicBezTo>
                <a:cubicBezTo>
                  <a:pt x="1588" y="1737"/>
                  <a:pt x="1588" y="1737"/>
                  <a:pt x="1588" y="1737"/>
                </a:cubicBezTo>
                <a:cubicBezTo>
                  <a:pt x="1588" y="1718"/>
                  <a:pt x="1572" y="1703"/>
                  <a:pt x="1553" y="1703"/>
                </a:cubicBezTo>
                <a:cubicBezTo>
                  <a:pt x="1534" y="1703"/>
                  <a:pt x="1519" y="1718"/>
                  <a:pt x="1519" y="1737"/>
                </a:cubicBezTo>
                <a:cubicBezTo>
                  <a:pt x="1519" y="1783"/>
                  <a:pt x="1519" y="1783"/>
                  <a:pt x="1519" y="1783"/>
                </a:cubicBezTo>
                <a:cubicBezTo>
                  <a:pt x="1519" y="1802"/>
                  <a:pt x="1534" y="1818"/>
                  <a:pt x="1553" y="1818"/>
                </a:cubicBezTo>
                <a:close/>
                <a:moveTo>
                  <a:pt x="1415" y="667"/>
                </a:moveTo>
                <a:cubicBezTo>
                  <a:pt x="1434" y="667"/>
                  <a:pt x="1450" y="652"/>
                  <a:pt x="1450" y="633"/>
                </a:cubicBezTo>
                <a:cubicBezTo>
                  <a:pt x="1450" y="587"/>
                  <a:pt x="1450" y="587"/>
                  <a:pt x="1450" y="587"/>
                </a:cubicBezTo>
                <a:cubicBezTo>
                  <a:pt x="1450" y="568"/>
                  <a:pt x="1434" y="552"/>
                  <a:pt x="1415" y="552"/>
                </a:cubicBezTo>
                <a:cubicBezTo>
                  <a:pt x="1396" y="552"/>
                  <a:pt x="1381" y="568"/>
                  <a:pt x="1381" y="587"/>
                </a:cubicBezTo>
                <a:cubicBezTo>
                  <a:pt x="1381" y="633"/>
                  <a:pt x="1381" y="633"/>
                  <a:pt x="1381" y="633"/>
                </a:cubicBezTo>
                <a:cubicBezTo>
                  <a:pt x="1381" y="652"/>
                  <a:pt x="1396" y="667"/>
                  <a:pt x="1415" y="667"/>
                </a:cubicBezTo>
                <a:close/>
                <a:moveTo>
                  <a:pt x="1415" y="897"/>
                </a:moveTo>
                <a:cubicBezTo>
                  <a:pt x="1434" y="897"/>
                  <a:pt x="1450" y="882"/>
                  <a:pt x="1450" y="863"/>
                </a:cubicBezTo>
                <a:cubicBezTo>
                  <a:pt x="1450" y="817"/>
                  <a:pt x="1450" y="817"/>
                  <a:pt x="1450" y="817"/>
                </a:cubicBezTo>
                <a:cubicBezTo>
                  <a:pt x="1450" y="798"/>
                  <a:pt x="1434" y="782"/>
                  <a:pt x="1415" y="782"/>
                </a:cubicBezTo>
                <a:cubicBezTo>
                  <a:pt x="1396" y="782"/>
                  <a:pt x="1381" y="798"/>
                  <a:pt x="1381" y="817"/>
                </a:cubicBezTo>
                <a:cubicBezTo>
                  <a:pt x="1381" y="863"/>
                  <a:pt x="1381" y="863"/>
                  <a:pt x="1381" y="863"/>
                </a:cubicBezTo>
                <a:cubicBezTo>
                  <a:pt x="1381" y="882"/>
                  <a:pt x="1396" y="897"/>
                  <a:pt x="1415" y="897"/>
                </a:cubicBezTo>
                <a:close/>
                <a:moveTo>
                  <a:pt x="1415" y="437"/>
                </a:moveTo>
                <a:cubicBezTo>
                  <a:pt x="1434" y="437"/>
                  <a:pt x="1450" y="422"/>
                  <a:pt x="1450" y="403"/>
                </a:cubicBezTo>
                <a:cubicBezTo>
                  <a:pt x="1450" y="357"/>
                  <a:pt x="1450" y="357"/>
                  <a:pt x="1450" y="357"/>
                </a:cubicBezTo>
                <a:cubicBezTo>
                  <a:pt x="1450" y="338"/>
                  <a:pt x="1434" y="322"/>
                  <a:pt x="1415" y="322"/>
                </a:cubicBezTo>
                <a:cubicBezTo>
                  <a:pt x="1396" y="322"/>
                  <a:pt x="1381" y="338"/>
                  <a:pt x="1381" y="357"/>
                </a:cubicBezTo>
                <a:cubicBezTo>
                  <a:pt x="1381" y="403"/>
                  <a:pt x="1381" y="403"/>
                  <a:pt x="1381" y="403"/>
                </a:cubicBezTo>
                <a:cubicBezTo>
                  <a:pt x="1381" y="422"/>
                  <a:pt x="1396" y="437"/>
                  <a:pt x="1415" y="437"/>
                </a:cubicBezTo>
                <a:close/>
                <a:moveTo>
                  <a:pt x="1277" y="437"/>
                </a:moveTo>
                <a:cubicBezTo>
                  <a:pt x="1296" y="437"/>
                  <a:pt x="1312" y="422"/>
                  <a:pt x="1312" y="403"/>
                </a:cubicBezTo>
                <a:cubicBezTo>
                  <a:pt x="1312" y="357"/>
                  <a:pt x="1312" y="357"/>
                  <a:pt x="1312" y="357"/>
                </a:cubicBezTo>
                <a:cubicBezTo>
                  <a:pt x="1312" y="338"/>
                  <a:pt x="1296" y="322"/>
                  <a:pt x="1277" y="322"/>
                </a:cubicBezTo>
                <a:cubicBezTo>
                  <a:pt x="1258" y="322"/>
                  <a:pt x="1243" y="338"/>
                  <a:pt x="1243" y="357"/>
                </a:cubicBezTo>
                <a:cubicBezTo>
                  <a:pt x="1243" y="403"/>
                  <a:pt x="1243" y="403"/>
                  <a:pt x="1243" y="403"/>
                </a:cubicBezTo>
                <a:cubicBezTo>
                  <a:pt x="1243" y="422"/>
                  <a:pt x="1258" y="437"/>
                  <a:pt x="1277" y="437"/>
                </a:cubicBezTo>
                <a:close/>
                <a:moveTo>
                  <a:pt x="1277" y="667"/>
                </a:moveTo>
                <a:cubicBezTo>
                  <a:pt x="1296" y="667"/>
                  <a:pt x="1312" y="652"/>
                  <a:pt x="1312" y="633"/>
                </a:cubicBezTo>
                <a:cubicBezTo>
                  <a:pt x="1312" y="587"/>
                  <a:pt x="1312" y="587"/>
                  <a:pt x="1312" y="587"/>
                </a:cubicBezTo>
                <a:cubicBezTo>
                  <a:pt x="1312" y="568"/>
                  <a:pt x="1296" y="552"/>
                  <a:pt x="1277" y="552"/>
                </a:cubicBezTo>
                <a:cubicBezTo>
                  <a:pt x="1258" y="552"/>
                  <a:pt x="1243" y="568"/>
                  <a:pt x="1243" y="587"/>
                </a:cubicBezTo>
                <a:cubicBezTo>
                  <a:pt x="1243" y="633"/>
                  <a:pt x="1243" y="633"/>
                  <a:pt x="1243" y="633"/>
                </a:cubicBezTo>
                <a:cubicBezTo>
                  <a:pt x="1243" y="652"/>
                  <a:pt x="1258" y="667"/>
                  <a:pt x="1277" y="667"/>
                </a:cubicBezTo>
                <a:close/>
                <a:moveTo>
                  <a:pt x="1829" y="1979"/>
                </a:moveTo>
                <a:cubicBezTo>
                  <a:pt x="1772" y="1979"/>
                  <a:pt x="1772" y="1979"/>
                  <a:pt x="1772" y="1979"/>
                </a:cubicBezTo>
                <a:cubicBezTo>
                  <a:pt x="1772" y="173"/>
                  <a:pt x="1772" y="173"/>
                  <a:pt x="1772" y="173"/>
                </a:cubicBezTo>
                <a:cubicBezTo>
                  <a:pt x="1772" y="154"/>
                  <a:pt x="1756" y="138"/>
                  <a:pt x="1737" y="138"/>
                </a:cubicBezTo>
                <a:cubicBezTo>
                  <a:pt x="1093" y="138"/>
                  <a:pt x="1093" y="138"/>
                  <a:pt x="1093" y="138"/>
                </a:cubicBezTo>
                <a:cubicBezTo>
                  <a:pt x="1074" y="138"/>
                  <a:pt x="1059" y="154"/>
                  <a:pt x="1059" y="173"/>
                </a:cubicBezTo>
                <a:cubicBezTo>
                  <a:pt x="1059" y="322"/>
                  <a:pt x="1059" y="322"/>
                  <a:pt x="1059" y="322"/>
                </a:cubicBezTo>
                <a:cubicBezTo>
                  <a:pt x="990" y="322"/>
                  <a:pt x="990" y="322"/>
                  <a:pt x="990" y="322"/>
                </a:cubicBezTo>
                <a:cubicBezTo>
                  <a:pt x="990" y="173"/>
                  <a:pt x="990" y="173"/>
                  <a:pt x="990" y="173"/>
                </a:cubicBezTo>
                <a:cubicBezTo>
                  <a:pt x="990" y="154"/>
                  <a:pt x="974" y="138"/>
                  <a:pt x="955" y="138"/>
                </a:cubicBezTo>
                <a:cubicBezTo>
                  <a:pt x="805" y="138"/>
                  <a:pt x="805" y="138"/>
                  <a:pt x="805" y="138"/>
                </a:cubicBezTo>
                <a:cubicBezTo>
                  <a:pt x="805" y="35"/>
                  <a:pt x="805" y="35"/>
                  <a:pt x="805" y="35"/>
                </a:cubicBezTo>
                <a:cubicBezTo>
                  <a:pt x="805" y="15"/>
                  <a:pt x="790" y="0"/>
                  <a:pt x="771" y="0"/>
                </a:cubicBezTo>
                <a:cubicBezTo>
                  <a:pt x="752" y="0"/>
                  <a:pt x="736" y="15"/>
                  <a:pt x="736" y="35"/>
                </a:cubicBezTo>
                <a:cubicBezTo>
                  <a:pt x="736" y="138"/>
                  <a:pt x="736" y="138"/>
                  <a:pt x="736" y="138"/>
                </a:cubicBezTo>
                <a:cubicBezTo>
                  <a:pt x="587" y="138"/>
                  <a:pt x="587" y="138"/>
                  <a:pt x="587" y="138"/>
                </a:cubicBezTo>
                <a:cubicBezTo>
                  <a:pt x="568" y="138"/>
                  <a:pt x="552" y="154"/>
                  <a:pt x="552" y="173"/>
                </a:cubicBezTo>
                <a:cubicBezTo>
                  <a:pt x="552" y="322"/>
                  <a:pt x="552" y="322"/>
                  <a:pt x="552" y="322"/>
                </a:cubicBezTo>
                <a:cubicBezTo>
                  <a:pt x="449" y="322"/>
                  <a:pt x="449" y="322"/>
                  <a:pt x="449" y="322"/>
                </a:cubicBezTo>
                <a:cubicBezTo>
                  <a:pt x="430" y="322"/>
                  <a:pt x="414" y="338"/>
                  <a:pt x="414" y="357"/>
                </a:cubicBezTo>
                <a:cubicBezTo>
                  <a:pt x="414" y="644"/>
                  <a:pt x="414" y="644"/>
                  <a:pt x="414" y="644"/>
                </a:cubicBezTo>
                <a:cubicBezTo>
                  <a:pt x="127" y="644"/>
                  <a:pt x="127" y="644"/>
                  <a:pt x="127" y="644"/>
                </a:cubicBezTo>
                <a:cubicBezTo>
                  <a:pt x="108" y="644"/>
                  <a:pt x="92" y="660"/>
                  <a:pt x="92" y="679"/>
                </a:cubicBezTo>
                <a:cubicBezTo>
                  <a:pt x="92" y="1979"/>
                  <a:pt x="92" y="1979"/>
                  <a:pt x="92" y="1979"/>
                </a:cubicBezTo>
                <a:cubicBezTo>
                  <a:pt x="35" y="1979"/>
                  <a:pt x="35" y="1979"/>
                  <a:pt x="35" y="1979"/>
                </a:cubicBezTo>
                <a:cubicBezTo>
                  <a:pt x="15" y="1979"/>
                  <a:pt x="0" y="1994"/>
                  <a:pt x="0" y="2013"/>
                </a:cubicBezTo>
                <a:cubicBezTo>
                  <a:pt x="0" y="2033"/>
                  <a:pt x="16" y="2048"/>
                  <a:pt x="35" y="2048"/>
                </a:cubicBezTo>
                <a:cubicBezTo>
                  <a:pt x="1829" y="2048"/>
                  <a:pt x="1829" y="2048"/>
                  <a:pt x="1829" y="2048"/>
                </a:cubicBezTo>
                <a:cubicBezTo>
                  <a:pt x="1849" y="2048"/>
                  <a:pt x="1864" y="2033"/>
                  <a:pt x="1864" y="2013"/>
                </a:cubicBezTo>
                <a:cubicBezTo>
                  <a:pt x="1864" y="1994"/>
                  <a:pt x="1849" y="1979"/>
                  <a:pt x="1829" y="1979"/>
                </a:cubicBezTo>
                <a:close/>
                <a:moveTo>
                  <a:pt x="621" y="207"/>
                </a:moveTo>
                <a:cubicBezTo>
                  <a:pt x="920" y="207"/>
                  <a:pt x="920" y="207"/>
                  <a:pt x="920" y="207"/>
                </a:cubicBezTo>
                <a:cubicBezTo>
                  <a:pt x="920" y="322"/>
                  <a:pt x="920" y="322"/>
                  <a:pt x="920" y="322"/>
                </a:cubicBezTo>
                <a:cubicBezTo>
                  <a:pt x="621" y="322"/>
                  <a:pt x="621" y="322"/>
                  <a:pt x="621" y="322"/>
                </a:cubicBezTo>
                <a:lnTo>
                  <a:pt x="621" y="207"/>
                </a:lnTo>
                <a:close/>
                <a:moveTo>
                  <a:pt x="506" y="1979"/>
                </a:moveTo>
                <a:cubicBezTo>
                  <a:pt x="483" y="1979"/>
                  <a:pt x="483" y="1979"/>
                  <a:pt x="483" y="1979"/>
                </a:cubicBezTo>
                <a:cubicBezTo>
                  <a:pt x="483" y="1921"/>
                  <a:pt x="483" y="1921"/>
                  <a:pt x="483" y="1921"/>
                </a:cubicBezTo>
                <a:cubicBezTo>
                  <a:pt x="483" y="1902"/>
                  <a:pt x="468" y="1887"/>
                  <a:pt x="449" y="1887"/>
                </a:cubicBezTo>
                <a:cubicBezTo>
                  <a:pt x="430" y="1887"/>
                  <a:pt x="414" y="1902"/>
                  <a:pt x="414" y="1921"/>
                </a:cubicBezTo>
                <a:cubicBezTo>
                  <a:pt x="414" y="1979"/>
                  <a:pt x="414" y="1979"/>
                  <a:pt x="414" y="1979"/>
                </a:cubicBezTo>
                <a:cubicBezTo>
                  <a:pt x="391" y="1979"/>
                  <a:pt x="391" y="1979"/>
                  <a:pt x="391" y="1979"/>
                </a:cubicBezTo>
                <a:cubicBezTo>
                  <a:pt x="391" y="1864"/>
                  <a:pt x="391" y="1864"/>
                  <a:pt x="391" y="1864"/>
                </a:cubicBezTo>
                <a:cubicBezTo>
                  <a:pt x="506" y="1864"/>
                  <a:pt x="506" y="1864"/>
                  <a:pt x="506" y="1864"/>
                </a:cubicBezTo>
                <a:lnTo>
                  <a:pt x="506" y="1979"/>
                </a:lnTo>
                <a:close/>
                <a:moveTo>
                  <a:pt x="736" y="1979"/>
                </a:moveTo>
                <a:cubicBezTo>
                  <a:pt x="575" y="1979"/>
                  <a:pt x="575" y="1979"/>
                  <a:pt x="575" y="1979"/>
                </a:cubicBezTo>
                <a:cubicBezTo>
                  <a:pt x="575" y="1829"/>
                  <a:pt x="575" y="1829"/>
                  <a:pt x="575" y="1829"/>
                </a:cubicBezTo>
                <a:cubicBezTo>
                  <a:pt x="575" y="1810"/>
                  <a:pt x="560" y="1795"/>
                  <a:pt x="541" y="1795"/>
                </a:cubicBezTo>
                <a:cubicBezTo>
                  <a:pt x="357" y="1795"/>
                  <a:pt x="357" y="1795"/>
                  <a:pt x="357" y="1795"/>
                </a:cubicBezTo>
                <a:cubicBezTo>
                  <a:pt x="338" y="1795"/>
                  <a:pt x="322" y="1810"/>
                  <a:pt x="322" y="1829"/>
                </a:cubicBezTo>
                <a:cubicBezTo>
                  <a:pt x="322" y="1979"/>
                  <a:pt x="322" y="1979"/>
                  <a:pt x="322" y="1979"/>
                </a:cubicBezTo>
                <a:cubicBezTo>
                  <a:pt x="161" y="1979"/>
                  <a:pt x="161" y="1979"/>
                  <a:pt x="161" y="1979"/>
                </a:cubicBezTo>
                <a:cubicBezTo>
                  <a:pt x="161" y="713"/>
                  <a:pt x="161" y="713"/>
                  <a:pt x="161" y="713"/>
                </a:cubicBezTo>
                <a:cubicBezTo>
                  <a:pt x="736" y="713"/>
                  <a:pt x="736" y="713"/>
                  <a:pt x="736" y="713"/>
                </a:cubicBezTo>
                <a:lnTo>
                  <a:pt x="736" y="1979"/>
                </a:lnTo>
                <a:close/>
                <a:moveTo>
                  <a:pt x="771" y="644"/>
                </a:moveTo>
                <a:cubicBezTo>
                  <a:pt x="483" y="644"/>
                  <a:pt x="483" y="644"/>
                  <a:pt x="483" y="644"/>
                </a:cubicBezTo>
                <a:cubicBezTo>
                  <a:pt x="483" y="391"/>
                  <a:pt x="483" y="391"/>
                  <a:pt x="483" y="391"/>
                </a:cubicBezTo>
                <a:cubicBezTo>
                  <a:pt x="1059" y="391"/>
                  <a:pt x="1059" y="391"/>
                  <a:pt x="1059" y="391"/>
                </a:cubicBezTo>
                <a:cubicBezTo>
                  <a:pt x="1059" y="1059"/>
                  <a:pt x="1059" y="1059"/>
                  <a:pt x="1059" y="1059"/>
                </a:cubicBezTo>
                <a:cubicBezTo>
                  <a:pt x="805" y="1059"/>
                  <a:pt x="805" y="1059"/>
                  <a:pt x="805" y="1059"/>
                </a:cubicBezTo>
                <a:cubicBezTo>
                  <a:pt x="805" y="943"/>
                  <a:pt x="805" y="943"/>
                  <a:pt x="805" y="943"/>
                </a:cubicBezTo>
                <a:cubicBezTo>
                  <a:pt x="909" y="943"/>
                  <a:pt x="909" y="943"/>
                  <a:pt x="909" y="943"/>
                </a:cubicBezTo>
                <a:cubicBezTo>
                  <a:pt x="928" y="943"/>
                  <a:pt x="944" y="928"/>
                  <a:pt x="944" y="909"/>
                </a:cubicBezTo>
                <a:cubicBezTo>
                  <a:pt x="944" y="890"/>
                  <a:pt x="928" y="874"/>
                  <a:pt x="909" y="874"/>
                </a:cubicBezTo>
                <a:cubicBezTo>
                  <a:pt x="805" y="874"/>
                  <a:pt x="805" y="874"/>
                  <a:pt x="805" y="874"/>
                </a:cubicBezTo>
                <a:cubicBezTo>
                  <a:pt x="805" y="759"/>
                  <a:pt x="805" y="759"/>
                  <a:pt x="805" y="759"/>
                </a:cubicBezTo>
                <a:cubicBezTo>
                  <a:pt x="909" y="759"/>
                  <a:pt x="909" y="759"/>
                  <a:pt x="909" y="759"/>
                </a:cubicBezTo>
                <a:cubicBezTo>
                  <a:pt x="928" y="759"/>
                  <a:pt x="944" y="744"/>
                  <a:pt x="944" y="725"/>
                </a:cubicBezTo>
                <a:cubicBezTo>
                  <a:pt x="944" y="706"/>
                  <a:pt x="928" y="690"/>
                  <a:pt x="909" y="690"/>
                </a:cubicBezTo>
                <a:cubicBezTo>
                  <a:pt x="805" y="690"/>
                  <a:pt x="805" y="690"/>
                  <a:pt x="805" y="690"/>
                </a:cubicBezTo>
                <a:cubicBezTo>
                  <a:pt x="805" y="679"/>
                  <a:pt x="805" y="679"/>
                  <a:pt x="805" y="679"/>
                </a:cubicBezTo>
                <a:cubicBezTo>
                  <a:pt x="805" y="660"/>
                  <a:pt x="790" y="644"/>
                  <a:pt x="771" y="644"/>
                </a:cubicBezTo>
                <a:close/>
                <a:moveTo>
                  <a:pt x="1381" y="1979"/>
                </a:moveTo>
                <a:cubicBezTo>
                  <a:pt x="805" y="1979"/>
                  <a:pt x="805" y="1979"/>
                  <a:pt x="805" y="1979"/>
                </a:cubicBezTo>
                <a:cubicBezTo>
                  <a:pt x="805" y="1128"/>
                  <a:pt x="805" y="1128"/>
                  <a:pt x="805" y="1128"/>
                </a:cubicBezTo>
                <a:cubicBezTo>
                  <a:pt x="1381" y="1128"/>
                  <a:pt x="1381" y="1128"/>
                  <a:pt x="1381" y="1128"/>
                </a:cubicBezTo>
                <a:lnTo>
                  <a:pt x="1381" y="1979"/>
                </a:lnTo>
                <a:close/>
                <a:moveTo>
                  <a:pt x="1703" y="1979"/>
                </a:moveTo>
                <a:cubicBezTo>
                  <a:pt x="1450" y="1979"/>
                  <a:pt x="1450" y="1979"/>
                  <a:pt x="1450" y="1979"/>
                </a:cubicBezTo>
                <a:cubicBezTo>
                  <a:pt x="1450" y="1047"/>
                  <a:pt x="1450" y="1047"/>
                  <a:pt x="1450" y="1047"/>
                </a:cubicBezTo>
                <a:cubicBezTo>
                  <a:pt x="1450" y="1028"/>
                  <a:pt x="1434" y="1012"/>
                  <a:pt x="1415" y="1012"/>
                </a:cubicBezTo>
                <a:cubicBezTo>
                  <a:pt x="1396" y="1012"/>
                  <a:pt x="1381" y="1028"/>
                  <a:pt x="1381" y="1047"/>
                </a:cubicBezTo>
                <a:cubicBezTo>
                  <a:pt x="1381" y="1059"/>
                  <a:pt x="1381" y="1059"/>
                  <a:pt x="1381" y="1059"/>
                </a:cubicBezTo>
                <a:cubicBezTo>
                  <a:pt x="1312" y="1059"/>
                  <a:pt x="1312" y="1059"/>
                  <a:pt x="1312" y="1059"/>
                </a:cubicBezTo>
                <a:cubicBezTo>
                  <a:pt x="1312" y="1047"/>
                  <a:pt x="1312" y="1047"/>
                  <a:pt x="1312" y="1047"/>
                </a:cubicBezTo>
                <a:cubicBezTo>
                  <a:pt x="1312" y="1028"/>
                  <a:pt x="1296" y="1012"/>
                  <a:pt x="1277" y="1012"/>
                </a:cubicBezTo>
                <a:cubicBezTo>
                  <a:pt x="1258" y="1012"/>
                  <a:pt x="1243" y="1028"/>
                  <a:pt x="1243" y="1047"/>
                </a:cubicBezTo>
                <a:cubicBezTo>
                  <a:pt x="1243" y="1059"/>
                  <a:pt x="1243" y="1059"/>
                  <a:pt x="1243" y="1059"/>
                </a:cubicBezTo>
                <a:cubicBezTo>
                  <a:pt x="1128" y="1059"/>
                  <a:pt x="1128" y="1059"/>
                  <a:pt x="1128" y="1059"/>
                </a:cubicBezTo>
                <a:cubicBezTo>
                  <a:pt x="1128" y="207"/>
                  <a:pt x="1128" y="207"/>
                  <a:pt x="1128" y="207"/>
                </a:cubicBezTo>
                <a:cubicBezTo>
                  <a:pt x="1703" y="207"/>
                  <a:pt x="1703" y="207"/>
                  <a:pt x="1703" y="207"/>
                </a:cubicBezTo>
                <a:lnTo>
                  <a:pt x="1703" y="1979"/>
                </a:lnTo>
                <a:close/>
                <a:moveTo>
                  <a:pt x="1277" y="897"/>
                </a:moveTo>
                <a:cubicBezTo>
                  <a:pt x="1296" y="897"/>
                  <a:pt x="1312" y="882"/>
                  <a:pt x="1312" y="863"/>
                </a:cubicBezTo>
                <a:cubicBezTo>
                  <a:pt x="1312" y="817"/>
                  <a:pt x="1312" y="817"/>
                  <a:pt x="1312" y="817"/>
                </a:cubicBezTo>
                <a:cubicBezTo>
                  <a:pt x="1312" y="798"/>
                  <a:pt x="1296" y="782"/>
                  <a:pt x="1277" y="782"/>
                </a:cubicBezTo>
                <a:cubicBezTo>
                  <a:pt x="1258" y="782"/>
                  <a:pt x="1243" y="798"/>
                  <a:pt x="1243" y="817"/>
                </a:cubicBezTo>
                <a:cubicBezTo>
                  <a:pt x="1243" y="863"/>
                  <a:pt x="1243" y="863"/>
                  <a:pt x="1243" y="863"/>
                </a:cubicBezTo>
                <a:cubicBezTo>
                  <a:pt x="1243" y="882"/>
                  <a:pt x="1258" y="897"/>
                  <a:pt x="1277" y="897"/>
                </a:cubicBezTo>
                <a:close/>
                <a:moveTo>
                  <a:pt x="955" y="1910"/>
                </a:moveTo>
                <a:cubicBezTo>
                  <a:pt x="974" y="1910"/>
                  <a:pt x="990" y="1894"/>
                  <a:pt x="990" y="1875"/>
                </a:cubicBezTo>
                <a:cubicBezTo>
                  <a:pt x="990" y="1231"/>
                  <a:pt x="990" y="1231"/>
                  <a:pt x="990" y="1231"/>
                </a:cubicBezTo>
                <a:cubicBezTo>
                  <a:pt x="990" y="1212"/>
                  <a:pt x="974" y="1197"/>
                  <a:pt x="955" y="1197"/>
                </a:cubicBezTo>
                <a:cubicBezTo>
                  <a:pt x="936" y="1197"/>
                  <a:pt x="920" y="1212"/>
                  <a:pt x="920" y="1231"/>
                </a:cubicBezTo>
                <a:cubicBezTo>
                  <a:pt x="920" y="1875"/>
                  <a:pt x="920" y="1875"/>
                  <a:pt x="920" y="1875"/>
                </a:cubicBezTo>
                <a:cubicBezTo>
                  <a:pt x="920" y="1894"/>
                  <a:pt x="936" y="1910"/>
                  <a:pt x="955" y="1910"/>
                </a:cubicBezTo>
                <a:close/>
                <a:moveTo>
                  <a:pt x="1553" y="667"/>
                </a:moveTo>
                <a:cubicBezTo>
                  <a:pt x="1572" y="667"/>
                  <a:pt x="1588" y="652"/>
                  <a:pt x="1588" y="633"/>
                </a:cubicBezTo>
                <a:cubicBezTo>
                  <a:pt x="1588" y="587"/>
                  <a:pt x="1588" y="587"/>
                  <a:pt x="1588" y="587"/>
                </a:cubicBezTo>
                <a:cubicBezTo>
                  <a:pt x="1588" y="568"/>
                  <a:pt x="1572" y="552"/>
                  <a:pt x="1553" y="552"/>
                </a:cubicBezTo>
                <a:cubicBezTo>
                  <a:pt x="1534" y="552"/>
                  <a:pt x="1519" y="568"/>
                  <a:pt x="1519" y="587"/>
                </a:cubicBezTo>
                <a:cubicBezTo>
                  <a:pt x="1519" y="633"/>
                  <a:pt x="1519" y="633"/>
                  <a:pt x="1519" y="633"/>
                </a:cubicBezTo>
                <a:cubicBezTo>
                  <a:pt x="1519" y="652"/>
                  <a:pt x="1534" y="667"/>
                  <a:pt x="1553" y="667"/>
                </a:cubicBezTo>
                <a:close/>
                <a:moveTo>
                  <a:pt x="1231" y="1910"/>
                </a:moveTo>
                <a:cubicBezTo>
                  <a:pt x="1250" y="1910"/>
                  <a:pt x="1266" y="1894"/>
                  <a:pt x="1266" y="1875"/>
                </a:cubicBezTo>
                <a:cubicBezTo>
                  <a:pt x="1266" y="1231"/>
                  <a:pt x="1266" y="1231"/>
                  <a:pt x="1266" y="1231"/>
                </a:cubicBezTo>
                <a:cubicBezTo>
                  <a:pt x="1266" y="1212"/>
                  <a:pt x="1250" y="1197"/>
                  <a:pt x="1231" y="1197"/>
                </a:cubicBezTo>
                <a:cubicBezTo>
                  <a:pt x="1212" y="1197"/>
                  <a:pt x="1197" y="1212"/>
                  <a:pt x="1197" y="1231"/>
                </a:cubicBezTo>
                <a:cubicBezTo>
                  <a:pt x="1197" y="1875"/>
                  <a:pt x="1197" y="1875"/>
                  <a:pt x="1197" y="1875"/>
                </a:cubicBezTo>
                <a:cubicBezTo>
                  <a:pt x="1197" y="1894"/>
                  <a:pt x="1212" y="1910"/>
                  <a:pt x="1231" y="1910"/>
                </a:cubicBezTo>
                <a:close/>
                <a:moveTo>
                  <a:pt x="1553" y="437"/>
                </a:moveTo>
                <a:cubicBezTo>
                  <a:pt x="1572" y="437"/>
                  <a:pt x="1588" y="422"/>
                  <a:pt x="1588" y="403"/>
                </a:cubicBezTo>
                <a:cubicBezTo>
                  <a:pt x="1588" y="357"/>
                  <a:pt x="1588" y="357"/>
                  <a:pt x="1588" y="357"/>
                </a:cubicBezTo>
                <a:cubicBezTo>
                  <a:pt x="1588" y="338"/>
                  <a:pt x="1572" y="322"/>
                  <a:pt x="1553" y="322"/>
                </a:cubicBezTo>
                <a:cubicBezTo>
                  <a:pt x="1534" y="322"/>
                  <a:pt x="1519" y="338"/>
                  <a:pt x="1519" y="357"/>
                </a:cubicBezTo>
                <a:cubicBezTo>
                  <a:pt x="1519" y="403"/>
                  <a:pt x="1519" y="403"/>
                  <a:pt x="1519" y="403"/>
                </a:cubicBezTo>
                <a:cubicBezTo>
                  <a:pt x="1519" y="422"/>
                  <a:pt x="1534" y="437"/>
                  <a:pt x="1553" y="437"/>
                </a:cubicBezTo>
                <a:close/>
                <a:moveTo>
                  <a:pt x="1093" y="1910"/>
                </a:moveTo>
                <a:cubicBezTo>
                  <a:pt x="1112" y="1910"/>
                  <a:pt x="1128" y="1894"/>
                  <a:pt x="1128" y="1875"/>
                </a:cubicBezTo>
                <a:cubicBezTo>
                  <a:pt x="1128" y="1231"/>
                  <a:pt x="1128" y="1231"/>
                  <a:pt x="1128" y="1231"/>
                </a:cubicBezTo>
                <a:cubicBezTo>
                  <a:pt x="1128" y="1212"/>
                  <a:pt x="1112" y="1197"/>
                  <a:pt x="1093" y="1197"/>
                </a:cubicBezTo>
                <a:cubicBezTo>
                  <a:pt x="1074" y="1197"/>
                  <a:pt x="1059" y="1212"/>
                  <a:pt x="1059" y="1231"/>
                </a:cubicBezTo>
                <a:cubicBezTo>
                  <a:pt x="1059" y="1875"/>
                  <a:pt x="1059" y="1875"/>
                  <a:pt x="1059" y="1875"/>
                </a:cubicBezTo>
                <a:cubicBezTo>
                  <a:pt x="1059" y="1894"/>
                  <a:pt x="1074" y="1910"/>
                  <a:pt x="1093" y="1910"/>
                </a:cubicBezTo>
                <a:close/>
                <a:moveTo>
                  <a:pt x="1553" y="1588"/>
                </a:moveTo>
                <a:cubicBezTo>
                  <a:pt x="1572" y="1588"/>
                  <a:pt x="1588" y="1572"/>
                  <a:pt x="1588" y="1553"/>
                </a:cubicBezTo>
                <a:cubicBezTo>
                  <a:pt x="1588" y="1507"/>
                  <a:pt x="1588" y="1507"/>
                  <a:pt x="1588" y="1507"/>
                </a:cubicBezTo>
                <a:cubicBezTo>
                  <a:pt x="1588" y="1488"/>
                  <a:pt x="1572" y="1473"/>
                  <a:pt x="1553" y="1473"/>
                </a:cubicBezTo>
                <a:cubicBezTo>
                  <a:pt x="1534" y="1473"/>
                  <a:pt x="1519" y="1488"/>
                  <a:pt x="1519" y="1507"/>
                </a:cubicBezTo>
                <a:cubicBezTo>
                  <a:pt x="1519" y="1553"/>
                  <a:pt x="1519" y="1553"/>
                  <a:pt x="1519" y="1553"/>
                </a:cubicBezTo>
                <a:cubicBezTo>
                  <a:pt x="1519" y="1572"/>
                  <a:pt x="1534" y="1588"/>
                  <a:pt x="1553" y="1588"/>
                </a:cubicBezTo>
                <a:close/>
                <a:moveTo>
                  <a:pt x="1553" y="897"/>
                </a:moveTo>
                <a:cubicBezTo>
                  <a:pt x="1572" y="897"/>
                  <a:pt x="1588" y="882"/>
                  <a:pt x="1588" y="863"/>
                </a:cubicBezTo>
                <a:cubicBezTo>
                  <a:pt x="1588" y="817"/>
                  <a:pt x="1588" y="817"/>
                  <a:pt x="1588" y="817"/>
                </a:cubicBezTo>
                <a:cubicBezTo>
                  <a:pt x="1588" y="798"/>
                  <a:pt x="1572" y="782"/>
                  <a:pt x="1553" y="782"/>
                </a:cubicBezTo>
                <a:cubicBezTo>
                  <a:pt x="1534" y="782"/>
                  <a:pt x="1519" y="798"/>
                  <a:pt x="1519" y="817"/>
                </a:cubicBezTo>
                <a:cubicBezTo>
                  <a:pt x="1519" y="863"/>
                  <a:pt x="1519" y="863"/>
                  <a:pt x="1519" y="863"/>
                </a:cubicBezTo>
                <a:cubicBezTo>
                  <a:pt x="1519" y="882"/>
                  <a:pt x="1534" y="897"/>
                  <a:pt x="1553" y="897"/>
                </a:cubicBezTo>
                <a:close/>
                <a:moveTo>
                  <a:pt x="1553" y="1358"/>
                </a:moveTo>
                <a:cubicBezTo>
                  <a:pt x="1572" y="1358"/>
                  <a:pt x="1588" y="1342"/>
                  <a:pt x="1588" y="1323"/>
                </a:cubicBezTo>
                <a:cubicBezTo>
                  <a:pt x="1588" y="1277"/>
                  <a:pt x="1588" y="1277"/>
                  <a:pt x="1588" y="1277"/>
                </a:cubicBezTo>
                <a:cubicBezTo>
                  <a:pt x="1588" y="1258"/>
                  <a:pt x="1572" y="1243"/>
                  <a:pt x="1553" y="1243"/>
                </a:cubicBezTo>
                <a:cubicBezTo>
                  <a:pt x="1534" y="1243"/>
                  <a:pt x="1519" y="1258"/>
                  <a:pt x="1519" y="1277"/>
                </a:cubicBezTo>
                <a:cubicBezTo>
                  <a:pt x="1519" y="1323"/>
                  <a:pt x="1519" y="1323"/>
                  <a:pt x="1519" y="1323"/>
                </a:cubicBezTo>
                <a:cubicBezTo>
                  <a:pt x="1519" y="1342"/>
                  <a:pt x="1534" y="1358"/>
                  <a:pt x="1553" y="1358"/>
                </a:cubicBezTo>
                <a:close/>
                <a:moveTo>
                  <a:pt x="1553" y="1128"/>
                </a:moveTo>
                <a:cubicBezTo>
                  <a:pt x="1572" y="1128"/>
                  <a:pt x="1588" y="1112"/>
                  <a:pt x="1588" y="1093"/>
                </a:cubicBezTo>
                <a:cubicBezTo>
                  <a:pt x="1588" y="1047"/>
                  <a:pt x="1588" y="1047"/>
                  <a:pt x="1588" y="1047"/>
                </a:cubicBezTo>
                <a:cubicBezTo>
                  <a:pt x="1588" y="1028"/>
                  <a:pt x="1572" y="1012"/>
                  <a:pt x="1553" y="1012"/>
                </a:cubicBezTo>
                <a:cubicBezTo>
                  <a:pt x="1534" y="1012"/>
                  <a:pt x="1519" y="1028"/>
                  <a:pt x="1519" y="1047"/>
                </a:cubicBezTo>
                <a:cubicBezTo>
                  <a:pt x="1519" y="1093"/>
                  <a:pt x="1519" y="1093"/>
                  <a:pt x="1519" y="1093"/>
                </a:cubicBezTo>
                <a:cubicBezTo>
                  <a:pt x="1519" y="1112"/>
                  <a:pt x="1534" y="1128"/>
                  <a:pt x="1553" y="1128"/>
                </a:cubicBezTo>
                <a:close/>
              </a:path>
            </a:pathLst>
          </a:custGeom>
          <a:solidFill>
            <a:schemeClr val="accent4">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8" name="Freeform 8"/>
          <p:cNvSpPr>
            <a:spLocks noEditPoints="1"/>
          </p:cNvSpPr>
          <p:nvPr/>
        </p:nvSpPr>
        <p:spPr bwMode="auto">
          <a:xfrm>
            <a:off x="3635212" y="2596273"/>
            <a:ext cx="394986" cy="394985"/>
          </a:xfrm>
          <a:custGeom>
            <a:avLst/>
            <a:gdLst/>
            <a:ahLst/>
            <a:cxnLst>
              <a:cxn ang="0">
                <a:pos x="1385" y="670"/>
              </a:cxn>
              <a:cxn ang="0">
                <a:pos x="1573" y="78"/>
              </a:cxn>
              <a:cxn ang="0">
                <a:pos x="1648" y="866"/>
              </a:cxn>
              <a:cxn ang="0">
                <a:pos x="1687" y="825"/>
              </a:cxn>
              <a:cxn ang="0">
                <a:pos x="1611" y="0"/>
              </a:cxn>
              <a:cxn ang="0">
                <a:pos x="1337" y="37"/>
              </a:cxn>
              <a:cxn ang="0">
                <a:pos x="1344" y="707"/>
              </a:cxn>
              <a:cxn ang="0">
                <a:pos x="156" y="1431"/>
              </a:cxn>
              <a:cxn ang="0">
                <a:pos x="1035" y="1470"/>
              </a:cxn>
              <a:cxn ang="0">
                <a:pos x="1074" y="1138"/>
              </a:cxn>
              <a:cxn ang="0">
                <a:pos x="195" y="1099"/>
              </a:cxn>
              <a:cxn ang="0">
                <a:pos x="996" y="1177"/>
              </a:cxn>
              <a:cxn ang="0">
                <a:pos x="701" y="1392"/>
              </a:cxn>
              <a:cxn ang="0">
                <a:pos x="996" y="1177"/>
              </a:cxn>
              <a:cxn ang="0">
                <a:pos x="529" y="1177"/>
              </a:cxn>
              <a:cxn ang="0">
                <a:pos x="420" y="1341"/>
              </a:cxn>
              <a:cxn ang="0">
                <a:pos x="475" y="1341"/>
              </a:cxn>
              <a:cxn ang="0">
                <a:pos x="806" y="1177"/>
              </a:cxn>
              <a:cxn ang="0">
                <a:pos x="235" y="1392"/>
              </a:cxn>
              <a:cxn ang="0">
                <a:pos x="1707" y="947"/>
              </a:cxn>
              <a:cxn ang="0">
                <a:pos x="844" y="514"/>
              </a:cxn>
              <a:cxn ang="0">
                <a:pos x="825" y="700"/>
              </a:cxn>
              <a:cxn ang="0">
                <a:pos x="431" y="514"/>
              </a:cxn>
              <a:cxn ang="0">
                <a:pos x="412" y="700"/>
              </a:cxn>
              <a:cxn ang="0">
                <a:pos x="19" y="514"/>
              </a:cxn>
              <a:cxn ang="0">
                <a:pos x="0" y="1689"/>
              </a:cxn>
              <a:cxn ang="0">
                <a:pos x="1689" y="1728"/>
              </a:cxn>
              <a:cxn ang="0">
                <a:pos x="1728" y="981"/>
              </a:cxn>
              <a:cxn ang="0">
                <a:pos x="1650" y="1650"/>
              </a:cxn>
              <a:cxn ang="0">
                <a:pos x="1572" y="1138"/>
              </a:cxn>
              <a:cxn ang="0">
                <a:pos x="1191" y="1099"/>
              </a:cxn>
              <a:cxn ang="0">
                <a:pos x="1152" y="1650"/>
              </a:cxn>
              <a:cxn ang="0">
                <a:pos x="78" y="612"/>
              </a:cxn>
              <a:cxn ang="0">
                <a:pos x="472" y="798"/>
              </a:cxn>
              <a:cxn ang="0">
                <a:pos x="491" y="612"/>
              </a:cxn>
              <a:cxn ang="0">
                <a:pos x="884" y="798"/>
              </a:cxn>
              <a:cxn ang="0">
                <a:pos x="903" y="612"/>
              </a:cxn>
              <a:cxn ang="0">
                <a:pos x="1650" y="1650"/>
              </a:cxn>
            </a:cxnLst>
            <a:rect l="0" t="0" r="r" b="b"/>
            <a:pathLst>
              <a:path w="1728" h="1728">
                <a:moveTo>
                  <a:pt x="1344" y="707"/>
                </a:moveTo>
                <a:cubicBezTo>
                  <a:pt x="1365" y="708"/>
                  <a:pt x="1384" y="692"/>
                  <a:pt x="1385" y="670"/>
                </a:cubicBezTo>
                <a:cubicBezTo>
                  <a:pt x="1413" y="78"/>
                  <a:pt x="1413" y="78"/>
                  <a:pt x="1413" y="78"/>
                </a:cubicBezTo>
                <a:cubicBezTo>
                  <a:pt x="1573" y="78"/>
                  <a:pt x="1573" y="78"/>
                  <a:pt x="1573" y="78"/>
                </a:cubicBezTo>
                <a:cubicBezTo>
                  <a:pt x="1609" y="829"/>
                  <a:pt x="1609" y="829"/>
                  <a:pt x="1609" y="829"/>
                </a:cubicBezTo>
                <a:cubicBezTo>
                  <a:pt x="1610" y="850"/>
                  <a:pt x="1627" y="866"/>
                  <a:pt x="1648" y="866"/>
                </a:cubicBezTo>
                <a:cubicBezTo>
                  <a:pt x="1649" y="866"/>
                  <a:pt x="1649" y="866"/>
                  <a:pt x="1650" y="866"/>
                </a:cubicBezTo>
                <a:cubicBezTo>
                  <a:pt x="1671" y="865"/>
                  <a:pt x="1688" y="847"/>
                  <a:pt x="1687" y="825"/>
                </a:cubicBezTo>
                <a:cubicBezTo>
                  <a:pt x="1650" y="37"/>
                  <a:pt x="1650" y="37"/>
                  <a:pt x="1650" y="37"/>
                </a:cubicBezTo>
                <a:cubicBezTo>
                  <a:pt x="1649" y="16"/>
                  <a:pt x="1632" y="0"/>
                  <a:pt x="1611" y="0"/>
                </a:cubicBezTo>
                <a:cubicBezTo>
                  <a:pt x="1376" y="0"/>
                  <a:pt x="1376" y="0"/>
                  <a:pt x="1376" y="0"/>
                </a:cubicBezTo>
                <a:cubicBezTo>
                  <a:pt x="1355" y="0"/>
                  <a:pt x="1338" y="16"/>
                  <a:pt x="1337" y="37"/>
                </a:cubicBezTo>
                <a:cubicBezTo>
                  <a:pt x="1307" y="666"/>
                  <a:pt x="1307" y="666"/>
                  <a:pt x="1307" y="666"/>
                </a:cubicBezTo>
                <a:cubicBezTo>
                  <a:pt x="1306" y="688"/>
                  <a:pt x="1322" y="706"/>
                  <a:pt x="1344" y="707"/>
                </a:cubicBezTo>
                <a:close/>
                <a:moveTo>
                  <a:pt x="156" y="1138"/>
                </a:moveTo>
                <a:cubicBezTo>
                  <a:pt x="156" y="1431"/>
                  <a:pt x="156" y="1431"/>
                  <a:pt x="156" y="1431"/>
                </a:cubicBezTo>
                <a:cubicBezTo>
                  <a:pt x="156" y="1452"/>
                  <a:pt x="174" y="1470"/>
                  <a:pt x="195" y="1470"/>
                </a:cubicBezTo>
                <a:cubicBezTo>
                  <a:pt x="1035" y="1470"/>
                  <a:pt x="1035" y="1470"/>
                  <a:pt x="1035" y="1470"/>
                </a:cubicBezTo>
                <a:cubicBezTo>
                  <a:pt x="1056" y="1470"/>
                  <a:pt x="1074" y="1452"/>
                  <a:pt x="1074" y="1431"/>
                </a:cubicBezTo>
                <a:cubicBezTo>
                  <a:pt x="1074" y="1138"/>
                  <a:pt x="1074" y="1138"/>
                  <a:pt x="1074" y="1138"/>
                </a:cubicBezTo>
                <a:cubicBezTo>
                  <a:pt x="1074" y="1116"/>
                  <a:pt x="1056" y="1099"/>
                  <a:pt x="1035" y="1099"/>
                </a:cubicBezTo>
                <a:cubicBezTo>
                  <a:pt x="195" y="1099"/>
                  <a:pt x="195" y="1099"/>
                  <a:pt x="195" y="1099"/>
                </a:cubicBezTo>
                <a:cubicBezTo>
                  <a:pt x="174" y="1099"/>
                  <a:pt x="156" y="1116"/>
                  <a:pt x="156" y="1138"/>
                </a:cubicBezTo>
                <a:close/>
                <a:moveTo>
                  <a:pt x="996" y="1177"/>
                </a:moveTo>
                <a:cubicBezTo>
                  <a:pt x="996" y="1392"/>
                  <a:pt x="996" y="1392"/>
                  <a:pt x="996" y="1392"/>
                </a:cubicBezTo>
                <a:cubicBezTo>
                  <a:pt x="701" y="1392"/>
                  <a:pt x="701" y="1392"/>
                  <a:pt x="701" y="1392"/>
                </a:cubicBezTo>
                <a:cubicBezTo>
                  <a:pt x="916" y="1177"/>
                  <a:pt x="916" y="1177"/>
                  <a:pt x="916" y="1177"/>
                </a:cubicBezTo>
                <a:lnTo>
                  <a:pt x="996" y="1177"/>
                </a:lnTo>
                <a:close/>
                <a:moveTo>
                  <a:pt x="235" y="1177"/>
                </a:moveTo>
                <a:cubicBezTo>
                  <a:pt x="529" y="1177"/>
                  <a:pt x="529" y="1177"/>
                  <a:pt x="529" y="1177"/>
                </a:cubicBezTo>
                <a:cubicBezTo>
                  <a:pt x="420" y="1286"/>
                  <a:pt x="420" y="1286"/>
                  <a:pt x="420" y="1286"/>
                </a:cubicBezTo>
                <a:cubicBezTo>
                  <a:pt x="405" y="1301"/>
                  <a:pt x="405" y="1326"/>
                  <a:pt x="420" y="1341"/>
                </a:cubicBezTo>
                <a:cubicBezTo>
                  <a:pt x="428" y="1349"/>
                  <a:pt x="438" y="1353"/>
                  <a:pt x="448" y="1353"/>
                </a:cubicBezTo>
                <a:cubicBezTo>
                  <a:pt x="458" y="1353"/>
                  <a:pt x="468" y="1349"/>
                  <a:pt x="475" y="1341"/>
                </a:cubicBezTo>
                <a:cubicBezTo>
                  <a:pt x="640" y="1177"/>
                  <a:pt x="640" y="1177"/>
                  <a:pt x="640" y="1177"/>
                </a:cubicBezTo>
                <a:cubicBezTo>
                  <a:pt x="806" y="1177"/>
                  <a:pt x="806" y="1177"/>
                  <a:pt x="806" y="1177"/>
                </a:cubicBezTo>
                <a:cubicBezTo>
                  <a:pt x="591" y="1392"/>
                  <a:pt x="591" y="1392"/>
                  <a:pt x="591" y="1392"/>
                </a:cubicBezTo>
                <a:cubicBezTo>
                  <a:pt x="235" y="1392"/>
                  <a:pt x="235" y="1392"/>
                  <a:pt x="235" y="1392"/>
                </a:cubicBezTo>
                <a:lnTo>
                  <a:pt x="235" y="1177"/>
                </a:lnTo>
                <a:close/>
                <a:moveTo>
                  <a:pt x="1707" y="947"/>
                </a:moveTo>
                <a:cubicBezTo>
                  <a:pt x="882" y="513"/>
                  <a:pt x="882" y="513"/>
                  <a:pt x="882" y="513"/>
                </a:cubicBezTo>
                <a:cubicBezTo>
                  <a:pt x="870" y="506"/>
                  <a:pt x="856" y="507"/>
                  <a:pt x="844" y="514"/>
                </a:cubicBezTo>
                <a:cubicBezTo>
                  <a:pt x="832" y="521"/>
                  <a:pt x="825" y="534"/>
                  <a:pt x="825" y="547"/>
                </a:cubicBezTo>
                <a:cubicBezTo>
                  <a:pt x="825" y="700"/>
                  <a:pt x="825" y="700"/>
                  <a:pt x="825" y="700"/>
                </a:cubicBezTo>
                <a:cubicBezTo>
                  <a:pt x="470" y="513"/>
                  <a:pt x="470" y="513"/>
                  <a:pt x="470" y="513"/>
                </a:cubicBezTo>
                <a:cubicBezTo>
                  <a:pt x="458" y="506"/>
                  <a:pt x="443" y="507"/>
                  <a:pt x="431" y="514"/>
                </a:cubicBezTo>
                <a:cubicBezTo>
                  <a:pt x="420" y="521"/>
                  <a:pt x="412" y="534"/>
                  <a:pt x="412" y="547"/>
                </a:cubicBezTo>
                <a:cubicBezTo>
                  <a:pt x="412" y="700"/>
                  <a:pt x="412" y="700"/>
                  <a:pt x="412" y="700"/>
                </a:cubicBezTo>
                <a:cubicBezTo>
                  <a:pt x="57" y="513"/>
                  <a:pt x="57" y="513"/>
                  <a:pt x="57" y="513"/>
                </a:cubicBezTo>
                <a:cubicBezTo>
                  <a:pt x="45" y="506"/>
                  <a:pt x="31" y="507"/>
                  <a:pt x="19" y="514"/>
                </a:cubicBezTo>
                <a:cubicBezTo>
                  <a:pt x="7" y="521"/>
                  <a:pt x="0" y="534"/>
                  <a:pt x="0" y="547"/>
                </a:cubicBezTo>
                <a:cubicBezTo>
                  <a:pt x="0" y="1689"/>
                  <a:pt x="0" y="1689"/>
                  <a:pt x="0" y="1689"/>
                </a:cubicBezTo>
                <a:cubicBezTo>
                  <a:pt x="0" y="1710"/>
                  <a:pt x="18" y="1728"/>
                  <a:pt x="39" y="1728"/>
                </a:cubicBezTo>
                <a:cubicBezTo>
                  <a:pt x="1689" y="1728"/>
                  <a:pt x="1689" y="1728"/>
                  <a:pt x="1689" y="1728"/>
                </a:cubicBezTo>
                <a:cubicBezTo>
                  <a:pt x="1711" y="1728"/>
                  <a:pt x="1728" y="1710"/>
                  <a:pt x="1728" y="1689"/>
                </a:cubicBezTo>
                <a:cubicBezTo>
                  <a:pt x="1728" y="981"/>
                  <a:pt x="1728" y="981"/>
                  <a:pt x="1728" y="981"/>
                </a:cubicBezTo>
                <a:cubicBezTo>
                  <a:pt x="1728" y="967"/>
                  <a:pt x="1720" y="953"/>
                  <a:pt x="1707" y="947"/>
                </a:cubicBezTo>
                <a:close/>
                <a:moveTo>
                  <a:pt x="1650" y="1650"/>
                </a:moveTo>
                <a:cubicBezTo>
                  <a:pt x="1572" y="1650"/>
                  <a:pt x="1572" y="1650"/>
                  <a:pt x="1572" y="1650"/>
                </a:cubicBezTo>
                <a:cubicBezTo>
                  <a:pt x="1572" y="1138"/>
                  <a:pt x="1572" y="1138"/>
                  <a:pt x="1572" y="1138"/>
                </a:cubicBezTo>
                <a:cubicBezTo>
                  <a:pt x="1572" y="1116"/>
                  <a:pt x="1554" y="1099"/>
                  <a:pt x="1533" y="1099"/>
                </a:cubicBezTo>
                <a:cubicBezTo>
                  <a:pt x="1191" y="1099"/>
                  <a:pt x="1191" y="1099"/>
                  <a:pt x="1191" y="1099"/>
                </a:cubicBezTo>
                <a:cubicBezTo>
                  <a:pt x="1170" y="1099"/>
                  <a:pt x="1152" y="1116"/>
                  <a:pt x="1152" y="1138"/>
                </a:cubicBezTo>
                <a:cubicBezTo>
                  <a:pt x="1152" y="1650"/>
                  <a:pt x="1152" y="1650"/>
                  <a:pt x="1152" y="1650"/>
                </a:cubicBezTo>
                <a:cubicBezTo>
                  <a:pt x="78" y="1650"/>
                  <a:pt x="78" y="1650"/>
                  <a:pt x="78" y="1650"/>
                </a:cubicBezTo>
                <a:cubicBezTo>
                  <a:pt x="78" y="612"/>
                  <a:pt x="78" y="612"/>
                  <a:pt x="78" y="612"/>
                </a:cubicBezTo>
                <a:cubicBezTo>
                  <a:pt x="433" y="799"/>
                  <a:pt x="433" y="799"/>
                  <a:pt x="433" y="799"/>
                </a:cubicBezTo>
                <a:cubicBezTo>
                  <a:pt x="445" y="805"/>
                  <a:pt x="460" y="805"/>
                  <a:pt x="472" y="798"/>
                </a:cubicBezTo>
                <a:cubicBezTo>
                  <a:pt x="483" y="791"/>
                  <a:pt x="491" y="778"/>
                  <a:pt x="491" y="764"/>
                </a:cubicBezTo>
                <a:cubicBezTo>
                  <a:pt x="491" y="612"/>
                  <a:pt x="491" y="612"/>
                  <a:pt x="491" y="612"/>
                </a:cubicBezTo>
                <a:cubicBezTo>
                  <a:pt x="846" y="799"/>
                  <a:pt x="846" y="799"/>
                  <a:pt x="846" y="799"/>
                </a:cubicBezTo>
                <a:cubicBezTo>
                  <a:pt x="858" y="805"/>
                  <a:pt x="872" y="805"/>
                  <a:pt x="884" y="798"/>
                </a:cubicBezTo>
                <a:cubicBezTo>
                  <a:pt x="896" y="791"/>
                  <a:pt x="903" y="778"/>
                  <a:pt x="903" y="764"/>
                </a:cubicBezTo>
                <a:cubicBezTo>
                  <a:pt x="903" y="612"/>
                  <a:pt x="903" y="612"/>
                  <a:pt x="903" y="612"/>
                </a:cubicBezTo>
                <a:cubicBezTo>
                  <a:pt x="1650" y="1005"/>
                  <a:pt x="1650" y="1005"/>
                  <a:pt x="1650" y="1005"/>
                </a:cubicBezTo>
                <a:lnTo>
                  <a:pt x="1650" y="165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 name="Group 94"/>
          <p:cNvGrpSpPr/>
          <p:nvPr/>
        </p:nvGrpSpPr>
        <p:grpSpPr>
          <a:xfrm>
            <a:off x="4660900" y="1966345"/>
            <a:ext cx="873416" cy="2328409"/>
            <a:chOff x="4686300" y="1971676"/>
            <a:chExt cx="873416" cy="2328409"/>
          </a:xfrm>
        </p:grpSpPr>
        <p:grpSp>
          <p:nvGrpSpPr>
            <p:cNvPr id="5" name="Group 92"/>
            <p:cNvGrpSpPr/>
            <p:nvPr/>
          </p:nvGrpSpPr>
          <p:grpSpPr>
            <a:xfrm>
              <a:off x="4775057" y="1971676"/>
              <a:ext cx="695903" cy="1922266"/>
              <a:chOff x="4595813" y="1971676"/>
              <a:chExt cx="695903" cy="1922266"/>
            </a:xfrm>
          </p:grpSpPr>
          <p:grpSp>
            <p:nvGrpSpPr>
              <p:cNvPr id="6" name="Group 81"/>
              <p:cNvGrpSpPr/>
              <p:nvPr/>
            </p:nvGrpSpPr>
            <p:grpSpPr>
              <a:xfrm>
                <a:off x="4595813" y="1971676"/>
                <a:ext cx="695903" cy="398268"/>
                <a:chOff x="4595813" y="1971676"/>
                <a:chExt cx="695903" cy="398268"/>
              </a:xfrm>
            </p:grpSpPr>
            <p:sp>
              <p:nvSpPr>
                <p:cNvPr id="74" name="Freeform 6"/>
                <p:cNvSpPr>
                  <a:spLocks/>
                </p:cNvSpPr>
                <p:nvPr/>
              </p:nvSpPr>
              <p:spPr bwMode="auto">
                <a:xfrm>
                  <a:off x="4595813" y="1971676"/>
                  <a:ext cx="695903" cy="398268"/>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635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a:latin typeface="+mj-lt"/>
                  </a:endParaRPr>
                </a:p>
              </p:txBody>
            </p:sp>
            <p:grpSp>
              <p:nvGrpSpPr>
                <p:cNvPr id="7" name="Group 80"/>
                <p:cNvGrpSpPr/>
                <p:nvPr/>
              </p:nvGrpSpPr>
              <p:grpSpPr>
                <a:xfrm>
                  <a:off x="4841738" y="2040731"/>
                  <a:ext cx="270721" cy="319088"/>
                  <a:chOff x="5161966" y="2955131"/>
                  <a:chExt cx="270721" cy="319088"/>
                </a:xfrm>
              </p:grpSpPr>
              <p:pic>
                <p:nvPicPr>
                  <p:cNvPr id="75" name="gw.png"/>
                  <p:cNvPicPr/>
                  <p:nvPr/>
                </p:nvPicPr>
                <p:blipFill>
                  <a:blip r:embed="rId3" cstate="print">
                    <a:extLst>
                      <a:ext uri="{28A0092B-C50C-407E-A947-70E740481C1C}">
                        <a14:useLocalDpi xmlns:a14="http://schemas.microsoft.com/office/drawing/2010/main"/>
                      </a:ext>
                    </a:extLst>
                  </a:blip>
                  <a:srcRect l="18677" r="16309" b="32362"/>
                  <a:stretch>
                    <a:fillRect/>
                  </a:stretch>
                </p:blipFill>
                <p:spPr>
                  <a:xfrm>
                    <a:off x="5177073" y="3024004"/>
                    <a:ext cx="240507" cy="250215"/>
                  </a:xfrm>
                  <a:prstGeom prst="rect">
                    <a:avLst/>
                  </a:prstGeom>
                  <a:noFill/>
                  <a:ln>
                    <a:noFill/>
                  </a:ln>
                </p:spPr>
              </p:pic>
              <p:pic>
                <p:nvPicPr>
                  <p:cNvPr id="80" name="Picture 79" descr="icon_43667.png"/>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t="33134" b="33855"/>
                  <a:stretch>
                    <a:fillRect/>
                  </a:stretch>
                </p:blipFill>
                <p:spPr>
                  <a:xfrm>
                    <a:off x="5161966" y="2955131"/>
                    <a:ext cx="270721" cy="85725"/>
                  </a:xfrm>
                  <a:prstGeom prst="rect">
                    <a:avLst/>
                  </a:prstGeom>
                </p:spPr>
              </p:pic>
            </p:grpSp>
          </p:grpSp>
          <p:grpSp>
            <p:nvGrpSpPr>
              <p:cNvPr id="8" name="Group 82"/>
              <p:cNvGrpSpPr/>
              <p:nvPr/>
            </p:nvGrpSpPr>
            <p:grpSpPr>
              <a:xfrm>
                <a:off x="4595813" y="2733675"/>
                <a:ext cx="695903" cy="398268"/>
                <a:chOff x="4595813" y="1971676"/>
                <a:chExt cx="695903" cy="398268"/>
              </a:xfrm>
            </p:grpSpPr>
            <p:sp>
              <p:nvSpPr>
                <p:cNvPr id="84" name="Freeform 6"/>
                <p:cNvSpPr>
                  <a:spLocks/>
                </p:cNvSpPr>
                <p:nvPr/>
              </p:nvSpPr>
              <p:spPr bwMode="auto">
                <a:xfrm>
                  <a:off x="4595813" y="1971676"/>
                  <a:ext cx="695903" cy="398268"/>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4">
                        <a:lumMod val="20000"/>
                        <a:lumOff val="80000"/>
                        <a:alpha val="62000"/>
                      </a:schemeClr>
                    </a:gs>
                    <a:gs pos="88000">
                      <a:schemeClr val="bg1">
                        <a:alpha val="45000"/>
                      </a:schemeClr>
                    </a:gs>
                  </a:gsLst>
                  <a:lin ang="5400000" scaled="1"/>
                </a:gradFill>
                <a:ln w="6350" cap="flat">
                  <a:solidFill>
                    <a:schemeClr val="accent4">
                      <a:lumMod val="7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a:latin typeface="+mj-lt"/>
                  </a:endParaRPr>
                </a:p>
              </p:txBody>
            </p:sp>
            <p:grpSp>
              <p:nvGrpSpPr>
                <p:cNvPr id="9" name="Group 84"/>
                <p:cNvGrpSpPr/>
                <p:nvPr/>
              </p:nvGrpSpPr>
              <p:grpSpPr>
                <a:xfrm>
                  <a:off x="4841738" y="2040731"/>
                  <a:ext cx="270721" cy="319088"/>
                  <a:chOff x="5161966" y="2955131"/>
                  <a:chExt cx="270721" cy="319088"/>
                </a:xfrm>
              </p:grpSpPr>
              <p:pic>
                <p:nvPicPr>
                  <p:cNvPr id="86" name="gw.png"/>
                  <p:cNvPicPr/>
                  <p:nvPr/>
                </p:nvPicPr>
                <p:blipFill>
                  <a:blip r:embed="rId3" cstate="print">
                    <a:extLst>
                      <a:ext uri="{28A0092B-C50C-407E-A947-70E740481C1C}">
                        <a14:useLocalDpi xmlns:a14="http://schemas.microsoft.com/office/drawing/2010/main"/>
                      </a:ext>
                    </a:extLst>
                  </a:blip>
                  <a:srcRect l="18677" r="16309" b="32362"/>
                  <a:stretch>
                    <a:fillRect/>
                  </a:stretch>
                </p:blipFill>
                <p:spPr>
                  <a:xfrm>
                    <a:off x="5177073" y="3024004"/>
                    <a:ext cx="240507" cy="250215"/>
                  </a:xfrm>
                  <a:prstGeom prst="rect">
                    <a:avLst/>
                  </a:prstGeom>
                  <a:noFill/>
                  <a:ln>
                    <a:noFill/>
                  </a:ln>
                </p:spPr>
              </p:pic>
              <p:pic>
                <p:nvPicPr>
                  <p:cNvPr id="87" name="Picture 86" descr="icon_43667.png"/>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t="33134" b="33855"/>
                  <a:stretch>
                    <a:fillRect/>
                  </a:stretch>
                </p:blipFill>
                <p:spPr>
                  <a:xfrm>
                    <a:off x="5161966" y="2955131"/>
                    <a:ext cx="270721" cy="85725"/>
                  </a:xfrm>
                  <a:prstGeom prst="rect">
                    <a:avLst/>
                  </a:prstGeom>
                </p:spPr>
              </p:pic>
            </p:grpSp>
          </p:grpSp>
          <p:grpSp>
            <p:nvGrpSpPr>
              <p:cNvPr id="10" name="Group 87"/>
              <p:cNvGrpSpPr/>
              <p:nvPr/>
            </p:nvGrpSpPr>
            <p:grpSpPr>
              <a:xfrm>
                <a:off x="4595813" y="3495674"/>
                <a:ext cx="695903" cy="398268"/>
                <a:chOff x="4595813" y="1971676"/>
                <a:chExt cx="695903" cy="398268"/>
              </a:xfrm>
            </p:grpSpPr>
            <p:sp>
              <p:nvSpPr>
                <p:cNvPr id="89" name="Freeform 6"/>
                <p:cNvSpPr>
                  <a:spLocks/>
                </p:cNvSpPr>
                <p:nvPr/>
              </p:nvSpPr>
              <p:spPr bwMode="auto">
                <a:xfrm>
                  <a:off x="4595813" y="1971676"/>
                  <a:ext cx="695903" cy="398268"/>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tx2">
                        <a:lumMod val="20000"/>
                        <a:lumOff val="80000"/>
                      </a:schemeClr>
                    </a:gs>
                    <a:gs pos="88000">
                      <a:schemeClr val="bg1">
                        <a:alpha val="45000"/>
                      </a:schemeClr>
                    </a:gs>
                  </a:gsLst>
                  <a:lin ang="5400000" scaled="1"/>
                </a:gradFill>
                <a:ln w="6350" cap="flat">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a:latin typeface="+mj-lt"/>
                  </a:endParaRPr>
                </a:p>
              </p:txBody>
            </p:sp>
            <p:grpSp>
              <p:nvGrpSpPr>
                <p:cNvPr id="11" name="Group 89"/>
                <p:cNvGrpSpPr/>
                <p:nvPr/>
              </p:nvGrpSpPr>
              <p:grpSpPr>
                <a:xfrm>
                  <a:off x="4841738" y="2040731"/>
                  <a:ext cx="270721" cy="319088"/>
                  <a:chOff x="5161966" y="2955131"/>
                  <a:chExt cx="270721" cy="319088"/>
                </a:xfrm>
              </p:grpSpPr>
              <p:pic>
                <p:nvPicPr>
                  <p:cNvPr id="91" name="gw.png"/>
                  <p:cNvPicPr/>
                  <p:nvPr/>
                </p:nvPicPr>
                <p:blipFill>
                  <a:blip r:embed="rId3" cstate="print">
                    <a:extLst>
                      <a:ext uri="{28A0092B-C50C-407E-A947-70E740481C1C}">
                        <a14:useLocalDpi xmlns:a14="http://schemas.microsoft.com/office/drawing/2010/main"/>
                      </a:ext>
                    </a:extLst>
                  </a:blip>
                  <a:srcRect l="18677" r="16309" b="32362"/>
                  <a:stretch>
                    <a:fillRect/>
                  </a:stretch>
                </p:blipFill>
                <p:spPr>
                  <a:xfrm>
                    <a:off x="5177073" y="3024004"/>
                    <a:ext cx="240507" cy="250215"/>
                  </a:xfrm>
                  <a:prstGeom prst="rect">
                    <a:avLst/>
                  </a:prstGeom>
                  <a:noFill/>
                  <a:ln>
                    <a:noFill/>
                  </a:ln>
                </p:spPr>
              </p:pic>
              <p:pic>
                <p:nvPicPr>
                  <p:cNvPr id="92" name="Picture 91" descr="icon_43667.png"/>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a:ext>
                    </a:extLst>
                  </a:blip>
                  <a:srcRect t="33134" b="33855"/>
                  <a:stretch>
                    <a:fillRect/>
                  </a:stretch>
                </p:blipFill>
                <p:spPr>
                  <a:xfrm>
                    <a:off x="5161966" y="2955131"/>
                    <a:ext cx="270721" cy="85725"/>
                  </a:xfrm>
                  <a:prstGeom prst="rect">
                    <a:avLst/>
                  </a:prstGeom>
                </p:spPr>
              </p:pic>
            </p:grpSp>
          </p:grpSp>
        </p:grpSp>
        <p:sp>
          <p:nvSpPr>
            <p:cNvPr id="94" name="Shape 732"/>
            <p:cNvSpPr/>
            <p:nvPr/>
          </p:nvSpPr>
          <p:spPr>
            <a:xfrm>
              <a:off x="4686300" y="4084641"/>
              <a:ext cx="873416" cy="215444"/>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lgn="ctr">
                <a:defRPr sz="2000">
                  <a:solidFill>
                    <a:srgbClr val="525252"/>
                  </a:solidFill>
                </a:defRPr>
              </a:lvl1pPr>
            </a:lstStyle>
            <a:p>
              <a:pPr lvl="0">
                <a:defRPr sz="1800">
                  <a:solidFill>
                    <a:srgbClr val="000000"/>
                  </a:solidFill>
                </a:defRPr>
              </a:pPr>
              <a:r>
                <a:rPr sz="1400" b="1" dirty="0">
                  <a:solidFill>
                    <a:schemeClr val="accent1"/>
                  </a:solidFill>
                  <a:latin typeface="+mj-lt"/>
                </a:rPr>
                <a:t>IaaS</a:t>
              </a:r>
            </a:p>
          </p:txBody>
        </p:sp>
      </p:grpSp>
      <p:cxnSp>
        <p:nvCxnSpPr>
          <p:cNvPr id="97" name="Straight Arrow Connector 96"/>
          <p:cNvCxnSpPr>
            <a:endCxn id="84" idx="7"/>
          </p:cNvCxnSpPr>
          <p:nvPr/>
        </p:nvCxnSpPr>
        <p:spPr>
          <a:xfrm>
            <a:off x="4021931" y="2819400"/>
            <a:ext cx="727726" cy="182695"/>
          </a:xfrm>
          <a:prstGeom prst="straightConnector1">
            <a:avLst/>
          </a:prstGeom>
          <a:ln>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endCxn id="84" idx="7"/>
          </p:cNvCxnSpPr>
          <p:nvPr/>
        </p:nvCxnSpPr>
        <p:spPr>
          <a:xfrm flipV="1">
            <a:off x="4010025" y="3002095"/>
            <a:ext cx="739632" cy="422143"/>
          </a:xfrm>
          <a:prstGeom prst="straightConnector1">
            <a:avLst/>
          </a:prstGeom>
          <a:ln>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89" idx="7"/>
          </p:cNvCxnSpPr>
          <p:nvPr/>
        </p:nvCxnSpPr>
        <p:spPr>
          <a:xfrm flipV="1">
            <a:off x="3986784" y="3764094"/>
            <a:ext cx="762873" cy="312467"/>
          </a:xfrm>
          <a:prstGeom prst="straightConnector1">
            <a:avLst/>
          </a:prstGeom>
          <a:ln>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a:endCxn id="74" idx="7"/>
          </p:cNvCxnSpPr>
          <p:nvPr/>
        </p:nvCxnSpPr>
        <p:spPr>
          <a:xfrm>
            <a:off x="3986213" y="2219325"/>
            <a:ext cx="763444" cy="20771"/>
          </a:xfrm>
          <a:prstGeom prst="straightConnector1">
            <a:avLst/>
          </a:prstGeom>
          <a:ln>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5833163" y="1845582"/>
            <a:ext cx="2766325" cy="2569934"/>
          </a:xfrm>
          <a:prstGeom prst="rect">
            <a:avLst/>
          </a:prstGeom>
        </p:spPr>
        <p:txBody>
          <a:bodyPr wrap="square" lIns="0" tIns="0" rIns="0" bIns="0">
            <a:spAutoFit/>
          </a:bodyPr>
          <a:lstStyle/>
          <a:p>
            <a:pPr>
              <a:spcBef>
                <a:spcPts val="600"/>
              </a:spcBef>
            </a:pPr>
            <a:r>
              <a:rPr lang="en-US" sz="1600" b="1" dirty="0" smtClean="0">
                <a:solidFill>
                  <a:schemeClr val="accent2">
                    <a:lumMod val="75000"/>
                  </a:schemeClr>
                </a:solidFill>
                <a:latin typeface="+mj-lt"/>
              </a:rPr>
              <a:t>The Outcome</a:t>
            </a:r>
          </a:p>
          <a:p>
            <a:pPr marL="182880" indent="-182880">
              <a:spcBef>
                <a:spcPts val="600"/>
              </a:spcBef>
              <a:buFont typeface="Wingdings" pitchFamily="2" charset="2"/>
              <a:buChar char="§"/>
              <a:defRPr sz="1800">
                <a:solidFill>
                  <a:srgbClr val="000000"/>
                </a:solidFill>
              </a:defRPr>
            </a:pPr>
            <a:r>
              <a:rPr lang="en-US" sz="1400" dirty="0" smtClean="0">
                <a:solidFill>
                  <a:schemeClr val="accent2">
                    <a:lumMod val="75000"/>
                  </a:schemeClr>
                </a:solidFill>
                <a:latin typeface="+mj-lt"/>
              </a:rPr>
              <a:t>Focus existing core on mass market traffic</a:t>
            </a:r>
          </a:p>
          <a:p>
            <a:pPr marL="182880" indent="-182880">
              <a:spcBef>
                <a:spcPts val="600"/>
              </a:spcBef>
              <a:buFont typeface="Wingdings" pitchFamily="2" charset="2"/>
              <a:buChar char="§"/>
              <a:defRPr sz="1800">
                <a:solidFill>
                  <a:srgbClr val="000000"/>
                </a:solidFill>
              </a:defRPr>
            </a:pPr>
            <a:r>
              <a:rPr lang="en-US" sz="1400" dirty="0" smtClean="0">
                <a:solidFill>
                  <a:schemeClr val="accent2">
                    <a:lumMod val="75000"/>
                  </a:schemeClr>
                </a:solidFill>
                <a:latin typeface="+mj-lt"/>
              </a:rPr>
              <a:t>Add Virtualized slice(s) for verticals and introduction of new mass market services</a:t>
            </a:r>
          </a:p>
          <a:p>
            <a:pPr marL="182880" indent="-182880">
              <a:spcBef>
                <a:spcPts val="600"/>
              </a:spcBef>
              <a:buFont typeface="Wingdings" pitchFamily="2" charset="2"/>
              <a:buChar char="§"/>
              <a:defRPr sz="1800">
                <a:solidFill>
                  <a:srgbClr val="000000"/>
                </a:solidFill>
              </a:defRPr>
            </a:pPr>
            <a:r>
              <a:rPr lang="en-US" sz="1400" dirty="0" smtClean="0">
                <a:solidFill>
                  <a:schemeClr val="accent2">
                    <a:lumMod val="75000"/>
                  </a:schemeClr>
                </a:solidFill>
                <a:latin typeface="+mj-lt"/>
              </a:rPr>
              <a:t>Immediate set up — Enterprises on-boarded in minutes</a:t>
            </a:r>
          </a:p>
          <a:p>
            <a:pPr marL="182880" indent="-182880">
              <a:spcBef>
                <a:spcPts val="600"/>
              </a:spcBef>
              <a:buFont typeface="Wingdings" pitchFamily="2" charset="2"/>
              <a:buChar char="§"/>
              <a:defRPr sz="1800">
                <a:solidFill>
                  <a:srgbClr val="000000"/>
                </a:solidFill>
              </a:defRPr>
            </a:pPr>
            <a:r>
              <a:rPr lang="en-US" sz="1400" dirty="0" smtClean="0">
                <a:solidFill>
                  <a:schemeClr val="accent2">
                    <a:lumMod val="75000"/>
                  </a:schemeClr>
                </a:solidFill>
                <a:latin typeface="+mj-lt"/>
              </a:rPr>
              <a:t>Highly customizable</a:t>
            </a:r>
          </a:p>
          <a:p>
            <a:pPr marL="182880" indent="-182880">
              <a:spcBef>
                <a:spcPts val="600"/>
              </a:spcBef>
              <a:buFont typeface="Wingdings" pitchFamily="2" charset="2"/>
              <a:buChar char="§"/>
              <a:defRPr sz="1800">
                <a:solidFill>
                  <a:srgbClr val="000000"/>
                </a:solidFill>
              </a:defRPr>
            </a:pPr>
            <a:r>
              <a:rPr lang="en-US" sz="1400" dirty="0" smtClean="0">
                <a:solidFill>
                  <a:schemeClr val="accent2">
                    <a:lumMod val="75000"/>
                  </a:schemeClr>
                </a:solidFill>
                <a:latin typeface="+mj-lt"/>
              </a:rPr>
              <a:t>Self-service reduces </a:t>
            </a:r>
            <a:r>
              <a:rPr lang="en-US" sz="1400" dirty="0" err="1" smtClean="0">
                <a:solidFill>
                  <a:schemeClr val="accent2">
                    <a:lumMod val="75000"/>
                  </a:schemeClr>
                </a:solidFill>
                <a:latin typeface="+mj-lt"/>
              </a:rPr>
              <a:t>OpEx</a:t>
            </a:r>
            <a:endParaRPr lang="en-US" sz="1400" dirty="0" smtClean="0">
              <a:solidFill>
                <a:schemeClr val="accent2">
                  <a:lumMod val="75000"/>
                </a:schemeClr>
              </a:solidFill>
              <a:latin typeface="+mj-lt"/>
            </a:endParaRPr>
          </a:p>
        </p:txBody>
      </p:sp>
      <p:grpSp>
        <p:nvGrpSpPr>
          <p:cNvPr id="12" name="Group 113"/>
          <p:cNvGrpSpPr/>
          <p:nvPr/>
        </p:nvGrpSpPr>
        <p:grpSpPr>
          <a:xfrm>
            <a:off x="533400" y="1927225"/>
            <a:ext cx="2766325" cy="2195953"/>
            <a:chOff x="533400" y="1927225"/>
            <a:chExt cx="2766325" cy="2195953"/>
          </a:xfrm>
        </p:grpSpPr>
        <p:sp>
          <p:nvSpPr>
            <p:cNvPr id="108" name="Rectangle 107"/>
            <p:cNvSpPr/>
            <p:nvPr/>
          </p:nvSpPr>
          <p:spPr>
            <a:xfrm>
              <a:off x="533400" y="3153682"/>
              <a:ext cx="2766325" cy="969496"/>
            </a:xfrm>
            <a:prstGeom prst="rect">
              <a:avLst/>
            </a:prstGeom>
          </p:spPr>
          <p:txBody>
            <a:bodyPr wrap="square" lIns="0" tIns="0" rIns="0" bIns="0">
              <a:spAutoFit/>
            </a:bodyPr>
            <a:lstStyle/>
            <a:p>
              <a:pPr algn="ctr">
                <a:spcBef>
                  <a:spcPts val="600"/>
                </a:spcBef>
              </a:pPr>
              <a:r>
                <a:rPr lang="en-US" sz="1600" b="1" dirty="0" smtClean="0">
                  <a:solidFill>
                    <a:schemeClr val="accent2">
                      <a:lumMod val="75000"/>
                    </a:schemeClr>
                  </a:solidFill>
                  <a:latin typeface="+mj-lt"/>
                </a:rPr>
                <a:t>With Ultra</a:t>
              </a:r>
            </a:p>
            <a:p>
              <a:pPr algn="ctr">
                <a:spcBef>
                  <a:spcPts val="600"/>
                </a:spcBef>
              </a:pPr>
              <a:r>
                <a:rPr lang="en-US" sz="1400" dirty="0" smtClean="0">
                  <a:solidFill>
                    <a:schemeClr val="accent2">
                      <a:lumMod val="75000"/>
                    </a:schemeClr>
                  </a:solidFill>
                  <a:latin typeface="+mj-lt"/>
                </a:rPr>
                <a:t>Each enterprise </a:t>
              </a:r>
              <a:br>
                <a:rPr lang="en-US" sz="1400" dirty="0" smtClean="0">
                  <a:solidFill>
                    <a:schemeClr val="accent2">
                      <a:lumMod val="75000"/>
                    </a:schemeClr>
                  </a:solidFill>
                  <a:latin typeface="+mj-lt"/>
                </a:rPr>
              </a:br>
              <a:r>
                <a:rPr lang="en-US" sz="1400" dirty="0" smtClean="0">
                  <a:solidFill>
                    <a:schemeClr val="accent2">
                      <a:lumMod val="75000"/>
                    </a:schemeClr>
                  </a:solidFill>
                  <a:latin typeface="+mj-lt"/>
                </a:rPr>
                <a:t>or IoT service gets</a:t>
              </a:r>
              <a:br>
                <a:rPr lang="en-US" sz="1400" dirty="0" smtClean="0">
                  <a:solidFill>
                    <a:schemeClr val="accent2">
                      <a:lumMod val="75000"/>
                    </a:schemeClr>
                  </a:solidFill>
                  <a:latin typeface="+mj-lt"/>
                </a:rPr>
              </a:br>
              <a:r>
                <a:rPr lang="en-US" sz="1400" dirty="0" smtClean="0">
                  <a:solidFill>
                    <a:schemeClr val="accent2">
                      <a:lumMod val="75000"/>
                    </a:schemeClr>
                  </a:solidFill>
                  <a:latin typeface="+mj-lt"/>
                </a:rPr>
                <a:t>its own virtualized Core</a:t>
              </a:r>
            </a:p>
          </p:txBody>
        </p:sp>
        <p:grpSp>
          <p:nvGrpSpPr>
            <p:cNvPr id="13" name="Group 112"/>
            <p:cNvGrpSpPr/>
            <p:nvPr/>
          </p:nvGrpSpPr>
          <p:grpSpPr>
            <a:xfrm>
              <a:off x="1545087" y="1927225"/>
              <a:ext cx="742950" cy="996950"/>
              <a:chOff x="1546225" y="1927225"/>
              <a:chExt cx="742950" cy="996950"/>
            </a:xfrm>
          </p:grpSpPr>
          <p:sp>
            <p:nvSpPr>
              <p:cNvPr id="79878" name="Freeform 6"/>
              <p:cNvSpPr>
                <a:spLocks noEditPoints="1"/>
              </p:cNvSpPr>
              <p:nvPr/>
            </p:nvSpPr>
            <p:spPr bwMode="auto">
              <a:xfrm>
                <a:off x="1597025" y="1971675"/>
                <a:ext cx="641350" cy="908050"/>
              </a:xfrm>
              <a:custGeom>
                <a:avLst/>
                <a:gdLst/>
                <a:ahLst/>
                <a:cxnLst>
                  <a:cxn ang="0">
                    <a:pos x="0" y="0"/>
                  </a:cxn>
                  <a:cxn ang="0">
                    <a:pos x="0" y="568"/>
                  </a:cxn>
                  <a:cxn ang="0">
                    <a:pos x="9" y="568"/>
                  </a:cxn>
                  <a:cxn ang="0">
                    <a:pos x="9" y="572"/>
                  </a:cxn>
                  <a:cxn ang="0">
                    <a:pos x="395" y="572"/>
                  </a:cxn>
                  <a:cxn ang="0">
                    <a:pos x="395" y="568"/>
                  </a:cxn>
                  <a:cxn ang="0">
                    <a:pos x="404" y="568"/>
                  </a:cxn>
                  <a:cxn ang="0">
                    <a:pos x="404" y="0"/>
                  </a:cxn>
                  <a:cxn ang="0">
                    <a:pos x="0" y="0"/>
                  </a:cxn>
                  <a:cxn ang="0">
                    <a:pos x="386" y="550"/>
                  </a:cxn>
                  <a:cxn ang="0">
                    <a:pos x="18" y="550"/>
                  </a:cxn>
                  <a:cxn ang="0">
                    <a:pos x="18" y="455"/>
                  </a:cxn>
                  <a:cxn ang="0">
                    <a:pos x="386" y="455"/>
                  </a:cxn>
                  <a:cxn ang="0">
                    <a:pos x="386" y="550"/>
                  </a:cxn>
                  <a:cxn ang="0">
                    <a:pos x="386" y="438"/>
                  </a:cxn>
                  <a:cxn ang="0">
                    <a:pos x="18" y="438"/>
                  </a:cxn>
                  <a:cxn ang="0">
                    <a:pos x="18" y="338"/>
                  </a:cxn>
                  <a:cxn ang="0">
                    <a:pos x="188" y="338"/>
                  </a:cxn>
                  <a:cxn ang="0">
                    <a:pos x="212" y="382"/>
                  </a:cxn>
                  <a:cxn ang="0">
                    <a:pos x="386" y="382"/>
                  </a:cxn>
                  <a:cxn ang="0">
                    <a:pos x="386" y="438"/>
                  </a:cxn>
                  <a:cxn ang="0">
                    <a:pos x="386" y="365"/>
                  </a:cxn>
                  <a:cxn ang="0">
                    <a:pos x="221" y="365"/>
                  </a:cxn>
                  <a:cxn ang="0">
                    <a:pos x="208" y="338"/>
                  </a:cxn>
                  <a:cxn ang="0">
                    <a:pos x="386" y="338"/>
                  </a:cxn>
                  <a:cxn ang="0">
                    <a:pos x="386" y="365"/>
                  </a:cxn>
                  <a:cxn ang="0">
                    <a:pos x="386" y="320"/>
                  </a:cxn>
                  <a:cxn ang="0">
                    <a:pos x="18" y="320"/>
                  </a:cxn>
                  <a:cxn ang="0">
                    <a:pos x="18" y="223"/>
                  </a:cxn>
                  <a:cxn ang="0">
                    <a:pos x="188" y="223"/>
                  </a:cxn>
                  <a:cxn ang="0">
                    <a:pos x="212" y="265"/>
                  </a:cxn>
                  <a:cxn ang="0">
                    <a:pos x="386" y="265"/>
                  </a:cxn>
                  <a:cxn ang="0">
                    <a:pos x="386" y="320"/>
                  </a:cxn>
                  <a:cxn ang="0">
                    <a:pos x="386" y="248"/>
                  </a:cxn>
                  <a:cxn ang="0">
                    <a:pos x="221" y="248"/>
                  </a:cxn>
                  <a:cxn ang="0">
                    <a:pos x="208" y="223"/>
                  </a:cxn>
                  <a:cxn ang="0">
                    <a:pos x="386" y="223"/>
                  </a:cxn>
                  <a:cxn ang="0">
                    <a:pos x="386" y="248"/>
                  </a:cxn>
                  <a:cxn ang="0">
                    <a:pos x="386" y="206"/>
                  </a:cxn>
                  <a:cxn ang="0">
                    <a:pos x="18" y="206"/>
                  </a:cxn>
                  <a:cxn ang="0">
                    <a:pos x="18" y="106"/>
                  </a:cxn>
                  <a:cxn ang="0">
                    <a:pos x="188" y="106"/>
                  </a:cxn>
                  <a:cxn ang="0">
                    <a:pos x="212" y="148"/>
                  </a:cxn>
                  <a:cxn ang="0">
                    <a:pos x="386" y="148"/>
                  </a:cxn>
                  <a:cxn ang="0">
                    <a:pos x="386" y="206"/>
                  </a:cxn>
                  <a:cxn ang="0">
                    <a:pos x="386" y="130"/>
                  </a:cxn>
                  <a:cxn ang="0">
                    <a:pos x="221" y="130"/>
                  </a:cxn>
                  <a:cxn ang="0">
                    <a:pos x="208" y="106"/>
                  </a:cxn>
                  <a:cxn ang="0">
                    <a:pos x="386" y="106"/>
                  </a:cxn>
                  <a:cxn ang="0">
                    <a:pos x="386" y="130"/>
                  </a:cxn>
                  <a:cxn ang="0">
                    <a:pos x="386" y="89"/>
                  </a:cxn>
                  <a:cxn ang="0">
                    <a:pos x="18" y="89"/>
                  </a:cxn>
                  <a:cxn ang="0">
                    <a:pos x="18" y="18"/>
                  </a:cxn>
                  <a:cxn ang="0">
                    <a:pos x="386" y="18"/>
                  </a:cxn>
                  <a:cxn ang="0">
                    <a:pos x="386" y="89"/>
                  </a:cxn>
                </a:cxnLst>
                <a:rect l="0" t="0" r="r" b="b"/>
                <a:pathLst>
                  <a:path w="404" h="572">
                    <a:moveTo>
                      <a:pt x="0" y="0"/>
                    </a:moveTo>
                    <a:lnTo>
                      <a:pt x="0" y="568"/>
                    </a:lnTo>
                    <a:lnTo>
                      <a:pt x="9" y="568"/>
                    </a:lnTo>
                    <a:lnTo>
                      <a:pt x="9" y="572"/>
                    </a:lnTo>
                    <a:lnTo>
                      <a:pt x="395" y="572"/>
                    </a:lnTo>
                    <a:lnTo>
                      <a:pt x="395" y="568"/>
                    </a:lnTo>
                    <a:lnTo>
                      <a:pt x="404" y="568"/>
                    </a:lnTo>
                    <a:lnTo>
                      <a:pt x="404" y="0"/>
                    </a:lnTo>
                    <a:lnTo>
                      <a:pt x="0" y="0"/>
                    </a:lnTo>
                    <a:close/>
                    <a:moveTo>
                      <a:pt x="386" y="550"/>
                    </a:moveTo>
                    <a:lnTo>
                      <a:pt x="18" y="550"/>
                    </a:lnTo>
                    <a:lnTo>
                      <a:pt x="18" y="455"/>
                    </a:lnTo>
                    <a:lnTo>
                      <a:pt x="386" y="455"/>
                    </a:lnTo>
                    <a:lnTo>
                      <a:pt x="386" y="550"/>
                    </a:lnTo>
                    <a:close/>
                    <a:moveTo>
                      <a:pt x="386" y="438"/>
                    </a:moveTo>
                    <a:lnTo>
                      <a:pt x="18" y="438"/>
                    </a:lnTo>
                    <a:lnTo>
                      <a:pt x="18" y="338"/>
                    </a:lnTo>
                    <a:lnTo>
                      <a:pt x="188" y="338"/>
                    </a:lnTo>
                    <a:lnTo>
                      <a:pt x="212" y="382"/>
                    </a:lnTo>
                    <a:lnTo>
                      <a:pt x="386" y="382"/>
                    </a:lnTo>
                    <a:lnTo>
                      <a:pt x="386" y="438"/>
                    </a:lnTo>
                    <a:close/>
                    <a:moveTo>
                      <a:pt x="386" y="365"/>
                    </a:moveTo>
                    <a:lnTo>
                      <a:pt x="221" y="365"/>
                    </a:lnTo>
                    <a:lnTo>
                      <a:pt x="208" y="338"/>
                    </a:lnTo>
                    <a:lnTo>
                      <a:pt x="386" y="338"/>
                    </a:lnTo>
                    <a:lnTo>
                      <a:pt x="386" y="365"/>
                    </a:lnTo>
                    <a:close/>
                    <a:moveTo>
                      <a:pt x="386" y="320"/>
                    </a:moveTo>
                    <a:lnTo>
                      <a:pt x="18" y="320"/>
                    </a:lnTo>
                    <a:lnTo>
                      <a:pt x="18" y="223"/>
                    </a:lnTo>
                    <a:lnTo>
                      <a:pt x="188" y="223"/>
                    </a:lnTo>
                    <a:lnTo>
                      <a:pt x="212" y="265"/>
                    </a:lnTo>
                    <a:lnTo>
                      <a:pt x="386" y="265"/>
                    </a:lnTo>
                    <a:lnTo>
                      <a:pt x="386" y="320"/>
                    </a:lnTo>
                    <a:close/>
                    <a:moveTo>
                      <a:pt x="386" y="248"/>
                    </a:moveTo>
                    <a:lnTo>
                      <a:pt x="221" y="248"/>
                    </a:lnTo>
                    <a:lnTo>
                      <a:pt x="208" y="223"/>
                    </a:lnTo>
                    <a:lnTo>
                      <a:pt x="386" y="223"/>
                    </a:lnTo>
                    <a:lnTo>
                      <a:pt x="386" y="248"/>
                    </a:lnTo>
                    <a:close/>
                    <a:moveTo>
                      <a:pt x="386" y="206"/>
                    </a:moveTo>
                    <a:lnTo>
                      <a:pt x="18" y="206"/>
                    </a:lnTo>
                    <a:lnTo>
                      <a:pt x="18" y="106"/>
                    </a:lnTo>
                    <a:lnTo>
                      <a:pt x="188" y="106"/>
                    </a:lnTo>
                    <a:lnTo>
                      <a:pt x="212" y="148"/>
                    </a:lnTo>
                    <a:lnTo>
                      <a:pt x="386" y="148"/>
                    </a:lnTo>
                    <a:lnTo>
                      <a:pt x="386" y="206"/>
                    </a:lnTo>
                    <a:close/>
                    <a:moveTo>
                      <a:pt x="386" y="130"/>
                    </a:moveTo>
                    <a:lnTo>
                      <a:pt x="221" y="130"/>
                    </a:lnTo>
                    <a:lnTo>
                      <a:pt x="208" y="106"/>
                    </a:lnTo>
                    <a:lnTo>
                      <a:pt x="386" y="106"/>
                    </a:lnTo>
                    <a:lnTo>
                      <a:pt x="386" y="130"/>
                    </a:lnTo>
                    <a:close/>
                    <a:moveTo>
                      <a:pt x="386" y="89"/>
                    </a:moveTo>
                    <a:lnTo>
                      <a:pt x="18" y="89"/>
                    </a:lnTo>
                    <a:lnTo>
                      <a:pt x="18" y="18"/>
                    </a:lnTo>
                    <a:lnTo>
                      <a:pt x="386" y="18"/>
                    </a:lnTo>
                    <a:lnTo>
                      <a:pt x="386" y="89"/>
                    </a:lnTo>
                    <a:close/>
                  </a:path>
                </a:pathLst>
              </a:custGeom>
              <a:solidFill>
                <a:schemeClr val="bg2">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2" name="Rectangle 111"/>
              <p:cNvSpPr/>
              <p:nvPr/>
            </p:nvSpPr>
            <p:spPr>
              <a:xfrm>
                <a:off x="1546225" y="1927225"/>
                <a:ext cx="742950" cy="996950"/>
              </a:xfrm>
              <a:prstGeom prst="rect">
                <a:avLst/>
              </a:prstGeom>
              <a:noFill/>
              <a:ln>
                <a:solidFill>
                  <a:schemeClr val="bg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grpSp>
        <p:nvGrpSpPr>
          <p:cNvPr id="14" name="Group 146"/>
          <p:cNvGrpSpPr/>
          <p:nvPr/>
        </p:nvGrpSpPr>
        <p:grpSpPr>
          <a:xfrm>
            <a:off x="3641214" y="1954571"/>
            <a:ext cx="375698" cy="375699"/>
            <a:chOff x="4420423" y="3287556"/>
            <a:chExt cx="384609" cy="384610"/>
          </a:xfrm>
          <a:solidFill>
            <a:schemeClr val="accent2"/>
          </a:solidFill>
        </p:grpSpPr>
        <p:sp>
          <p:nvSpPr>
            <p:cNvPr id="54" name="Freeform 55"/>
            <p:cNvSpPr>
              <a:spLocks noEditPoints="1"/>
            </p:cNvSpPr>
            <p:nvPr/>
          </p:nvSpPr>
          <p:spPr bwMode="auto">
            <a:xfrm>
              <a:off x="4420423" y="3287556"/>
              <a:ext cx="384609" cy="384610"/>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9 h 230"/>
                <a:gd name="T12" fmla="*/ 10 w 230"/>
                <a:gd name="T13" fmla="*/ 115 h 230"/>
                <a:gd name="T14" fmla="*/ 115 w 230"/>
                <a:gd name="T15" fmla="*/ 220 h 230"/>
                <a:gd name="T16" fmla="*/ 221 w 230"/>
                <a:gd name="T17" fmla="*/ 115 h 230"/>
                <a:gd name="T18" fmla="*/ 115 w 230"/>
                <a:gd name="T19" fmla="*/ 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moveTo>
                    <a:pt x="115" y="9"/>
                  </a:moveTo>
                  <a:cubicBezTo>
                    <a:pt x="57" y="9"/>
                    <a:pt x="10" y="57"/>
                    <a:pt x="10" y="115"/>
                  </a:cubicBezTo>
                  <a:cubicBezTo>
                    <a:pt x="10" y="173"/>
                    <a:pt x="57" y="220"/>
                    <a:pt x="115" y="220"/>
                  </a:cubicBezTo>
                  <a:cubicBezTo>
                    <a:pt x="173" y="220"/>
                    <a:pt x="221" y="173"/>
                    <a:pt x="221" y="115"/>
                  </a:cubicBezTo>
                  <a:cubicBezTo>
                    <a:pt x="221" y="57"/>
                    <a:pt x="173" y="9"/>
                    <a:pt x="115" y="9"/>
                  </a:cubicBezTo>
                </a:path>
              </a:pathLst>
            </a:custGeom>
            <a:grpFill/>
            <a:ln w="6350">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55" name="Freeform 56"/>
            <p:cNvSpPr>
              <a:spLocks noEditPoints="1"/>
            </p:cNvSpPr>
            <p:nvPr/>
          </p:nvSpPr>
          <p:spPr bwMode="auto">
            <a:xfrm>
              <a:off x="4581208" y="3447633"/>
              <a:ext cx="63747" cy="63747"/>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9 h 38"/>
                <a:gd name="T12" fmla="*/ 10 w 38"/>
                <a:gd name="T13" fmla="*/ 19 h 38"/>
                <a:gd name="T14" fmla="*/ 19 w 38"/>
                <a:gd name="T15" fmla="*/ 28 h 38"/>
                <a:gd name="T16" fmla="*/ 29 w 38"/>
                <a:gd name="T17" fmla="*/ 19 h 38"/>
                <a:gd name="T18" fmla="*/ 19 w 38"/>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moveTo>
                    <a:pt x="19" y="9"/>
                  </a:moveTo>
                  <a:cubicBezTo>
                    <a:pt x="14" y="9"/>
                    <a:pt x="10" y="13"/>
                    <a:pt x="10" y="19"/>
                  </a:cubicBezTo>
                  <a:cubicBezTo>
                    <a:pt x="10" y="24"/>
                    <a:pt x="14" y="28"/>
                    <a:pt x="19" y="28"/>
                  </a:cubicBezTo>
                  <a:cubicBezTo>
                    <a:pt x="24" y="28"/>
                    <a:pt x="29" y="24"/>
                    <a:pt x="29" y="19"/>
                  </a:cubicBezTo>
                  <a:cubicBezTo>
                    <a:pt x="29" y="13"/>
                    <a:pt x="24" y="9"/>
                    <a:pt x="19" y="9"/>
                  </a:cubicBezTo>
                </a:path>
              </a:pathLst>
            </a:custGeom>
            <a:grpFill/>
            <a:ln w="6350">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56" name="Freeform 57"/>
            <p:cNvSpPr>
              <a:spLocks noEditPoints="1"/>
            </p:cNvSpPr>
            <p:nvPr/>
          </p:nvSpPr>
          <p:spPr bwMode="auto">
            <a:xfrm>
              <a:off x="4452297" y="3322263"/>
              <a:ext cx="321570" cy="222408"/>
            </a:xfrm>
            <a:custGeom>
              <a:avLst/>
              <a:gdLst>
                <a:gd name="T0" fmla="*/ 178 w 192"/>
                <a:gd name="T1" fmla="*/ 133 h 133"/>
                <a:gd name="T2" fmla="*/ 158 w 192"/>
                <a:gd name="T3" fmla="*/ 119 h 133"/>
                <a:gd name="T4" fmla="*/ 182 w 192"/>
                <a:gd name="T5" fmla="*/ 124 h 133"/>
                <a:gd name="T6" fmla="*/ 180 w 192"/>
                <a:gd name="T7" fmla="*/ 133 h 133"/>
                <a:gd name="T8" fmla="*/ 8 w 192"/>
                <a:gd name="T9" fmla="*/ 130 h 133"/>
                <a:gd name="T10" fmla="*/ 28 w 192"/>
                <a:gd name="T11" fmla="*/ 117 h 133"/>
                <a:gd name="T12" fmla="*/ 32 w 192"/>
                <a:gd name="T13" fmla="*/ 126 h 133"/>
                <a:gd name="T14" fmla="*/ 12 w 192"/>
                <a:gd name="T15" fmla="*/ 133 h 133"/>
                <a:gd name="T16" fmla="*/ 5 w 192"/>
                <a:gd name="T17" fmla="*/ 100 h 133"/>
                <a:gd name="T18" fmla="*/ 5 w 192"/>
                <a:gd name="T19" fmla="*/ 91 h 133"/>
                <a:gd name="T20" fmla="*/ 29 w 192"/>
                <a:gd name="T21" fmla="*/ 95 h 133"/>
                <a:gd name="T22" fmla="*/ 187 w 192"/>
                <a:gd name="T23" fmla="*/ 99 h 133"/>
                <a:gd name="T24" fmla="*/ 163 w 192"/>
                <a:gd name="T25" fmla="*/ 94 h 133"/>
                <a:gd name="T26" fmla="*/ 187 w 192"/>
                <a:gd name="T27" fmla="*/ 89 h 133"/>
                <a:gd name="T28" fmla="*/ 187 w 192"/>
                <a:gd name="T29" fmla="*/ 99 h 133"/>
                <a:gd name="T30" fmla="*/ 103 w 192"/>
                <a:gd name="T31" fmla="*/ 87 h 133"/>
                <a:gd name="T32" fmla="*/ 150 w 192"/>
                <a:gd name="T33" fmla="*/ 33 h 133"/>
                <a:gd name="T34" fmla="*/ 157 w 192"/>
                <a:gd name="T35" fmla="*/ 39 h 133"/>
                <a:gd name="T36" fmla="*/ 106 w 192"/>
                <a:gd name="T37" fmla="*/ 88 h 133"/>
                <a:gd name="T38" fmla="*/ 28 w 192"/>
                <a:gd name="T39" fmla="*/ 71 h 133"/>
                <a:gd name="T40" fmla="*/ 8 w 192"/>
                <a:gd name="T41" fmla="*/ 57 h 133"/>
                <a:gd name="T42" fmla="*/ 32 w 192"/>
                <a:gd name="T43" fmla="*/ 62 h 133"/>
                <a:gd name="T44" fmla="*/ 30 w 192"/>
                <a:gd name="T45" fmla="*/ 71 h 133"/>
                <a:gd name="T46" fmla="*/ 158 w 192"/>
                <a:gd name="T47" fmla="*/ 68 h 133"/>
                <a:gd name="T48" fmla="*/ 179 w 192"/>
                <a:gd name="T49" fmla="*/ 54 h 133"/>
                <a:gd name="T50" fmla="*/ 182 w 192"/>
                <a:gd name="T51" fmla="*/ 63 h 133"/>
                <a:gd name="T52" fmla="*/ 163 w 192"/>
                <a:gd name="T53" fmla="*/ 71 h 133"/>
                <a:gd name="T54" fmla="*/ 42 w 192"/>
                <a:gd name="T55" fmla="*/ 46 h 133"/>
                <a:gd name="T56" fmla="*/ 28 w 192"/>
                <a:gd name="T57" fmla="*/ 26 h 133"/>
                <a:gd name="T58" fmla="*/ 49 w 192"/>
                <a:gd name="T59" fmla="*/ 39 h 133"/>
                <a:gd name="T60" fmla="*/ 45 w 192"/>
                <a:gd name="T61" fmla="*/ 48 h 133"/>
                <a:gd name="T62" fmla="*/ 64 w 192"/>
                <a:gd name="T63" fmla="*/ 29 h 133"/>
                <a:gd name="T64" fmla="*/ 60 w 192"/>
                <a:gd name="T65" fmla="*/ 5 h 133"/>
                <a:gd name="T66" fmla="*/ 73 w 192"/>
                <a:gd name="T67" fmla="*/ 25 h 133"/>
                <a:gd name="T68" fmla="*/ 69 w 192"/>
                <a:gd name="T69" fmla="*/ 32 h 133"/>
                <a:gd name="T70" fmla="*/ 122 w 192"/>
                <a:gd name="T71" fmla="*/ 32 h 133"/>
                <a:gd name="T72" fmla="*/ 127 w 192"/>
                <a:gd name="T73" fmla="*/ 8 h 133"/>
                <a:gd name="T74" fmla="*/ 135 w 192"/>
                <a:gd name="T75" fmla="*/ 11 h 133"/>
                <a:gd name="T76" fmla="*/ 124 w 192"/>
                <a:gd name="T77" fmla="*/ 32 h 133"/>
                <a:gd name="T78" fmla="*/ 91 w 192"/>
                <a:gd name="T79" fmla="*/ 24 h 133"/>
                <a:gd name="T80" fmla="*/ 96 w 192"/>
                <a:gd name="T81" fmla="*/ 0 h 133"/>
                <a:gd name="T82" fmla="*/ 100 w 192"/>
                <a:gd name="T83"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33">
                  <a:moveTo>
                    <a:pt x="180" y="133"/>
                  </a:moveTo>
                  <a:cubicBezTo>
                    <a:pt x="180" y="133"/>
                    <a:pt x="179" y="133"/>
                    <a:pt x="178" y="133"/>
                  </a:cubicBezTo>
                  <a:cubicBezTo>
                    <a:pt x="161" y="126"/>
                    <a:pt x="161" y="126"/>
                    <a:pt x="161" y="126"/>
                  </a:cubicBezTo>
                  <a:cubicBezTo>
                    <a:pt x="158" y="125"/>
                    <a:pt x="157" y="122"/>
                    <a:pt x="158" y="119"/>
                  </a:cubicBezTo>
                  <a:cubicBezTo>
                    <a:pt x="159" y="117"/>
                    <a:pt x="162" y="116"/>
                    <a:pt x="164" y="117"/>
                  </a:cubicBezTo>
                  <a:cubicBezTo>
                    <a:pt x="182" y="124"/>
                    <a:pt x="182" y="124"/>
                    <a:pt x="182" y="124"/>
                  </a:cubicBezTo>
                  <a:cubicBezTo>
                    <a:pt x="185" y="125"/>
                    <a:pt x="186" y="128"/>
                    <a:pt x="185" y="130"/>
                  </a:cubicBezTo>
                  <a:cubicBezTo>
                    <a:pt x="184" y="132"/>
                    <a:pt x="182" y="133"/>
                    <a:pt x="180" y="133"/>
                  </a:cubicBezTo>
                  <a:moveTo>
                    <a:pt x="12" y="133"/>
                  </a:moveTo>
                  <a:cubicBezTo>
                    <a:pt x="10" y="133"/>
                    <a:pt x="8" y="132"/>
                    <a:pt x="8" y="130"/>
                  </a:cubicBezTo>
                  <a:cubicBezTo>
                    <a:pt x="7" y="128"/>
                    <a:pt x="8" y="125"/>
                    <a:pt x="10" y="124"/>
                  </a:cubicBezTo>
                  <a:cubicBezTo>
                    <a:pt x="28" y="117"/>
                    <a:pt x="28" y="117"/>
                    <a:pt x="28" y="117"/>
                  </a:cubicBezTo>
                  <a:cubicBezTo>
                    <a:pt x="30" y="116"/>
                    <a:pt x="33" y="117"/>
                    <a:pt x="34" y="119"/>
                  </a:cubicBezTo>
                  <a:cubicBezTo>
                    <a:pt x="35" y="122"/>
                    <a:pt x="34" y="125"/>
                    <a:pt x="32" y="126"/>
                  </a:cubicBezTo>
                  <a:cubicBezTo>
                    <a:pt x="14" y="133"/>
                    <a:pt x="14" y="133"/>
                    <a:pt x="14" y="133"/>
                  </a:cubicBezTo>
                  <a:cubicBezTo>
                    <a:pt x="13" y="133"/>
                    <a:pt x="13" y="133"/>
                    <a:pt x="12" y="133"/>
                  </a:cubicBezTo>
                  <a:moveTo>
                    <a:pt x="24" y="100"/>
                  </a:moveTo>
                  <a:cubicBezTo>
                    <a:pt x="5" y="100"/>
                    <a:pt x="5" y="100"/>
                    <a:pt x="5" y="100"/>
                  </a:cubicBezTo>
                  <a:cubicBezTo>
                    <a:pt x="2" y="100"/>
                    <a:pt x="0" y="98"/>
                    <a:pt x="0" y="95"/>
                  </a:cubicBezTo>
                  <a:cubicBezTo>
                    <a:pt x="0" y="93"/>
                    <a:pt x="2" y="91"/>
                    <a:pt x="5" y="91"/>
                  </a:cubicBezTo>
                  <a:cubicBezTo>
                    <a:pt x="24" y="91"/>
                    <a:pt x="24" y="91"/>
                    <a:pt x="24" y="91"/>
                  </a:cubicBezTo>
                  <a:cubicBezTo>
                    <a:pt x="26" y="91"/>
                    <a:pt x="29" y="93"/>
                    <a:pt x="29" y="95"/>
                  </a:cubicBezTo>
                  <a:cubicBezTo>
                    <a:pt x="29" y="98"/>
                    <a:pt x="26" y="100"/>
                    <a:pt x="24" y="100"/>
                  </a:cubicBezTo>
                  <a:moveTo>
                    <a:pt x="187" y="99"/>
                  </a:moveTo>
                  <a:cubicBezTo>
                    <a:pt x="168" y="99"/>
                    <a:pt x="168" y="99"/>
                    <a:pt x="168" y="99"/>
                  </a:cubicBezTo>
                  <a:cubicBezTo>
                    <a:pt x="165" y="99"/>
                    <a:pt x="163" y="96"/>
                    <a:pt x="163" y="94"/>
                  </a:cubicBezTo>
                  <a:cubicBezTo>
                    <a:pt x="163" y="91"/>
                    <a:pt x="165" y="89"/>
                    <a:pt x="168" y="89"/>
                  </a:cubicBezTo>
                  <a:cubicBezTo>
                    <a:pt x="187" y="89"/>
                    <a:pt x="187" y="89"/>
                    <a:pt x="187" y="89"/>
                  </a:cubicBezTo>
                  <a:cubicBezTo>
                    <a:pt x="190" y="89"/>
                    <a:pt x="192" y="91"/>
                    <a:pt x="192" y="94"/>
                  </a:cubicBezTo>
                  <a:cubicBezTo>
                    <a:pt x="192" y="96"/>
                    <a:pt x="190" y="99"/>
                    <a:pt x="187" y="99"/>
                  </a:cubicBezTo>
                  <a:moveTo>
                    <a:pt x="106" y="88"/>
                  </a:moveTo>
                  <a:cubicBezTo>
                    <a:pt x="105" y="88"/>
                    <a:pt x="104" y="88"/>
                    <a:pt x="103" y="87"/>
                  </a:cubicBezTo>
                  <a:cubicBezTo>
                    <a:pt x="101" y="85"/>
                    <a:pt x="101" y="82"/>
                    <a:pt x="103" y="80"/>
                  </a:cubicBezTo>
                  <a:cubicBezTo>
                    <a:pt x="150" y="33"/>
                    <a:pt x="150" y="33"/>
                    <a:pt x="150" y="33"/>
                  </a:cubicBezTo>
                  <a:cubicBezTo>
                    <a:pt x="152" y="31"/>
                    <a:pt x="155" y="31"/>
                    <a:pt x="157" y="33"/>
                  </a:cubicBezTo>
                  <a:cubicBezTo>
                    <a:pt x="159" y="35"/>
                    <a:pt x="159" y="38"/>
                    <a:pt x="157" y="39"/>
                  </a:cubicBezTo>
                  <a:cubicBezTo>
                    <a:pt x="110" y="87"/>
                    <a:pt x="110" y="87"/>
                    <a:pt x="110" y="87"/>
                  </a:cubicBezTo>
                  <a:cubicBezTo>
                    <a:pt x="109" y="88"/>
                    <a:pt x="108" y="88"/>
                    <a:pt x="106" y="88"/>
                  </a:cubicBezTo>
                  <a:moveTo>
                    <a:pt x="30" y="71"/>
                  </a:moveTo>
                  <a:cubicBezTo>
                    <a:pt x="29" y="71"/>
                    <a:pt x="29" y="71"/>
                    <a:pt x="28" y="71"/>
                  </a:cubicBezTo>
                  <a:cubicBezTo>
                    <a:pt x="10" y="63"/>
                    <a:pt x="10" y="63"/>
                    <a:pt x="10" y="63"/>
                  </a:cubicBezTo>
                  <a:cubicBezTo>
                    <a:pt x="8" y="62"/>
                    <a:pt x="7" y="59"/>
                    <a:pt x="8" y="57"/>
                  </a:cubicBezTo>
                  <a:cubicBezTo>
                    <a:pt x="9" y="55"/>
                    <a:pt x="11" y="53"/>
                    <a:pt x="14" y="54"/>
                  </a:cubicBezTo>
                  <a:cubicBezTo>
                    <a:pt x="32" y="62"/>
                    <a:pt x="32" y="62"/>
                    <a:pt x="32" y="62"/>
                  </a:cubicBezTo>
                  <a:cubicBezTo>
                    <a:pt x="34" y="63"/>
                    <a:pt x="35" y="66"/>
                    <a:pt x="34" y="68"/>
                  </a:cubicBezTo>
                  <a:cubicBezTo>
                    <a:pt x="33" y="70"/>
                    <a:pt x="32" y="71"/>
                    <a:pt x="30" y="71"/>
                  </a:cubicBezTo>
                  <a:moveTo>
                    <a:pt x="163" y="71"/>
                  </a:moveTo>
                  <a:cubicBezTo>
                    <a:pt x="161" y="71"/>
                    <a:pt x="159" y="70"/>
                    <a:pt x="158" y="68"/>
                  </a:cubicBezTo>
                  <a:cubicBezTo>
                    <a:pt x="157" y="66"/>
                    <a:pt x="158" y="63"/>
                    <a:pt x="161" y="62"/>
                  </a:cubicBezTo>
                  <a:cubicBezTo>
                    <a:pt x="179" y="54"/>
                    <a:pt x="179" y="54"/>
                    <a:pt x="179" y="54"/>
                  </a:cubicBezTo>
                  <a:cubicBezTo>
                    <a:pt x="181" y="53"/>
                    <a:pt x="184" y="55"/>
                    <a:pt x="185" y="57"/>
                  </a:cubicBezTo>
                  <a:cubicBezTo>
                    <a:pt x="186" y="59"/>
                    <a:pt x="185" y="62"/>
                    <a:pt x="182" y="63"/>
                  </a:cubicBezTo>
                  <a:cubicBezTo>
                    <a:pt x="164" y="71"/>
                    <a:pt x="164" y="71"/>
                    <a:pt x="164" y="71"/>
                  </a:cubicBezTo>
                  <a:cubicBezTo>
                    <a:pt x="164" y="71"/>
                    <a:pt x="163" y="71"/>
                    <a:pt x="163" y="71"/>
                  </a:cubicBezTo>
                  <a:moveTo>
                    <a:pt x="45" y="48"/>
                  </a:moveTo>
                  <a:cubicBezTo>
                    <a:pt x="44" y="48"/>
                    <a:pt x="43" y="47"/>
                    <a:pt x="42" y="46"/>
                  </a:cubicBezTo>
                  <a:cubicBezTo>
                    <a:pt x="28" y="33"/>
                    <a:pt x="28" y="33"/>
                    <a:pt x="28" y="33"/>
                  </a:cubicBezTo>
                  <a:cubicBezTo>
                    <a:pt x="27" y="31"/>
                    <a:pt x="27" y="28"/>
                    <a:pt x="28" y="26"/>
                  </a:cubicBezTo>
                  <a:cubicBezTo>
                    <a:pt x="30" y="24"/>
                    <a:pt x="33" y="24"/>
                    <a:pt x="35" y="26"/>
                  </a:cubicBezTo>
                  <a:cubicBezTo>
                    <a:pt x="49" y="39"/>
                    <a:pt x="49" y="39"/>
                    <a:pt x="49" y="39"/>
                  </a:cubicBezTo>
                  <a:cubicBezTo>
                    <a:pt x="51" y="41"/>
                    <a:pt x="51" y="44"/>
                    <a:pt x="49" y="46"/>
                  </a:cubicBezTo>
                  <a:cubicBezTo>
                    <a:pt x="48" y="47"/>
                    <a:pt x="47" y="48"/>
                    <a:pt x="45" y="48"/>
                  </a:cubicBezTo>
                  <a:moveTo>
                    <a:pt x="69" y="32"/>
                  </a:moveTo>
                  <a:cubicBezTo>
                    <a:pt x="67" y="32"/>
                    <a:pt x="65" y="31"/>
                    <a:pt x="64" y="29"/>
                  </a:cubicBezTo>
                  <a:cubicBezTo>
                    <a:pt x="57" y="11"/>
                    <a:pt x="57" y="11"/>
                    <a:pt x="57" y="11"/>
                  </a:cubicBezTo>
                  <a:cubicBezTo>
                    <a:pt x="56" y="9"/>
                    <a:pt x="57" y="6"/>
                    <a:pt x="60" y="5"/>
                  </a:cubicBezTo>
                  <a:cubicBezTo>
                    <a:pt x="62" y="4"/>
                    <a:pt x="65" y="5"/>
                    <a:pt x="66" y="8"/>
                  </a:cubicBezTo>
                  <a:cubicBezTo>
                    <a:pt x="73" y="25"/>
                    <a:pt x="73" y="25"/>
                    <a:pt x="73" y="25"/>
                  </a:cubicBezTo>
                  <a:cubicBezTo>
                    <a:pt x="74" y="28"/>
                    <a:pt x="73" y="31"/>
                    <a:pt x="71" y="32"/>
                  </a:cubicBezTo>
                  <a:cubicBezTo>
                    <a:pt x="70" y="32"/>
                    <a:pt x="69" y="32"/>
                    <a:pt x="69" y="32"/>
                  </a:cubicBezTo>
                  <a:moveTo>
                    <a:pt x="124" y="32"/>
                  </a:moveTo>
                  <a:cubicBezTo>
                    <a:pt x="123" y="32"/>
                    <a:pt x="122" y="32"/>
                    <a:pt x="122" y="32"/>
                  </a:cubicBezTo>
                  <a:cubicBezTo>
                    <a:pt x="119" y="31"/>
                    <a:pt x="118" y="28"/>
                    <a:pt x="119" y="25"/>
                  </a:cubicBezTo>
                  <a:cubicBezTo>
                    <a:pt x="127" y="8"/>
                    <a:pt x="127" y="8"/>
                    <a:pt x="127" y="8"/>
                  </a:cubicBezTo>
                  <a:cubicBezTo>
                    <a:pt x="128" y="5"/>
                    <a:pt x="130" y="4"/>
                    <a:pt x="133" y="5"/>
                  </a:cubicBezTo>
                  <a:cubicBezTo>
                    <a:pt x="135" y="6"/>
                    <a:pt x="136" y="9"/>
                    <a:pt x="135" y="11"/>
                  </a:cubicBezTo>
                  <a:cubicBezTo>
                    <a:pt x="128" y="29"/>
                    <a:pt x="128" y="29"/>
                    <a:pt x="128" y="29"/>
                  </a:cubicBezTo>
                  <a:cubicBezTo>
                    <a:pt x="127" y="31"/>
                    <a:pt x="126" y="32"/>
                    <a:pt x="124" y="32"/>
                  </a:cubicBezTo>
                  <a:moveTo>
                    <a:pt x="96" y="28"/>
                  </a:moveTo>
                  <a:cubicBezTo>
                    <a:pt x="93" y="28"/>
                    <a:pt x="91" y="26"/>
                    <a:pt x="91" y="24"/>
                  </a:cubicBezTo>
                  <a:cubicBezTo>
                    <a:pt x="91" y="4"/>
                    <a:pt x="91" y="4"/>
                    <a:pt x="91" y="4"/>
                  </a:cubicBezTo>
                  <a:cubicBezTo>
                    <a:pt x="91" y="2"/>
                    <a:pt x="93" y="0"/>
                    <a:pt x="96" y="0"/>
                  </a:cubicBezTo>
                  <a:cubicBezTo>
                    <a:pt x="98" y="0"/>
                    <a:pt x="100" y="2"/>
                    <a:pt x="100" y="4"/>
                  </a:cubicBezTo>
                  <a:cubicBezTo>
                    <a:pt x="100" y="24"/>
                    <a:pt x="100" y="24"/>
                    <a:pt x="100" y="24"/>
                  </a:cubicBezTo>
                  <a:cubicBezTo>
                    <a:pt x="100" y="26"/>
                    <a:pt x="98" y="28"/>
                    <a:pt x="96" y="28"/>
                  </a:cubicBezTo>
                </a:path>
              </a:pathLst>
            </a:custGeom>
            <a:grpFill/>
            <a:ln w="6350">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57" name="Freeform 58"/>
            <p:cNvSpPr>
              <a:spLocks noEditPoints="1"/>
            </p:cNvSpPr>
            <p:nvPr/>
          </p:nvSpPr>
          <p:spPr bwMode="auto">
            <a:xfrm>
              <a:off x="4532335" y="3543254"/>
              <a:ext cx="160785" cy="63747"/>
            </a:xfrm>
            <a:custGeom>
              <a:avLst/>
              <a:gdLst>
                <a:gd name="T0" fmla="*/ 91 w 96"/>
                <a:gd name="T1" fmla="*/ 38 h 38"/>
                <a:gd name="T2" fmla="*/ 5 w 96"/>
                <a:gd name="T3" fmla="*/ 38 h 38"/>
                <a:gd name="T4" fmla="*/ 0 w 96"/>
                <a:gd name="T5" fmla="*/ 34 h 38"/>
                <a:gd name="T6" fmla="*/ 0 w 96"/>
                <a:gd name="T7" fmla="*/ 5 h 38"/>
                <a:gd name="T8" fmla="*/ 5 w 96"/>
                <a:gd name="T9" fmla="*/ 0 h 38"/>
                <a:gd name="T10" fmla="*/ 91 w 96"/>
                <a:gd name="T11" fmla="*/ 0 h 38"/>
                <a:gd name="T12" fmla="*/ 96 w 96"/>
                <a:gd name="T13" fmla="*/ 5 h 38"/>
                <a:gd name="T14" fmla="*/ 96 w 96"/>
                <a:gd name="T15" fmla="*/ 34 h 38"/>
                <a:gd name="T16" fmla="*/ 91 w 96"/>
                <a:gd name="T17" fmla="*/ 38 h 38"/>
                <a:gd name="T18" fmla="*/ 10 w 96"/>
                <a:gd name="T19" fmla="*/ 29 h 38"/>
                <a:gd name="T20" fmla="*/ 87 w 96"/>
                <a:gd name="T21" fmla="*/ 29 h 38"/>
                <a:gd name="T22" fmla="*/ 87 w 96"/>
                <a:gd name="T23" fmla="*/ 10 h 38"/>
                <a:gd name="T24" fmla="*/ 10 w 96"/>
                <a:gd name="T25" fmla="*/ 10 h 38"/>
                <a:gd name="T26" fmla="*/ 10 w 96"/>
                <a:gd name="T2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38">
                  <a:moveTo>
                    <a:pt x="91" y="38"/>
                  </a:moveTo>
                  <a:cubicBezTo>
                    <a:pt x="5" y="38"/>
                    <a:pt x="5" y="38"/>
                    <a:pt x="5" y="38"/>
                  </a:cubicBezTo>
                  <a:cubicBezTo>
                    <a:pt x="2" y="38"/>
                    <a:pt x="0" y="36"/>
                    <a:pt x="0" y="34"/>
                  </a:cubicBezTo>
                  <a:cubicBezTo>
                    <a:pt x="0" y="5"/>
                    <a:pt x="0" y="5"/>
                    <a:pt x="0" y="5"/>
                  </a:cubicBezTo>
                  <a:cubicBezTo>
                    <a:pt x="0" y="2"/>
                    <a:pt x="2" y="0"/>
                    <a:pt x="5" y="0"/>
                  </a:cubicBezTo>
                  <a:cubicBezTo>
                    <a:pt x="91" y="0"/>
                    <a:pt x="91" y="0"/>
                    <a:pt x="91" y="0"/>
                  </a:cubicBezTo>
                  <a:cubicBezTo>
                    <a:pt x="94" y="0"/>
                    <a:pt x="96" y="2"/>
                    <a:pt x="96" y="5"/>
                  </a:cubicBezTo>
                  <a:cubicBezTo>
                    <a:pt x="96" y="34"/>
                    <a:pt x="96" y="34"/>
                    <a:pt x="96" y="34"/>
                  </a:cubicBezTo>
                  <a:cubicBezTo>
                    <a:pt x="96" y="36"/>
                    <a:pt x="94" y="38"/>
                    <a:pt x="91" y="38"/>
                  </a:cubicBezTo>
                  <a:moveTo>
                    <a:pt x="10" y="29"/>
                  </a:moveTo>
                  <a:cubicBezTo>
                    <a:pt x="87" y="29"/>
                    <a:pt x="87" y="29"/>
                    <a:pt x="87" y="29"/>
                  </a:cubicBezTo>
                  <a:cubicBezTo>
                    <a:pt x="87" y="10"/>
                    <a:pt x="87" y="10"/>
                    <a:pt x="87" y="10"/>
                  </a:cubicBezTo>
                  <a:cubicBezTo>
                    <a:pt x="10" y="10"/>
                    <a:pt x="10" y="10"/>
                    <a:pt x="10" y="10"/>
                  </a:cubicBezTo>
                  <a:lnTo>
                    <a:pt x="10" y="29"/>
                  </a:lnTo>
                  <a:close/>
                </a:path>
              </a:pathLst>
            </a:custGeom>
            <a:grpFill/>
            <a:ln w="6350">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sp>
        <p:nvSpPr>
          <p:cNvPr id="71" name="Freeform 473"/>
          <p:cNvSpPr>
            <a:spLocks noEditPoints="1"/>
          </p:cNvSpPr>
          <p:nvPr/>
        </p:nvSpPr>
        <p:spPr bwMode="auto">
          <a:xfrm>
            <a:off x="3637264" y="4039985"/>
            <a:ext cx="518735" cy="180886"/>
          </a:xfrm>
          <a:custGeom>
            <a:avLst/>
            <a:gdLst/>
            <a:ahLst/>
            <a:cxnLst>
              <a:cxn ang="0">
                <a:pos x="3744" y="1658"/>
              </a:cxn>
              <a:cxn ang="0">
                <a:pos x="1464" y="1486"/>
              </a:cxn>
              <a:cxn ang="0">
                <a:pos x="1256" y="1686"/>
              </a:cxn>
              <a:cxn ang="0">
                <a:pos x="970" y="1710"/>
              </a:cxn>
              <a:cxn ang="0">
                <a:pos x="702" y="1514"/>
              </a:cxn>
              <a:cxn ang="0">
                <a:pos x="214" y="1398"/>
              </a:cxn>
              <a:cxn ang="0">
                <a:pos x="28" y="1182"/>
              </a:cxn>
              <a:cxn ang="0">
                <a:pos x="22" y="850"/>
              </a:cxn>
              <a:cxn ang="0">
                <a:pos x="92" y="622"/>
              </a:cxn>
              <a:cxn ang="0">
                <a:pos x="88" y="444"/>
              </a:cxn>
              <a:cxn ang="0">
                <a:pos x="274" y="354"/>
              </a:cxn>
              <a:cxn ang="0">
                <a:pos x="814" y="258"/>
              </a:cxn>
              <a:cxn ang="0">
                <a:pos x="1448" y="40"/>
              </a:cxn>
              <a:cxn ang="0">
                <a:pos x="2448" y="8"/>
              </a:cxn>
              <a:cxn ang="0">
                <a:pos x="3064" y="160"/>
              </a:cxn>
              <a:cxn ang="0">
                <a:pos x="3562" y="480"/>
              </a:cxn>
              <a:cxn ang="0">
                <a:pos x="4596" y="694"/>
              </a:cxn>
              <a:cxn ang="0">
                <a:pos x="4894" y="898"/>
              </a:cxn>
              <a:cxn ang="0">
                <a:pos x="4934" y="1208"/>
              </a:cxn>
              <a:cxn ang="0">
                <a:pos x="4828" y="1422"/>
              </a:cxn>
              <a:cxn ang="0">
                <a:pos x="4318" y="1486"/>
              </a:cxn>
              <a:cxn ang="0">
                <a:pos x="4178" y="1650"/>
              </a:cxn>
              <a:cxn ang="0">
                <a:pos x="3956" y="1012"/>
              </a:cxn>
              <a:cxn ang="0">
                <a:pos x="3740" y="1120"/>
              </a:cxn>
              <a:cxn ang="0">
                <a:pos x="3678" y="1350"/>
              </a:cxn>
              <a:cxn ang="0">
                <a:pos x="3770" y="1532"/>
              </a:cxn>
              <a:cxn ang="0">
                <a:pos x="3956" y="1608"/>
              </a:cxn>
              <a:cxn ang="0">
                <a:pos x="4156" y="1516"/>
              </a:cxn>
              <a:cxn ang="0">
                <a:pos x="4234" y="1310"/>
              </a:cxn>
              <a:cxn ang="0">
                <a:pos x="4132" y="1080"/>
              </a:cxn>
              <a:cxn ang="0">
                <a:pos x="1078" y="1012"/>
              </a:cxn>
              <a:cxn ang="0">
                <a:pos x="814" y="1144"/>
              </a:cxn>
              <a:cxn ang="0">
                <a:pos x="766" y="1368"/>
              </a:cxn>
              <a:cxn ang="0">
                <a:pos x="934" y="1576"/>
              </a:cxn>
              <a:cxn ang="0">
                <a:pos x="1178" y="1592"/>
              </a:cxn>
              <a:cxn ang="0">
                <a:pos x="1362" y="1434"/>
              </a:cxn>
              <a:cxn ang="0">
                <a:pos x="1386" y="1250"/>
              </a:cxn>
              <a:cxn ang="0">
                <a:pos x="1200" y="1036"/>
              </a:cxn>
              <a:cxn ang="0">
                <a:pos x="4694" y="1346"/>
              </a:cxn>
              <a:cxn ang="0">
                <a:pos x="4806" y="1254"/>
              </a:cxn>
              <a:cxn ang="0">
                <a:pos x="4798" y="960"/>
              </a:cxn>
              <a:cxn ang="0">
                <a:pos x="4428" y="760"/>
              </a:cxn>
              <a:cxn ang="0">
                <a:pos x="3514" y="590"/>
              </a:cxn>
              <a:cxn ang="0">
                <a:pos x="3106" y="310"/>
              </a:cxn>
              <a:cxn ang="0">
                <a:pos x="2516" y="128"/>
              </a:cxn>
              <a:cxn ang="0">
                <a:pos x="1558" y="144"/>
              </a:cxn>
              <a:cxn ang="0">
                <a:pos x="920" y="336"/>
              </a:cxn>
              <a:cxn ang="0">
                <a:pos x="372" y="464"/>
              </a:cxn>
              <a:cxn ang="0">
                <a:pos x="186" y="502"/>
              </a:cxn>
              <a:cxn ang="0">
                <a:pos x="204" y="708"/>
              </a:cxn>
              <a:cxn ang="0">
                <a:pos x="122" y="936"/>
              </a:cxn>
              <a:cxn ang="0">
                <a:pos x="154" y="1184"/>
              </a:cxn>
              <a:cxn ang="0">
                <a:pos x="576" y="1200"/>
              </a:cxn>
              <a:cxn ang="0">
                <a:pos x="864" y="864"/>
              </a:cxn>
              <a:cxn ang="0">
                <a:pos x="1144" y="838"/>
              </a:cxn>
              <a:cxn ang="0">
                <a:pos x="1448" y="1050"/>
              </a:cxn>
              <a:cxn ang="0">
                <a:pos x="1532" y="1334"/>
              </a:cxn>
              <a:cxn ang="0">
                <a:pos x="3494" y="1206"/>
              </a:cxn>
              <a:cxn ang="0">
                <a:pos x="3776" y="868"/>
              </a:cxn>
              <a:cxn ang="0">
                <a:pos x="3992" y="828"/>
              </a:cxn>
              <a:cxn ang="0">
                <a:pos x="4274" y="944"/>
              </a:cxn>
              <a:cxn ang="0">
                <a:pos x="4450" y="1282"/>
              </a:cxn>
            </a:cxnLst>
            <a:rect l="0" t="0" r="r" b="b"/>
            <a:pathLst>
              <a:path w="4944" h="1724">
                <a:moveTo>
                  <a:pt x="3956" y="1724"/>
                </a:moveTo>
                <a:lnTo>
                  <a:pt x="3956" y="1724"/>
                </a:lnTo>
                <a:lnTo>
                  <a:pt x="3928" y="1722"/>
                </a:lnTo>
                <a:lnTo>
                  <a:pt x="3900" y="1720"/>
                </a:lnTo>
                <a:lnTo>
                  <a:pt x="3872" y="1714"/>
                </a:lnTo>
                <a:lnTo>
                  <a:pt x="3844" y="1706"/>
                </a:lnTo>
                <a:lnTo>
                  <a:pt x="3818" y="1698"/>
                </a:lnTo>
                <a:lnTo>
                  <a:pt x="3792" y="1686"/>
                </a:lnTo>
                <a:lnTo>
                  <a:pt x="3768" y="1674"/>
                </a:lnTo>
                <a:lnTo>
                  <a:pt x="3744" y="1658"/>
                </a:lnTo>
                <a:lnTo>
                  <a:pt x="3722" y="1642"/>
                </a:lnTo>
                <a:lnTo>
                  <a:pt x="3700" y="1624"/>
                </a:lnTo>
                <a:lnTo>
                  <a:pt x="3680" y="1604"/>
                </a:lnTo>
                <a:lnTo>
                  <a:pt x="3662" y="1584"/>
                </a:lnTo>
                <a:lnTo>
                  <a:pt x="3644" y="1562"/>
                </a:lnTo>
                <a:lnTo>
                  <a:pt x="3628" y="1538"/>
                </a:lnTo>
                <a:lnTo>
                  <a:pt x="3614" y="1512"/>
                </a:lnTo>
                <a:lnTo>
                  <a:pt x="3600" y="1486"/>
                </a:lnTo>
                <a:lnTo>
                  <a:pt x="1464" y="1486"/>
                </a:lnTo>
                <a:lnTo>
                  <a:pt x="1464" y="1486"/>
                </a:lnTo>
                <a:lnTo>
                  <a:pt x="1450" y="1512"/>
                </a:lnTo>
                <a:lnTo>
                  <a:pt x="1436" y="1538"/>
                </a:lnTo>
                <a:lnTo>
                  <a:pt x="1418" y="1562"/>
                </a:lnTo>
                <a:lnTo>
                  <a:pt x="1398" y="1584"/>
                </a:lnTo>
                <a:lnTo>
                  <a:pt x="1378" y="1604"/>
                </a:lnTo>
                <a:lnTo>
                  <a:pt x="1356" y="1624"/>
                </a:lnTo>
                <a:lnTo>
                  <a:pt x="1332" y="1642"/>
                </a:lnTo>
                <a:lnTo>
                  <a:pt x="1308" y="1658"/>
                </a:lnTo>
                <a:lnTo>
                  <a:pt x="1282" y="1674"/>
                </a:lnTo>
                <a:lnTo>
                  <a:pt x="1256" y="1686"/>
                </a:lnTo>
                <a:lnTo>
                  <a:pt x="1228" y="1698"/>
                </a:lnTo>
                <a:lnTo>
                  <a:pt x="1198" y="1706"/>
                </a:lnTo>
                <a:lnTo>
                  <a:pt x="1170" y="1714"/>
                </a:lnTo>
                <a:lnTo>
                  <a:pt x="1140" y="1720"/>
                </a:lnTo>
                <a:lnTo>
                  <a:pt x="1108" y="1722"/>
                </a:lnTo>
                <a:lnTo>
                  <a:pt x="1078" y="1724"/>
                </a:lnTo>
                <a:lnTo>
                  <a:pt x="1078" y="1724"/>
                </a:lnTo>
                <a:lnTo>
                  <a:pt x="1040" y="1722"/>
                </a:lnTo>
                <a:lnTo>
                  <a:pt x="1004" y="1718"/>
                </a:lnTo>
                <a:lnTo>
                  <a:pt x="970" y="1710"/>
                </a:lnTo>
                <a:lnTo>
                  <a:pt x="936" y="1702"/>
                </a:lnTo>
                <a:lnTo>
                  <a:pt x="904" y="1688"/>
                </a:lnTo>
                <a:lnTo>
                  <a:pt x="872" y="1674"/>
                </a:lnTo>
                <a:lnTo>
                  <a:pt x="842" y="1658"/>
                </a:lnTo>
                <a:lnTo>
                  <a:pt x="814" y="1638"/>
                </a:lnTo>
                <a:lnTo>
                  <a:pt x="788" y="1616"/>
                </a:lnTo>
                <a:lnTo>
                  <a:pt x="764" y="1594"/>
                </a:lnTo>
                <a:lnTo>
                  <a:pt x="740" y="1568"/>
                </a:lnTo>
                <a:lnTo>
                  <a:pt x="720" y="1542"/>
                </a:lnTo>
                <a:lnTo>
                  <a:pt x="702" y="1514"/>
                </a:lnTo>
                <a:lnTo>
                  <a:pt x="686" y="1482"/>
                </a:lnTo>
                <a:lnTo>
                  <a:pt x="672" y="1452"/>
                </a:lnTo>
                <a:lnTo>
                  <a:pt x="662" y="1418"/>
                </a:lnTo>
                <a:lnTo>
                  <a:pt x="612" y="1414"/>
                </a:lnTo>
                <a:lnTo>
                  <a:pt x="612" y="1414"/>
                </a:lnTo>
                <a:lnTo>
                  <a:pt x="522" y="1408"/>
                </a:lnTo>
                <a:lnTo>
                  <a:pt x="434" y="1402"/>
                </a:lnTo>
                <a:lnTo>
                  <a:pt x="346" y="1400"/>
                </a:lnTo>
                <a:lnTo>
                  <a:pt x="256" y="1398"/>
                </a:lnTo>
                <a:lnTo>
                  <a:pt x="214" y="1398"/>
                </a:lnTo>
                <a:lnTo>
                  <a:pt x="198" y="1342"/>
                </a:lnTo>
                <a:lnTo>
                  <a:pt x="116" y="1328"/>
                </a:lnTo>
                <a:lnTo>
                  <a:pt x="102" y="1314"/>
                </a:lnTo>
                <a:lnTo>
                  <a:pt x="102" y="1314"/>
                </a:lnTo>
                <a:lnTo>
                  <a:pt x="96" y="1306"/>
                </a:lnTo>
                <a:lnTo>
                  <a:pt x="80" y="1286"/>
                </a:lnTo>
                <a:lnTo>
                  <a:pt x="60" y="1252"/>
                </a:lnTo>
                <a:lnTo>
                  <a:pt x="50" y="1232"/>
                </a:lnTo>
                <a:lnTo>
                  <a:pt x="38" y="1208"/>
                </a:lnTo>
                <a:lnTo>
                  <a:pt x="28" y="1182"/>
                </a:lnTo>
                <a:lnTo>
                  <a:pt x="20" y="1152"/>
                </a:lnTo>
                <a:lnTo>
                  <a:pt x="12" y="1120"/>
                </a:lnTo>
                <a:lnTo>
                  <a:pt x="6" y="1086"/>
                </a:lnTo>
                <a:lnTo>
                  <a:pt x="2" y="1048"/>
                </a:lnTo>
                <a:lnTo>
                  <a:pt x="0" y="1008"/>
                </a:lnTo>
                <a:lnTo>
                  <a:pt x="2" y="964"/>
                </a:lnTo>
                <a:lnTo>
                  <a:pt x="8" y="918"/>
                </a:lnTo>
                <a:lnTo>
                  <a:pt x="8" y="918"/>
                </a:lnTo>
                <a:lnTo>
                  <a:pt x="14" y="882"/>
                </a:lnTo>
                <a:lnTo>
                  <a:pt x="22" y="850"/>
                </a:lnTo>
                <a:lnTo>
                  <a:pt x="30" y="822"/>
                </a:lnTo>
                <a:lnTo>
                  <a:pt x="40" y="798"/>
                </a:lnTo>
                <a:lnTo>
                  <a:pt x="56" y="756"/>
                </a:lnTo>
                <a:lnTo>
                  <a:pt x="72" y="724"/>
                </a:lnTo>
                <a:lnTo>
                  <a:pt x="72" y="724"/>
                </a:lnTo>
                <a:lnTo>
                  <a:pt x="88" y="694"/>
                </a:lnTo>
                <a:lnTo>
                  <a:pt x="92" y="680"/>
                </a:lnTo>
                <a:lnTo>
                  <a:pt x="94" y="664"/>
                </a:lnTo>
                <a:lnTo>
                  <a:pt x="94" y="646"/>
                </a:lnTo>
                <a:lnTo>
                  <a:pt x="92" y="622"/>
                </a:lnTo>
                <a:lnTo>
                  <a:pt x="86" y="596"/>
                </a:lnTo>
                <a:lnTo>
                  <a:pt x="76" y="562"/>
                </a:lnTo>
                <a:lnTo>
                  <a:pt x="76" y="562"/>
                </a:lnTo>
                <a:lnTo>
                  <a:pt x="72" y="540"/>
                </a:lnTo>
                <a:lnTo>
                  <a:pt x="68" y="520"/>
                </a:lnTo>
                <a:lnTo>
                  <a:pt x="70" y="502"/>
                </a:lnTo>
                <a:lnTo>
                  <a:pt x="72" y="484"/>
                </a:lnTo>
                <a:lnTo>
                  <a:pt x="76" y="470"/>
                </a:lnTo>
                <a:lnTo>
                  <a:pt x="82" y="456"/>
                </a:lnTo>
                <a:lnTo>
                  <a:pt x="88" y="444"/>
                </a:lnTo>
                <a:lnTo>
                  <a:pt x="94" y="434"/>
                </a:lnTo>
                <a:lnTo>
                  <a:pt x="94" y="434"/>
                </a:lnTo>
                <a:lnTo>
                  <a:pt x="102" y="424"/>
                </a:lnTo>
                <a:lnTo>
                  <a:pt x="112" y="414"/>
                </a:lnTo>
                <a:lnTo>
                  <a:pt x="124" y="406"/>
                </a:lnTo>
                <a:lnTo>
                  <a:pt x="136" y="396"/>
                </a:lnTo>
                <a:lnTo>
                  <a:pt x="162" y="382"/>
                </a:lnTo>
                <a:lnTo>
                  <a:pt x="194" y="370"/>
                </a:lnTo>
                <a:lnTo>
                  <a:pt x="232" y="360"/>
                </a:lnTo>
                <a:lnTo>
                  <a:pt x="274" y="354"/>
                </a:lnTo>
                <a:lnTo>
                  <a:pt x="320" y="350"/>
                </a:lnTo>
                <a:lnTo>
                  <a:pt x="372" y="348"/>
                </a:lnTo>
                <a:lnTo>
                  <a:pt x="372" y="348"/>
                </a:lnTo>
                <a:lnTo>
                  <a:pt x="436" y="350"/>
                </a:lnTo>
                <a:lnTo>
                  <a:pt x="496" y="354"/>
                </a:lnTo>
                <a:lnTo>
                  <a:pt x="544" y="360"/>
                </a:lnTo>
                <a:lnTo>
                  <a:pt x="580" y="364"/>
                </a:lnTo>
                <a:lnTo>
                  <a:pt x="580" y="364"/>
                </a:lnTo>
                <a:lnTo>
                  <a:pt x="712" y="302"/>
                </a:lnTo>
                <a:lnTo>
                  <a:pt x="814" y="258"/>
                </a:lnTo>
                <a:lnTo>
                  <a:pt x="924" y="208"/>
                </a:lnTo>
                <a:lnTo>
                  <a:pt x="1040" y="160"/>
                </a:lnTo>
                <a:lnTo>
                  <a:pt x="1150" y="116"/>
                </a:lnTo>
                <a:lnTo>
                  <a:pt x="1200" y="96"/>
                </a:lnTo>
                <a:lnTo>
                  <a:pt x="1246" y="80"/>
                </a:lnTo>
                <a:lnTo>
                  <a:pt x="1286" y="68"/>
                </a:lnTo>
                <a:lnTo>
                  <a:pt x="1320" y="60"/>
                </a:lnTo>
                <a:lnTo>
                  <a:pt x="1320" y="60"/>
                </a:lnTo>
                <a:lnTo>
                  <a:pt x="1372" y="50"/>
                </a:lnTo>
                <a:lnTo>
                  <a:pt x="1448" y="40"/>
                </a:lnTo>
                <a:lnTo>
                  <a:pt x="1540" y="30"/>
                </a:lnTo>
                <a:lnTo>
                  <a:pt x="1648" y="20"/>
                </a:lnTo>
                <a:lnTo>
                  <a:pt x="1768" y="12"/>
                </a:lnTo>
                <a:lnTo>
                  <a:pt x="1894" y="6"/>
                </a:lnTo>
                <a:lnTo>
                  <a:pt x="2026" y="0"/>
                </a:lnTo>
                <a:lnTo>
                  <a:pt x="2160" y="0"/>
                </a:lnTo>
                <a:lnTo>
                  <a:pt x="2160" y="0"/>
                </a:lnTo>
                <a:lnTo>
                  <a:pt x="2262" y="0"/>
                </a:lnTo>
                <a:lnTo>
                  <a:pt x="2358" y="2"/>
                </a:lnTo>
                <a:lnTo>
                  <a:pt x="2448" y="8"/>
                </a:lnTo>
                <a:lnTo>
                  <a:pt x="2532" y="14"/>
                </a:lnTo>
                <a:lnTo>
                  <a:pt x="2608" y="24"/>
                </a:lnTo>
                <a:lnTo>
                  <a:pt x="2680" y="34"/>
                </a:lnTo>
                <a:lnTo>
                  <a:pt x="2744" y="46"/>
                </a:lnTo>
                <a:lnTo>
                  <a:pt x="2800" y="60"/>
                </a:lnTo>
                <a:lnTo>
                  <a:pt x="2800" y="60"/>
                </a:lnTo>
                <a:lnTo>
                  <a:pt x="2868" y="80"/>
                </a:lnTo>
                <a:lnTo>
                  <a:pt x="2936" y="104"/>
                </a:lnTo>
                <a:lnTo>
                  <a:pt x="3000" y="132"/>
                </a:lnTo>
                <a:lnTo>
                  <a:pt x="3064" y="160"/>
                </a:lnTo>
                <a:lnTo>
                  <a:pt x="3124" y="190"/>
                </a:lnTo>
                <a:lnTo>
                  <a:pt x="3182" y="222"/>
                </a:lnTo>
                <a:lnTo>
                  <a:pt x="3238" y="254"/>
                </a:lnTo>
                <a:lnTo>
                  <a:pt x="3292" y="286"/>
                </a:lnTo>
                <a:lnTo>
                  <a:pt x="3340" y="316"/>
                </a:lnTo>
                <a:lnTo>
                  <a:pt x="3386" y="348"/>
                </a:lnTo>
                <a:lnTo>
                  <a:pt x="3464" y="404"/>
                </a:lnTo>
                <a:lnTo>
                  <a:pt x="3524" y="448"/>
                </a:lnTo>
                <a:lnTo>
                  <a:pt x="3562" y="480"/>
                </a:lnTo>
                <a:lnTo>
                  <a:pt x="3562" y="480"/>
                </a:lnTo>
                <a:lnTo>
                  <a:pt x="3642" y="490"/>
                </a:lnTo>
                <a:lnTo>
                  <a:pt x="3774" y="508"/>
                </a:lnTo>
                <a:lnTo>
                  <a:pt x="3940" y="536"/>
                </a:lnTo>
                <a:lnTo>
                  <a:pt x="4032" y="552"/>
                </a:lnTo>
                <a:lnTo>
                  <a:pt x="4128" y="572"/>
                </a:lnTo>
                <a:lnTo>
                  <a:pt x="4226" y="592"/>
                </a:lnTo>
                <a:lnTo>
                  <a:pt x="4322" y="614"/>
                </a:lnTo>
                <a:lnTo>
                  <a:pt x="4418" y="638"/>
                </a:lnTo>
                <a:lnTo>
                  <a:pt x="4510" y="664"/>
                </a:lnTo>
                <a:lnTo>
                  <a:pt x="4596" y="694"/>
                </a:lnTo>
                <a:lnTo>
                  <a:pt x="4674" y="724"/>
                </a:lnTo>
                <a:lnTo>
                  <a:pt x="4710" y="740"/>
                </a:lnTo>
                <a:lnTo>
                  <a:pt x="4744" y="756"/>
                </a:lnTo>
                <a:lnTo>
                  <a:pt x="4776" y="772"/>
                </a:lnTo>
                <a:lnTo>
                  <a:pt x="4804" y="788"/>
                </a:lnTo>
                <a:lnTo>
                  <a:pt x="4814" y="798"/>
                </a:lnTo>
                <a:lnTo>
                  <a:pt x="4814" y="798"/>
                </a:lnTo>
                <a:lnTo>
                  <a:pt x="4854" y="844"/>
                </a:lnTo>
                <a:lnTo>
                  <a:pt x="4874" y="870"/>
                </a:lnTo>
                <a:lnTo>
                  <a:pt x="4894" y="898"/>
                </a:lnTo>
                <a:lnTo>
                  <a:pt x="4912" y="926"/>
                </a:lnTo>
                <a:lnTo>
                  <a:pt x="4928" y="954"/>
                </a:lnTo>
                <a:lnTo>
                  <a:pt x="4938" y="982"/>
                </a:lnTo>
                <a:lnTo>
                  <a:pt x="4942" y="994"/>
                </a:lnTo>
                <a:lnTo>
                  <a:pt x="4944" y="1006"/>
                </a:lnTo>
                <a:lnTo>
                  <a:pt x="4944" y="1006"/>
                </a:lnTo>
                <a:lnTo>
                  <a:pt x="4944" y="1058"/>
                </a:lnTo>
                <a:lnTo>
                  <a:pt x="4942" y="1112"/>
                </a:lnTo>
                <a:lnTo>
                  <a:pt x="4938" y="1176"/>
                </a:lnTo>
                <a:lnTo>
                  <a:pt x="4934" y="1208"/>
                </a:lnTo>
                <a:lnTo>
                  <a:pt x="4926" y="1244"/>
                </a:lnTo>
                <a:lnTo>
                  <a:pt x="4918" y="1276"/>
                </a:lnTo>
                <a:lnTo>
                  <a:pt x="4908" y="1308"/>
                </a:lnTo>
                <a:lnTo>
                  <a:pt x="4896" y="1340"/>
                </a:lnTo>
                <a:lnTo>
                  <a:pt x="4880" y="1366"/>
                </a:lnTo>
                <a:lnTo>
                  <a:pt x="4872" y="1380"/>
                </a:lnTo>
                <a:lnTo>
                  <a:pt x="4862" y="1390"/>
                </a:lnTo>
                <a:lnTo>
                  <a:pt x="4852" y="1402"/>
                </a:lnTo>
                <a:lnTo>
                  <a:pt x="4842" y="1410"/>
                </a:lnTo>
                <a:lnTo>
                  <a:pt x="4828" y="1422"/>
                </a:lnTo>
                <a:lnTo>
                  <a:pt x="4810" y="1422"/>
                </a:lnTo>
                <a:lnTo>
                  <a:pt x="4810" y="1422"/>
                </a:lnTo>
                <a:lnTo>
                  <a:pt x="4802" y="1422"/>
                </a:lnTo>
                <a:lnTo>
                  <a:pt x="4782" y="1428"/>
                </a:lnTo>
                <a:lnTo>
                  <a:pt x="4772" y="1432"/>
                </a:lnTo>
                <a:lnTo>
                  <a:pt x="4760" y="1440"/>
                </a:lnTo>
                <a:lnTo>
                  <a:pt x="4750" y="1448"/>
                </a:lnTo>
                <a:lnTo>
                  <a:pt x="4742" y="1460"/>
                </a:lnTo>
                <a:lnTo>
                  <a:pt x="4724" y="1486"/>
                </a:lnTo>
                <a:lnTo>
                  <a:pt x="4318" y="1486"/>
                </a:lnTo>
                <a:lnTo>
                  <a:pt x="4322" y="1458"/>
                </a:lnTo>
                <a:lnTo>
                  <a:pt x="4322" y="1458"/>
                </a:lnTo>
                <a:lnTo>
                  <a:pt x="4310" y="1486"/>
                </a:lnTo>
                <a:lnTo>
                  <a:pt x="4296" y="1514"/>
                </a:lnTo>
                <a:lnTo>
                  <a:pt x="4280" y="1542"/>
                </a:lnTo>
                <a:lnTo>
                  <a:pt x="4262" y="1566"/>
                </a:lnTo>
                <a:lnTo>
                  <a:pt x="4244" y="1590"/>
                </a:lnTo>
                <a:lnTo>
                  <a:pt x="4222" y="1612"/>
                </a:lnTo>
                <a:lnTo>
                  <a:pt x="4200" y="1632"/>
                </a:lnTo>
                <a:lnTo>
                  <a:pt x="4178" y="1650"/>
                </a:lnTo>
                <a:lnTo>
                  <a:pt x="4152" y="1666"/>
                </a:lnTo>
                <a:lnTo>
                  <a:pt x="4128" y="1682"/>
                </a:lnTo>
                <a:lnTo>
                  <a:pt x="4100" y="1694"/>
                </a:lnTo>
                <a:lnTo>
                  <a:pt x="4072" y="1704"/>
                </a:lnTo>
                <a:lnTo>
                  <a:pt x="4044" y="1712"/>
                </a:lnTo>
                <a:lnTo>
                  <a:pt x="4016" y="1718"/>
                </a:lnTo>
                <a:lnTo>
                  <a:pt x="3986" y="1722"/>
                </a:lnTo>
                <a:lnTo>
                  <a:pt x="3956" y="1724"/>
                </a:lnTo>
                <a:lnTo>
                  <a:pt x="3956" y="1724"/>
                </a:lnTo>
                <a:close/>
                <a:moveTo>
                  <a:pt x="3956" y="1012"/>
                </a:moveTo>
                <a:lnTo>
                  <a:pt x="3956" y="1012"/>
                </a:lnTo>
                <a:lnTo>
                  <a:pt x="3928" y="1014"/>
                </a:lnTo>
                <a:lnTo>
                  <a:pt x="3900" y="1018"/>
                </a:lnTo>
                <a:lnTo>
                  <a:pt x="3872" y="1026"/>
                </a:lnTo>
                <a:lnTo>
                  <a:pt x="3848" y="1036"/>
                </a:lnTo>
                <a:lnTo>
                  <a:pt x="3822" y="1048"/>
                </a:lnTo>
                <a:lnTo>
                  <a:pt x="3800" y="1062"/>
                </a:lnTo>
                <a:lnTo>
                  <a:pt x="3778" y="1080"/>
                </a:lnTo>
                <a:lnTo>
                  <a:pt x="3758" y="1100"/>
                </a:lnTo>
                <a:lnTo>
                  <a:pt x="3740" y="1120"/>
                </a:lnTo>
                <a:lnTo>
                  <a:pt x="3724" y="1144"/>
                </a:lnTo>
                <a:lnTo>
                  <a:pt x="3710" y="1168"/>
                </a:lnTo>
                <a:lnTo>
                  <a:pt x="3698" y="1194"/>
                </a:lnTo>
                <a:lnTo>
                  <a:pt x="3688" y="1222"/>
                </a:lnTo>
                <a:lnTo>
                  <a:pt x="3682" y="1250"/>
                </a:lnTo>
                <a:lnTo>
                  <a:pt x="3678" y="1280"/>
                </a:lnTo>
                <a:lnTo>
                  <a:pt x="3676" y="1310"/>
                </a:lnTo>
                <a:lnTo>
                  <a:pt x="3676" y="1310"/>
                </a:lnTo>
                <a:lnTo>
                  <a:pt x="3676" y="1330"/>
                </a:lnTo>
                <a:lnTo>
                  <a:pt x="3678" y="1350"/>
                </a:lnTo>
                <a:lnTo>
                  <a:pt x="3682" y="1368"/>
                </a:lnTo>
                <a:lnTo>
                  <a:pt x="3688" y="1388"/>
                </a:lnTo>
                <a:lnTo>
                  <a:pt x="3688" y="1388"/>
                </a:lnTo>
                <a:lnTo>
                  <a:pt x="3694" y="1412"/>
                </a:lnTo>
                <a:lnTo>
                  <a:pt x="3704" y="1434"/>
                </a:lnTo>
                <a:lnTo>
                  <a:pt x="3714" y="1458"/>
                </a:lnTo>
                <a:lnTo>
                  <a:pt x="3726" y="1478"/>
                </a:lnTo>
                <a:lnTo>
                  <a:pt x="3740" y="1498"/>
                </a:lnTo>
                <a:lnTo>
                  <a:pt x="3754" y="1516"/>
                </a:lnTo>
                <a:lnTo>
                  <a:pt x="3770" y="1532"/>
                </a:lnTo>
                <a:lnTo>
                  <a:pt x="3786" y="1548"/>
                </a:lnTo>
                <a:lnTo>
                  <a:pt x="3806" y="1562"/>
                </a:lnTo>
                <a:lnTo>
                  <a:pt x="3824" y="1574"/>
                </a:lnTo>
                <a:lnTo>
                  <a:pt x="3844" y="1584"/>
                </a:lnTo>
                <a:lnTo>
                  <a:pt x="3866" y="1592"/>
                </a:lnTo>
                <a:lnTo>
                  <a:pt x="3886" y="1600"/>
                </a:lnTo>
                <a:lnTo>
                  <a:pt x="3910" y="1604"/>
                </a:lnTo>
                <a:lnTo>
                  <a:pt x="3932" y="1608"/>
                </a:lnTo>
                <a:lnTo>
                  <a:pt x="3956" y="1608"/>
                </a:lnTo>
                <a:lnTo>
                  <a:pt x="3956" y="1608"/>
                </a:lnTo>
                <a:lnTo>
                  <a:pt x="3980" y="1608"/>
                </a:lnTo>
                <a:lnTo>
                  <a:pt x="4002" y="1604"/>
                </a:lnTo>
                <a:lnTo>
                  <a:pt x="4024" y="1600"/>
                </a:lnTo>
                <a:lnTo>
                  <a:pt x="4046" y="1592"/>
                </a:lnTo>
                <a:lnTo>
                  <a:pt x="4066" y="1584"/>
                </a:lnTo>
                <a:lnTo>
                  <a:pt x="4086" y="1574"/>
                </a:lnTo>
                <a:lnTo>
                  <a:pt x="4106" y="1562"/>
                </a:lnTo>
                <a:lnTo>
                  <a:pt x="4124" y="1548"/>
                </a:lnTo>
                <a:lnTo>
                  <a:pt x="4140" y="1532"/>
                </a:lnTo>
                <a:lnTo>
                  <a:pt x="4156" y="1516"/>
                </a:lnTo>
                <a:lnTo>
                  <a:pt x="4172" y="1498"/>
                </a:lnTo>
                <a:lnTo>
                  <a:pt x="4184" y="1478"/>
                </a:lnTo>
                <a:lnTo>
                  <a:pt x="4196" y="1458"/>
                </a:lnTo>
                <a:lnTo>
                  <a:pt x="4208" y="1436"/>
                </a:lnTo>
                <a:lnTo>
                  <a:pt x="4216" y="1412"/>
                </a:lnTo>
                <a:lnTo>
                  <a:pt x="4224" y="1388"/>
                </a:lnTo>
                <a:lnTo>
                  <a:pt x="4224" y="1388"/>
                </a:lnTo>
                <a:lnTo>
                  <a:pt x="4232" y="1348"/>
                </a:lnTo>
                <a:lnTo>
                  <a:pt x="4234" y="1328"/>
                </a:lnTo>
                <a:lnTo>
                  <a:pt x="4234" y="1310"/>
                </a:lnTo>
                <a:lnTo>
                  <a:pt x="4234" y="1310"/>
                </a:lnTo>
                <a:lnTo>
                  <a:pt x="4232" y="1280"/>
                </a:lnTo>
                <a:lnTo>
                  <a:pt x="4228" y="1250"/>
                </a:lnTo>
                <a:lnTo>
                  <a:pt x="4222" y="1222"/>
                </a:lnTo>
                <a:lnTo>
                  <a:pt x="4212" y="1194"/>
                </a:lnTo>
                <a:lnTo>
                  <a:pt x="4200" y="1168"/>
                </a:lnTo>
                <a:lnTo>
                  <a:pt x="4186" y="1144"/>
                </a:lnTo>
                <a:lnTo>
                  <a:pt x="4170" y="1120"/>
                </a:lnTo>
                <a:lnTo>
                  <a:pt x="4152" y="1100"/>
                </a:lnTo>
                <a:lnTo>
                  <a:pt x="4132" y="1080"/>
                </a:lnTo>
                <a:lnTo>
                  <a:pt x="4112" y="1062"/>
                </a:lnTo>
                <a:lnTo>
                  <a:pt x="4088" y="1048"/>
                </a:lnTo>
                <a:lnTo>
                  <a:pt x="4064" y="1036"/>
                </a:lnTo>
                <a:lnTo>
                  <a:pt x="4038" y="1026"/>
                </a:lnTo>
                <a:lnTo>
                  <a:pt x="4012" y="1018"/>
                </a:lnTo>
                <a:lnTo>
                  <a:pt x="3984" y="1014"/>
                </a:lnTo>
                <a:lnTo>
                  <a:pt x="3956" y="1012"/>
                </a:lnTo>
                <a:lnTo>
                  <a:pt x="3956" y="1012"/>
                </a:lnTo>
                <a:close/>
                <a:moveTo>
                  <a:pt x="1078" y="1012"/>
                </a:moveTo>
                <a:lnTo>
                  <a:pt x="1078" y="1012"/>
                </a:lnTo>
                <a:lnTo>
                  <a:pt x="1044" y="1014"/>
                </a:lnTo>
                <a:lnTo>
                  <a:pt x="1014" y="1018"/>
                </a:lnTo>
                <a:lnTo>
                  <a:pt x="982" y="1026"/>
                </a:lnTo>
                <a:lnTo>
                  <a:pt x="954" y="1036"/>
                </a:lnTo>
                <a:lnTo>
                  <a:pt x="926" y="1048"/>
                </a:lnTo>
                <a:lnTo>
                  <a:pt x="900" y="1062"/>
                </a:lnTo>
                <a:lnTo>
                  <a:pt x="876" y="1080"/>
                </a:lnTo>
                <a:lnTo>
                  <a:pt x="852" y="1100"/>
                </a:lnTo>
                <a:lnTo>
                  <a:pt x="832" y="1120"/>
                </a:lnTo>
                <a:lnTo>
                  <a:pt x="814" y="1144"/>
                </a:lnTo>
                <a:lnTo>
                  <a:pt x="798" y="1168"/>
                </a:lnTo>
                <a:lnTo>
                  <a:pt x="784" y="1194"/>
                </a:lnTo>
                <a:lnTo>
                  <a:pt x="774" y="1222"/>
                </a:lnTo>
                <a:lnTo>
                  <a:pt x="766" y="1250"/>
                </a:lnTo>
                <a:lnTo>
                  <a:pt x="762" y="1280"/>
                </a:lnTo>
                <a:lnTo>
                  <a:pt x="760" y="1310"/>
                </a:lnTo>
                <a:lnTo>
                  <a:pt x="760" y="1310"/>
                </a:lnTo>
                <a:lnTo>
                  <a:pt x="762" y="1340"/>
                </a:lnTo>
                <a:lnTo>
                  <a:pt x="762" y="1340"/>
                </a:lnTo>
                <a:lnTo>
                  <a:pt x="766" y="1368"/>
                </a:lnTo>
                <a:lnTo>
                  <a:pt x="774" y="1396"/>
                </a:lnTo>
                <a:lnTo>
                  <a:pt x="782" y="1422"/>
                </a:lnTo>
                <a:lnTo>
                  <a:pt x="794" y="1446"/>
                </a:lnTo>
                <a:lnTo>
                  <a:pt x="808" y="1470"/>
                </a:lnTo>
                <a:lnTo>
                  <a:pt x="826" y="1492"/>
                </a:lnTo>
                <a:lnTo>
                  <a:pt x="844" y="1512"/>
                </a:lnTo>
                <a:lnTo>
                  <a:pt x="864" y="1532"/>
                </a:lnTo>
                <a:lnTo>
                  <a:pt x="886" y="1548"/>
                </a:lnTo>
                <a:lnTo>
                  <a:pt x="910" y="1564"/>
                </a:lnTo>
                <a:lnTo>
                  <a:pt x="934" y="1576"/>
                </a:lnTo>
                <a:lnTo>
                  <a:pt x="960" y="1588"/>
                </a:lnTo>
                <a:lnTo>
                  <a:pt x="988" y="1596"/>
                </a:lnTo>
                <a:lnTo>
                  <a:pt x="1018" y="1604"/>
                </a:lnTo>
                <a:lnTo>
                  <a:pt x="1046" y="1608"/>
                </a:lnTo>
                <a:lnTo>
                  <a:pt x="1078" y="1608"/>
                </a:lnTo>
                <a:lnTo>
                  <a:pt x="1078" y="1608"/>
                </a:lnTo>
                <a:lnTo>
                  <a:pt x="1104" y="1608"/>
                </a:lnTo>
                <a:lnTo>
                  <a:pt x="1130" y="1604"/>
                </a:lnTo>
                <a:lnTo>
                  <a:pt x="1154" y="1600"/>
                </a:lnTo>
                <a:lnTo>
                  <a:pt x="1178" y="1592"/>
                </a:lnTo>
                <a:lnTo>
                  <a:pt x="1202" y="1584"/>
                </a:lnTo>
                <a:lnTo>
                  <a:pt x="1226" y="1574"/>
                </a:lnTo>
                <a:lnTo>
                  <a:pt x="1246" y="1560"/>
                </a:lnTo>
                <a:lnTo>
                  <a:pt x="1268" y="1548"/>
                </a:lnTo>
                <a:lnTo>
                  <a:pt x="1286" y="1532"/>
                </a:lnTo>
                <a:lnTo>
                  <a:pt x="1304" y="1514"/>
                </a:lnTo>
                <a:lnTo>
                  <a:pt x="1322" y="1496"/>
                </a:lnTo>
                <a:lnTo>
                  <a:pt x="1336" y="1478"/>
                </a:lnTo>
                <a:lnTo>
                  <a:pt x="1350" y="1456"/>
                </a:lnTo>
                <a:lnTo>
                  <a:pt x="1362" y="1434"/>
                </a:lnTo>
                <a:lnTo>
                  <a:pt x="1372" y="1412"/>
                </a:lnTo>
                <a:lnTo>
                  <a:pt x="1380" y="1388"/>
                </a:lnTo>
                <a:lnTo>
                  <a:pt x="1380" y="1388"/>
                </a:lnTo>
                <a:lnTo>
                  <a:pt x="1386" y="1368"/>
                </a:lnTo>
                <a:lnTo>
                  <a:pt x="1390" y="1348"/>
                </a:lnTo>
                <a:lnTo>
                  <a:pt x="1392" y="1330"/>
                </a:lnTo>
                <a:lnTo>
                  <a:pt x="1392" y="1310"/>
                </a:lnTo>
                <a:lnTo>
                  <a:pt x="1392" y="1310"/>
                </a:lnTo>
                <a:lnTo>
                  <a:pt x="1390" y="1280"/>
                </a:lnTo>
                <a:lnTo>
                  <a:pt x="1386" y="1250"/>
                </a:lnTo>
                <a:lnTo>
                  <a:pt x="1378" y="1222"/>
                </a:lnTo>
                <a:lnTo>
                  <a:pt x="1368" y="1194"/>
                </a:lnTo>
                <a:lnTo>
                  <a:pt x="1354" y="1168"/>
                </a:lnTo>
                <a:lnTo>
                  <a:pt x="1338" y="1144"/>
                </a:lnTo>
                <a:lnTo>
                  <a:pt x="1320" y="1120"/>
                </a:lnTo>
                <a:lnTo>
                  <a:pt x="1300" y="1100"/>
                </a:lnTo>
                <a:lnTo>
                  <a:pt x="1278" y="1080"/>
                </a:lnTo>
                <a:lnTo>
                  <a:pt x="1254" y="1062"/>
                </a:lnTo>
                <a:lnTo>
                  <a:pt x="1228" y="1048"/>
                </a:lnTo>
                <a:lnTo>
                  <a:pt x="1200" y="1036"/>
                </a:lnTo>
                <a:lnTo>
                  <a:pt x="1170" y="1026"/>
                </a:lnTo>
                <a:lnTo>
                  <a:pt x="1140" y="1018"/>
                </a:lnTo>
                <a:lnTo>
                  <a:pt x="1110" y="1014"/>
                </a:lnTo>
                <a:lnTo>
                  <a:pt x="1078" y="1012"/>
                </a:lnTo>
                <a:lnTo>
                  <a:pt x="1078" y="1012"/>
                </a:lnTo>
                <a:close/>
                <a:moveTo>
                  <a:pt x="4450" y="1372"/>
                </a:moveTo>
                <a:lnTo>
                  <a:pt x="4664" y="1372"/>
                </a:lnTo>
                <a:lnTo>
                  <a:pt x="4664" y="1372"/>
                </a:lnTo>
                <a:lnTo>
                  <a:pt x="4678" y="1358"/>
                </a:lnTo>
                <a:lnTo>
                  <a:pt x="4694" y="1346"/>
                </a:lnTo>
                <a:lnTo>
                  <a:pt x="4710" y="1336"/>
                </a:lnTo>
                <a:lnTo>
                  <a:pt x="4726" y="1328"/>
                </a:lnTo>
                <a:lnTo>
                  <a:pt x="4740" y="1320"/>
                </a:lnTo>
                <a:lnTo>
                  <a:pt x="4756" y="1316"/>
                </a:lnTo>
                <a:lnTo>
                  <a:pt x="4780" y="1310"/>
                </a:lnTo>
                <a:lnTo>
                  <a:pt x="4780" y="1310"/>
                </a:lnTo>
                <a:lnTo>
                  <a:pt x="4788" y="1300"/>
                </a:lnTo>
                <a:lnTo>
                  <a:pt x="4794" y="1286"/>
                </a:lnTo>
                <a:lnTo>
                  <a:pt x="4800" y="1270"/>
                </a:lnTo>
                <a:lnTo>
                  <a:pt x="4806" y="1254"/>
                </a:lnTo>
                <a:lnTo>
                  <a:pt x="4816" y="1214"/>
                </a:lnTo>
                <a:lnTo>
                  <a:pt x="4822" y="1172"/>
                </a:lnTo>
                <a:lnTo>
                  <a:pt x="4826" y="1130"/>
                </a:lnTo>
                <a:lnTo>
                  <a:pt x="4830" y="1086"/>
                </a:lnTo>
                <a:lnTo>
                  <a:pt x="4830" y="1048"/>
                </a:lnTo>
                <a:lnTo>
                  <a:pt x="4828" y="1014"/>
                </a:lnTo>
                <a:lnTo>
                  <a:pt x="4828" y="1014"/>
                </a:lnTo>
                <a:lnTo>
                  <a:pt x="4826" y="1006"/>
                </a:lnTo>
                <a:lnTo>
                  <a:pt x="4818" y="992"/>
                </a:lnTo>
                <a:lnTo>
                  <a:pt x="4798" y="960"/>
                </a:lnTo>
                <a:lnTo>
                  <a:pt x="4768" y="922"/>
                </a:lnTo>
                <a:lnTo>
                  <a:pt x="4734" y="882"/>
                </a:lnTo>
                <a:lnTo>
                  <a:pt x="4734" y="882"/>
                </a:lnTo>
                <a:lnTo>
                  <a:pt x="4706" y="864"/>
                </a:lnTo>
                <a:lnTo>
                  <a:pt x="4674" y="848"/>
                </a:lnTo>
                <a:lnTo>
                  <a:pt x="4638" y="832"/>
                </a:lnTo>
                <a:lnTo>
                  <a:pt x="4602" y="816"/>
                </a:lnTo>
                <a:lnTo>
                  <a:pt x="4560" y="802"/>
                </a:lnTo>
                <a:lnTo>
                  <a:pt x="4518" y="788"/>
                </a:lnTo>
                <a:lnTo>
                  <a:pt x="4428" y="760"/>
                </a:lnTo>
                <a:lnTo>
                  <a:pt x="4332" y="734"/>
                </a:lnTo>
                <a:lnTo>
                  <a:pt x="4232" y="710"/>
                </a:lnTo>
                <a:lnTo>
                  <a:pt x="4130" y="688"/>
                </a:lnTo>
                <a:lnTo>
                  <a:pt x="4030" y="670"/>
                </a:lnTo>
                <a:lnTo>
                  <a:pt x="3932" y="652"/>
                </a:lnTo>
                <a:lnTo>
                  <a:pt x="3842" y="636"/>
                </a:lnTo>
                <a:lnTo>
                  <a:pt x="3684" y="612"/>
                </a:lnTo>
                <a:lnTo>
                  <a:pt x="3574" y="596"/>
                </a:lnTo>
                <a:lnTo>
                  <a:pt x="3532" y="592"/>
                </a:lnTo>
                <a:lnTo>
                  <a:pt x="3514" y="590"/>
                </a:lnTo>
                <a:lnTo>
                  <a:pt x="3500" y="578"/>
                </a:lnTo>
                <a:lnTo>
                  <a:pt x="3500" y="578"/>
                </a:lnTo>
                <a:lnTo>
                  <a:pt x="3484" y="564"/>
                </a:lnTo>
                <a:lnTo>
                  <a:pt x="3438" y="528"/>
                </a:lnTo>
                <a:lnTo>
                  <a:pt x="3368" y="476"/>
                </a:lnTo>
                <a:lnTo>
                  <a:pt x="3324" y="444"/>
                </a:lnTo>
                <a:lnTo>
                  <a:pt x="3276" y="412"/>
                </a:lnTo>
                <a:lnTo>
                  <a:pt x="3222" y="378"/>
                </a:lnTo>
                <a:lnTo>
                  <a:pt x="3166" y="344"/>
                </a:lnTo>
                <a:lnTo>
                  <a:pt x="3106" y="310"/>
                </a:lnTo>
                <a:lnTo>
                  <a:pt x="3042" y="278"/>
                </a:lnTo>
                <a:lnTo>
                  <a:pt x="2978" y="246"/>
                </a:lnTo>
                <a:lnTo>
                  <a:pt x="2910" y="218"/>
                </a:lnTo>
                <a:lnTo>
                  <a:pt x="2840" y="192"/>
                </a:lnTo>
                <a:lnTo>
                  <a:pt x="2770" y="172"/>
                </a:lnTo>
                <a:lnTo>
                  <a:pt x="2770" y="172"/>
                </a:lnTo>
                <a:lnTo>
                  <a:pt x="2716" y="158"/>
                </a:lnTo>
                <a:lnTo>
                  <a:pt x="2656" y="146"/>
                </a:lnTo>
                <a:lnTo>
                  <a:pt x="2590" y="136"/>
                </a:lnTo>
                <a:lnTo>
                  <a:pt x="2516" y="128"/>
                </a:lnTo>
                <a:lnTo>
                  <a:pt x="2436" y="122"/>
                </a:lnTo>
                <a:lnTo>
                  <a:pt x="2350" y="118"/>
                </a:lnTo>
                <a:lnTo>
                  <a:pt x="2258" y="116"/>
                </a:lnTo>
                <a:lnTo>
                  <a:pt x="2160" y="114"/>
                </a:lnTo>
                <a:lnTo>
                  <a:pt x="2160" y="114"/>
                </a:lnTo>
                <a:lnTo>
                  <a:pt x="2032" y="116"/>
                </a:lnTo>
                <a:lnTo>
                  <a:pt x="1902" y="120"/>
                </a:lnTo>
                <a:lnTo>
                  <a:pt x="1778" y="126"/>
                </a:lnTo>
                <a:lnTo>
                  <a:pt x="1662" y="134"/>
                </a:lnTo>
                <a:lnTo>
                  <a:pt x="1558" y="144"/>
                </a:lnTo>
                <a:lnTo>
                  <a:pt x="1468" y="152"/>
                </a:lnTo>
                <a:lnTo>
                  <a:pt x="1396" y="162"/>
                </a:lnTo>
                <a:lnTo>
                  <a:pt x="1344" y="172"/>
                </a:lnTo>
                <a:lnTo>
                  <a:pt x="1344" y="172"/>
                </a:lnTo>
                <a:lnTo>
                  <a:pt x="1310" y="180"/>
                </a:lnTo>
                <a:lnTo>
                  <a:pt x="1266" y="194"/>
                </a:lnTo>
                <a:lnTo>
                  <a:pt x="1216" y="212"/>
                </a:lnTo>
                <a:lnTo>
                  <a:pt x="1162" y="234"/>
                </a:lnTo>
                <a:lnTo>
                  <a:pt x="1042" y="282"/>
                </a:lnTo>
                <a:lnTo>
                  <a:pt x="920" y="336"/>
                </a:lnTo>
                <a:lnTo>
                  <a:pt x="706" y="432"/>
                </a:lnTo>
                <a:lnTo>
                  <a:pt x="612" y="476"/>
                </a:lnTo>
                <a:lnTo>
                  <a:pt x="596" y="484"/>
                </a:lnTo>
                <a:lnTo>
                  <a:pt x="578" y="480"/>
                </a:lnTo>
                <a:lnTo>
                  <a:pt x="578" y="480"/>
                </a:lnTo>
                <a:lnTo>
                  <a:pt x="560" y="478"/>
                </a:lnTo>
                <a:lnTo>
                  <a:pt x="514" y="472"/>
                </a:lnTo>
                <a:lnTo>
                  <a:pt x="448" y="466"/>
                </a:lnTo>
                <a:lnTo>
                  <a:pt x="410" y="464"/>
                </a:lnTo>
                <a:lnTo>
                  <a:pt x="372" y="464"/>
                </a:lnTo>
                <a:lnTo>
                  <a:pt x="372" y="464"/>
                </a:lnTo>
                <a:lnTo>
                  <a:pt x="332" y="464"/>
                </a:lnTo>
                <a:lnTo>
                  <a:pt x="296" y="468"/>
                </a:lnTo>
                <a:lnTo>
                  <a:pt x="266" y="472"/>
                </a:lnTo>
                <a:lnTo>
                  <a:pt x="240" y="476"/>
                </a:lnTo>
                <a:lnTo>
                  <a:pt x="220" y="482"/>
                </a:lnTo>
                <a:lnTo>
                  <a:pt x="206" y="490"/>
                </a:lnTo>
                <a:lnTo>
                  <a:pt x="194" y="496"/>
                </a:lnTo>
                <a:lnTo>
                  <a:pt x="186" y="502"/>
                </a:lnTo>
                <a:lnTo>
                  <a:pt x="186" y="502"/>
                </a:lnTo>
                <a:lnTo>
                  <a:pt x="186" y="506"/>
                </a:lnTo>
                <a:lnTo>
                  <a:pt x="184" y="510"/>
                </a:lnTo>
                <a:lnTo>
                  <a:pt x="184" y="518"/>
                </a:lnTo>
                <a:lnTo>
                  <a:pt x="186" y="528"/>
                </a:lnTo>
                <a:lnTo>
                  <a:pt x="186" y="528"/>
                </a:lnTo>
                <a:lnTo>
                  <a:pt x="200" y="576"/>
                </a:lnTo>
                <a:lnTo>
                  <a:pt x="206" y="616"/>
                </a:lnTo>
                <a:lnTo>
                  <a:pt x="210" y="650"/>
                </a:lnTo>
                <a:lnTo>
                  <a:pt x="208" y="680"/>
                </a:lnTo>
                <a:lnTo>
                  <a:pt x="204" y="708"/>
                </a:lnTo>
                <a:lnTo>
                  <a:pt x="196" y="732"/>
                </a:lnTo>
                <a:lnTo>
                  <a:pt x="186" y="754"/>
                </a:lnTo>
                <a:lnTo>
                  <a:pt x="174" y="778"/>
                </a:lnTo>
                <a:lnTo>
                  <a:pt x="174" y="778"/>
                </a:lnTo>
                <a:lnTo>
                  <a:pt x="160" y="806"/>
                </a:lnTo>
                <a:lnTo>
                  <a:pt x="146" y="840"/>
                </a:lnTo>
                <a:lnTo>
                  <a:pt x="140" y="858"/>
                </a:lnTo>
                <a:lnTo>
                  <a:pt x="132" y="882"/>
                </a:lnTo>
                <a:lnTo>
                  <a:pt x="126" y="908"/>
                </a:lnTo>
                <a:lnTo>
                  <a:pt x="122" y="936"/>
                </a:lnTo>
                <a:lnTo>
                  <a:pt x="122" y="936"/>
                </a:lnTo>
                <a:lnTo>
                  <a:pt x="118" y="966"/>
                </a:lnTo>
                <a:lnTo>
                  <a:pt x="116" y="992"/>
                </a:lnTo>
                <a:lnTo>
                  <a:pt x="116" y="1018"/>
                </a:lnTo>
                <a:lnTo>
                  <a:pt x="116" y="1042"/>
                </a:lnTo>
                <a:lnTo>
                  <a:pt x="118" y="1064"/>
                </a:lnTo>
                <a:lnTo>
                  <a:pt x="122" y="1086"/>
                </a:lnTo>
                <a:lnTo>
                  <a:pt x="130" y="1124"/>
                </a:lnTo>
                <a:lnTo>
                  <a:pt x="142" y="1158"/>
                </a:lnTo>
                <a:lnTo>
                  <a:pt x="154" y="1184"/>
                </a:lnTo>
                <a:lnTo>
                  <a:pt x="166" y="1206"/>
                </a:lnTo>
                <a:lnTo>
                  <a:pt x="176" y="1222"/>
                </a:lnTo>
                <a:lnTo>
                  <a:pt x="288" y="1242"/>
                </a:lnTo>
                <a:lnTo>
                  <a:pt x="300" y="1284"/>
                </a:lnTo>
                <a:lnTo>
                  <a:pt x="300" y="1284"/>
                </a:lnTo>
                <a:lnTo>
                  <a:pt x="430" y="1286"/>
                </a:lnTo>
                <a:lnTo>
                  <a:pt x="560" y="1294"/>
                </a:lnTo>
                <a:lnTo>
                  <a:pt x="560" y="1294"/>
                </a:lnTo>
                <a:lnTo>
                  <a:pt x="566" y="1246"/>
                </a:lnTo>
                <a:lnTo>
                  <a:pt x="576" y="1200"/>
                </a:lnTo>
                <a:lnTo>
                  <a:pt x="590" y="1154"/>
                </a:lnTo>
                <a:lnTo>
                  <a:pt x="608" y="1112"/>
                </a:lnTo>
                <a:lnTo>
                  <a:pt x="630" y="1070"/>
                </a:lnTo>
                <a:lnTo>
                  <a:pt x="654" y="1032"/>
                </a:lnTo>
                <a:lnTo>
                  <a:pt x="682" y="996"/>
                </a:lnTo>
                <a:lnTo>
                  <a:pt x="714" y="964"/>
                </a:lnTo>
                <a:lnTo>
                  <a:pt x="748" y="934"/>
                </a:lnTo>
                <a:lnTo>
                  <a:pt x="784" y="906"/>
                </a:lnTo>
                <a:lnTo>
                  <a:pt x="824" y="884"/>
                </a:lnTo>
                <a:lnTo>
                  <a:pt x="864" y="864"/>
                </a:lnTo>
                <a:lnTo>
                  <a:pt x="908" y="848"/>
                </a:lnTo>
                <a:lnTo>
                  <a:pt x="952" y="836"/>
                </a:lnTo>
                <a:lnTo>
                  <a:pt x="998" y="830"/>
                </a:lnTo>
                <a:lnTo>
                  <a:pt x="1022" y="828"/>
                </a:lnTo>
                <a:lnTo>
                  <a:pt x="1046" y="828"/>
                </a:lnTo>
                <a:lnTo>
                  <a:pt x="1046" y="828"/>
                </a:lnTo>
                <a:lnTo>
                  <a:pt x="1072" y="828"/>
                </a:lnTo>
                <a:lnTo>
                  <a:pt x="1096" y="830"/>
                </a:lnTo>
                <a:lnTo>
                  <a:pt x="1120" y="834"/>
                </a:lnTo>
                <a:lnTo>
                  <a:pt x="1144" y="838"/>
                </a:lnTo>
                <a:lnTo>
                  <a:pt x="1168" y="844"/>
                </a:lnTo>
                <a:lnTo>
                  <a:pt x="1190" y="850"/>
                </a:lnTo>
                <a:lnTo>
                  <a:pt x="1214" y="858"/>
                </a:lnTo>
                <a:lnTo>
                  <a:pt x="1236" y="868"/>
                </a:lnTo>
                <a:lnTo>
                  <a:pt x="1278" y="888"/>
                </a:lnTo>
                <a:lnTo>
                  <a:pt x="1318" y="914"/>
                </a:lnTo>
                <a:lnTo>
                  <a:pt x="1354" y="944"/>
                </a:lnTo>
                <a:lnTo>
                  <a:pt x="1390" y="976"/>
                </a:lnTo>
                <a:lnTo>
                  <a:pt x="1420" y="1012"/>
                </a:lnTo>
                <a:lnTo>
                  <a:pt x="1448" y="1050"/>
                </a:lnTo>
                <a:lnTo>
                  <a:pt x="1474" y="1092"/>
                </a:lnTo>
                <a:lnTo>
                  <a:pt x="1494" y="1136"/>
                </a:lnTo>
                <a:lnTo>
                  <a:pt x="1510" y="1182"/>
                </a:lnTo>
                <a:lnTo>
                  <a:pt x="1516" y="1206"/>
                </a:lnTo>
                <a:lnTo>
                  <a:pt x="1522" y="1232"/>
                </a:lnTo>
                <a:lnTo>
                  <a:pt x="1526" y="1256"/>
                </a:lnTo>
                <a:lnTo>
                  <a:pt x="1530" y="1282"/>
                </a:lnTo>
                <a:lnTo>
                  <a:pt x="1532" y="1308"/>
                </a:lnTo>
                <a:lnTo>
                  <a:pt x="1532" y="1334"/>
                </a:lnTo>
                <a:lnTo>
                  <a:pt x="1532" y="1334"/>
                </a:lnTo>
                <a:lnTo>
                  <a:pt x="1530" y="1372"/>
                </a:lnTo>
                <a:lnTo>
                  <a:pt x="3480" y="1372"/>
                </a:lnTo>
                <a:lnTo>
                  <a:pt x="3480" y="1372"/>
                </a:lnTo>
                <a:lnTo>
                  <a:pt x="3478" y="1334"/>
                </a:lnTo>
                <a:lnTo>
                  <a:pt x="3478" y="1334"/>
                </a:lnTo>
                <a:lnTo>
                  <a:pt x="3480" y="1308"/>
                </a:lnTo>
                <a:lnTo>
                  <a:pt x="3482" y="1282"/>
                </a:lnTo>
                <a:lnTo>
                  <a:pt x="3484" y="1256"/>
                </a:lnTo>
                <a:lnTo>
                  <a:pt x="3488" y="1232"/>
                </a:lnTo>
                <a:lnTo>
                  <a:pt x="3494" y="1206"/>
                </a:lnTo>
                <a:lnTo>
                  <a:pt x="3500" y="1182"/>
                </a:lnTo>
                <a:lnTo>
                  <a:pt x="3516" y="1136"/>
                </a:lnTo>
                <a:lnTo>
                  <a:pt x="3538" y="1092"/>
                </a:lnTo>
                <a:lnTo>
                  <a:pt x="3562" y="1050"/>
                </a:lnTo>
                <a:lnTo>
                  <a:pt x="3590" y="1012"/>
                </a:lnTo>
                <a:lnTo>
                  <a:pt x="3622" y="976"/>
                </a:lnTo>
                <a:lnTo>
                  <a:pt x="3656" y="944"/>
                </a:lnTo>
                <a:lnTo>
                  <a:pt x="3694" y="914"/>
                </a:lnTo>
                <a:lnTo>
                  <a:pt x="3734" y="888"/>
                </a:lnTo>
                <a:lnTo>
                  <a:pt x="3776" y="868"/>
                </a:lnTo>
                <a:lnTo>
                  <a:pt x="3798" y="858"/>
                </a:lnTo>
                <a:lnTo>
                  <a:pt x="3822" y="850"/>
                </a:lnTo>
                <a:lnTo>
                  <a:pt x="3844" y="844"/>
                </a:lnTo>
                <a:lnTo>
                  <a:pt x="3868" y="838"/>
                </a:lnTo>
                <a:lnTo>
                  <a:pt x="3892" y="834"/>
                </a:lnTo>
                <a:lnTo>
                  <a:pt x="3916" y="830"/>
                </a:lnTo>
                <a:lnTo>
                  <a:pt x="3942" y="828"/>
                </a:lnTo>
                <a:lnTo>
                  <a:pt x="3966" y="828"/>
                </a:lnTo>
                <a:lnTo>
                  <a:pt x="3966" y="828"/>
                </a:lnTo>
                <a:lnTo>
                  <a:pt x="3992" y="828"/>
                </a:lnTo>
                <a:lnTo>
                  <a:pt x="4016" y="830"/>
                </a:lnTo>
                <a:lnTo>
                  <a:pt x="4040" y="834"/>
                </a:lnTo>
                <a:lnTo>
                  <a:pt x="4064" y="838"/>
                </a:lnTo>
                <a:lnTo>
                  <a:pt x="4088" y="844"/>
                </a:lnTo>
                <a:lnTo>
                  <a:pt x="4110" y="850"/>
                </a:lnTo>
                <a:lnTo>
                  <a:pt x="4132" y="858"/>
                </a:lnTo>
                <a:lnTo>
                  <a:pt x="4154" y="868"/>
                </a:lnTo>
                <a:lnTo>
                  <a:pt x="4198" y="888"/>
                </a:lnTo>
                <a:lnTo>
                  <a:pt x="4238" y="914"/>
                </a:lnTo>
                <a:lnTo>
                  <a:pt x="4274" y="944"/>
                </a:lnTo>
                <a:lnTo>
                  <a:pt x="4310" y="976"/>
                </a:lnTo>
                <a:lnTo>
                  <a:pt x="4340" y="1012"/>
                </a:lnTo>
                <a:lnTo>
                  <a:pt x="4368" y="1050"/>
                </a:lnTo>
                <a:lnTo>
                  <a:pt x="4394" y="1092"/>
                </a:lnTo>
                <a:lnTo>
                  <a:pt x="4414" y="1136"/>
                </a:lnTo>
                <a:lnTo>
                  <a:pt x="4430" y="1182"/>
                </a:lnTo>
                <a:lnTo>
                  <a:pt x="4436" y="1206"/>
                </a:lnTo>
                <a:lnTo>
                  <a:pt x="4442" y="1232"/>
                </a:lnTo>
                <a:lnTo>
                  <a:pt x="4446" y="1256"/>
                </a:lnTo>
                <a:lnTo>
                  <a:pt x="4450" y="1282"/>
                </a:lnTo>
                <a:lnTo>
                  <a:pt x="4452" y="1308"/>
                </a:lnTo>
                <a:lnTo>
                  <a:pt x="4452" y="1334"/>
                </a:lnTo>
                <a:lnTo>
                  <a:pt x="4452" y="1334"/>
                </a:lnTo>
                <a:lnTo>
                  <a:pt x="4450" y="1372"/>
                </a:lnTo>
                <a:lnTo>
                  <a:pt x="4450" y="1372"/>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Tree>
    <p:extLst>
      <p:ext uri="{BB962C8B-B14F-4D97-AF65-F5344CB8AC3E}">
        <p14:creationId xmlns:p14="http://schemas.microsoft.com/office/powerpoint/2010/main" val="295777160"/>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a:off x="0" y="1073150"/>
            <a:ext cx="9144000" cy="3638550"/>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1" name="Rectangle 50"/>
          <p:cNvSpPr/>
          <p:nvPr/>
        </p:nvSpPr>
        <p:spPr>
          <a:xfrm>
            <a:off x="0" y="1079500"/>
            <a:ext cx="9144000" cy="3638550"/>
          </a:xfrm>
          <a:prstGeom prst="rect">
            <a:avLst/>
          </a:prstGeom>
          <a:ln w="28575">
            <a:no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smtClean="0">
              <a:latin typeface="+mj-lt"/>
            </a:endParaRPr>
          </a:p>
        </p:txBody>
      </p:sp>
      <p:cxnSp>
        <p:nvCxnSpPr>
          <p:cNvPr id="6" name="Straight Arrow Connector 5"/>
          <p:cNvCxnSpPr/>
          <p:nvPr/>
        </p:nvCxnSpPr>
        <p:spPr bwMode="gray">
          <a:xfrm>
            <a:off x="2602319" y="2172577"/>
            <a:ext cx="3322320"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3532412" y="1848295"/>
            <a:ext cx="1165073" cy="346249"/>
          </a:xfrm>
          <a:prstGeom prst="rect">
            <a:avLst/>
          </a:prstGeom>
          <a:noFill/>
        </p:spPr>
        <p:txBody>
          <a:bodyPr wrap="none" lIns="68580" tIns="34290" rIns="68580" bIns="34290" rtlCol="0">
            <a:spAutoFit/>
          </a:bodyPr>
          <a:lstStyle/>
          <a:p>
            <a:pPr algn="ctr"/>
            <a:r>
              <a:rPr lang="en-US" dirty="0" smtClean="0">
                <a:latin typeface="+mj-lt"/>
              </a:rPr>
              <a:t>100 Bytes</a:t>
            </a:r>
            <a:endParaRPr lang="en-US" dirty="0">
              <a:latin typeface="+mj-lt"/>
            </a:endParaRPr>
          </a:p>
        </p:txBody>
      </p:sp>
      <p:cxnSp>
        <p:nvCxnSpPr>
          <p:cNvPr id="23" name="Straight Arrow Connector 22"/>
          <p:cNvCxnSpPr/>
          <p:nvPr/>
        </p:nvCxnSpPr>
        <p:spPr bwMode="gray">
          <a:xfrm>
            <a:off x="2602319" y="4100843"/>
            <a:ext cx="3322320" cy="0"/>
          </a:xfrm>
          <a:prstGeom prst="straightConnector1">
            <a:avLst/>
          </a:prstGeom>
          <a:ln w="285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2672765" y="3800729"/>
            <a:ext cx="2884368" cy="346249"/>
          </a:xfrm>
          <a:prstGeom prst="rect">
            <a:avLst/>
          </a:prstGeom>
          <a:noFill/>
        </p:spPr>
        <p:txBody>
          <a:bodyPr wrap="none" lIns="68580" tIns="34290" rIns="68580" bIns="34290" rtlCol="0">
            <a:spAutoFit/>
          </a:bodyPr>
          <a:lstStyle/>
          <a:p>
            <a:pPr algn="ctr"/>
            <a:r>
              <a:rPr lang="en-US" dirty="0" smtClean="0">
                <a:latin typeface="+mj-lt"/>
              </a:rPr>
              <a:t>“I am full – send attendant”</a:t>
            </a:r>
            <a:endParaRPr lang="en-US" dirty="0">
              <a:latin typeface="+mj-lt"/>
            </a:endParaRPr>
          </a:p>
        </p:txBody>
      </p:sp>
      <p:grpSp>
        <p:nvGrpSpPr>
          <p:cNvPr id="68" name="Group 67"/>
          <p:cNvGrpSpPr/>
          <p:nvPr/>
        </p:nvGrpSpPr>
        <p:grpSpPr>
          <a:xfrm>
            <a:off x="5620446" y="3289218"/>
            <a:ext cx="2164953" cy="1374365"/>
            <a:chOff x="5620446" y="3289218"/>
            <a:chExt cx="2164953" cy="1374365"/>
          </a:xfrm>
        </p:grpSpPr>
        <p:grpSp>
          <p:nvGrpSpPr>
            <p:cNvPr id="14" name="Group 36"/>
            <p:cNvGrpSpPr/>
            <p:nvPr/>
          </p:nvGrpSpPr>
          <p:grpSpPr>
            <a:xfrm>
              <a:off x="6598278" y="3656946"/>
              <a:ext cx="591552" cy="615355"/>
              <a:chOff x="1611171" y="2952207"/>
              <a:chExt cx="879192" cy="937618"/>
            </a:xfrm>
            <a:noFill/>
          </p:grpSpPr>
          <p:sp>
            <p:nvSpPr>
              <p:cNvPr id="47" name="Freeform 11"/>
              <p:cNvSpPr>
                <a:spLocks noEditPoints="1"/>
              </p:cNvSpPr>
              <p:nvPr/>
            </p:nvSpPr>
            <p:spPr bwMode="auto">
              <a:xfrm>
                <a:off x="1802745" y="2952207"/>
                <a:ext cx="509746" cy="937618"/>
              </a:xfrm>
              <a:custGeom>
                <a:avLst/>
                <a:gdLst>
                  <a:gd name="T0" fmla="*/ 25 w 630"/>
                  <a:gd name="T1" fmla="*/ 0 h 1159"/>
                  <a:gd name="T2" fmla="*/ 0 w 630"/>
                  <a:gd name="T3" fmla="*/ 1159 h 1159"/>
                  <a:gd name="T4" fmla="*/ 217 w 630"/>
                  <a:gd name="T5" fmla="*/ 964 h 1159"/>
                  <a:gd name="T6" fmla="*/ 412 w 630"/>
                  <a:gd name="T7" fmla="*/ 1159 h 1159"/>
                  <a:gd name="T8" fmla="*/ 630 w 630"/>
                  <a:gd name="T9" fmla="*/ 25 h 1159"/>
                  <a:gd name="T10" fmla="*/ 195 w 630"/>
                  <a:gd name="T11" fmla="*/ 894 h 1159"/>
                  <a:gd name="T12" fmla="*/ 48 w 630"/>
                  <a:gd name="T13" fmla="*/ 798 h 1159"/>
                  <a:gd name="T14" fmla="*/ 195 w 630"/>
                  <a:gd name="T15" fmla="*/ 894 h 1159"/>
                  <a:gd name="T16" fmla="*/ 48 w 630"/>
                  <a:gd name="T17" fmla="*/ 725 h 1159"/>
                  <a:gd name="T18" fmla="*/ 195 w 630"/>
                  <a:gd name="T19" fmla="*/ 629 h 1159"/>
                  <a:gd name="T20" fmla="*/ 195 w 630"/>
                  <a:gd name="T21" fmla="*/ 555 h 1159"/>
                  <a:gd name="T22" fmla="*/ 48 w 630"/>
                  <a:gd name="T23" fmla="*/ 459 h 1159"/>
                  <a:gd name="T24" fmla="*/ 195 w 630"/>
                  <a:gd name="T25" fmla="*/ 555 h 1159"/>
                  <a:gd name="T26" fmla="*/ 48 w 630"/>
                  <a:gd name="T27" fmla="*/ 386 h 1159"/>
                  <a:gd name="T28" fmla="*/ 195 w 630"/>
                  <a:gd name="T29" fmla="*/ 290 h 1159"/>
                  <a:gd name="T30" fmla="*/ 195 w 630"/>
                  <a:gd name="T31" fmla="*/ 217 h 1159"/>
                  <a:gd name="T32" fmla="*/ 48 w 630"/>
                  <a:gd name="T33" fmla="*/ 121 h 1159"/>
                  <a:gd name="T34" fmla="*/ 195 w 630"/>
                  <a:gd name="T35" fmla="*/ 217 h 1159"/>
                  <a:gd name="T36" fmla="*/ 243 w 630"/>
                  <a:gd name="T37" fmla="*/ 894 h 1159"/>
                  <a:gd name="T38" fmla="*/ 387 w 630"/>
                  <a:gd name="T39" fmla="*/ 798 h 1159"/>
                  <a:gd name="T40" fmla="*/ 387 w 630"/>
                  <a:gd name="T41" fmla="*/ 725 h 1159"/>
                  <a:gd name="T42" fmla="*/ 243 w 630"/>
                  <a:gd name="T43" fmla="*/ 629 h 1159"/>
                  <a:gd name="T44" fmla="*/ 387 w 630"/>
                  <a:gd name="T45" fmla="*/ 725 h 1159"/>
                  <a:gd name="T46" fmla="*/ 243 w 630"/>
                  <a:gd name="T47" fmla="*/ 555 h 1159"/>
                  <a:gd name="T48" fmla="*/ 387 w 630"/>
                  <a:gd name="T49" fmla="*/ 459 h 1159"/>
                  <a:gd name="T50" fmla="*/ 387 w 630"/>
                  <a:gd name="T51" fmla="*/ 386 h 1159"/>
                  <a:gd name="T52" fmla="*/ 243 w 630"/>
                  <a:gd name="T53" fmla="*/ 290 h 1159"/>
                  <a:gd name="T54" fmla="*/ 387 w 630"/>
                  <a:gd name="T55" fmla="*/ 386 h 1159"/>
                  <a:gd name="T56" fmla="*/ 243 w 630"/>
                  <a:gd name="T57" fmla="*/ 217 h 1159"/>
                  <a:gd name="T58" fmla="*/ 387 w 630"/>
                  <a:gd name="T59" fmla="*/ 121 h 1159"/>
                  <a:gd name="T60" fmla="*/ 579 w 630"/>
                  <a:gd name="T61" fmla="*/ 894 h 1159"/>
                  <a:gd name="T62" fmla="*/ 435 w 630"/>
                  <a:gd name="T63" fmla="*/ 798 h 1159"/>
                  <a:gd name="T64" fmla="*/ 579 w 630"/>
                  <a:gd name="T65" fmla="*/ 894 h 1159"/>
                  <a:gd name="T66" fmla="*/ 435 w 630"/>
                  <a:gd name="T67" fmla="*/ 725 h 1159"/>
                  <a:gd name="T68" fmla="*/ 579 w 630"/>
                  <a:gd name="T69" fmla="*/ 629 h 1159"/>
                  <a:gd name="T70" fmla="*/ 579 w 630"/>
                  <a:gd name="T71" fmla="*/ 555 h 1159"/>
                  <a:gd name="T72" fmla="*/ 435 w 630"/>
                  <a:gd name="T73" fmla="*/ 459 h 1159"/>
                  <a:gd name="T74" fmla="*/ 579 w 630"/>
                  <a:gd name="T75" fmla="*/ 555 h 1159"/>
                  <a:gd name="T76" fmla="*/ 435 w 630"/>
                  <a:gd name="T77" fmla="*/ 386 h 1159"/>
                  <a:gd name="T78" fmla="*/ 579 w 630"/>
                  <a:gd name="T79" fmla="*/ 290 h 1159"/>
                  <a:gd name="T80" fmla="*/ 579 w 630"/>
                  <a:gd name="T81" fmla="*/ 217 h 1159"/>
                  <a:gd name="T82" fmla="*/ 435 w 630"/>
                  <a:gd name="T83" fmla="*/ 121 h 1159"/>
                  <a:gd name="T84" fmla="*/ 579 w 630"/>
                  <a:gd name="T85" fmla="*/ 217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0" h="1159">
                    <a:moveTo>
                      <a:pt x="605" y="0"/>
                    </a:moveTo>
                    <a:cubicBezTo>
                      <a:pt x="25" y="0"/>
                      <a:pt x="25" y="0"/>
                      <a:pt x="25" y="0"/>
                    </a:cubicBezTo>
                    <a:cubicBezTo>
                      <a:pt x="11" y="0"/>
                      <a:pt x="0" y="11"/>
                      <a:pt x="0" y="25"/>
                    </a:cubicBezTo>
                    <a:cubicBezTo>
                      <a:pt x="0" y="1159"/>
                      <a:pt x="0" y="1159"/>
                      <a:pt x="0" y="1159"/>
                    </a:cubicBezTo>
                    <a:cubicBezTo>
                      <a:pt x="217" y="1159"/>
                      <a:pt x="217" y="1159"/>
                      <a:pt x="217" y="1159"/>
                    </a:cubicBezTo>
                    <a:cubicBezTo>
                      <a:pt x="217" y="964"/>
                      <a:pt x="217" y="964"/>
                      <a:pt x="217" y="964"/>
                    </a:cubicBezTo>
                    <a:cubicBezTo>
                      <a:pt x="412" y="964"/>
                      <a:pt x="412" y="964"/>
                      <a:pt x="412" y="964"/>
                    </a:cubicBezTo>
                    <a:cubicBezTo>
                      <a:pt x="412" y="1159"/>
                      <a:pt x="412" y="1159"/>
                      <a:pt x="412" y="1159"/>
                    </a:cubicBezTo>
                    <a:cubicBezTo>
                      <a:pt x="630" y="1159"/>
                      <a:pt x="630" y="1159"/>
                      <a:pt x="630" y="1159"/>
                    </a:cubicBezTo>
                    <a:cubicBezTo>
                      <a:pt x="630" y="25"/>
                      <a:pt x="630" y="25"/>
                      <a:pt x="630" y="25"/>
                    </a:cubicBezTo>
                    <a:cubicBezTo>
                      <a:pt x="630" y="11"/>
                      <a:pt x="619" y="0"/>
                      <a:pt x="605" y="0"/>
                    </a:cubicBezTo>
                    <a:close/>
                    <a:moveTo>
                      <a:pt x="195" y="894"/>
                    </a:moveTo>
                    <a:cubicBezTo>
                      <a:pt x="48" y="894"/>
                      <a:pt x="48" y="894"/>
                      <a:pt x="48" y="894"/>
                    </a:cubicBezTo>
                    <a:cubicBezTo>
                      <a:pt x="48" y="798"/>
                      <a:pt x="48" y="798"/>
                      <a:pt x="48" y="798"/>
                    </a:cubicBezTo>
                    <a:cubicBezTo>
                      <a:pt x="195" y="798"/>
                      <a:pt x="195" y="798"/>
                      <a:pt x="195" y="798"/>
                    </a:cubicBezTo>
                    <a:lnTo>
                      <a:pt x="195" y="894"/>
                    </a:lnTo>
                    <a:close/>
                    <a:moveTo>
                      <a:pt x="195" y="725"/>
                    </a:moveTo>
                    <a:cubicBezTo>
                      <a:pt x="48" y="725"/>
                      <a:pt x="48" y="725"/>
                      <a:pt x="48" y="725"/>
                    </a:cubicBezTo>
                    <a:cubicBezTo>
                      <a:pt x="48" y="629"/>
                      <a:pt x="48" y="629"/>
                      <a:pt x="48" y="629"/>
                    </a:cubicBezTo>
                    <a:cubicBezTo>
                      <a:pt x="195" y="629"/>
                      <a:pt x="195" y="629"/>
                      <a:pt x="195" y="629"/>
                    </a:cubicBezTo>
                    <a:cubicBezTo>
                      <a:pt x="195" y="725"/>
                      <a:pt x="195" y="725"/>
                      <a:pt x="195" y="725"/>
                    </a:cubicBezTo>
                    <a:close/>
                    <a:moveTo>
                      <a:pt x="195" y="555"/>
                    </a:moveTo>
                    <a:cubicBezTo>
                      <a:pt x="48" y="555"/>
                      <a:pt x="48" y="555"/>
                      <a:pt x="48" y="555"/>
                    </a:cubicBezTo>
                    <a:cubicBezTo>
                      <a:pt x="48" y="459"/>
                      <a:pt x="48" y="459"/>
                      <a:pt x="48" y="459"/>
                    </a:cubicBezTo>
                    <a:cubicBezTo>
                      <a:pt x="195" y="459"/>
                      <a:pt x="195" y="459"/>
                      <a:pt x="195" y="459"/>
                    </a:cubicBezTo>
                    <a:lnTo>
                      <a:pt x="195" y="555"/>
                    </a:lnTo>
                    <a:close/>
                    <a:moveTo>
                      <a:pt x="195" y="386"/>
                    </a:moveTo>
                    <a:cubicBezTo>
                      <a:pt x="48" y="386"/>
                      <a:pt x="48" y="386"/>
                      <a:pt x="48" y="386"/>
                    </a:cubicBezTo>
                    <a:cubicBezTo>
                      <a:pt x="48" y="290"/>
                      <a:pt x="48" y="290"/>
                      <a:pt x="48" y="290"/>
                    </a:cubicBezTo>
                    <a:cubicBezTo>
                      <a:pt x="195" y="290"/>
                      <a:pt x="195" y="290"/>
                      <a:pt x="195" y="290"/>
                    </a:cubicBezTo>
                    <a:lnTo>
                      <a:pt x="195" y="386"/>
                    </a:lnTo>
                    <a:close/>
                    <a:moveTo>
                      <a:pt x="195" y="217"/>
                    </a:moveTo>
                    <a:cubicBezTo>
                      <a:pt x="48" y="217"/>
                      <a:pt x="48" y="217"/>
                      <a:pt x="48" y="217"/>
                    </a:cubicBezTo>
                    <a:cubicBezTo>
                      <a:pt x="48" y="121"/>
                      <a:pt x="48" y="121"/>
                      <a:pt x="48" y="121"/>
                    </a:cubicBezTo>
                    <a:cubicBezTo>
                      <a:pt x="195" y="121"/>
                      <a:pt x="195" y="121"/>
                      <a:pt x="195" y="121"/>
                    </a:cubicBezTo>
                    <a:lnTo>
                      <a:pt x="195" y="217"/>
                    </a:lnTo>
                    <a:close/>
                    <a:moveTo>
                      <a:pt x="387" y="894"/>
                    </a:moveTo>
                    <a:cubicBezTo>
                      <a:pt x="243" y="894"/>
                      <a:pt x="243" y="894"/>
                      <a:pt x="243" y="894"/>
                    </a:cubicBezTo>
                    <a:cubicBezTo>
                      <a:pt x="243" y="798"/>
                      <a:pt x="243" y="798"/>
                      <a:pt x="243" y="798"/>
                    </a:cubicBezTo>
                    <a:cubicBezTo>
                      <a:pt x="387" y="798"/>
                      <a:pt x="387" y="798"/>
                      <a:pt x="387" y="798"/>
                    </a:cubicBezTo>
                    <a:lnTo>
                      <a:pt x="387" y="894"/>
                    </a:lnTo>
                    <a:close/>
                    <a:moveTo>
                      <a:pt x="387" y="725"/>
                    </a:moveTo>
                    <a:cubicBezTo>
                      <a:pt x="243" y="725"/>
                      <a:pt x="243" y="725"/>
                      <a:pt x="243" y="725"/>
                    </a:cubicBezTo>
                    <a:cubicBezTo>
                      <a:pt x="243" y="629"/>
                      <a:pt x="243" y="629"/>
                      <a:pt x="243" y="629"/>
                    </a:cubicBezTo>
                    <a:cubicBezTo>
                      <a:pt x="387" y="629"/>
                      <a:pt x="387" y="629"/>
                      <a:pt x="387" y="629"/>
                    </a:cubicBezTo>
                    <a:cubicBezTo>
                      <a:pt x="387" y="725"/>
                      <a:pt x="387" y="725"/>
                      <a:pt x="387" y="725"/>
                    </a:cubicBezTo>
                    <a:close/>
                    <a:moveTo>
                      <a:pt x="387" y="555"/>
                    </a:moveTo>
                    <a:cubicBezTo>
                      <a:pt x="243" y="555"/>
                      <a:pt x="243" y="555"/>
                      <a:pt x="243" y="555"/>
                    </a:cubicBezTo>
                    <a:cubicBezTo>
                      <a:pt x="243" y="459"/>
                      <a:pt x="243" y="459"/>
                      <a:pt x="243" y="459"/>
                    </a:cubicBezTo>
                    <a:cubicBezTo>
                      <a:pt x="387" y="459"/>
                      <a:pt x="387" y="459"/>
                      <a:pt x="387" y="459"/>
                    </a:cubicBezTo>
                    <a:lnTo>
                      <a:pt x="387" y="555"/>
                    </a:lnTo>
                    <a:close/>
                    <a:moveTo>
                      <a:pt x="387" y="386"/>
                    </a:moveTo>
                    <a:cubicBezTo>
                      <a:pt x="243" y="386"/>
                      <a:pt x="243" y="386"/>
                      <a:pt x="243" y="386"/>
                    </a:cubicBezTo>
                    <a:cubicBezTo>
                      <a:pt x="243" y="290"/>
                      <a:pt x="243" y="290"/>
                      <a:pt x="243" y="290"/>
                    </a:cubicBezTo>
                    <a:cubicBezTo>
                      <a:pt x="387" y="290"/>
                      <a:pt x="387" y="290"/>
                      <a:pt x="387" y="290"/>
                    </a:cubicBezTo>
                    <a:lnTo>
                      <a:pt x="387" y="386"/>
                    </a:lnTo>
                    <a:close/>
                    <a:moveTo>
                      <a:pt x="387" y="217"/>
                    </a:moveTo>
                    <a:cubicBezTo>
                      <a:pt x="243" y="217"/>
                      <a:pt x="243" y="217"/>
                      <a:pt x="243" y="217"/>
                    </a:cubicBezTo>
                    <a:cubicBezTo>
                      <a:pt x="243" y="121"/>
                      <a:pt x="243" y="121"/>
                      <a:pt x="243" y="121"/>
                    </a:cubicBezTo>
                    <a:cubicBezTo>
                      <a:pt x="387" y="121"/>
                      <a:pt x="387" y="121"/>
                      <a:pt x="387" y="121"/>
                    </a:cubicBezTo>
                    <a:lnTo>
                      <a:pt x="387" y="217"/>
                    </a:lnTo>
                    <a:close/>
                    <a:moveTo>
                      <a:pt x="579" y="894"/>
                    </a:moveTo>
                    <a:cubicBezTo>
                      <a:pt x="435" y="894"/>
                      <a:pt x="435" y="894"/>
                      <a:pt x="435" y="894"/>
                    </a:cubicBezTo>
                    <a:cubicBezTo>
                      <a:pt x="435" y="798"/>
                      <a:pt x="435" y="798"/>
                      <a:pt x="435" y="798"/>
                    </a:cubicBezTo>
                    <a:cubicBezTo>
                      <a:pt x="579" y="798"/>
                      <a:pt x="579" y="798"/>
                      <a:pt x="579" y="798"/>
                    </a:cubicBezTo>
                    <a:lnTo>
                      <a:pt x="579" y="894"/>
                    </a:lnTo>
                    <a:close/>
                    <a:moveTo>
                      <a:pt x="579" y="725"/>
                    </a:moveTo>
                    <a:cubicBezTo>
                      <a:pt x="435" y="725"/>
                      <a:pt x="435" y="725"/>
                      <a:pt x="435" y="725"/>
                    </a:cubicBezTo>
                    <a:cubicBezTo>
                      <a:pt x="435" y="629"/>
                      <a:pt x="435" y="629"/>
                      <a:pt x="435" y="629"/>
                    </a:cubicBezTo>
                    <a:cubicBezTo>
                      <a:pt x="579" y="629"/>
                      <a:pt x="579" y="629"/>
                      <a:pt x="579" y="629"/>
                    </a:cubicBezTo>
                    <a:cubicBezTo>
                      <a:pt x="579" y="725"/>
                      <a:pt x="579" y="725"/>
                      <a:pt x="579" y="725"/>
                    </a:cubicBezTo>
                    <a:close/>
                    <a:moveTo>
                      <a:pt x="579" y="555"/>
                    </a:moveTo>
                    <a:cubicBezTo>
                      <a:pt x="435" y="555"/>
                      <a:pt x="435" y="555"/>
                      <a:pt x="435" y="555"/>
                    </a:cubicBezTo>
                    <a:cubicBezTo>
                      <a:pt x="435" y="459"/>
                      <a:pt x="435" y="459"/>
                      <a:pt x="435" y="459"/>
                    </a:cubicBezTo>
                    <a:cubicBezTo>
                      <a:pt x="579" y="459"/>
                      <a:pt x="579" y="459"/>
                      <a:pt x="579" y="459"/>
                    </a:cubicBezTo>
                    <a:lnTo>
                      <a:pt x="579" y="555"/>
                    </a:lnTo>
                    <a:close/>
                    <a:moveTo>
                      <a:pt x="579" y="386"/>
                    </a:moveTo>
                    <a:cubicBezTo>
                      <a:pt x="435" y="386"/>
                      <a:pt x="435" y="386"/>
                      <a:pt x="435" y="386"/>
                    </a:cubicBezTo>
                    <a:cubicBezTo>
                      <a:pt x="435" y="290"/>
                      <a:pt x="435" y="290"/>
                      <a:pt x="435" y="290"/>
                    </a:cubicBezTo>
                    <a:cubicBezTo>
                      <a:pt x="579" y="290"/>
                      <a:pt x="579" y="290"/>
                      <a:pt x="579" y="290"/>
                    </a:cubicBezTo>
                    <a:lnTo>
                      <a:pt x="579" y="386"/>
                    </a:lnTo>
                    <a:close/>
                    <a:moveTo>
                      <a:pt x="579" y="217"/>
                    </a:moveTo>
                    <a:cubicBezTo>
                      <a:pt x="435" y="217"/>
                      <a:pt x="435" y="217"/>
                      <a:pt x="435" y="217"/>
                    </a:cubicBezTo>
                    <a:cubicBezTo>
                      <a:pt x="435" y="121"/>
                      <a:pt x="435" y="121"/>
                      <a:pt x="435" y="121"/>
                    </a:cubicBezTo>
                    <a:cubicBezTo>
                      <a:pt x="579" y="121"/>
                      <a:pt x="579" y="121"/>
                      <a:pt x="579" y="121"/>
                    </a:cubicBezTo>
                    <a:lnTo>
                      <a:pt x="579" y="217"/>
                    </a:lnTo>
                    <a:close/>
                  </a:path>
                </a:pathLst>
              </a:custGeom>
              <a:grpFill/>
              <a:ln w="9525">
                <a:solidFill>
                  <a:schemeClr val="accent1"/>
                </a:solidFill>
                <a:round/>
                <a:headEnd/>
                <a:tailEnd/>
              </a:ln>
              <a:extLst/>
            </p:spPr>
            <p:txBody>
              <a:bodyPr vert="horz" wrap="square" lIns="91416" tIns="45708" rIns="91416" bIns="45708" numCol="1" anchor="t" anchorCtr="0" compatLnSpc="1">
                <a:prstTxWarp prst="textNoShape">
                  <a:avLst/>
                </a:prstTxWarp>
              </a:bodyPr>
              <a:lstStyle/>
              <a:p>
                <a:endParaRPr lang="en-US" dirty="0">
                  <a:latin typeface="+mj-lt"/>
                </a:endParaRPr>
              </a:p>
            </p:txBody>
          </p:sp>
          <p:sp>
            <p:nvSpPr>
              <p:cNvPr id="48" name="Freeform 12"/>
              <p:cNvSpPr>
                <a:spLocks noEditPoints="1"/>
              </p:cNvSpPr>
              <p:nvPr/>
            </p:nvSpPr>
            <p:spPr bwMode="auto">
              <a:xfrm>
                <a:off x="2348538" y="3264632"/>
                <a:ext cx="141825" cy="625193"/>
              </a:xfrm>
              <a:custGeom>
                <a:avLst/>
                <a:gdLst>
                  <a:gd name="T0" fmla="*/ 127 w 175"/>
                  <a:gd name="T1" fmla="*/ 0 h 773"/>
                  <a:gd name="T2" fmla="*/ 0 w 175"/>
                  <a:gd name="T3" fmla="*/ 0 h 773"/>
                  <a:gd name="T4" fmla="*/ 0 w 175"/>
                  <a:gd name="T5" fmla="*/ 773 h 773"/>
                  <a:gd name="T6" fmla="*/ 175 w 175"/>
                  <a:gd name="T7" fmla="*/ 773 h 773"/>
                  <a:gd name="T8" fmla="*/ 175 w 175"/>
                  <a:gd name="T9" fmla="*/ 48 h 773"/>
                  <a:gd name="T10" fmla="*/ 127 w 175"/>
                  <a:gd name="T11" fmla="*/ 0 h 773"/>
                  <a:gd name="T12" fmla="*/ 124 w 175"/>
                  <a:gd name="T13" fmla="*/ 615 h 773"/>
                  <a:gd name="T14" fmla="*/ 28 w 175"/>
                  <a:gd name="T15" fmla="*/ 615 h 773"/>
                  <a:gd name="T16" fmla="*/ 28 w 175"/>
                  <a:gd name="T17" fmla="*/ 570 h 773"/>
                  <a:gd name="T18" fmla="*/ 124 w 175"/>
                  <a:gd name="T19" fmla="*/ 570 h 773"/>
                  <a:gd name="T20" fmla="*/ 124 w 175"/>
                  <a:gd name="T21" fmla="*/ 615 h 773"/>
                  <a:gd name="T22" fmla="*/ 124 w 175"/>
                  <a:gd name="T23" fmla="*/ 449 h 773"/>
                  <a:gd name="T24" fmla="*/ 28 w 175"/>
                  <a:gd name="T25" fmla="*/ 449 h 773"/>
                  <a:gd name="T26" fmla="*/ 28 w 175"/>
                  <a:gd name="T27" fmla="*/ 398 h 773"/>
                  <a:gd name="T28" fmla="*/ 124 w 175"/>
                  <a:gd name="T29" fmla="*/ 398 h 773"/>
                  <a:gd name="T30" fmla="*/ 124 w 175"/>
                  <a:gd name="T31" fmla="*/ 449 h 773"/>
                  <a:gd name="T32" fmla="*/ 124 w 175"/>
                  <a:gd name="T33" fmla="*/ 279 h 773"/>
                  <a:gd name="T34" fmla="*/ 28 w 175"/>
                  <a:gd name="T35" fmla="*/ 279 h 773"/>
                  <a:gd name="T36" fmla="*/ 28 w 175"/>
                  <a:gd name="T37" fmla="*/ 231 h 773"/>
                  <a:gd name="T38" fmla="*/ 124 w 175"/>
                  <a:gd name="T39" fmla="*/ 231 h 773"/>
                  <a:gd name="T40" fmla="*/ 124 w 175"/>
                  <a:gd name="T41" fmla="*/ 279 h 773"/>
                  <a:gd name="T42" fmla="*/ 124 w 175"/>
                  <a:gd name="T43" fmla="*/ 110 h 773"/>
                  <a:gd name="T44" fmla="*/ 28 w 175"/>
                  <a:gd name="T45" fmla="*/ 110 h 773"/>
                  <a:gd name="T46" fmla="*/ 28 w 175"/>
                  <a:gd name="T47" fmla="*/ 62 h 773"/>
                  <a:gd name="T48" fmla="*/ 124 w 175"/>
                  <a:gd name="T49" fmla="*/ 62 h 773"/>
                  <a:gd name="T50" fmla="*/ 124 w 175"/>
                  <a:gd name="T51" fmla="*/ 11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773">
                    <a:moveTo>
                      <a:pt x="127" y="0"/>
                    </a:moveTo>
                    <a:cubicBezTo>
                      <a:pt x="0" y="0"/>
                      <a:pt x="0" y="0"/>
                      <a:pt x="0" y="0"/>
                    </a:cubicBezTo>
                    <a:cubicBezTo>
                      <a:pt x="0" y="773"/>
                      <a:pt x="0" y="773"/>
                      <a:pt x="0" y="773"/>
                    </a:cubicBezTo>
                    <a:cubicBezTo>
                      <a:pt x="175" y="773"/>
                      <a:pt x="175" y="773"/>
                      <a:pt x="175" y="773"/>
                    </a:cubicBezTo>
                    <a:cubicBezTo>
                      <a:pt x="175" y="48"/>
                      <a:pt x="175" y="48"/>
                      <a:pt x="175" y="48"/>
                    </a:cubicBezTo>
                    <a:cubicBezTo>
                      <a:pt x="175" y="23"/>
                      <a:pt x="152" y="0"/>
                      <a:pt x="127" y="0"/>
                    </a:cubicBezTo>
                    <a:close/>
                    <a:moveTo>
                      <a:pt x="124" y="615"/>
                    </a:moveTo>
                    <a:cubicBezTo>
                      <a:pt x="28" y="615"/>
                      <a:pt x="28" y="615"/>
                      <a:pt x="28" y="615"/>
                    </a:cubicBezTo>
                    <a:cubicBezTo>
                      <a:pt x="28" y="570"/>
                      <a:pt x="28" y="570"/>
                      <a:pt x="28" y="570"/>
                    </a:cubicBezTo>
                    <a:cubicBezTo>
                      <a:pt x="124" y="570"/>
                      <a:pt x="124" y="570"/>
                      <a:pt x="124" y="570"/>
                    </a:cubicBezTo>
                    <a:lnTo>
                      <a:pt x="124" y="615"/>
                    </a:lnTo>
                    <a:close/>
                    <a:moveTo>
                      <a:pt x="124" y="449"/>
                    </a:moveTo>
                    <a:cubicBezTo>
                      <a:pt x="28" y="449"/>
                      <a:pt x="28" y="449"/>
                      <a:pt x="28" y="449"/>
                    </a:cubicBezTo>
                    <a:cubicBezTo>
                      <a:pt x="28" y="398"/>
                      <a:pt x="28" y="398"/>
                      <a:pt x="28" y="398"/>
                    </a:cubicBezTo>
                    <a:cubicBezTo>
                      <a:pt x="124" y="398"/>
                      <a:pt x="124" y="398"/>
                      <a:pt x="124" y="398"/>
                    </a:cubicBezTo>
                    <a:lnTo>
                      <a:pt x="124" y="449"/>
                    </a:lnTo>
                    <a:close/>
                    <a:moveTo>
                      <a:pt x="124" y="279"/>
                    </a:moveTo>
                    <a:cubicBezTo>
                      <a:pt x="28" y="279"/>
                      <a:pt x="28" y="279"/>
                      <a:pt x="28" y="279"/>
                    </a:cubicBezTo>
                    <a:cubicBezTo>
                      <a:pt x="28" y="231"/>
                      <a:pt x="28" y="231"/>
                      <a:pt x="28" y="231"/>
                    </a:cubicBezTo>
                    <a:cubicBezTo>
                      <a:pt x="124" y="231"/>
                      <a:pt x="124" y="231"/>
                      <a:pt x="124" y="231"/>
                    </a:cubicBezTo>
                    <a:cubicBezTo>
                      <a:pt x="124" y="279"/>
                      <a:pt x="124" y="279"/>
                      <a:pt x="124" y="279"/>
                    </a:cubicBezTo>
                    <a:close/>
                    <a:moveTo>
                      <a:pt x="124" y="110"/>
                    </a:moveTo>
                    <a:cubicBezTo>
                      <a:pt x="28" y="110"/>
                      <a:pt x="28" y="110"/>
                      <a:pt x="28" y="110"/>
                    </a:cubicBezTo>
                    <a:cubicBezTo>
                      <a:pt x="28" y="62"/>
                      <a:pt x="28" y="62"/>
                      <a:pt x="28" y="62"/>
                    </a:cubicBezTo>
                    <a:cubicBezTo>
                      <a:pt x="124" y="62"/>
                      <a:pt x="124" y="62"/>
                      <a:pt x="124" y="62"/>
                    </a:cubicBezTo>
                    <a:cubicBezTo>
                      <a:pt x="124" y="110"/>
                      <a:pt x="124" y="110"/>
                      <a:pt x="124" y="110"/>
                    </a:cubicBezTo>
                    <a:close/>
                  </a:path>
                </a:pathLst>
              </a:custGeom>
              <a:grpFill/>
              <a:ln w="9525">
                <a:solidFill>
                  <a:schemeClr val="accent1"/>
                </a:solidFill>
                <a:round/>
                <a:headEnd/>
                <a:tailEnd/>
              </a:ln>
              <a:extLst/>
            </p:spPr>
            <p:txBody>
              <a:bodyPr vert="horz" wrap="square" lIns="91416" tIns="45708" rIns="91416" bIns="45708" numCol="1" anchor="t" anchorCtr="0" compatLnSpc="1">
                <a:prstTxWarp prst="textNoShape">
                  <a:avLst/>
                </a:prstTxWarp>
              </a:bodyPr>
              <a:lstStyle/>
              <a:p>
                <a:endParaRPr lang="en-US" dirty="0">
                  <a:latin typeface="+mj-lt"/>
                </a:endParaRPr>
              </a:p>
            </p:txBody>
          </p:sp>
          <p:sp>
            <p:nvSpPr>
              <p:cNvPr id="49" name="Freeform 13"/>
              <p:cNvSpPr>
                <a:spLocks noEditPoints="1"/>
              </p:cNvSpPr>
              <p:nvPr/>
            </p:nvSpPr>
            <p:spPr bwMode="auto">
              <a:xfrm>
                <a:off x="1611171" y="3127946"/>
                <a:ext cx="155528" cy="761879"/>
              </a:xfrm>
              <a:custGeom>
                <a:avLst/>
                <a:gdLst>
                  <a:gd name="T0" fmla="*/ 0 w 192"/>
                  <a:gd name="T1" fmla="*/ 51 h 942"/>
                  <a:gd name="T2" fmla="*/ 0 w 192"/>
                  <a:gd name="T3" fmla="*/ 942 h 942"/>
                  <a:gd name="T4" fmla="*/ 192 w 192"/>
                  <a:gd name="T5" fmla="*/ 942 h 942"/>
                  <a:gd name="T6" fmla="*/ 192 w 192"/>
                  <a:gd name="T7" fmla="*/ 0 h 942"/>
                  <a:gd name="T8" fmla="*/ 48 w 192"/>
                  <a:gd name="T9" fmla="*/ 0 h 942"/>
                  <a:gd name="T10" fmla="*/ 0 w 192"/>
                  <a:gd name="T11" fmla="*/ 51 h 942"/>
                  <a:gd name="T12" fmla="*/ 56 w 192"/>
                  <a:gd name="T13" fmla="*/ 62 h 942"/>
                  <a:gd name="T14" fmla="*/ 152 w 192"/>
                  <a:gd name="T15" fmla="*/ 62 h 942"/>
                  <a:gd name="T16" fmla="*/ 152 w 192"/>
                  <a:gd name="T17" fmla="*/ 110 h 942"/>
                  <a:gd name="T18" fmla="*/ 56 w 192"/>
                  <a:gd name="T19" fmla="*/ 110 h 942"/>
                  <a:gd name="T20" fmla="*/ 56 w 192"/>
                  <a:gd name="T21" fmla="*/ 62 h 942"/>
                  <a:gd name="T22" fmla="*/ 56 w 192"/>
                  <a:gd name="T23" fmla="*/ 231 h 942"/>
                  <a:gd name="T24" fmla="*/ 152 w 192"/>
                  <a:gd name="T25" fmla="*/ 231 h 942"/>
                  <a:gd name="T26" fmla="*/ 152 w 192"/>
                  <a:gd name="T27" fmla="*/ 279 h 942"/>
                  <a:gd name="T28" fmla="*/ 56 w 192"/>
                  <a:gd name="T29" fmla="*/ 279 h 942"/>
                  <a:gd name="T30" fmla="*/ 56 w 192"/>
                  <a:gd name="T31" fmla="*/ 231 h 942"/>
                  <a:gd name="T32" fmla="*/ 56 w 192"/>
                  <a:gd name="T33" fmla="*/ 400 h 942"/>
                  <a:gd name="T34" fmla="*/ 152 w 192"/>
                  <a:gd name="T35" fmla="*/ 400 h 942"/>
                  <a:gd name="T36" fmla="*/ 152 w 192"/>
                  <a:gd name="T37" fmla="*/ 448 h 942"/>
                  <a:gd name="T38" fmla="*/ 56 w 192"/>
                  <a:gd name="T39" fmla="*/ 448 h 942"/>
                  <a:gd name="T40" fmla="*/ 56 w 192"/>
                  <a:gd name="T41" fmla="*/ 400 h 942"/>
                  <a:gd name="T42" fmla="*/ 56 w 192"/>
                  <a:gd name="T43" fmla="*/ 567 h 942"/>
                  <a:gd name="T44" fmla="*/ 152 w 192"/>
                  <a:gd name="T45" fmla="*/ 567 h 942"/>
                  <a:gd name="T46" fmla="*/ 152 w 192"/>
                  <a:gd name="T47" fmla="*/ 618 h 942"/>
                  <a:gd name="T48" fmla="*/ 56 w 192"/>
                  <a:gd name="T49" fmla="*/ 618 h 942"/>
                  <a:gd name="T50" fmla="*/ 56 w 192"/>
                  <a:gd name="T51" fmla="*/ 567 h 942"/>
                  <a:gd name="T52" fmla="*/ 56 w 192"/>
                  <a:gd name="T53" fmla="*/ 739 h 942"/>
                  <a:gd name="T54" fmla="*/ 152 w 192"/>
                  <a:gd name="T55" fmla="*/ 739 h 942"/>
                  <a:gd name="T56" fmla="*/ 152 w 192"/>
                  <a:gd name="T57" fmla="*/ 784 h 942"/>
                  <a:gd name="T58" fmla="*/ 56 w 192"/>
                  <a:gd name="T59" fmla="*/ 784 h 942"/>
                  <a:gd name="T60" fmla="*/ 56 w 192"/>
                  <a:gd name="T61" fmla="*/ 739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2" h="942">
                    <a:moveTo>
                      <a:pt x="0" y="51"/>
                    </a:moveTo>
                    <a:cubicBezTo>
                      <a:pt x="0" y="942"/>
                      <a:pt x="0" y="942"/>
                      <a:pt x="0" y="942"/>
                    </a:cubicBezTo>
                    <a:cubicBezTo>
                      <a:pt x="192" y="942"/>
                      <a:pt x="192" y="942"/>
                      <a:pt x="192" y="942"/>
                    </a:cubicBezTo>
                    <a:cubicBezTo>
                      <a:pt x="192" y="0"/>
                      <a:pt x="192" y="0"/>
                      <a:pt x="192" y="0"/>
                    </a:cubicBezTo>
                    <a:cubicBezTo>
                      <a:pt x="48" y="0"/>
                      <a:pt x="48" y="0"/>
                      <a:pt x="48" y="0"/>
                    </a:cubicBezTo>
                    <a:cubicBezTo>
                      <a:pt x="22" y="0"/>
                      <a:pt x="0" y="22"/>
                      <a:pt x="0" y="51"/>
                    </a:cubicBezTo>
                    <a:close/>
                    <a:moveTo>
                      <a:pt x="56" y="62"/>
                    </a:moveTo>
                    <a:cubicBezTo>
                      <a:pt x="152" y="62"/>
                      <a:pt x="152" y="62"/>
                      <a:pt x="152" y="62"/>
                    </a:cubicBezTo>
                    <a:cubicBezTo>
                      <a:pt x="152" y="110"/>
                      <a:pt x="152" y="110"/>
                      <a:pt x="152" y="110"/>
                    </a:cubicBezTo>
                    <a:cubicBezTo>
                      <a:pt x="56" y="110"/>
                      <a:pt x="56" y="110"/>
                      <a:pt x="56" y="110"/>
                    </a:cubicBezTo>
                    <a:lnTo>
                      <a:pt x="56" y="62"/>
                    </a:lnTo>
                    <a:close/>
                    <a:moveTo>
                      <a:pt x="56" y="231"/>
                    </a:moveTo>
                    <a:cubicBezTo>
                      <a:pt x="152" y="231"/>
                      <a:pt x="152" y="231"/>
                      <a:pt x="152" y="231"/>
                    </a:cubicBezTo>
                    <a:cubicBezTo>
                      <a:pt x="152" y="279"/>
                      <a:pt x="152" y="279"/>
                      <a:pt x="152" y="279"/>
                    </a:cubicBezTo>
                    <a:cubicBezTo>
                      <a:pt x="56" y="279"/>
                      <a:pt x="56" y="279"/>
                      <a:pt x="56" y="279"/>
                    </a:cubicBezTo>
                    <a:lnTo>
                      <a:pt x="56" y="231"/>
                    </a:lnTo>
                    <a:close/>
                    <a:moveTo>
                      <a:pt x="56" y="400"/>
                    </a:moveTo>
                    <a:cubicBezTo>
                      <a:pt x="152" y="400"/>
                      <a:pt x="152" y="400"/>
                      <a:pt x="152" y="400"/>
                    </a:cubicBezTo>
                    <a:cubicBezTo>
                      <a:pt x="152" y="448"/>
                      <a:pt x="152" y="448"/>
                      <a:pt x="152" y="448"/>
                    </a:cubicBezTo>
                    <a:cubicBezTo>
                      <a:pt x="56" y="448"/>
                      <a:pt x="56" y="448"/>
                      <a:pt x="56" y="448"/>
                    </a:cubicBezTo>
                    <a:lnTo>
                      <a:pt x="56" y="400"/>
                    </a:lnTo>
                    <a:close/>
                    <a:moveTo>
                      <a:pt x="56" y="567"/>
                    </a:moveTo>
                    <a:cubicBezTo>
                      <a:pt x="152" y="567"/>
                      <a:pt x="152" y="567"/>
                      <a:pt x="152" y="567"/>
                    </a:cubicBezTo>
                    <a:cubicBezTo>
                      <a:pt x="152" y="618"/>
                      <a:pt x="152" y="618"/>
                      <a:pt x="152" y="618"/>
                    </a:cubicBezTo>
                    <a:cubicBezTo>
                      <a:pt x="56" y="618"/>
                      <a:pt x="56" y="618"/>
                      <a:pt x="56" y="618"/>
                    </a:cubicBezTo>
                    <a:lnTo>
                      <a:pt x="56" y="567"/>
                    </a:lnTo>
                    <a:close/>
                    <a:moveTo>
                      <a:pt x="56" y="739"/>
                    </a:moveTo>
                    <a:cubicBezTo>
                      <a:pt x="152" y="739"/>
                      <a:pt x="152" y="739"/>
                      <a:pt x="152" y="739"/>
                    </a:cubicBezTo>
                    <a:cubicBezTo>
                      <a:pt x="152" y="784"/>
                      <a:pt x="152" y="784"/>
                      <a:pt x="152" y="784"/>
                    </a:cubicBezTo>
                    <a:cubicBezTo>
                      <a:pt x="56" y="784"/>
                      <a:pt x="56" y="784"/>
                      <a:pt x="56" y="784"/>
                    </a:cubicBezTo>
                    <a:cubicBezTo>
                      <a:pt x="56" y="739"/>
                      <a:pt x="56" y="739"/>
                      <a:pt x="56" y="739"/>
                    </a:cubicBezTo>
                    <a:close/>
                  </a:path>
                </a:pathLst>
              </a:custGeom>
              <a:grpFill/>
              <a:ln w="9525">
                <a:solidFill>
                  <a:schemeClr val="accent1"/>
                </a:solidFill>
                <a:round/>
                <a:headEnd/>
                <a:tailEnd/>
              </a:ln>
              <a:extLst/>
            </p:spPr>
            <p:txBody>
              <a:bodyPr vert="horz" wrap="square" lIns="91416" tIns="45708" rIns="91416" bIns="45708" numCol="1" anchor="t" anchorCtr="0" compatLnSpc="1">
                <a:prstTxWarp prst="textNoShape">
                  <a:avLst/>
                </a:prstTxWarp>
              </a:bodyPr>
              <a:lstStyle/>
              <a:p>
                <a:endParaRPr lang="en-US" dirty="0">
                  <a:latin typeface="+mj-lt"/>
                </a:endParaRPr>
              </a:p>
            </p:txBody>
          </p:sp>
        </p:grpSp>
        <p:sp>
          <p:nvSpPr>
            <p:cNvPr id="39" name="Oval 38"/>
            <p:cNvSpPr/>
            <p:nvPr/>
          </p:nvSpPr>
          <p:spPr>
            <a:xfrm>
              <a:off x="6058301" y="3725365"/>
              <a:ext cx="551479" cy="537921"/>
            </a:xfrm>
            <a:prstGeom prst="ellipse">
              <a:avLst/>
            </a:prstGeom>
            <a:solidFill>
              <a:srgbClr val="004B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1" name="Rectangle 3"/>
            <p:cNvSpPr/>
            <p:nvPr/>
          </p:nvSpPr>
          <p:spPr>
            <a:xfrm>
              <a:off x="6263338" y="3863024"/>
              <a:ext cx="146780" cy="283824"/>
            </a:xfrm>
            <a:custGeom>
              <a:avLst/>
              <a:gdLst/>
              <a:ahLst/>
              <a:cxnLst/>
              <a:rect l="l" t="t" r="r" b="b"/>
              <a:pathLst>
                <a:path w="1285226" h="2547847">
                  <a:moveTo>
                    <a:pt x="154443" y="2277903"/>
                  </a:moveTo>
                  <a:lnTo>
                    <a:pt x="154443" y="2352400"/>
                  </a:lnTo>
                  <a:lnTo>
                    <a:pt x="1146458" y="2352400"/>
                  </a:lnTo>
                  <a:lnTo>
                    <a:pt x="1146458" y="2277903"/>
                  </a:lnTo>
                  <a:close/>
                  <a:moveTo>
                    <a:pt x="154443" y="2125503"/>
                  </a:moveTo>
                  <a:lnTo>
                    <a:pt x="154443" y="2200000"/>
                  </a:lnTo>
                  <a:lnTo>
                    <a:pt x="1146458" y="2200000"/>
                  </a:lnTo>
                  <a:lnTo>
                    <a:pt x="1146458" y="2125503"/>
                  </a:lnTo>
                  <a:close/>
                  <a:moveTo>
                    <a:pt x="154443" y="1973103"/>
                  </a:moveTo>
                  <a:lnTo>
                    <a:pt x="154443" y="2047600"/>
                  </a:lnTo>
                  <a:lnTo>
                    <a:pt x="1146458" y="2047600"/>
                  </a:lnTo>
                  <a:lnTo>
                    <a:pt x="1146458" y="1973103"/>
                  </a:lnTo>
                  <a:close/>
                  <a:moveTo>
                    <a:pt x="659331" y="855511"/>
                  </a:moveTo>
                  <a:cubicBezTo>
                    <a:pt x="585035" y="855511"/>
                    <a:pt x="524806" y="915740"/>
                    <a:pt x="524806" y="990036"/>
                  </a:cubicBezTo>
                  <a:cubicBezTo>
                    <a:pt x="524806" y="1064332"/>
                    <a:pt x="585035" y="1124561"/>
                    <a:pt x="659331" y="1124561"/>
                  </a:cubicBezTo>
                  <a:cubicBezTo>
                    <a:pt x="733627" y="1124561"/>
                    <a:pt x="793856" y="1064332"/>
                    <a:pt x="793856" y="990036"/>
                  </a:cubicBezTo>
                  <a:cubicBezTo>
                    <a:pt x="793856" y="915740"/>
                    <a:pt x="733627" y="855511"/>
                    <a:pt x="659331" y="855511"/>
                  </a:cubicBezTo>
                  <a:close/>
                  <a:moveTo>
                    <a:pt x="142935" y="494574"/>
                  </a:moveTo>
                  <a:lnTo>
                    <a:pt x="142935" y="611052"/>
                  </a:lnTo>
                  <a:lnTo>
                    <a:pt x="720183" y="611052"/>
                  </a:lnTo>
                  <a:lnTo>
                    <a:pt x="720183" y="494574"/>
                  </a:lnTo>
                  <a:close/>
                  <a:moveTo>
                    <a:pt x="142935" y="222857"/>
                  </a:moveTo>
                  <a:lnTo>
                    <a:pt x="142935" y="339335"/>
                  </a:lnTo>
                  <a:lnTo>
                    <a:pt x="720183" y="339335"/>
                  </a:lnTo>
                  <a:lnTo>
                    <a:pt x="720183" y="222857"/>
                  </a:lnTo>
                  <a:close/>
                  <a:moveTo>
                    <a:pt x="0" y="0"/>
                  </a:moveTo>
                  <a:lnTo>
                    <a:pt x="1285226" y="0"/>
                  </a:lnTo>
                  <a:lnTo>
                    <a:pt x="1285226" y="2547847"/>
                  </a:lnTo>
                  <a:lnTo>
                    <a:pt x="0" y="25478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8" name="Oval 37"/>
            <p:cNvSpPr/>
            <p:nvPr/>
          </p:nvSpPr>
          <p:spPr>
            <a:xfrm>
              <a:off x="6551629" y="4125662"/>
              <a:ext cx="551479" cy="5379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nvGrpSpPr>
            <p:cNvPr id="21" name="Group 39"/>
            <p:cNvGrpSpPr/>
            <p:nvPr/>
          </p:nvGrpSpPr>
          <p:grpSpPr>
            <a:xfrm>
              <a:off x="6709418" y="4277670"/>
              <a:ext cx="243641" cy="249566"/>
              <a:chOff x="12499975" y="4474291"/>
              <a:chExt cx="601662" cy="631826"/>
            </a:xfrm>
            <a:solidFill>
              <a:schemeClr val="bg1"/>
            </a:solidFill>
          </p:grpSpPr>
          <p:sp>
            <p:nvSpPr>
              <p:cNvPr id="43" name="Freeform 11"/>
              <p:cNvSpPr>
                <a:spLocks noEditPoints="1"/>
              </p:cNvSpPr>
              <p:nvPr/>
            </p:nvSpPr>
            <p:spPr bwMode="auto">
              <a:xfrm>
                <a:off x="12499975" y="4474291"/>
                <a:ext cx="601662" cy="147638"/>
              </a:xfrm>
              <a:custGeom>
                <a:avLst/>
                <a:gdLst>
                  <a:gd name="T0" fmla="*/ 0 w 215"/>
                  <a:gd name="T1" fmla="*/ 53 h 53"/>
                  <a:gd name="T2" fmla="*/ 215 w 215"/>
                  <a:gd name="T3" fmla="*/ 53 h 53"/>
                  <a:gd name="T4" fmla="*/ 215 w 215"/>
                  <a:gd name="T5" fmla="*/ 0 h 53"/>
                  <a:gd name="T6" fmla="*/ 0 w 215"/>
                  <a:gd name="T7" fmla="*/ 0 h 53"/>
                  <a:gd name="T8" fmla="*/ 0 w 215"/>
                  <a:gd name="T9" fmla="*/ 53 h 53"/>
                  <a:gd name="T10" fmla="*/ 201 w 215"/>
                  <a:gd name="T11" fmla="*/ 6 h 53"/>
                  <a:gd name="T12" fmla="*/ 207 w 215"/>
                  <a:gd name="T13" fmla="*/ 13 h 53"/>
                  <a:gd name="T14" fmla="*/ 201 w 215"/>
                  <a:gd name="T15" fmla="*/ 20 h 53"/>
                  <a:gd name="T16" fmla="*/ 194 w 215"/>
                  <a:gd name="T17" fmla="*/ 13 h 53"/>
                  <a:gd name="T18" fmla="*/ 201 w 215"/>
                  <a:gd name="T19" fmla="*/ 6 h 53"/>
                  <a:gd name="T20" fmla="*/ 201 w 215"/>
                  <a:gd name="T21" fmla="*/ 35 h 53"/>
                  <a:gd name="T22" fmla="*/ 207 w 215"/>
                  <a:gd name="T23" fmla="*/ 41 h 53"/>
                  <a:gd name="T24" fmla="*/ 201 w 215"/>
                  <a:gd name="T25" fmla="*/ 48 h 53"/>
                  <a:gd name="T26" fmla="*/ 194 w 215"/>
                  <a:gd name="T27" fmla="*/ 41 h 53"/>
                  <a:gd name="T28" fmla="*/ 201 w 215"/>
                  <a:gd name="T29" fmla="*/ 35 h 53"/>
                  <a:gd name="T30" fmla="*/ 83 w 215"/>
                  <a:gd name="T31" fmla="*/ 31 h 53"/>
                  <a:gd name="T32" fmla="*/ 83 w 215"/>
                  <a:gd name="T33" fmla="*/ 38 h 53"/>
                  <a:gd name="T34" fmla="*/ 9 w 215"/>
                  <a:gd name="T35" fmla="*/ 38 h 53"/>
                  <a:gd name="T36" fmla="*/ 9 w 215"/>
                  <a:gd name="T37" fmla="*/ 31 h 53"/>
                  <a:gd name="T38" fmla="*/ 83 w 215"/>
                  <a:gd name="T39" fmla="*/ 3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5" h="53">
                    <a:moveTo>
                      <a:pt x="0" y="53"/>
                    </a:moveTo>
                    <a:cubicBezTo>
                      <a:pt x="215" y="53"/>
                      <a:pt x="215" y="53"/>
                      <a:pt x="215" y="53"/>
                    </a:cubicBezTo>
                    <a:cubicBezTo>
                      <a:pt x="215" y="0"/>
                      <a:pt x="215" y="0"/>
                      <a:pt x="215" y="0"/>
                    </a:cubicBezTo>
                    <a:cubicBezTo>
                      <a:pt x="0" y="0"/>
                      <a:pt x="0" y="0"/>
                      <a:pt x="0" y="0"/>
                    </a:cubicBezTo>
                    <a:lnTo>
                      <a:pt x="0" y="53"/>
                    </a:lnTo>
                    <a:close/>
                    <a:moveTo>
                      <a:pt x="201" y="6"/>
                    </a:moveTo>
                    <a:cubicBezTo>
                      <a:pt x="204" y="6"/>
                      <a:pt x="207" y="9"/>
                      <a:pt x="207" y="13"/>
                    </a:cubicBezTo>
                    <a:cubicBezTo>
                      <a:pt x="207" y="17"/>
                      <a:pt x="204" y="20"/>
                      <a:pt x="201" y="20"/>
                    </a:cubicBezTo>
                    <a:cubicBezTo>
                      <a:pt x="197" y="20"/>
                      <a:pt x="194" y="17"/>
                      <a:pt x="194" y="13"/>
                    </a:cubicBezTo>
                    <a:cubicBezTo>
                      <a:pt x="194" y="9"/>
                      <a:pt x="197" y="6"/>
                      <a:pt x="201" y="6"/>
                    </a:cubicBezTo>
                    <a:close/>
                    <a:moveTo>
                      <a:pt x="201" y="35"/>
                    </a:moveTo>
                    <a:cubicBezTo>
                      <a:pt x="204" y="35"/>
                      <a:pt x="207" y="38"/>
                      <a:pt x="207" y="41"/>
                    </a:cubicBezTo>
                    <a:cubicBezTo>
                      <a:pt x="207" y="45"/>
                      <a:pt x="204" y="48"/>
                      <a:pt x="201" y="48"/>
                    </a:cubicBezTo>
                    <a:cubicBezTo>
                      <a:pt x="197" y="48"/>
                      <a:pt x="194" y="45"/>
                      <a:pt x="194" y="41"/>
                    </a:cubicBezTo>
                    <a:cubicBezTo>
                      <a:pt x="194" y="38"/>
                      <a:pt x="197" y="35"/>
                      <a:pt x="201" y="35"/>
                    </a:cubicBezTo>
                    <a:close/>
                    <a:moveTo>
                      <a:pt x="83" y="31"/>
                    </a:moveTo>
                    <a:cubicBezTo>
                      <a:pt x="83" y="38"/>
                      <a:pt x="83" y="38"/>
                      <a:pt x="83" y="38"/>
                    </a:cubicBezTo>
                    <a:cubicBezTo>
                      <a:pt x="9" y="38"/>
                      <a:pt x="9" y="38"/>
                      <a:pt x="9" y="38"/>
                    </a:cubicBezTo>
                    <a:cubicBezTo>
                      <a:pt x="9" y="31"/>
                      <a:pt x="9" y="31"/>
                      <a:pt x="9" y="31"/>
                    </a:cubicBezTo>
                    <a:lnTo>
                      <a:pt x="83" y="3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a:latin typeface="+mj-lt"/>
                </a:endParaRPr>
              </a:p>
            </p:txBody>
          </p:sp>
          <p:sp>
            <p:nvSpPr>
              <p:cNvPr id="44" name="Freeform 12"/>
              <p:cNvSpPr>
                <a:spLocks noEditPoints="1"/>
              </p:cNvSpPr>
              <p:nvPr/>
            </p:nvSpPr>
            <p:spPr bwMode="auto">
              <a:xfrm>
                <a:off x="12499975" y="4947367"/>
                <a:ext cx="601662" cy="158750"/>
              </a:xfrm>
              <a:custGeom>
                <a:avLst/>
                <a:gdLst>
                  <a:gd name="T0" fmla="*/ 0 w 215"/>
                  <a:gd name="T1" fmla="*/ 57 h 57"/>
                  <a:gd name="T2" fmla="*/ 215 w 215"/>
                  <a:gd name="T3" fmla="*/ 57 h 57"/>
                  <a:gd name="T4" fmla="*/ 215 w 215"/>
                  <a:gd name="T5" fmla="*/ 0 h 57"/>
                  <a:gd name="T6" fmla="*/ 0 w 215"/>
                  <a:gd name="T7" fmla="*/ 0 h 57"/>
                  <a:gd name="T8" fmla="*/ 0 w 215"/>
                  <a:gd name="T9" fmla="*/ 57 h 57"/>
                  <a:gd name="T10" fmla="*/ 201 w 215"/>
                  <a:gd name="T11" fmla="*/ 7 h 57"/>
                  <a:gd name="T12" fmla="*/ 207 w 215"/>
                  <a:gd name="T13" fmla="*/ 14 h 57"/>
                  <a:gd name="T14" fmla="*/ 201 w 215"/>
                  <a:gd name="T15" fmla="*/ 21 h 57"/>
                  <a:gd name="T16" fmla="*/ 194 w 215"/>
                  <a:gd name="T17" fmla="*/ 14 h 57"/>
                  <a:gd name="T18" fmla="*/ 201 w 215"/>
                  <a:gd name="T19" fmla="*/ 7 h 57"/>
                  <a:gd name="T20" fmla="*/ 201 w 215"/>
                  <a:gd name="T21" fmla="*/ 36 h 57"/>
                  <a:gd name="T22" fmla="*/ 207 w 215"/>
                  <a:gd name="T23" fmla="*/ 42 h 57"/>
                  <a:gd name="T24" fmla="*/ 201 w 215"/>
                  <a:gd name="T25" fmla="*/ 49 h 57"/>
                  <a:gd name="T26" fmla="*/ 194 w 215"/>
                  <a:gd name="T27" fmla="*/ 42 h 57"/>
                  <a:gd name="T28" fmla="*/ 201 w 215"/>
                  <a:gd name="T29" fmla="*/ 36 h 57"/>
                  <a:gd name="T30" fmla="*/ 83 w 215"/>
                  <a:gd name="T31" fmla="*/ 35 h 57"/>
                  <a:gd name="T32" fmla="*/ 83 w 215"/>
                  <a:gd name="T33" fmla="*/ 42 h 57"/>
                  <a:gd name="T34" fmla="*/ 9 w 215"/>
                  <a:gd name="T35" fmla="*/ 42 h 57"/>
                  <a:gd name="T36" fmla="*/ 9 w 215"/>
                  <a:gd name="T37" fmla="*/ 35 h 57"/>
                  <a:gd name="T38" fmla="*/ 83 w 215"/>
                  <a:gd name="T39" fmla="*/ 3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5" h="57">
                    <a:moveTo>
                      <a:pt x="0" y="57"/>
                    </a:moveTo>
                    <a:cubicBezTo>
                      <a:pt x="215" y="57"/>
                      <a:pt x="215" y="57"/>
                      <a:pt x="215" y="57"/>
                    </a:cubicBezTo>
                    <a:cubicBezTo>
                      <a:pt x="215" y="0"/>
                      <a:pt x="215" y="0"/>
                      <a:pt x="215" y="0"/>
                    </a:cubicBezTo>
                    <a:cubicBezTo>
                      <a:pt x="0" y="0"/>
                      <a:pt x="0" y="0"/>
                      <a:pt x="0" y="0"/>
                    </a:cubicBezTo>
                    <a:lnTo>
                      <a:pt x="0" y="57"/>
                    </a:lnTo>
                    <a:close/>
                    <a:moveTo>
                      <a:pt x="201" y="7"/>
                    </a:moveTo>
                    <a:cubicBezTo>
                      <a:pt x="204" y="7"/>
                      <a:pt x="207" y="10"/>
                      <a:pt x="207" y="14"/>
                    </a:cubicBezTo>
                    <a:cubicBezTo>
                      <a:pt x="207" y="18"/>
                      <a:pt x="204" y="21"/>
                      <a:pt x="201" y="21"/>
                    </a:cubicBezTo>
                    <a:cubicBezTo>
                      <a:pt x="197" y="21"/>
                      <a:pt x="194" y="18"/>
                      <a:pt x="194" y="14"/>
                    </a:cubicBezTo>
                    <a:cubicBezTo>
                      <a:pt x="194" y="10"/>
                      <a:pt x="197" y="7"/>
                      <a:pt x="201" y="7"/>
                    </a:cubicBezTo>
                    <a:close/>
                    <a:moveTo>
                      <a:pt x="201" y="36"/>
                    </a:moveTo>
                    <a:cubicBezTo>
                      <a:pt x="204" y="36"/>
                      <a:pt x="207" y="39"/>
                      <a:pt x="207" y="42"/>
                    </a:cubicBezTo>
                    <a:cubicBezTo>
                      <a:pt x="207" y="46"/>
                      <a:pt x="204" y="49"/>
                      <a:pt x="201" y="49"/>
                    </a:cubicBezTo>
                    <a:cubicBezTo>
                      <a:pt x="197" y="49"/>
                      <a:pt x="194" y="46"/>
                      <a:pt x="194" y="42"/>
                    </a:cubicBezTo>
                    <a:cubicBezTo>
                      <a:pt x="194" y="39"/>
                      <a:pt x="197" y="36"/>
                      <a:pt x="201" y="36"/>
                    </a:cubicBezTo>
                    <a:close/>
                    <a:moveTo>
                      <a:pt x="83" y="35"/>
                    </a:moveTo>
                    <a:cubicBezTo>
                      <a:pt x="83" y="42"/>
                      <a:pt x="83" y="42"/>
                      <a:pt x="83" y="42"/>
                    </a:cubicBezTo>
                    <a:cubicBezTo>
                      <a:pt x="9" y="42"/>
                      <a:pt x="9" y="42"/>
                      <a:pt x="9" y="42"/>
                    </a:cubicBezTo>
                    <a:cubicBezTo>
                      <a:pt x="9" y="35"/>
                      <a:pt x="9" y="35"/>
                      <a:pt x="9" y="35"/>
                    </a:cubicBezTo>
                    <a:lnTo>
                      <a:pt x="83" y="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a:latin typeface="+mj-lt"/>
                </a:endParaRPr>
              </a:p>
            </p:txBody>
          </p:sp>
          <p:sp>
            <p:nvSpPr>
              <p:cNvPr id="45" name="Freeform 13"/>
              <p:cNvSpPr>
                <a:spLocks noEditPoints="1"/>
              </p:cNvSpPr>
              <p:nvPr/>
            </p:nvSpPr>
            <p:spPr bwMode="auto">
              <a:xfrm>
                <a:off x="12499975" y="4629867"/>
                <a:ext cx="601662" cy="149226"/>
              </a:xfrm>
              <a:custGeom>
                <a:avLst/>
                <a:gdLst>
                  <a:gd name="T0" fmla="*/ 0 w 215"/>
                  <a:gd name="T1" fmla="*/ 53 h 53"/>
                  <a:gd name="T2" fmla="*/ 215 w 215"/>
                  <a:gd name="T3" fmla="*/ 53 h 53"/>
                  <a:gd name="T4" fmla="*/ 215 w 215"/>
                  <a:gd name="T5" fmla="*/ 0 h 53"/>
                  <a:gd name="T6" fmla="*/ 0 w 215"/>
                  <a:gd name="T7" fmla="*/ 0 h 53"/>
                  <a:gd name="T8" fmla="*/ 0 w 215"/>
                  <a:gd name="T9" fmla="*/ 53 h 53"/>
                  <a:gd name="T10" fmla="*/ 201 w 215"/>
                  <a:gd name="T11" fmla="*/ 7 h 53"/>
                  <a:gd name="T12" fmla="*/ 207 w 215"/>
                  <a:gd name="T13" fmla="*/ 14 h 53"/>
                  <a:gd name="T14" fmla="*/ 201 w 215"/>
                  <a:gd name="T15" fmla="*/ 20 h 53"/>
                  <a:gd name="T16" fmla="*/ 194 w 215"/>
                  <a:gd name="T17" fmla="*/ 14 h 53"/>
                  <a:gd name="T18" fmla="*/ 201 w 215"/>
                  <a:gd name="T19" fmla="*/ 7 h 53"/>
                  <a:gd name="T20" fmla="*/ 201 w 215"/>
                  <a:gd name="T21" fmla="*/ 35 h 53"/>
                  <a:gd name="T22" fmla="*/ 207 w 215"/>
                  <a:gd name="T23" fmla="*/ 42 h 53"/>
                  <a:gd name="T24" fmla="*/ 201 w 215"/>
                  <a:gd name="T25" fmla="*/ 49 h 53"/>
                  <a:gd name="T26" fmla="*/ 194 w 215"/>
                  <a:gd name="T27" fmla="*/ 42 h 53"/>
                  <a:gd name="T28" fmla="*/ 201 w 215"/>
                  <a:gd name="T29" fmla="*/ 35 h 53"/>
                  <a:gd name="T30" fmla="*/ 83 w 215"/>
                  <a:gd name="T31" fmla="*/ 28 h 53"/>
                  <a:gd name="T32" fmla="*/ 83 w 215"/>
                  <a:gd name="T33" fmla="*/ 35 h 53"/>
                  <a:gd name="T34" fmla="*/ 9 w 215"/>
                  <a:gd name="T35" fmla="*/ 35 h 53"/>
                  <a:gd name="T36" fmla="*/ 9 w 215"/>
                  <a:gd name="T37" fmla="*/ 28 h 53"/>
                  <a:gd name="T38" fmla="*/ 83 w 215"/>
                  <a:gd name="T39" fmla="*/ 2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5" h="53">
                    <a:moveTo>
                      <a:pt x="0" y="53"/>
                    </a:moveTo>
                    <a:cubicBezTo>
                      <a:pt x="215" y="53"/>
                      <a:pt x="215" y="53"/>
                      <a:pt x="215" y="53"/>
                    </a:cubicBezTo>
                    <a:cubicBezTo>
                      <a:pt x="215" y="0"/>
                      <a:pt x="215" y="0"/>
                      <a:pt x="215" y="0"/>
                    </a:cubicBezTo>
                    <a:cubicBezTo>
                      <a:pt x="0" y="0"/>
                      <a:pt x="0" y="0"/>
                      <a:pt x="0" y="0"/>
                    </a:cubicBezTo>
                    <a:lnTo>
                      <a:pt x="0" y="53"/>
                    </a:lnTo>
                    <a:close/>
                    <a:moveTo>
                      <a:pt x="201" y="7"/>
                    </a:moveTo>
                    <a:cubicBezTo>
                      <a:pt x="204" y="7"/>
                      <a:pt x="207" y="10"/>
                      <a:pt x="207" y="14"/>
                    </a:cubicBezTo>
                    <a:cubicBezTo>
                      <a:pt x="207" y="17"/>
                      <a:pt x="204" y="20"/>
                      <a:pt x="201" y="20"/>
                    </a:cubicBezTo>
                    <a:cubicBezTo>
                      <a:pt x="197" y="20"/>
                      <a:pt x="194" y="17"/>
                      <a:pt x="194" y="14"/>
                    </a:cubicBezTo>
                    <a:cubicBezTo>
                      <a:pt x="194" y="10"/>
                      <a:pt x="197" y="7"/>
                      <a:pt x="201" y="7"/>
                    </a:cubicBezTo>
                    <a:close/>
                    <a:moveTo>
                      <a:pt x="201" y="35"/>
                    </a:moveTo>
                    <a:cubicBezTo>
                      <a:pt x="204" y="35"/>
                      <a:pt x="207" y="38"/>
                      <a:pt x="207" y="42"/>
                    </a:cubicBezTo>
                    <a:cubicBezTo>
                      <a:pt x="207" y="46"/>
                      <a:pt x="204" y="49"/>
                      <a:pt x="201" y="49"/>
                    </a:cubicBezTo>
                    <a:cubicBezTo>
                      <a:pt x="197" y="49"/>
                      <a:pt x="194" y="46"/>
                      <a:pt x="194" y="42"/>
                    </a:cubicBezTo>
                    <a:cubicBezTo>
                      <a:pt x="194" y="38"/>
                      <a:pt x="197" y="35"/>
                      <a:pt x="201" y="35"/>
                    </a:cubicBezTo>
                    <a:close/>
                    <a:moveTo>
                      <a:pt x="83" y="28"/>
                    </a:moveTo>
                    <a:cubicBezTo>
                      <a:pt x="83" y="35"/>
                      <a:pt x="83" y="35"/>
                      <a:pt x="83" y="35"/>
                    </a:cubicBezTo>
                    <a:cubicBezTo>
                      <a:pt x="9" y="35"/>
                      <a:pt x="9" y="35"/>
                      <a:pt x="9" y="35"/>
                    </a:cubicBezTo>
                    <a:cubicBezTo>
                      <a:pt x="9" y="28"/>
                      <a:pt x="9" y="28"/>
                      <a:pt x="9" y="28"/>
                    </a:cubicBezTo>
                    <a:lnTo>
                      <a:pt x="83" y="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a:latin typeface="+mj-lt"/>
                </a:endParaRPr>
              </a:p>
            </p:txBody>
          </p:sp>
          <p:sp>
            <p:nvSpPr>
              <p:cNvPr id="46" name="Freeform 14"/>
              <p:cNvSpPr>
                <a:spLocks noEditPoints="1"/>
              </p:cNvSpPr>
              <p:nvPr/>
            </p:nvSpPr>
            <p:spPr bwMode="auto">
              <a:xfrm>
                <a:off x="12499975" y="4787021"/>
                <a:ext cx="601662" cy="150814"/>
              </a:xfrm>
              <a:custGeom>
                <a:avLst/>
                <a:gdLst>
                  <a:gd name="T0" fmla="*/ 0 w 215"/>
                  <a:gd name="T1" fmla="*/ 54 h 54"/>
                  <a:gd name="T2" fmla="*/ 215 w 215"/>
                  <a:gd name="T3" fmla="*/ 54 h 54"/>
                  <a:gd name="T4" fmla="*/ 215 w 215"/>
                  <a:gd name="T5" fmla="*/ 0 h 54"/>
                  <a:gd name="T6" fmla="*/ 0 w 215"/>
                  <a:gd name="T7" fmla="*/ 0 h 54"/>
                  <a:gd name="T8" fmla="*/ 0 w 215"/>
                  <a:gd name="T9" fmla="*/ 54 h 54"/>
                  <a:gd name="T10" fmla="*/ 201 w 215"/>
                  <a:gd name="T11" fmla="*/ 8 h 54"/>
                  <a:gd name="T12" fmla="*/ 207 w 215"/>
                  <a:gd name="T13" fmla="*/ 14 h 54"/>
                  <a:gd name="T14" fmla="*/ 201 w 215"/>
                  <a:gd name="T15" fmla="*/ 21 h 54"/>
                  <a:gd name="T16" fmla="*/ 194 w 215"/>
                  <a:gd name="T17" fmla="*/ 14 h 54"/>
                  <a:gd name="T18" fmla="*/ 201 w 215"/>
                  <a:gd name="T19" fmla="*/ 8 h 54"/>
                  <a:gd name="T20" fmla="*/ 201 w 215"/>
                  <a:gd name="T21" fmla="*/ 36 h 54"/>
                  <a:gd name="T22" fmla="*/ 207 w 215"/>
                  <a:gd name="T23" fmla="*/ 43 h 54"/>
                  <a:gd name="T24" fmla="*/ 201 w 215"/>
                  <a:gd name="T25" fmla="*/ 49 h 54"/>
                  <a:gd name="T26" fmla="*/ 194 w 215"/>
                  <a:gd name="T27" fmla="*/ 43 h 54"/>
                  <a:gd name="T28" fmla="*/ 201 w 215"/>
                  <a:gd name="T29" fmla="*/ 36 h 54"/>
                  <a:gd name="T30" fmla="*/ 83 w 215"/>
                  <a:gd name="T31" fmla="*/ 28 h 54"/>
                  <a:gd name="T32" fmla="*/ 83 w 215"/>
                  <a:gd name="T33" fmla="*/ 36 h 54"/>
                  <a:gd name="T34" fmla="*/ 9 w 215"/>
                  <a:gd name="T35" fmla="*/ 36 h 54"/>
                  <a:gd name="T36" fmla="*/ 9 w 215"/>
                  <a:gd name="T37" fmla="*/ 28 h 54"/>
                  <a:gd name="T38" fmla="*/ 83 w 215"/>
                  <a:gd name="T39"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5" h="54">
                    <a:moveTo>
                      <a:pt x="0" y="54"/>
                    </a:moveTo>
                    <a:cubicBezTo>
                      <a:pt x="215" y="54"/>
                      <a:pt x="215" y="54"/>
                      <a:pt x="215" y="54"/>
                    </a:cubicBezTo>
                    <a:cubicBezTo>
                      <a:pt x="215" y="0"/>
                      <a:pt x="215" y="0"/>
                      <a:pt x="215" y="0"/>
                    </a:cubicBezTo>
                    <a:cubicBezTo>
                      <a:pt x="0" y="0"/>
                      <a:pt x="0" y="0"/>
                      <a:pt x="0" y="0"/>
                    </a:cubicBezTo>
                    <a:lnTo>
                      <a:pt x="0" y="54"/>
                    </a:lnTo>
                    <a:close/>
                    <a:moveTo>
                      <a:pt x="201" y="8"/>
                    </a:moveTo>
                    <a:cubicBezTo>
                      <a:pt x="204" y="8"/>
                      <a:pt x="207" y="11"/>
                      <a:pt x="207" y="14"/>
                    </a:cubicBezTo>
                    <a:cubicBezTo>
                      <a:pt x="207" y="18"/>
                      <a:pt x="204" y="21"/>
                      <a:pt x="201" y="21"/>
                    </a:cubicBezTo>
                    <a:cubicBezTo>
                      <a:pt x="197" y="21"/>
                      <a:pt x="194" y="18"/>
                      <a:pt x="194" y="14"/>
                    </a:cubicBezTo>
                    <a:cubicBezTo>
                      <a:pt x="194" y="11"/>
                      <a:pt x="197" y="8"/>
                      <a:pt x="201" y="8"/>
                    </a:cubicBezTo>
                    <a:close/>
                    <a:moveTo>
                      <a:pt x="201" y="36"/>
                    </a:moveTo>
                    <a:cubicBezTo>
                      <a:pt x="204" y="36"/>
                      <a:pt x="207" y="39"/>
                      <a:pt x="207" y="43"/>
                    </a:cubicBezTo>
                    <a:cubicBezTo>
                      <a:pt x="207" y="46"/>
                      <a:pt x="204" y="49"/>
                      <a:pt x="201" y="49"/>
                    </a:cubicBezTo>
                    <a:cubicBezTo>
                      <a:pt x="197" y="49"/>
                      <a:pt x="194" y="46"/>
                      <a:pt x="194" y="43"/>
                    </a:cubicBezTo>
                    <a:cubicBezTo>
                      <a:pt x="194" y="39"/>
                      <a:pt x="197" y="36"/>
                      <a:pt x="201" y="36"/>
                    </a:cubicBezTo>
                    <a:close/>
                    <a:moveTo>
                      <a:pt x="83" y="28"/>
                    </a:moveTo>
                    <a:cubicBezTo>
                      <a:pt x="83" y="36"/>
                      <a:pt x="83" y="36"/>
                      <a:pt x="83" y="36"/>
                    </a:cubicBezTo>
                    <a:cubicBezTo>
                      <a:pt x="9" y="36"/>
                      <a:pt x="9" y="36"/>
                      <a:pt x="9" y="36"/>
                    </a:cubicBezTo>
                    <a:cubicBezTo>
                      <a:pt x="9" y="28"/>
                      <a:pt x="9" y="28"/>
                      <a:pt x="9" y="28"/>
                    </a:cubicBezTo>
                    <a:lnTo>
                      <a:pt x="83" y="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a:latin typeface="+mj-lt"/>
                </a:endParaRPr>
              </a:p>
            </p:txBody>
          </p:sp>
        </p:grpSp>
        <p:sp>
          <p:nvSpPr>
            <p:cNvPr id="42" name="TextBox 41"/>
            <p:cNvSpPr txBox="1"/>
            <p:nvPr/>
          </p:nvSpPr>
          <p:spPr>
            <a:xfrm>
              <a:off x="5620446" y="3289218"/>
              <a:ext cx="2164953" cy="323165"/>
            </a:xfrm>
            <a:prstGeom prst="rect">
              <a:avLst/>
            </a:prstGeom>
            <a:noFill/>
          </p:spPr>
          <p:txBody>
            <a:bodyPr wrap="none" rtlCol="0">
              <a:spAutoFit/>
            </a:bodyPr>
            <a:lstStyle/>
            <a:p>
              <a:pPr algn="ctr"/>
              <a:r>
                <a:rPr lang="en-US" sz="1500" dirty="0">
                  <a:latin typeface="+mj-lt"/>
                </a:rPr>
                <a:t>Smart City </a:t>
              </a:r>
              <a:r>
                <a:rPr lang="en-US" sz="1500" dirty="0" smtClean="0">
                  <a:latin typeface="+mj-lt"/>
                </a:rPr>
                <a:t>Applications</a:t>
              </a:r>
              <a:endParaRPr lang="en-US" sz="1500" dirty="0">
                <a:latin typeface="+mj-lt"/>
              </a:endParaRPr>
            </a:p>
          </p:txBody>
        </p:sp>
      </p:grpSp>
      <p:sp>
        <p:nvSpPr>
          <p:cNvPr id="8" name="Down Arrow 7"/>
          <p:cNvSpPr/>
          <p:nvPr/>
        </p:nvSpPr>
        <p:spPr>
          <a:xfrm>
            <a:off x="3895676" y="2072057"/>
            <a:ext cx="441960" cy="1724234"/>
          </a:xfrm>
          <a:prstGeom prst="downArrow">
            <a:avLst/>
          </a:prstGeom>
          <a:gradFill>
            <a:gsLst>
              <a:gs pos="100000">
                <a:schemeClr val="accent1"/>
              </a:gs>
              <a:gs pos="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a:latin typeface="+mj-lt"/>
            </a:endParaRPr>
          </a:p>
        </p:txBody>
      </p:sp>
      <p:sp>
        <p:nvSpPr>
          <p:cNvPr id="9" name="TextBox 8"/>
          <p:cNvSpPr txBox="1"/>
          <p:nvPr/>
        </p:nvSpPr>
        <p:spPr>
          <a:xfrm>
            <a:off x="3481242" y="4086129"/>
            <a:ext cx="1267414" cy="346249"/>
          </a:xfrm>
          <a:prstGeom prst="rect">
            <a:avLst/>
          </a:prstGeom>
          <a:noFill/>
        </p:spPr>
        <p:txBody>
          <a:bodyPr wrap="none" lIns="68580" tIns="34290" rIns="68580" bIns="34290" rtlCol="0">
            <a:spAutoFit/>
          </a:bodyPr>
          <a:lstStyle/>
          <a:p>
            <a:pPr algn="ctr"/>
            <a:r>
              <a:rPr lang="en-US" b="1" dirty="0">
                <a:solidFill>
                  <a:schemeClr val="accent2"/>
                </a:solidFill>
                <a:latin typeface="+mj-lt"/>
              </a:rPr>
              <a:t>Outcomes</a:t>
            </a:r>
          </a:p>
        </p:txBody>
      </p:sp>
      <p:sp>
        <p:nvSpPr>
          <p:cNvPr id="50" name="TextBox 49"/>
          <p:cNvSpPr txBox="1"/>
          <p:nvPr/>
        </p:nvSpPr>
        <p:spPr>
          <a:xfrm>
            <a:off x="3698849" y="2164888"/>
            <a:ext cx="832199" cy="346249"/>
          </a:xfrm>
          <a:prstGeom prst="rect">
            <a:avLst/>
          </a:prstGeom>
          <a:noFill/>
        </p:spPr>
        <p:txBody>
          <a:bodyPr wrap="none" lIns="68580" tIns="34290" rIns="68580" bIns="34290" rtlCol="0">
            <a:spAutoFit/>
          </a:bodyPr>
          <a:lstStyle/>
          <a:p>
            <a:pPr algn="ctr"/>
            <a:r>
              <a:rPr lang="en-US" b="1" dirty="0">
                <a:solidFill>
                  <a:schemeClr val="accent2"/>
                </a:solidFill>
                <a:latin typeface="+mj-lt"/>
              </a:rPr>
              <a:t>Usage</a:t>
            </a:r>
          </a:p>
        </p:txBody>
      </p:sp>
      <p:sp>
        <p:nvSpPr>
          <p:cNvPr id="59" name="Title 58"/>
          <p:cNvSpPr>
            <a:spLocks noGrp="1"/>
          </p:cNvSpPr>
          <p:nvPr>
            <p:ph type="title"/>
          </p:nvPr>
        </p:nvSpPr>
        <p:spPr/>
        <p:txBody>
          <a:bodyPr/>
          <a:lstStyle/>
          <a:p>
            <a:r>
              <a:rPr lang="en-US" spc="-100" dirty="0" smtClean="0"/>
              <a:t>SPs Must Move to Value-Centric Business Models</a:t>
            </a:r>
            <a:endParaRPr lang="en-US" spc="-100" dirty="0"/>
          </a:p>
        </p:txBody>
      </p:sp>
      <p:sp>
        <p:nvSpPr>
          <p:cNvPr id="53" name="Freeform 98"/>
          <p:cNvSpPr>
            <a:spLocks noEditPoints="1"/>
          </p:cNvSpPr>
          <p:nvPr/>
        </p:nvSpPr>
        <p:spPr bwMode="auto">
          <a:xfrm>
            <a:off x="2033008" y="1654911"/>
            <a:ext cx="514663" cy="701784"/>
          </a:xfrm>
          <a:custGeom>
            <a:avLst/>
            <a:gdLst/>
            <a:ahLst/>
            <a:cxnLst>
              <a:cxn ang="0">
                <a:pos x="87" y="801"/>
              </a:cxn>
              <a:cxn ang="0">
                <a:pos x="166" y="859"/>
              </a:cxn>
              <a:cxn ang="0">
                <a:pos x="464" y="859"/>
              </a:cxn>
              <a:cxn ang="0">
                <a:pos x="543" y="801"/>
              </a:cxn>
              <a:cxn ang="0">
                <a:pos x="601" y="229"/>
              </a:cxn>
              <a:cxn ang="0">
                <a:pos x="29" y="229"/>
              </a:cxn>
              <a:cxn ang="0">
                <a:pos x="87" y="801"/>
              </a:cxn>
              <a:cxn ang="0">
                <a:pos x="430" y="315"/>
              </a:cxn>
              <a:cxn ang="0">
                <a:pos x="458" y="286"/>
              </a:cxn>
              <a:cxn ang="0">
                <a:pos x="487" y="315"/>
              </a:cxn>
              <a:cxn ang="0">
                <a:pos x="458" y="745"/>
              </a:cxn>
              <a:cxn ang="0">
                <a:pos x="430" y="773"/>
              </a:cxn>
              <a:cxn ang="0">
                <a:pos x="401" y="745"/>
              </a:cxn>
              <a:cxn ang="0">
                <a:pos x="430" y="315"/>
              </a:cxn>
              <a:cxn ang="0">
                <a:pos x="286" y="315"/>
              </a:cxn>
              <a:cxn ang="0">
                <a:pos x="315" y="286"/>
              </a:cxn>
              <a:cxn ang="0">
                <a:pos x="344" y="315"/>
              </a:cxn>
              <a:cxn ang="0">
                <a:pos x="344" y="745"/>
              </a:cxn>
              <a:cxn ang="0">
                <a:pos x="315" y="773"/>
              </a:cxn>
              <a:cxn ang="0">
                <a:pos x="286" y="745"/>
              </a:cxn>
              <a:cxn ang="0">
                <a:pos x="286" y="315"/>
              </a:cxn>
              <a:cxn ang="0">
                <a:pos x="172" y="286"/>
              </a:cxn>
              <a:cxn ang="0">
                <a:pos x="200" y="315"/>
              </a:cxn>
              <a:cxn ang="0">
                <a:pos x="229" y="745"/>
              </a:cxn>
              <a:cxn ang="0">
                <a:pos x="200" y="773"/>
              </a:cxn>
              <a:cxn ang="0">
                <a:pos x="172" y="745"/>
              </a:cxn>
              <a:cxn ang="0">
                <a:pos x="143" y="315"/>
              </a:cxn>
              <a:cxn ang="0">
                <a:pos x="172" y="286"/>
              </a:cxn>
              <a:cxn ang="0">
                <a:pos x="584" y="115"/>
              </a:cxn>
              <a:cxn ang="0">
                <a:pos x="458" y="115"/>
              </a:cxn>
              <a:cxn ang="0">
                <a:pos x="458" y="57"/>
              </a:cxn>
              <a:cxn ang="0">
                <a:pos x="401" y="0"/>
              </a:cxn>
              <a:cxn ang="0">
                <a:pos x="229" y="0"/>
              </a:cxn>
              <a:cxn ang="0">
                <a:pos x="172" y="57"/>
              </a:cxn>
              <a:cxn ang="0">
                <a:pos x="172" y="115"/>
              </a:cxn>
              <a:cxn ang="0">
                <a:pos x="46" y="115"/>
              </a:cxn>
              <a:cxn ang="0">
                <a:pos x="0" y="158"/>
              </a:cxn>
              <a:cxn ang="0">
                <a:pos x="46" y="201"/>
              </a:cxn>
              <a:cxn ang="0">
                <a:pos x="584" y="201"/>
              </a:cxn>
              <a:cxn ang="0">
                <a:pos x="630" y="158"/>
              </a:cxn>
              <a:cxn ang="0">
                <a:pos x="584" y="115"/>
              </a:cxn>
              <a:cxn ang="0">
                <a:pos x="401" y="115"/>
              </a:cxn>
              <a:cxn ang="0">
                <a:pos x="229" y="115"/>
              </a:cxn>
              <a:cxn ang="0">
                <a:pos x="229" y="57"/>
              </a:cxn>
              <a:cxn ang="0">
                <a:pos x="401" y="57"/>
              </a:cxn>
              <a:cxn ang="0">
                <a:pos x="401" y="115"/>
              </a:cxn>
            </a:cxnLst>
            <a:rect l="0" t="0" r="r" b="b"/>
            <a:pathLst>
              <a:path w="630" h="859">
                <a:moveTo>
                  <a:pt x="87" y="801"/>
                </a:moveTo>
                <a:cubicBezTo>
                  <a:pt x="87" y="801"/>
                  <a:pt x="100" y="859"/>
                  <a:pt x="166" y="859"/>
                </a:cubicBezTo>
                <a:cubicBezTo>
                  <a:pt x="464" y="859"/>
                  <a:pt x="464" y="859"/>
                  <a:pt x="464" y="859"/>
                </a:cubicBezTo>
                <a:cubicBezTo>
                  <a:pt x="530" y="859"/>
                  <a:pt x="543" y="801"/>
                  <a:pt x="543" y="801"/>
                </a:cubicBezTo>
                <a:cubicBezTo>
                  <a:pt x="601" y="229"/>
                  <a:pt x="601" y="229"/>
                  <a:pt x="601" y="229"/>
                </a:cubicBezTo>
                <a:cubicBezTo>
                  <a:pt x="29" y="229"/>
                  <a:pt x="29" y="229"/>
                  <a:pt x="29" y="229"/>
                </a:cubicBezTo>
                <a:lnTo>
                  <a:pt x="87" y="801"/>
                </a:lnTo>
                <a:close/>
                <a:moveTo>
                  <a:pt x="430" y="315"/>
                </a:moveTo>
                <a:cubicBezTo>
                  <a:pt x="430" y="299"/>
                  <a:pt x="442" y="286"/>
                  <a:pt x="458" y="286"/>
                </a:cubicBezTo>
                <a:cubicBezTo>
                  <a:pt x="474" y="286"/>
                  <a:pt x="487" y="299"/>
                  <a:pt x="487" y="315"/>
                </a:cubicBezTo>
                <a:cubicBezTo>
                  <a:pt x="458" y="745"/>
                  <a:pt x="458" y="745"/>
                  <a:pt x="458" y="745"/>
                </a:cubicBezTo>
                <a:cubicBezTo>
                  <a:pt x="458" y="760"/>
                  <a:pt x="445" y="773"/>
                  <a:pt x="430" y="773"/>
                </a:cubicBezTo>
                <a:cubicBezTo>
                  <a:pt x="414" y="773"/>
                  <a:pt x="401" y="760"/>
                  <a:pt x="401" y="745"/>
                </a:cubicBezTo>
                <a:lnTo>
                  <a:pt x="430" y="315"/>
                </a:lnTo>
                <a:close/>
                <a:moveTo>
                  <a:pt x="286" y="315"/>
                </a:moveTo>
                <a:cubicBezTo>
                  <a:pt x="286" y="299"/>
                  <a:pt x="299" y="286"/>
                  <a:pt x="315" y="286"/>
                </a:cubicBezTo>
                <a:cubicBezTo>
                  <a:pt x="331" y="286"/>
                  <a:pt x="344" y="299"/>
                  <a:pt x="344" y="315"/>
                </a:cubicBezTo>
                <a:cubicBezTo>
                  <a:pt x="344" y="745"/>
                  <a:pt x="344" y="745"/>
                  <a:pt x="344" y="745"/>
                </a:cubicBezTo>
                <a:cubicBezTo>
                  <a:pt x="344" y="760"/>
                  <a:pt x="331" y="773"/>
                  <a:pt x="315" y="773"/>
                </a:cubicBezTo>
                <a:cubicBezTo>
                  <a:pt x="299" y="773"/>
                  <a:pt x="286" y="760"/>
                  <a:pt x="286" y="745"/>
                </a:cubicBezTo>
                <a:lnTo>
                  <a:pt x="286" y="315"/>
                </a:lnTo>
                <a:close/>
                <a:moveTo>
                  <a:pt x="172" y="286"/>
                </a:moveTo>
                <a:cubicBezTo>
                  <a:pt x="188" y="286"/>
                  <a:pt x="200" y="299"/>
                  <a:pt x="200" y="315"/>
                </a:cubicBezTo>
                <a:cubicBezTo>
                  <a:pt x="229" y="745"/>
                  <a:pt x="229" y="745"/>
                  <a:pt x="229" y="745"/>
                </a:cubicBezTo>
                <a:cubicBezTo>
                  <a:pt x="229" y="760"/>
                  <a:pt x="216" y="773"/>
                  <a:pt x="200" y="773"/>
                </a:cubicBezTo>
                <a:cubicBezTo>
                  <a:pt x="185" y="773"/>
                  <a:pt x="172" y="760"/>
                  <a:pt x="172" y="745"/>
                </a:cubicBezTo>
                <a:cubicBezTo>
                  <a:pt x="143" y="315"/>
                  <a:pt x="143" y="315"/>
                  <a:pt x="143" y="315"/>
                </a:cubicBezTo>
                <a:cubicBezTo>
                  <a:pt x="143" y="299"/>
                  <a:pt x="156" y="286"/>
                  <a:pt x="172" y="286"/>
                </a:cubicBezTo>
                <a:close/>
                <a:moveTo>
                  <a:pt x="584" y="115"/>
                </a:moveTo>
                <a:cubicBezTo>
                  <a:pt x="458" y="115"/>
                  <a:pt x="458" y="115"/>
                  <a:pt x="458" y="115"/>
                </a:cubicBezTo>
                <a:cubicBezTo>
                  <a:pt x="458" y="57"/>
                  <a:pt x="458" y="57"/>
                  <a:pt x="458" y="57"/>
                </a:cubicBezTo>
                <a:cubicBezTo>
                  <a:pt x="458" y="14"/>
                  <a:pt x="444" y="0"/>
                  <a:pt x="401" y="0"/>
                </a:cubicBezTo>
                <a:cubicBezTo>
                  <a:pt x="229" y="0"/>
                  <a:pt x="229" y="0"/>
                  <a:pt x="229" y="0"/>
                </a:cubicBezTo>
                <a:cubicBezTo>
                  <a:pt x="189" y="0"/>
                  <a:pt x="172" y="19"/>
                  <a:pt x="172" y="57"/>
                </a:cubicBezTo>
                <a:cubicBezTo>
                  <a:pt x="172" y="115"/>
                  <a:pt x="172" y="115"/>
                  <a:pt x="172" y="115"/>
                </a:cubicBezTo>
                <a:cubicBezTo>
                  <a:pt x="46" y="115"/>
                  <a:pt x="46" y="115"/>
                  <a:pt x="46" y="115"/>
                </a:cubicBezTo>
                <a:cubicBezTo>
                  <a:pt x="21" y="115"/>
                  <a:pt x="0" y="134"/>
                  <a:pt x="0" y="158"/>
                </a:cubicBezTo>
                <a:cubicBezTo>
                  <a:pt x="0" y="181"/>
                  <a:pt x="21" y="201"/>
                  <a:pt x="46" y="201"/>
                </a:cubicBezTo>
                <a:cubicBezTo>
                  <a:pt x="584" y="201"/>
                  <a:pt x="584" y="201"/>
                  <a:pt x="584" y="201"/>
                </a:cubicBezTo>
                <a:cubicBezTo>
                  <a:pt x="610" y="201"/>
                  <a:pt x="630" y="181"/>
                  <a:pt x="630" y="158"/>
                </a:cubicBezTo>
                <a:cubicBezTo>
                  <a:pt x="630" y="134"/>
                  <a:pt x="610" y="115"/>
                  <a:pt x="584" y="115"/>
                </a:cubicBezTo>
                <a:close/>
                <a:moveTo>
                  <a:pt x="401" y="115"/>
                </a:moveTo>
                <a:cubicBezTo>
                  <a:pt x="229" y="115"/>
                  <a:pt x="229" y="115"/>
                  <a:pt x="229" y="115"/>
                </a:cubicBezTo>
                <a:cubicBezTo>
                  <a:pt x="229" y="57"/>
                  <a:pt x="229" y="57"/>
                  <a:pt x="229" y="57"/>
                </a:cubicBezTo>
                <a:cubicBezTo>
                  <a:pt x="401" y="57"/>
                  <a:pt x="401" y="57"/>
                  <a:pt x="401" y="57"/>
                </a:cubicBezTo>
                <a:lnTo>
                  <a:pt x="401" y="115"/>
                </a:lnTo>
                <a:close/>
              </a:path>
            </a:pathLst>
          </a:custGeom>
          <a:noFill/>
          <a:ln w="285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2" name="Text Placeholder 2"/>
          <p:cNvSpPr txBox="1">
            <a:spLocks/>
          </p:cNvSpPr>
          <p:nvPr/>
        </p:nvSpPr>
        <p:spPr>
          <a:xfrm>
            <a:off x="550863" y="1116407"/>
            <a:ext cx="8048625" cy="285750"/>
          </a:xfrm>
          <a:prstGeom prst="rect">
            <a:avLst/>
          </a:prstGeom>
          <a:solidFill>
            <a:schemeClr val="accent1"/>
          </a:solidFill>
        </p:spPr>
        <p:txBody>
          <a:bodyPr/>
          <a:lstStyle/>
          <a:p>
            <a:pPr marR="0" lvl="0" algn="ctr" defTabSz="684213" rtl="0" eaLnBrk="1" fontAlgn="base" latinLnBrk="0" hangingPunct="1">
              <a:lnSpc>
                <a:spcPct val="95000"/>
              </a:lnSpc>
              <a:spcBef>
                <a:spcPts val="1075"/>
              </a:spcBef>
              <a:spcAft>
                <a:spcPct val="0"/>
              </a:spcAft>
              <a:buClr>
                <a:schemeClr val="tx2"/>
              </a:buClr>
              <a:buSzPct val="90000"/>
              <a:tabLst/>
              <a:defRPr/>
            </a:pPr>
            <a:r>
              <a:rPr kumimoji="0" lang="en-US" sz="1500" b="1" i="0" u="none" strike="noStrike" kern="1200" cap="none" spc="0" normalizeH="0" baseline="0" noProof="0" dirty="0" smtClean="0">
                <a:ln>
                  <a:noFill/>
                </a:ln>
                <a:solidFill>
                  <a:schemeClr val="bg1"/>
                </a:solidFill>
                <a:effectLst/>
                <a:uLnTx/>
                <a:uFillTx/>
                <a:latin typeface="+mj-lt"/>
                <a:ea typeface="ＭＳ Ｐゴシック" charset="0"/>
                <a:cs typeface="CiscoSans"/>
              </a:rPr>
              <a:t>Monetize outcomes, not usage</a:t>
            </a:r>
            <a:endParaRPr kumimoji="0" lang="en-US" sz="1500" b="1" i="0" u="none" strike="noStrike" kern="1200" cap="none" spc="0" normalizeH="0" baseline="0" noProof="0" dirty="0">
              <a:ln>
                <a:noFill/>
              </a:ln>
              <a:solidFill>
                <a:schemeClr val="bg1"/>
              </a:solidFill>
              <a:effectLst/>
              <a:uLnTx/>
              <a:uFillTx/>
              <a:latin typeface="+mj-lt"/>
              <a:ea typeface="ＭＳ Ｐゴシック" charset="0"/>
              <a:cs typeface="CiscoSans"/>
            </a:endParaRPr>
          </a:p>
        </p:txBody>
      </p:sp>
      <p:sp>
        <p:nvSpPr>
          <p:cNvPr id="64" name="Freeform 98"/>
          <p:cNvSpPr>
            <a:spLocks noEditPoints="1"/>
          </p:cNvSpPr>
          <p:nvPr/>
        </p:nvSpPr>
        <p:spPr bwMode="auto">
          <a:xfrm>
            <a:off x="2033008" y="3546366"/>
            <a:ext cx="514663" cy="701784"/>
          </a:xfrm>
          <a:custGeom>
            <a:avLst/>
            <a:gdLst/>
            <a:ahLst/>
            <a:cxnLst>
              <a:cxn ang="0">
                <a:pos x="87" y="801"/>
              </a:cxn>
              <a:cxn ang="0">
                <a:pos x="166" y="859"/>
              </a:cxn>
              <a:cxn ang="0">
                <a:pos x="464" y="859"/>
              </a:cxn>
              <a:cxn ang="0">
                <a:pos x="543" y="801"/>
              </a:cxn>
              <a:cxn ang="0">
                <a:pos x="601" y="229"/>
              </a:cxn>
              <a:cxn ang="0">
                <a:pos x="29" y="229"/>
              </a:cxn>
              <a:cxn ang="0">
                <a:pos x="87" y="801"/>
              </a:cxn>
              <a:cxn ang="0">
                <a:pos x="430" y="315"/>
              </a:cxn>
              <a:cxn ang="0">
                <a:pos x="458" y="286"/>
              </a:cxn>
              <a:cxn ang="0">
                <a:pos x="487" y="315"/>
              </a:cxn>
              <a:cxn ang="0">
                <a:pos x="458" y="745"/>
              </a:cxn>
              <a:cxn ang="0">
                <a:pos x="430" y="773"/>
              </a:cxn>
              <a:cxn ang="0">
                <a:pos x="401" y="745"/>
              </a:cxn>
              <a:cxn ang="0">
                <a:pos x="430" y="315"/>
              </a:cxn>
              <a:cxn ang="0">
                <a:pos x="286" y="315"/>
              </a:cxn>
              <a:cxn ang="0">
                <a:pos x="315" y="286"/>
              </a:cxn>
              <a:cxn ang="0">
                <a:pos x="344" y="315"/>
              </a:cxn>
              <a:cxn ang="0">
                <a:pos x="344" y="745"/>
              </a:cxn>
              <a:cxn ang="0">
                <a:pos x="315" y="773"/>
              </a:cxn>
              <a:cxn ang="0">
                <a:pos x="286" y="745"/>
              </a:cxn>
              <a:cxn ang="0">
                <a:pos x="286" y="315"/>
              </a:cxn>
              <a:cxn ang="0">
                <a:pos x="172" y="286"/>
              </a:cxn>
              <a:cxn ang="0">
                <a:pos x="200" y="315"/>
              </a:cxn>
              <a:cxn ang="0">
                <a:pos x="229" y="745"/>
              </a:cxn>
              <a:cxn ang="0">
                <a:pos x="200" y="773"/>
              </a:cxn>
              <a:cxn ang="0">
                <a:pos x="172" y="745"/>
              </a:cxn>
              <a:cxn ang="0">
                <a:pos x="143" y="315"/>
              </a:cxn>
              <a:cxn ang="0">
                <a:pos x="172" y="286"/>
              </a:cxn>
              <a:cxn ang="0">
                <a:pos x="584" y="115"/>
              </a:cxn>
              <a:cxn ang="0">
                <a:pos x="458" y="115"/>
              </a:cxn>
              <a:cxn ang="0">
                <a:pos x="458" y="57"/>
              </a:cxn>
              <a:cxn ang="0">
                <a:pos x="401" y="0"/>
              </a:cxn>
              <a:cxn ang="0">
                <a:pos x="229" y="0"/>
              </a:cxn>
              <a:cxn ang="0">
                <a:pos x="172" y="57"/>
              </a:cxn>
              <a:cxn ang="0">
                <a:pos x="172" y="115"/>
              </a:cxn>
              <a:cxn ang="0">
                <a:pos x="46" y="115"/>
              </a:cxn>
              <a:cxn ang="0">
                <a:pos x="0" y="158"/>
              </a:cxn>
              <a:cxn ang="0">
                <a:pos x="46" y="201"/>
              </a:cxn>
              <a:cxn ang="0">
                <a:pos x="584" y="201"/>
              </a:cxn>
              <a:cxn ang="0">
                <a:pos x="630" y="158"/>
              </a:cxn>
              <a:cxn ang="0">
                <a:pos x="584" y="115"/>
              </a:cxn>
              <a:cxn ang="0">
                <a:pos x="401" y="115"/>
              </a:cxn>
              <a:cxn ang="0">
                <a:pos x="229" y="115"/>
              </a:cxn>
              <a:cxn ang="0">
                <a:pos x="229" y="57"/>
              </a:cxn>
              <a:cxn ang="0">
                <a:pos x="401" y="57"/>
              </a:cxn>
              <a:cxn ang="0">
                <a:pos x="401" y="115"/>
              </a:cxn>
            </a:cxnLst>
            <a:rect l="0" t="0" r="r" b="b"/>
            <a:pathLst>
              <a:path w="630" h="859">
                <a:moveTo>
                  <a:pt x="87" y="801"/>
                </a:moveTo>
                <a:cubicBezTo>
                  <a:pt x="87" y="801"/>
                  <a:pt x="100" y="859"/>
                  <a:pt x="166" y="859"/>
                </a:cubicBezTo>
                <a:cubicBezTo>
                  <a:pt x="464" y="859"/>
                  <a:pt x="464" y="859"/>
                  <a:pt x="464" y="859"/>
                </a:cubicBezTo>
                <a:cubicBezTo>
                  <a:pt x="530" y="859"/>
                  <a:pt x="543" y="801"/>
                  <a:pt x="543" y="801"/>
                </a:cubicBezTo>
                <a:cubicBezTo>
                  <a:pt x="601" y="229"/>
                  <a:pt x="601" y="229"/>
                  <a:pt x="601" y="229"/>
                </a:cubicBezTo>
                <a:cubicBezTo>
                  <a:pt x="29" y="229"/>
                  <a:pt x="29" y="229"/>
                  <a:pt x="29" y="229"/>
                </a:cubicBezTo>
                <a:lnTo>
                  <a:pt x="87" y="801"/>
                </a:lnTo>
                <a:close/>
                <a:moveTo>
                  <a:pt x="430" y="315"/>
                </a:moveTo>
                <a:cubicBezTo>
                  <a:pt x="430" y="299"/>
                  <a:pt x="442" y="286"/>
                  <a:pt x="458" y="286"/>
                </a:cubicBezTo>
                <a:cubicBezTo>
                  <a:pt x="474" y="286"/>
                  <a:pt x="487" y="299"/>
                  <a:pt x="487" y="315"/>
                </a:cubicBezTo>
                <a:cubicBezTo>
                  <a:pt x="458" y="745"/>
                  <a:pt x="458" y="745"/>
                  <a:pt x="458" y="745"/>
                </a:cubicBezTo>
                <a:cubicBezTo>
                  <a:pt x="458" y="760"/>
                  <a:pt x="445" y="773"/>
                  <a:pt x="430" y="773"/>
                </a:cubicBezTo>
                <a:cubicBezTo>
                  <a:pt x="414" y="773"/>
                  <a:pt x="401" y="760"/>
                  <a:pt x="401" y="745"/>
                </a:cubicBezTo>
                <a:lnTo>
                  <a:pt x="430" y="315"/>
                </a:lnTo>
                <a:close/>
                <a:moveTo>
                  <a:pt x="286" y="315"/>
                </a:moveTo>
                <a:cubicBezTo>
                  <a:pt x="286" y="299"/>
                  <a:pt x="299" y="286"/>
                  <a:pt x="315" y="286"/>
                </a:cubicBezTo>
                <a:cubicBezTo>
                  <a:pt x="331" y="286"/>
                  <a:pt x="344" y="299"/>
                  <a:pt x="344" y="315"/>
                </a:cubicBezTo>
                <a:cubicBezTo>
                  <a:pt x="344" y="745"/>
                  <a:pt x="344" y="745"/>
                  <a:pt x="344" y="745"/>
                </a:cubicBezTo>
                <a:cubicBezTo>
                  <a:pt x="344" y="760"/>
                  <a:pt x="331" y="773"/>
                  <a:pt x="315" y="773"/>
                </a:cubicBezTo>
                <a:cubicBezTo>
                  <a:pt x="299" y="773"/>
                  <a:pt x="286" y="760"/>
                  <a:pt x="286" y="745"/>
                </a:cubicBezTo>
                <a:lnTo>
                  <a:pt x="286" y="315"/>
                </a:lnTo>
                <a:close/>
                <a:moveTo>
                  <a:pt x="172" y="286"/>
                </a:moveTo>
                <a:cubicBezTo>
                  <a:pt x="188" y="286"/>
                  <a:pt x="200" y="299"/>
                  <a:pt x="200" y="315"/>
                </a:cubicBezTo>
                <a:cubicBezTo>
                  <a:pt x="229" y="745"/>
                  <a:pt x="229" y="745"/>
                  <a:pt x="229" y="745"/>
                </a:cubicBezTo>
                <a:cubicBezTo>
                  <a:pt x="229" y="760"/>
                  <a:pt x="216" y="773"/>
                  <a:pt x="200" y="773"/>
                </a:cubicBezTo>
                <a:cubicBezTo>
                  <a:pt x="185" y="773"/>
                  <a:pt x="172" y="760"/>
                  <a:pt x="172" y="745"/>
                </a:cubicBezTo>
                <a:cubicBezTo>
                  <a:pt x="143" y="315"/>
                  <a:pt x="143" y="315"/>
                  <a:pt x="143" y="315"/>
                </a:cubicBezTo>
                <a:cubicBezTo>
                  <a:pt x="143" y="299"/>
                  <a:pt x="156" y="286"/>
                  <a:pt x="172" y="286"/>
                </a:cubicBezTo>
                <a:close/>
                <a:moveTo>
                  <a:pt x="584" y="115"/>
                </a:moveTo>
                <a:cubicBezTo>
                  <a:pt x="458" y="115"/>
                  <a:pt x="458" y="115"/>
                  <a:pt x="458" y="115"/>
                </a:cubicBezTo>
                <a:cubicBezTo>
                  <a:pt x="458" y="57"/>
                  <a:pt x="458" y="57"/>
                  <a:pt x="458" y="57"/>
                </a:cubicBezTo>
                <a:cubicBezTo>
                  <a:pt x="458" y="14"/>
                  <a:pt x="444" y="0"/>
                  <a:pt x="401" y="0"/>
                </a:cubicBezTo>
                <a:cubicBezTo>
                  <a:pt x="229" y="0"/>
                  <a:pt x="229" y="0"/>
                  <a:pt x="229" y="0"/>
                </a:cubicBezTo>
                <a:cubicBezTo>
                  <a:pt x="189" y="0"/>
                  <a:pt x="172" y="19"/>
                  <a:pt x="172" y="57"/>
                </a:cubicBezTo>
                <a:cubicBezTo>
                  <a:pt x="172" y="115"/>
                  <a:pt x="172" y="115"/>
                  <a:pt x="172" y="115"/>
                </a:cubicBezTo>
                <a:cubicBezTo>
                  <a:pt x="46" y="115"/>
                  <a:pt x="46" y="115"/>
                  <a:pt x="46" y="115"/>
                </a:cubicBezTo>
                <a:cubicBezTo>
                  <a:pt x="21" y="115"/>
                  <a:pt x="0" y="134"/>
                  <a:pt x="0" y="158"/>
                </a:cubicBezTo>
                <a:cubicBezTo>
                  <a:pt x="0" y="181"/>
                  <a:pt x="21" y="201"/>
                  <a:pt x="46" y="201"/>
                </a:cubicBezTo>
                <a:cubicBezTo>
                  <a:pt x="584" y="201"/>
                  <a:pt x="584" y="201"/>
                  <a:pt x="584" y="201"/>
                </a:cubicBezTo>
                <a:cubicBezTo>
                  <a:pt x="610" y="201"/>
                  <a:pt x="630" y="181"/>
                  <a:pt x="630" y="158"/>
                </a:cubicBezTo>
                <a:cubicBezTo>
                  <a:pt x="630" y="134"/>
                  <a:pt x="610" y="115"/>
                  <a:pt x="584" y="115"/>
                </a:cubicBezTo>
                <a:close/>
                <a:moveTo>
                  <a:pt x="401" y="115"/>
                </a:moveTo>
                <a:cubicBezTo>
                  <a:pt x="229" y="115"/>
                  <a:pt x="229" y="115"/>
                  <a:pt x="229" y="115"/>
                </a:cubicBezTo>
                <a:cubicBezTo>
                  <a:pt x="229" y="57"/>
                  <a:pt x="229" y="57"/>
                  <a:pt x="229" y="57"/>
                </a:cubicBezTo>
                <a:cubicBezTo>
                  <a:pt x="401" y="57"/>
                  <a:pt x="401" y="57"/>
                  <a:pt x="401" y="57"/>
                </a:cubicBezTo>
                <a:lnTo>
                  <a:pt x="401" y="115"/>
                </a:lnTo>
                <a:close/>
              </a:path>
            </a:pathLst>
          </a:custGeom>
          <a:noFill/>
          <a:ln w="285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5" name="Freeform 6"/>
          <p:cNvSpPr>
            <a:spLocks noEditPoints="1"/>
          </p:cNvSpPr>
          <p:nvPr/>
        </p:nvSpPr>
        <p:spPr bwMode="auto">
          <a:xfrm>
            <a:off x="6167177" y="1698525"/>
            <a:ext cx="559759" cy="929035"/>
          </a:xfrm>
          <a:custGeom>
            <a:avLst/>
            <a:gdLst/>
            <a:ahLst/>
            <a:cxnLst>
              <a:cxn ang="0">
                <a:pos x="489" y="237"/>
              </a:cxn>
              <a:cxn ang="0">
                <a:pos x="488" y="142"/>
              </a:cxn>
              <a:cxn ang="0">
                <a:pos x="480" y="190"/>
              </a:cxn>
              <a:cxn ang="0">
                <a:pos x="517" y="267"/>
              </a:cxn>
              <a:cxn ang="0">
                <a:pos x="560" y="190"/>
              </a:cxn>
              <a:cxn ang="0">
                <a:pos x="529" y="97"/>
              </a:cxn>
              <a:cxn ang="0">
                <a:pos x="540" y="190"/>
              </a:cxn>
              <a:cxn ang="0">
                <a:pos x="561" y="316"/>
              </a:cxn>
              <a:cxn ang="0">
                <a:pos x="624" y="190"/>
              </a:cxn>
              <a:cxn ang="0">
                <a:pos x="560" y="63"/>
              </a:cxn>
              <a:cxn ang="0">
                <a:pos x="561" y="316"/>
              </a:cxn>
              <a:cxn ang="0">
                <a:pos x="209" y="190"/>
              </a:cxn>
              <a:cxn ang="0">
                <a:pos x="201" y="142"/>
              </a:cxn>
              <a:cxn ang="0">
                <a:pos x="200" y="237"/>
              </a:cxn>
              <a:cxn ang="0">
                <a:pos x="605" y="364"/>
              </a:cxn>
              <a:cxn ang="0">
                <a:pos x="620" y="378"/>
              </a:cxn>
              <a:cxn ang="0">
                <a:pos x="617" y="0"/>
              </a:cxn>
              <a:cxn ang="0">
                <a:pos x="669" y="190"/>
              </a:cxn>
              <a:cxn ang="0">
                <a:pos x="440" y="222"/>
              </a:cxn>
              <a:cxn ang="0">
                <a:pos x="251" y="222"/>
              </a:cxn>
              <a:cxn ang="0">
                <a:pos x="36" y="1144"/>
              </a:cxn>
              <a:cxn ang="0">
                <a:pos x="108" y="1099"/>
              </a:cxn>
              <a:cxn ang="0">
                <a:pos x="592" y="1144"/>
              </a:cxn>
              <a:cxn ang="0">
                <a:pos x="402" y="297"/>
              </a:cxn>
              <a:cxn ang="0">
                <a:pos x="338" y="316"/>
              </a:cxn>
              <a:cxn ang="0">
                <a:pos x="349" y="316"/>
              </a:cxn>
              <a:cxn ang="0">
                <a:pos x="305" y="428"/>
              </a:cxn>
              <a:cxn ang="0">
                <a:pos x="138" y="997"/>
              </a:cxn>
              <a:cxn ang="0">
                <a:pos x="453" y="716"/>
              </a:cxn>
              <a:cxn ang="0">
                <a:pos x="443" y="636"/>
              </a:cxn>
              <a:cxn ang="0">
                <a:pos x="384" y="433"/>
              </a:cxn>
              <a:cxn ang="0">
                <a:pos x="70" y="379"/>
              </a:cxn>
              <a:cxn ang="0">
                <a:pos x="20" y="190"/>
              </a:cxn>
              <a:cxn ang="0">
                <a:pos x="72" y="0"/>
              </a:cxn>
              <a:cxn ang="0">
                <a:pos x="69" y="378"/>
              </a:cxn>
              <a:cxn ang="0">
                <a:pos x="158" y="282"/>
              </a:cxn>
              <a:cxn ang="0">
                <a:pos x="149" y="190"/>
              </a:cxn>
              <a:cxn ang="0">
                <a:pos x="160" y="97"/>
              </a:cxn>
              <a:cxn ang="0">
                <a:pos x="129" y="190"/>
              </a:cxn>
              <a:cxn ang="0">
                <a:pos x="114" y="331"/>
              </a:cxn>
              <a:cxn ang="0">
                <a:pos x="85" y="190"/>
              </a:cxn>
              <a:cxn ang="0">
                <a:pos x="115" y="48"/>
              </a:cxn>
              <a:cxn ang="0">
                <a:pos x="114" y="331"/>
              </a:cxn>
            </a:cxnLst>
            <a:rect l="0" t="0" r="r" b="b"/>
            <a:pathLst>
              <a:path w="689" h="1144">
                <a:moveTo>
                  <a:pt x="474" y="220"/>
                </a:moveTo>
                <a:cubicBezTo>
                  <a:pt x="489" y="237"/>
                  <a:pt x="489" y="237"/>
                  <a:pt x="489" y="237"/>
                </a:cubicBezTo>
                <a:cubicBezTo>
                  <a:pt x="497" y="222"/>
                  <a:pt x="500" y="206"/>
                  <a:pt x="500" y="190"/>
                </a:cubicBezTo>
                <a:cubicBezTo>
                  <a:pt x="500" y="173"/>
                  <a:pt x="496" y="157"/>
                  <a:pt x="488" y="142"/>
                </a:cubicBezTo>
                <a:cubicBezTo>
                  <a:pt x="473" y="158"/>
                  <a:pt x="473" y="158"/>
                  <a:pt x="473" y="158"/>
                </a:cubicBezTo>
                <a:cubicBezTo>
                  <a:pt x="478" y="168"/>
                  <a:pt x="480" y="179"/>
                  <a:pt x="480" y="190"/>
                </a:cubicBezTo>
                <a:cubicBezTo>
                  <a:pt x="480" y="201"/>
                  <a:pt x="478" y="211"/>
                  <a:pt x="474" y="220"/>
                </a:cubicBezTo>
                <a:close/>
                <a:moveTo>
                  <a:pt x="517" y="267"/>
                </a:moveTo>
                <a:cubicBezTo>
                  <a:pt x="531" y="282"/>
                  <a:pt x="531" y="282"/>
                  <a:pt x="531" y="282"/>
                </a:cubicBezTo>
                <a:cubicBezTo>
                  <a:pt x="549" y="255"/>
                  <a:pt x="560" y="223"/>
                  <a:pt x="560" y="190"/>
                </a:cubicBezTo>
                <a:cubicBezTo>
                  <a:pt x="560" y="157"/>
                  <a:pt x="549" y="125"/>
                  <a:pt x="530" y="97"/>
                </a:cubicBezTo>
                <a:cubicBezTo>
                  <a:pt x="529" y="97"/>
                  <a:pt x="529" y="97"/>
                  <a:pt x="529" y="97"/>
                </a:cubicBezTo>
                <a:cubicBezTo>
                  <a:pt x="515" y="112"/>
                  <a:pt x="515" y="112"/>
                  <a:pt x="515" y="112"/>
                </a:cubicBezTo>
                <a:cubicBezTo>
                  <a:pt x="531" y="135"/>
                  <a:pt x="540" y="162"/>
                  <a:pt x="540" y="190"/>
                </a:cubicBezTo>
                <a:cubicBezTo>
                  <a:pt x="540" y="218"/>
                  <a:pt x="532" y="244"/>
                  <a:pt x="517" y="267"/>
                </a:cubicBezTo>
                <a:close/>
                <a:moveTo>
                  <a:pt x="561" y="316"/>
                </a:moveTo>
                <a:cubicBezTo>
                  <a:pt x="575" y="331"/>
                  <a:pt x="575" y="331"/>
                  <a:pt x="575" y="331"/>
                </a:cubicBezTo>
                <a:cubicBezTo>
                  <a:pt x="607" y="291"/>
                  <a:pt x="624" y="241"/>
                  <a:pt x="624" y="190"/>
                </a:cubicBezTo>
                <a:cubicBezTo>
                  <a:pt x="624" y="138"/>
                  <a:pt x="606" y="88"/>
                  <a:pt x="573" y="48"/>
                </a:cubicBezTo>
                <a:cubicBezTo>
                  <a:pt x="560" y="63"/>
                  <a:pt x="560" y="63"/>
                  <a:pt x="560" y="63"/>
                </a:cubicBezTo>
                <a:cubicBezTo>
                  <a:pt x="588" y="99"/>
                  <a:pt x="604" y="144"/>
                  <a:pt x="604" y="190"/>
                </a:cubicBezTo>
                <a:cubicBezTo>
                  <a:pt x="604" y="235"/>
                  <a:pt x="589" y="279"/>
                  <a:pt x="561" y="316"/>
                </a:cubicBezTo>
                <a:close/>
                <a:moveTo>
                  <a:pt x="214" y="220"/>
                </a:moveTo>
                <a:cubicBezTo>
                  <a:pt x="211" y="211"/>
                  <a:pt x="209" y="201"/>
                  <a:pt x="209" y="190"/>
                </a:cubicBezTo>
                <a:cubicBezTo>
                  <a:pt x="209" y="179"/>
                  <a:pt x="211" y="168"/>
                  <a:pt x="215" y="158"/>
                </a:cubicBezTo>
                <a:cubicBezTo>
                  <a:pt x="201" y="142"/>
                  <a:pt x="201" y="142"/>
                  <a:pt x="201" y="142"/>
                </a:cubicBezTo>
                <a:cubicBezTo>
                  <a:pt x="193" y="157"/>
                  <a:pt x="188" y="173"/>
                  <a:pt x="188" y="190"/>
                </a:cubicBezTo>
                <a:cubicBezTo>
                  <a:pt x="188" y="206"/>
                  <a:pt x="192" y="222"/>
                  <a:pt x="200" y="237"/>
                </a:cubicBezTo>
                <a:lnTo>
                  <a:pt x="214" y="220"/>
                </a:lnTo>
                <a:close/>
                <a:moveTo>
                  <a:pt x="605" y="364"/>
                </a:moveTo>
                <a:cubicBezTo>
                  <a:pt x="618" y="379"/>
                  <a:pt x="618" y="379"/>
                  <a:pt x="618" y="379"/>
                </a:cubicBezTo>
                <a:cubicBezTo>
                  <a:pt x="620" y="378"/>
                  <a:pt x="620" y="378"/>
                  <a:pt x="620" y="378"/>
                </a:cubicBezTo>
                <a:cubicBezTo>
                  <a:pt x="664" y="325"/>
                  <a:pt x="689" y="259"/>
                  <a:pt x="689" y="190"/>
                </a:cubicBezTo>
                <a:cubicBezTo>
                  <a:pt x="689" y="120"/>
                  <a:pt x="663" y="53"/>
                  <a:pt x="617" y="0"/>
                </a:cubicBezTo>
                <a:cubicBezTo>
                  <a:pt x="603" y="15"/>
                  <a:pt x="603" y="15"/>
                  <a:pt x="603" y="15"/>
                </a:cubicBezTo>
                <a:cubicBezTo>
                  <a:pt x="645" y="64"/>
                  <a:pt x="669" y="126"/>
                  <a:pt x="669" y="190"/>
                </a:cubicBezTo>
                <a:cubicBezTo>
                  <a:pt x="669" y="254"/>
                  <a:pt x="646" y="315"/>
                  <a:pt x="605" y="364"/>
                </a:cubicBezTo>
                <a:close/>
                <a:moveTo>
                  <a:pt x="440" y="222"/>
                </a:moveTo>
                <a:cubicBezTo>
                  <a:pt x="440" y="170"/>
                  <a:pt x="397" y="127"/>
                  <a:pt x="345" y="127"/>
                </a:cubicBezTo>
                <a:cubicBezTo>
                  <a:pt x="293" y="127"/>
                  <a:pt x="251" y="170"/>
                  <a:pt x="251" y="222"/>
                </a:cubicBezTo>
                <a:cubicBezTo>
                  <a:pt x="251" y="252"/>
                  <a:pt x="264" y="278"/>
                  <a:pt x="285" y="295"/>
                </a:cubicBezTo>
                <a:cubicBezTo>
                  <a:pt x="36" y="1144"/>
                  <a:pt x="36" y="1144"/>
                  <a:pt x="36" y="1144"/>
                </a:cubicBezTo>
                <a:cubicBezTo>
                  <a:pt x="95" y="1144"/>
                  <a:pt x="95" y="1144"/>
                  <a:pt x="95" y="1144"/>
                </a:cubicBezTo>
                <a:cubicBezTo>
                  <a:pt x="108" y="1099"/>
                  <a:pt x="108" y="1099"/>
                  <a:pt x="108" y="1099"/>
                </a:cubicBezTo>
                <a:cubicBezTo>
                  <a:pt x="482" y="767"/>
                  <a:pt x="482" y="767"/>
                  <a:pt x="482" y="767"/>
                </a:cubicBezTo>
                <a:cubicBezTo>
                  <a:pt x="592" y="1144"/>
                  <a:pt x="592" y="1144"/>
                  <a:pt x="592" y="1144"/>
                </a:cubicBezTo>
                <a:cubicBezTo>
                  <a:pt x="651" y="1144"/>
                  <a:pt x="651" y="1144"/>
                  <a:pt x="651" y="1144"/>
                </a:cubicBezTo>
                <a:cubicBezTo>
                  <a:pt x="402" y="297"/>
                  <a:pt x="402" y="297"/>
                  <a:pt x="402" y="297"/>
                </a:cubicBezTo>
                <a:cubicBezTo>
                  <a:pt x="425" y="280"/>
                  <a:pt x="440" y="253"/>
                  <a:pt x="440" y="222"/>
                </a:cubicBezTo>
                <a:close/>
                <a:moveTo>
                  <a:pt x="338" y="316"/>
                </a:moveTo>
                <a:cubicBezTo>
                  <a:pt x="340" y="316"/>
                  <a:pt x="343" y="317"/>
                  <a:pt x="345" y="317"/>
                </a:cubicBezTo>
                <a:cubicBezTo>
                  <a:pt x="347" y="317"/>
                  <a:pt x="348" y="317"/>
                  <a:pt x="349" y="316"/>
                </a:cubicBezTo>
                <a:cubicBezTo>
                  <a:pt x="366" y="374"/>
                  <a:pt x="366" y="374"/>
                  <a:pt x="366" y="374"/>
                </a:cubicBezTo>
                <a:cubicBezTo>
                  <a:pt x="305" y="428"/>
                  <a:pt x="305" y="428"/>
                  <a:pt x="305" y="428"/>
                </a:cubicBezTo>
                <a:lnTo>
                  <a:pt x="338" y="316"/>
                </a:lnTo>
                <a:close/>
                <a:moveTo>
                  <a:pt x="138" y="997"/>
                </a:moveTo>
                <a:cubicBezTo>
                  <a:pt x="265" y="563"/>
                  <a:pt x="265" y="563"/>
                  <a:pt x="265" y="563"/>
                </a:cubicBezTo>
                <a:cubicBezTo>
                  <a:pt x="453" y="716"/>
                  <a:pt x="453" y="716"/>
                  <a:pt x="453" y="716"/>
                </a:cubicBezTo>
                <a:lnTo>
                  <a:pt x="138" y="997"/>
                </a:lnTo>
                <a:close/>
                <a:moveTo>
                  <a:pt x="443" y="636"/>
                </a:moveTo>
                <a:cubicBezTo>
                  <a:pt x="293" y="514"/>
                  <a:pt x="293" y="514"/>
                  <a:pt x="293" y="514"/>
                </a:cubicBezTo>
                <a:cubicBezTo>
                  <a:pt x="384" y="433"/>
                  <a:pt x="384" y="433"/>
                  <a:pt x="384" y="433"/>
                </a:cubicBezTo>
                <a:lnTo>
                  <a:pt x="443" y="636"/>
                </a:lnTo>
                <a:close/>
                <a:moveTo>
                  <a:pt x="70" y="379"/>
                </a:moveTo>
                <a:cubicBezTo>
                  <a:pt x="84" y="364"/>
                  <a:pt x="84" y="364"/>
                  <a:pt x="84" y="364"/>
                </a:cubicBezTo>
                <a:cubicBezTo>
                  <a:pt x="43" y="315"/>
                  <a:pt x="20" y="254"/>
                  <a:pt x="20" y="190"/>
                </a:cubicBezTo>
                <a:cubicBezTo>
                  <a:pt x="20" y="126"/>
                  <a:pt x="43" y="64"/>
                  <a:pt x="85" y="15"/>
                </a:cubicBezTo>
                <a:cubicBezTo>
                  <a:pt x="72" y="0"/>
                  <a:pt x="72" y="0"/>
                  <a:pt x="72" y="0"/>
                </a:cubicBezTo>
                <a:cubicBezTo>
                  <a:pt x="25" y="53"/>
                  <a:pt x="0" y="120"/>
                  <a:pt x="0" y="190"/>
                </a:cubicBezTo>
                <a:cubicBezTo>
                  <a:pt x="0" y="259"/>
                  <a:pt x="25" y="325"/>
                  <a:pt x="69" y="378"/>
                </a:cubicBezTo>
                <a:lnTo>
                  <a:pt x="70" y="379"/>
                </a:lnTo>
                <a:close/>
                <a:moveTo>
                  <a:pt x="158" y="282"/>
                </a:moveTo>
                <a:cubicBezTo>
                  <a:pt x="172" y="267"/>
                  <a:pt x="172" y="267"/>
                  <a:pt x="172" y="267"/>
                </a:cubicBezTo>
                <a:cubicBezTo>
                  <a:pt x="157" y="244"/>
                  <a:pt x="149" y="218"/>
                  <a:pt x="149" y="190"/>
                </a:cubicBezTo>
                <a:cubicBezTo>
                  <a:pt x="149" y="162"/>
                  <a:pt x="158" y="135"/>
                  <a:pt x="173" y="112"/>
                </a:cubicBezTo>
                <a:cubicBezTo>
                  <a:pt x="160" y="97"/>
                  <a:pt x="160" y="97"/>
                  <a:pt x="160" y="97"/>
                </a:cubicBezTo>
                <a:cubicBezTo>
                  <a:pt x="159" y="97"/>
                  <a:pt x="159" y="97"/>
                  <a:pt x="159" y="97"/>
                </a:cubicBezTo>
                <a:cubicBezTo>
                  <a:pt x="139" y="125"/>
                  <a:pt x="129" y="157"/>
                  <a:pt x="129" y="190"/>
                </a:cubicBezTo>
                <a:cubicBezTo>
                  <a:pt x="129" y="223"/>
                  <a:pt x="139" y="255"/>
                  <a:pt x="158" y="282"/>
                </a:cubicBezTo>
                <a:close/>
                <a:moveTo>
                  <a:pt x="114" y="331"/>
                </a:moveTo>
                <a:cubicBezTo>
                  <a:pt x="128" y="316"/>
                  <a:pt x="128" y="316"/>
                  <a:pt x="128" y="316"/>
                </a:cubicBezTo>
                <a:cubicBezTo>
                  <a:pt x="100" y="279"/>
                  <a:pt x="85" y="235"/>
                  <a:pt x="85" y="190"/>
                </a:cubicBezTo>
                <a:cubicBezTo>
                  <a:pt x="85" y="144"/>
                  <a:pt x="100" y="99"/>
                  <a:pt x="129" y="63"/>
                </a:cubicBezTo>
                <a:cubicBezTo>
                  <a:pt x="115" y="48"/>
                  <a:pt x="115" y="48"/>
                  <a:pt x="115" y="48"/>
                </a:cubicBezTo>
                <a:cubicBezTo>
                  <a:pt x="83" y="88"/>
                  <a:pt x="64" y="139"/>
                  <a:pt x="64" y="190"/>
                </a:cubicBezTo>
                <a:cubicBezTo>
                  <a:pt x="64" y="241"/>
                  <a:pt x="82" y="291"/>
                  <a:pt x="114" y="331"/>
                </a:cubicBezTo>
                <a:close/>
              </a:path>
            </a:pathLst>
          </a:custGeom>
          <a:no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Tree>
    <p:extLst>
      <p:ext uri="{BB962C8B-B14F-4D97-AF65-F5344CB8AC3E}">
        <p14:creationId xmlns:p14="http://schemas.microsoft.com/office/powerpoint/2010/main" val="879754009"/>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37766" y="327945"/>
            <a:ext cx="8345488" cy="731837"/>
          </a:xfrm>
        </p:spPr>
        <p:txBody>
          <a:bodyPr/>
          <a:lstStyle/>
          <a:p>
            <a:r>
              <a:rPr lang="en-US" dirty="0" smtClean="0"/>
              <a:t>Poll #2  </a:t>
            </a:r>
            <a:endParaRPr lang="en-US" sz="1200" dirty="0">
              <a:solidFill>
                <a:srgbClr val="FF0000"/>
              </a:solidFill>
            </a:endParaRPr>
          </a:p>
        </p:txBody>
      </p:sp>
      <p:sp>
        <p:nvSpPr>
          <p:cNvPr id="25" name="Text Placeholder 7"/>
          <p:cNvSpPr txBox="1">
            <a:spLocks/>
          </p:cNvSpPr>
          <p:nvPr/>
        </p:nvSpPr>
        <p:spPr>
          <a:xfrm>
            <a:off x="523201" y="3295211"/>
            <a:ext cx="8141464" cy="325437"/>
          </a:xfrm>
          <a:prstGeom prst="rect">
            <a:avLst/>
          </a:prstGeom>
        </p:spPr>
        <p:txBody>
          <a:bodyPr anchor="ctr">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None/>
            </a:pPr>
            <a:r>
              <a:rPr lang="en-US" sz="1600" dirty="0" smtClean="0">
                <a:solidFill>
                  <a:schemeClr val="tx2"/>
                </a:solidFill>
              </a:rPr>
              <a:t>			    </a:t>
            </a:r>
            <a:r>
              <a:rPr lang="en-US" sz="1600" dirty="0">
                <a:solidFill>
                  <a:schemeClr val="tx2"/>
                </a:solidFill>
              </a:rPr>
              <a:t> </a:t>
            </a:r>
            <a:r>
              <a:rPr lang="en-US" sz="1600" dirty="0" smtClean="0">
                <a:solidFill>
                  <a:schemeClr val="tx2"/>
                </a:solidFill>
              </a:rPr>
              <a:t>           </a:t>
            </a:r>
            <a:endParaRPr lang="en-US" sz="1600" dirty="0">
              <a:solidFill>
                <a:schemeClr val="tx2"/>
              </a:solidFill>
            </a:endParaRPr>
          </a:p>
        </p:txBody>
      </p:sp>
    </p:spTree>
    <p:extLst>
      <p:ext uri="{BB962C8B-B14F-4D97-AF65-F5344CB8AC3E}">
        <p14:creationId xmlns:p14="http://schemas.microsoft.com/office/powerpoint/2010/main" val="115048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smtClean="0"/>
              <a:t>Cisco Ultra IoT – New Monetization</a:t>
            </a:r>
            <a:r>
              <a:rPr lang="en-US" dirty="0" smtClean="0"/>
              <a:t> Models</a:t>
            </a:r>
            <a:endParaRPr lang="en-US" dirty="0"/>
          </a:p>
        </p:txBody>
      </p:sp>
      <p:sp>
        <p:nvSpPr>
          <p:cNvPr id="3" name="Rectangle 2"/>
          <p:cNvSpPr/>
          <p:nvPr/>
        </p:nvSpPr>
        <p:spPr>
          <a:xfrm>
            <a:off x="0" y="1079500"/>
            <a:ext cx="9144000" cy="3638550"/>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 name="Rectangle 5"/>
          <p:cNvSpPr/>
          <p:nvPr/>
        </p:nvSpPr>
        <p:spPr>
          <a:xfrm>
            <a:off x="5096051"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Vending Services</a:t>
            </a:r>
            <a:endParaRPr lang="en-US" sz="1100" dirty="0">
              <a:solidFill>
                <a:srgbClr val="FFFFFF"/>
              </a:solidFill>
              <a:latin typeface="+mj-lt"/>
            </a:endParaRPr>
          </a:p>
        </p:txBody>
      </p:sp>
      <p:cxnSp>
        <p:nvCxnSpPr>
          <p:cNvPr id="7" name="Straight Connector 6"/>
          <p:cNvCxnSpPr/>
          <p:nvPr/>
        </p:nvCxnSpPr>
        <p:spPr>
          <a:xfrm flipH="1">
            <a:off x="3548405" y="2123186"/>
            <a:ext cx="4324579" cy="0"/>
          </a:xfrm>
          <a:prstGeom prst="line">
            <a:avLst/>
          </a:prstGeom>
          <a:noFill/>
          <a:ln w="19050" cap="rnd" cmpd="sng" algn="ctr">
            <a:solidFill>
              <a:schemeClr val="tx2"/>
            </a:solidFill>
            <a:prstDash val="dash"/>
            <a:headEnd type="none" w="med" len="med"/>
            <a:tailEnd type="none" w="med" len="med"/>
          </a:ln>
          <a:effectLst/>
        </p:spPr>
      </p:cxnSp>
      <p:sp>
        <p:nvSpPr>
          <p:cNvPr id="8" name="TextBox 7"/>
          <p:cNvSpPr txBox="1"/>
          <p:nvPr/>
        </p:nvSpPr>
        <p:spPr>
          <a:xfrm>
            <a:off x="4222623" y="1894983"/>
            <a:ext cx="805287" cy="246237"/>
          </a:xfrm>
          <a:prstGeom prst="rect">
            <a:avLst/>
          </a:prstGeom>
          <a:noFill/>
          <a:ln>
            <a:noFill/>
          </a:ln>
        </p:spPr>
        <p:txBody>
          <a:bodyPr wrap="square" lIns="91416" tIns="45708" rIns="91416" bIns="45708" rtlCol="0">
            <a:noAutofit/>
          </a:bodyPr>
          <a:lstStyle/>
          <a:p>
            <a:r>
              <a:rPr lang="en-US" sz="900" b="1" dirty="0">
                <a:latin typeface="+mj-lt"/>
              </a:rPr>
              <a:t>Rest APIs</a:t>
            </a:r>
          </a:p>
        </p:txBody>
      </p:sp>
      <p:cxnSp>
        <p:nvCxnSpPr>
          <p:cNvPr id="9" name="Straight Connector 8"/>
          <p:cNvCxnSpPr/>
          <p:nvPr/>
        </p:nvCxnSpPr>
        <p:spPr>
          <a:xfrm>
            <a:off x="5608115" y="1916840"/>
            <a:ext cx="0" cy="210312"/>
          </a:xfrm>
          <a:prstGeom prst="line">
            <a:avLst/>
          </a:prstGeom>
          <a:noFill/>
          <a:ln w="19050" cap="rnd" cmpd="sng" algn="ctr">
            <a:solidFill>
              <a:schemeClr val="tx2"/>
            </a:solidFill>
            <a:prstDash val="solid"/>
            <a:headEnd type="triangle" w="med" len="med"/>
            <a:tailEnd type="triangle" w="med" len="med"/>
          </a:ln>
          <a:effectLst/>
        </p:spPr>
      </p:cxnSp>
      <p:sp>
        <p:nvSpPr>
          <p:cNvPr id="23" name="TextBox 22"/>
          <p:cNvSpPr txBox="1"/>
          <p:nvPr/>
        </p:nvSpPr>
        <p:spPr>
          <a:xfrm>
            <a:off x="548508" y="2144004"/>
            <a:ext cx="1642161" cy="523220"/>
          </a:xfrm>
          <a:prstGeom prst="rect">
            <a:avLst/>
          </a:prstGeom>
          <a:noFill/>
        </p:spPr>
        <p:txBody>
          <a:bodyPr wrap="square" rtlCol="0">
            <a:spAutoFit/>
          </a:bodyPr>
          <a:lstStyle/>
          <a:p>
            <a:r>
              <a:rPr lang="en-US" sz="1400" dirty="0" smtClean="0">
                <a:solidFill>
                  <a:schemeClr val="tx2"/>
                </a:solidFill>
                <a:latin typeface="+mj-lt"/>
              </a:rPr>
              <a:t>Use Case: </a:t>
            </a:r>
            <a:br>
              <a:rPr lang="en-US" sz="1400" dirty="0" smtClean="0">
                <a:solidFill>
                  <a:schemeClr val="tx2"/>
                </a:solidFill>
                <a:latin typeface="+mj-lt"/>
              </a:rPr>
            </a:br>
            <a:r>
              <a:rPr lang="en-US" sz="1400" dirty="0" smtClean="0">
                <a:solidFill>
                  <a:schemeClr val="tx2"/>
                </a:solidFill>
                <a:latin typeface="+mj-lt"/>
              </a:rPr>
              <a:t>Smart Vending</a:t>
            </a:r>
            <a:endParaRPr lang="en-US" sz="1400" dirty="0">
              <a:solidFill>
                <a:schemeClr val="tx2"/>
              </a:solidFill>
              <a:latin typeface="+mj-lt"/>
            </a:endParaRPr>
          </a:p>
        </p:txBody>
      </p:sp>
      <p:sp>
        <p:nvSpPr>
          <p:cNvPr id="24" name="Rectangle 23"/>
          <p:cNvSpPr/>
          <p:nvPr/>
        </p:nvSpPr>
        <p:spPr>
          <a:xfrm>
            <a:off x="393394" y="1432532"/>
            <a:ext cx="2029147" cy="502920"/>
          </a:xfrm>
          <a:prstGeom prst="rect">
            <a:avLst/>
          </a:prstGeom>
          <a:solidFill>
            <a:schemeClr val="accent2"/>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t" anchorCtr="0">
            <a:spAutoFit/>
          </a:bodyPr>
          <a:lstStyle/>
          <a:p>
            <a:pPr algn="ctr"/>
            <a:r>
              <a:rPr lang="en-US" sz="1400" dirty="0" smtClean="0">
                <a:solidFill>
                  <a:srgbClr val="FFFFFF"/>
                </a:solidFill>
                <a:latin typeface="+mj-lt"/>
              </a:rPr>
              <a:t>API for Application </a:t>
            </a:r>
            <a:br>
              <a:rPr lang="en-US" sz="1400" dirty="0" smtClean="0">
                <a:solidFill>
                  <a:srgbClr val="FFFFFF"/>
                </a:solidFill>
                <a:latin typeface="+mj-lt"/>
              </a:rPr>
            </a:br>
            <a:r>
              <a:rPr lang="en-US" sz="1400" dirty="0" smtClean="0">
                <a:solidFill>
                  <a:srgbClr val="FFFFFF"/>
                </a:solidFill>
                <a:latin typeface="+mj-lt"/>
              </a:rPr>
              <a:t>and Data Monetization</a:t>
            </a:r>
            <a:endParaRPr lang="en-US" sz="1400" dirty="0">
              <a:solidFill>
                <a:srgbClr val="FFFFFF"/>
              </a:solidFill>
              <a:latin typeface="+mj-lt"/>
            </a:endParaRPr>
          </a:p>
        </p:txBody>
      </p:sp>
      <p:cxnSp>
        <p:nvCxnSpPr>
          <p:cNvPr id="25" name="Straight Connector 24"/>
          <p:cNvCxnSpPr/>
          <p:nvPr/>
        </p:nvCxnSpPr>
        <p:spPr>
          <a:xfrm>
            <a:off x="6739207" y="1916840"/>
            <a:ext cx="0" cy="210312"/>
          </a:xfrm>
          <a:prstGeom prst="line">
            <a:avLst/>
          </a:prstGeom>
          <a:noFill/>
          <a:ln w="19050" cap="rnd" cmpd="sng" algn="ctr">
            <a:solidFill>
              <a:schemeClr val="tx2"/>
            </a:solidFill>
            <a:prstDash val="solid"/>
            <a:headEnd type="triangle" w="med" len="med"/>
            <a:tailEnd type="triangle" w="med" len="med"/>
          </a:ln>
          <a:effectLst/>
        </p:spPr>
      </p:cxnSp>
      <p:cxnSp>
        <p:nvCxnSpPr>
          <p:cNvPr id="26" name="Straight Connector 25"/>
          <p:cNvCxnSpPr/>
          <p:nvPr/>
        </p:nvCxnSpPr>
        <p:spPr>
          <a:xfrm>
            <a:off x="7870298" y="1916840"/>
            <a:ext cx="0" cy="210312"/>
          </a:xfrm>
          <a:prstGeom prst="line">
            <a:avLst/>
          </a:prstGeom>
          <a:noFill/>
          <a:ln w="19050" cap="rnd" cmpd="sng" algn="ctr">
            <a:solidFill>
              <a:schemeClr val="tx2"/>
            </a:solidFill>
            <a:prstDash val="solid"/>
            <a:headEnd type="triangle" w="med" len="med"/>
            <a:tailEnd type="triangle" w="med" len="med"/>
          </a:ln>
          <a:effectLst/>
        </p:spPr>
      </p:cxnSp>
      <p:sp>
        <p:nvSpPr>
          <p:cNvPr id="27" name="Rectangle 26"/>
          <p:cNvSpPr/>
          <p:nvPr/>
        </p:nvSpPr>
        <p:spPr>
          <a:xfrm>
            <a:off x="6227143"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Advertising</a:t>
            </a:r>
            <a:endParaRPr lang="en-US" sz="1100" dirty="0">
              <a:solidFill>
                <a:srgbClr val="FFFFFF"/>
              </a:solidFill>
              <a:latin typeface="+mj-lt"/>
            </a:endParaRPr>
          </a:p>
        </p:txBody>
      </p:sp>
      <p:sp>
        <p:nvSpPr>
          <p:cNvPr id="28" name="Rectangle 27"/>
          <p:cNvSpPr/>
          <p:nvPr/>
        </p:nvSpPr>
        <p:spPr>
          <a:xfrm>
            <a:off x="7358234"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Social Media</a:t>
            </a:r>
            <a:endParaRPr lang="en-US" sz="1100" dirty="0">
              <a:solidFill>
                <a:srgbClr val="FFFFFF"/>
              </a:solidFill>
              <a:latin typeface="+mj-lt"/>
            </a:endParaRPr>
          </a:p>
        </p:txBody>
      </p:sp>
      <p:sp>
        <p:nvSpPr>
          <p:cNvPr id="29" name="TextBox 28"/>
          <p:cNvSpPr txBox="1"/>
          <p:nvPr/>
        </p:nvSpPr>
        <p:spPr>
          <a:xfrm>
            <a:off x="6289257" y="1079500"/>
            <a:ext cx="864084" cy="313932"/>
          </a:xfrm>
          <a:prstGeom prst="rect">
            <a:avLst/>
          </a:prstGeom>
          <a:noFill/>
        </p:spPr>
        <p:txBody>
          <a:bodyPr wrap="none" lIns="18288" tIns="18288" rIns="18288" bIns="18288" rtlCol="0">
            <a:spAutoFit/>
          </a:bodyPr>
          <a:lstStyle/>
          <a:p>
            <a:pPr algn="ctr"/>
            <a:r>
              <a:rPr lang="en-US" sz="900" b="1" dirty="0" smtClean="0">
                <a:latin typeface="+mj-lt"/>
              </a:rPr>
              <a:t>“You are What </a:t>
            </a:r>
            <a:br>
              <a:rPr lang="en-US" sz="900" b="1" dirty="0" smtClean="0">
                <a:latin typeface="+mj-lt"/>
              </a:rPr>
            </a:br>
            <a:r>
              <a:rPr lang="en-US" sz="900" b="1" dirty="0" smtClean="0">
                <a:latin typeface="+mj-lt"/>
              </a:rPr>
              <a:t>You Eat”</a:t>
            </a:r>
            <a:endParaRPr lang="en-US" sz="900" b="1" dirty="0">
              <a:latin typeface="+mj-lt"/>
            </a:endParaRPr>
          </a:p>
        </p:txBody>
      </p:sp>
      <p:sp>
        <p:nvSpPr>
          <p:cNvPr id="30" name="TextBox 29"/>
          <p:cNvSpPr txBox="1"/>
          <p:nvPr/>
        </p:nvSpPr>
        <p:spPr>
          <a:xfrm>
            <a:off x="5244857" y="1079500"/>
            <a:ext cx="735842" cy="313932"/>
          </a:xfrm>
          <a:prstGeom prst="rect">
            <a:avLst/>
          </a:prstGeom>
          <a:noFill/>
        </p:spPr>
        <p:txBody>
          <a:bodyPr wrap="none" lIns="18288" tIns="18288" rIns="18288" bIns="18288" rtlCol="0">
            <a:spAutoFit/>
          </a:bodyPr>
          <a:lstStyle/>
          <a:p>
            <a:pPr algn="ctr"/>
            <a:r>
              <a:rPr lang="en-US" sz="900" b="1" dirty="0" smtClean="0">
                <a:latin typeface="+mj-lt"/>
              </a:rPr>
              <a:t>Auto-Stock,</a:t>
            </a:r>
            <a:br>
              <a:rPr lang="en-US" sz="900" b="1" dirty="0" smtClean="0">
                <a:latin typeface="+mj-lt"/>
              </a:rPr>
            </a:br>
            <a:r>
              <a:rPr lang="en-US" sz="900" b="1" dirty="0" smtClean="0">
                <a:latin typeface="+mj-lt"/>
              </a:rPr>
              <a:t>Notifications</a:t>
            </a:r>
            <a:endParaRPr lang="en-US" sz="900" b="1" dirty="0">
              <a:latin typeface="+mj-lt"/>
            </a:endParaRPr>
          </a:p>
        </p:txBody>
      </p:sp>
      <p:sp>
        <p:nvSpPr>
          <p:cNvPr id="31" name="TextBox 30"/>
          <p:cNvSpPr txBox="1"/>
          <p:nvPr/>
        </p:nvSpPr>
        <p:spPr>
          <a:xfrm>
            <a:off x="7386961" y="1079500"/>
            <a:ext cx="966676" cy="313932"/>
          </a:xfrm>
          <a:prstGeom prst="rect">
            <a:avLst/>
          </a:prstGeom>
          <a:noFill/>
        </p:spPr>
        <p:txBody>
          <a:bodyPr wrap="none" lIns="18288" tIns="18288" rIns="18288" bIns="18288" rtlCol="0">
            <a:spAutoFit/>
          </a:bodyPr>
          <a:lstStyle/>
          <a:p>
            <a:pPr algn="ctr"/>
            <a:r>
              <a:rPr lang="en-US" sz="900" b="1" dirty="0" smtClean="0">
                <a:latin typeface="+mj-lt"/>
              </a:rPr>
              <a:t>Location, Habits,</a:t>
            </a:r>
            <a:br>
              <a:rPr lang="en-US" sz="900" b="1" dirty="0" smtClean="0">
                <a:latin typeface="+mj-lt"/>
              </a:rPr>
            </a:br>
            <a:r>
              <a:rPr lang="en-US" sz="900" b="1" dirty="0" smtClean="0">
                <a:latin typeface="+mj-lt"/>
              </a:rPr>
              <a:t>Interaction</a:t>
            </a:r>
            <a:endParaRPr lang="en-US" sz="900" b="1" dirty="0">
              <a:latin typeface="+mj-lt"/>
            </a:endParaRPr>
          </a:p>
        </p:txBody>
      </p:sp>
      <p:sp>
        <p:nvSpPr>
          <p:cNvPr id="32" name="Rectangle 31"/>
          <p:cNvSpPr/>
          <p:nvPr/>
        </p:nvSpPr>
        <p:spPr>
          <a:xfrm>
            <a:off x="3052708"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a:solidFill>
                  <a:srgbClr val="FFFFFF"/>
                </a:solidFill>
                <a:latin typeface="+mj-lt"/>
              </a:rPr>
              <a:t>Connectivity Mgmt Platform</a:t>
            </a:r>
          </a:p>
        </p:txBody>
      </p:sp>
      <p:cxnSp>
        <p:nvCxnSpPr>
          <p:cNvPr id="33" name="Straight Connector 32"/>
          <p:cNvCxnSpPr/>
          <p:nvPr/>
        </p:nvCxnSpPr>
        <p:spPr>
          <a:xfrm>
            <a:off x="3543529" y="1916840"/>
            <a:ext cx="0" cy="210312"/>
          </a:xfrm>
          <a:prstGeom prst="line">
            <a:avLst/>
          </a:prstGeom>
          <a:noFill/>
          <a:ln w="19050" cap="rnd" cmpd="sng" algn="ctr">
            <a:solidFill>
              <a:schemeClr val="tx2"/>
            </a:solidFill>
            <a:prstDash val="solid"/>
            <a:headEnd type="triangle" w="med" len="med"/>
            <a:tailEnd type="triangle" w="med" len="med"/>
          </a:ln>
          <a:effectLst/>
        </p:spPr>
      </p:cxnSp>
      <p:pic>
        <p:nvPicPr>
          <p:cNvPr id="34" name="Picture 2" descr="mage result for smart vending machin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75886" y="2650056"/>
            <a:ext cx="1510216" cy="1995341"/>
          </a:xfrm>
          <a:prstGeom prst="rect">
            <a:avLst/>
          </a:prstGeom>
          <a:noFill/>
          <a:extLst>
            <a:ext uri="{909E8E84-426E-40dd-AFC4-6F175D3DCCD1}">
              <a14:hiddenFill xmlns="" xmlns:a14="http://schemas.microsoft.com/office/drawing/2010/main">
                <a:solidFill>
                  <a:srgbClr val="FFFFFF"/>
                </a:solidFill>
              </a14:hiddenFill>
            </a:ext>
          </a:extLst>
        </p:spPr>
      </p:pic>
      <p:cxnSp>
        <p:nvCxnSpPr>
          <p:cNvPr id="35" name="Straight Connector 34"/>
          <p:cNvCxnSpPr/>
          <p:nvPr/>
        </p:nvCxnSpPr>
        <p:spPr>
          <a:xfrm flipH="1" flipV="1">
            <a:off x="1566504" y="3689452"/>
            <a:ext cx="938173" cy="81613"/>
          </a:xfrm>
          <a:prstGeom prst="line">
            <a:avLst/>
          </a:prstGeom>
          <a:ln w="12700" cap="flat">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18750826">
            <a:off x="1602683" y="3312888"/>
            <a:ext cx="527452" cy="190821"/>
          </a:xfrm>
          <a:prstGeom prst="rect">
            <a:avLst/>
          </a:prstGeom>
          <a:noFill/>
          <a:ln>
            <a:noFill/>
          </a:ln>
        </p:spPr>
        <p:txBody>
          <a:bodyPr wrap="square" lIns="18288" tIns="18288" rIns="18288" bIns="18288" rtlCol="0">
            <a:spAutoFit/>
          </a:bodyPr>
          <a:lstStyle/>
          <a:p>
            <a:r>
              <a:rPr lang="en-US" sz="1000" dirty="0" smtClean="0">
                <a:solidFill>
                  <a:schemeClr val="tx2"/>
                </a:solidFill>
                <a:latin typeface="+mj-lt"/>
              </a:rPr>
              <a:t>Services</a:t>
            </a:r>
            <a:endParaRPr lang="en-US" sz="1000" dirty="0">
              <a:solidFill>
                <a:schemeClr val="tx2"/>
              </a:solidFill>
              <a:latin typeface="+mj-lt"/>
            </a:endParaRPr>
          </a:p>
        </p:txBody>
      </p:sp>
      <p:sp>
        <p:nvSpPr>
          <p:cNvPr id="37" name="TextBox 36"/>
          <p:cNvSpPr txBox="1"/>
          <p:nvPr/>
        </p:nvSpPr>
        <p:spPr>
          <a:xfrm rot="18782000">
            <a:off x="1873584" y="3291554"/>
            <a:ext cx="668516" cy="190821"/>
          </a:xfrm>
          <a:prstGeom prst="rect">
            <a:avLst/>
          </a:prstGeom>
          <a:noFill/>
          <a:ln>
            <a:noFill/>
          </a:ln>
        </p:spPr>
        <p:txBody>
          <a:bodyPr wrap="square" lIns="18288" tIns="18288" rIns="18288" bIns="18288" rtlCol="0">
            <a:spAutoFit/>
          </a:bodyPr>
          <a:lstStyle/>
          <a:p>
            <a:r>
              <a:rPr lang="en-US" sz="1000" dirty="0" smtClean="0">
                <a:solidFill>
                  <a:schemeClr val="tx2"/>
                </a:solidFill>
                <a:latin typeface="+mj-lt"/>
              </a:rPr>
              <a:t>Advertising</a:t>
            </a:r>
            <a:endParaRPr lang="en-US" sz="1000" dirty="0">
              <a:solidFill>
                <a:schemeClr val="tx2"/>
              </a:solidFill>
              <a:latin typeface="+mj-lt"/>
            </a:endParaRPr>
          </a:p>
        </p:txBody>
      </p:sp>
      <p:sp>
        <p:nvSpPr>
          <p:cNvPr id="38" name="TextBox 37"/>
          <p:cNvSpPr txBox="1"/>
          <p:nvPr/>
        </p:nvSpPr>
        <p:spPr>
          <a:xfrm rot="18813644">
            <a:off x="2165324" y="3253438"/>
            <a:ext cx="767903" cy="190821"/>
          </a:xfrm>
          <a:prstGeom prst="rect">
            <a:avLst/>
          </a:prstGeom>
          <a:noFill/>
          <a:ln>
            <a:noFill/>
          </a:ln>
        </p:spPr>
        <p:txBody>
          <a:bodyPr wrap="square" lIns="18288" tIns="18288" rIns="18288" bIns="18288" rtlCol="0">
            <a:spAutoFit/>
          </a:bodyPr>
          <a:lstStyle/>
          <a:p>
            <a:r>
              <a:rPr lang="en-US" sz="1000" dirty="0" smtClean="0">
                <a:solidFill>
                  <a:schemeClr val="tx2"/>
                </a:solidFill>
                <a:latin typeface="+mj-lt"/>
              </a:rPr>
              <a:t>Social Media</a:t>
            </a:r>
            <a:endParaRPr lang="en-US" sz="1000" dirty="0">
              <a:solidFill>
                <a:schemeClr val="tx2"/>
              </a:solidFill>
              <a:latin typeface="+mj-lt"/>
            </a:endParaRPr>
          </a:p>
        </p:txBody>
      </p:sp>
      <p:sp>
        <p:nvSpPr>
          <p:cNvPr id="58" name="Freeform 6"/>
          <p:cNvSpPr>
            <a:spLocks/>
          </p:cNvSpPr>
          <p:nvPr/>
        </p:nvSpPr>
        <p:spPr bwMode="auto">
          <a:xfrm>
            <a:off x="2488392" y="2248721"/>
            <a:ext cx="4273748" cy="2445884"/>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a:latin typeface="+mj-lt"/>
            </a:endParaRPr>
          </a:p>
        </p:txBody>
      </p:sp>
      <p:cxnSp>
        <p:nvCxnSpPr>
          <p:cNvPr id="60" name="Straight Connector 59"/>
          <p:cNvCxnSpPr/>
          <p:nvPr/>
        </p:nvCxnSpPr>
        <p:spPr>
          <a:xfrm rot="16200000" flipH="1">
            <a:off x="3941118" y="2808682"/>
            <a:ext cx="1368296" cy="0"/>
          </a:xfrm>
          <a:prstGeom prst="line">
            <a:avLst/>
          </a:prstGeom>
          <a:noFill/>
          <a:ln w="19050" cap="rnd" cmpd="sng" algn="ctr">
            <a:solidFill>
              <a:schemeClr val="tx2"/>
            </a:solidFill>
            <a:prstDash val="dash"/>
            <a:headEnd type="triangle" w="med" len="med"/>
            <a:tailEnd type="triangle" w="med" len="med"/>
          </a:ln>
          <a:effectLst/>
        </p:spPr>
      </p:cxnSp>
      <p:sp>
        <p:nvSpPr>
          <p:cNvPr id="61" name="Rectangle 15"/>
          <p:cNvSpPr>
            <a:spLocks noChangeArrowheads="1"/>
          </p:cNvSpPr>
          <p:nvPr/>
        </p:nvSpPr>
        <p:spPr bwMode="auto">
          <a:xfrm>
            <a:off x="4218482" y="2687596"/>
            <a:ext cx="813569" cy="242172"/>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a:solidFill>
                  <a:schemeClr val="bg1"/>
                </a:solidFill>
                <a:latin typeface="+mj-lt"/>
                <a:ea typeface="ＭＳ Ｐゴシック" charset="0"/>
              </a:rPr>
              <a:t>API</a:t>
            </a:r>
          </a:p>
        </p:txBody>
      </p:sp>
      <p:grpSp>
        <p:nvGrpSpPr>
          <p:cNvPr id="4" name="Group 42"/>
          <p:cNvGrpSpPr/>
          <p:nvPr/>
        </p:nvGrpSpPr>
        <p:grpSpPr>
          <a:xfrm>
            <a:off x="2901636" y="3490101"/>
            <a:ext cx="3447261" cy="988765"/>
            <a:chOff x="2813838" y="2999034"/>
            <a:chExt cx="3447261" cy="988765"/>
          </a:xfrm>
        </p:grpSpPr>
        <p:sp>
          <p:nvSpPr>
            <p:cNvPr id="44" name="Rounded Rectangle 43"/>
            <p:cNvSpPr/>
            <p:nvPr/>
          </p:nvSpPr>
          <p:spPr>
            <a:xfrm>
              <a:off x="2867459"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acket Core</a:t>
              </a:r>
            </a:p>
          </p:txBody>
        </p:sp>
        <p:sp>
          <p:nvSpPr>
            <p:cNvPr id="45" name="Rounded Rectangle 44"/>
            <p:cNvSpPr/>
            <p:nvPr/>
          </p:nvSpPr>
          <p:spPr>
            <a:xfrm>
              <a:off x="400404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olicy Platform</a:t>
              </a:r>
            </a:p>
          </p:txBody>
        </p:sp>
        <p:sp>
          <p:nvSpPr>
            <p:cNvPr id="46" name="Rounded Rectangle 45"/>
            <p:cNvSpPr/>
            <p:nvPr/>
          </p:nvSpPr>
          <p:spPr>
            <a:xfrm>
              <a:off x="514062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Ultra Services Framework</a:t>
              </a:r>
            </a:p>
          </p:txBody>
        </p:sp>
        <p:sp>
          <p:nvSpPr>
            <p:cNvPr id="47" name="Rounded Rectangle 46"/>
            <p:cNvSpPr/>
            <p:nvPr/>
          </p:nvSpPr>
          <p:spPr>
            <a:xfrm>
              <a:off x="2813838" y="2999034"/>
              <a:ext cx="3447261" cy="988765"/>
            </a:xfrm>
            <a:prstGeom prst="roundRect">
              <a:avLst/>
            </a:prstGeom>
            <a:no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8" name="Rectangle 47"/>
            <p:cNvSpPr/>
            <p:nvPr/>
          </p:nvSpPr>
          <p:spPr>
            <a:xfrm>
              <a:off x="3763219" y="3082015"/>
              <a:ext cx="1548501" cy="169277"/>
            </a:xfrm>
            <a:prstGeom prst="rect">
              <a:avLst/>
            </a:prstGeom>
          </p:spPr>
          <p:txBody>
            <a:bodyPr wrap="none" lIns="0" tIns="0" rIns="0" bIns="0">
              <a:spAutoFit/>
            </a:bodyPr>
            <a:lstStyle/>
            <a:p>
              <a:pPr algn="ctr"/>
              <a:r>
                <a:rPr lang="en-GB" sz="1100" b="1" dirty="0" smtClean="0">
                  <a:solidFill>
                    <a:schemeClr val="bg2"/>
                  </a:solidFill>
                  <a:latin typeface="+mj-lt"/>
                </a:rPr>
                <a:t>Ultra Services Platform</a:t>
              </a:r>
              <a:endParaRPr lang="en-GB" sz="1100" b="1" dirty="0">
                <a:solidFill>
                  <a:schemeClr val="bg2"/>
                </a:solidFill>
                <a:latin typeface="+mj-lt"/>
              </a:endParaRPr>
            </a:p>
          </p:txBody>
        </p:sp>
      </p:grpSp>
      <p:sp>
        <p:nvSpPr>
          <p:cNvPr id="39" name="Rounded Rectangle 38"/>
          <p:cNvSpPr/>
          <p:nvPr/>
        </p:nvSpPr>
        <p:spPr>
          <a:xfrm>
            <a:off x="3240022" y="4176271"/>
            <a:ext cx="556685" cy="208887"/>
          </a:xfrm>
          <a:prstGeom prst="round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1"/>
                </a:solidFill>
                <a:latin typeface="+mj-lt"/>
              </a:rPr>
              <a:t>CSGN</a:t>
            </a:r>
          </a:p>
        </p:txBody>
      </p:sp>
      <p:sp>
        <p:nvSpPr>
          <p:cNvPr id="40" name="Rounded Rectangle 39"/>
          <p:cNvSpPr/>
          <p:nvPr/>
        </p:nvSpPr>
        <p:spPr>
          <a:xfrm>
            <a:off x="4338195" y="4176734"/>
            <a:ext cx="556685" cy="208887"/>
          </a:xfrm>
          <a:prstGeom prst="round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1"/>
                </a:solidFill>
                <a:latin typeface="+mj-lt"/>
              </a:rPr>
              <a:t>eSCEF</a:t>
            </a:r>
          </a:p>
        </p:txBody>
      </p:sp>
    </p:spTree>
    <p:extLst>
      <p:ext uri="{BB962C8B-B14F-4D97-AF65-F5344CB8AC3E}">
        <p14:creationId xmlns:p14="http://schemas.microsoft.com/office/powerpoint/2010/main" val="600719668"/>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5374" name="think-cell Slide" r:id="rId5" imgW="476" imgH="357" progId="">
                  <p:embed/>
                </p:oleObj>
              </mc:Choice>
              <mc:Fallback>
                <p:oleObj name="think-cell Slide" r:id="rId5" imgW="476" imgH="357"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dirty="0" smtClean="0"/>
              <a:t>Cisco Ultra IoT – New Monetization</a:t>
            </a:r>
            <a:r>
              <a:rPr lang="en-US" dirty="0" smtClean="0"/>
              <a:t> Models</a:t>
            </a:r>
            <a:endParaRPr lang="en-US" dirty="0"/>
          </a:p>
        </p:txBody>
      </p:sp>
      <p:sp>
        <p:nvSpPr>
          <p:cNvPr id="3" name="Rectangle 2"/>
          <p:cNvSpPr/>
          <p:nvPr/>
        </p:nvSpPr>
        <p:spPr>
          <a:xfrm>
            <a:off x="0" y="1079500"/>
            <a:ext cx="9144000" cy="3638550"/>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3" name="TextBox 22"/>
          <p:cNvSpPr txBox="1"/>
          <p:nvPr/>
        </p:nvSpPr>
        <p:spPr>
          <a:xfrm>
            <a:off x="548508" y="2144004"/>
            <a:ext cx="1913338" cy="523220"/>
          </a:xfrm>
          <a:prstGeom prst="rect">
            <a:avLst/>
          </a:prstGeom>
          <a:noFill/>
        </p:spPr>
        <p:txBody>
          <a:bodyPr wrap="square" rtlCol="0">
            <a:spAutoFit/>
          </a:bodyPr>
          <a:lstStyle/>
          <a:p>
            <a:r>
              <a:rPr lang="en-US" sz="1400" dirty="0" smtClean="0">
                <a:solidFill>
                  <a:schemeClr val="tx2"/>
                </a:solidFill>
                <a:latin typeface="+mj-lt"/>
              </a:rPr>
              <a:t>Use Case: </a:t>
            </a:r>
            <a:br>
              <a:rPr lang="en-US" sz="1400" dirty="0" smtClean="0">
                <a:solidFill>
                  <a:schemeClr val="tx2"/>
                </a:solidFill>
                <a:latin typeface="+mj-lt"/>
              </a:rPr>
            </a:br>
            <a:r>
              <a:rPr lang="en-US" sz="1400" dirty="0" smtClean="0">
                <a:solidFill>
                  <a:schemeClr val="tx2"/>
                </a:solidFill>
                <a:latin typeface="+mj-lt"/>
              </a:rPr>
              <a:t>Wearable Wellness</a:t>
            </a:r>
          </a:p>
        </p:txBody>
      </p:sp>
      <p:cxnSp>
        <p:nvCxnSpPr>
          <p:cNvPr id="47" name="Straight Connector 46"/>
          <p:cNvCxnSpPr>
            <a:endCxn id="66" idx="3"/>
          </p:cNvCxnSpPr>
          <p:nvPr/>
        </p:nvCxnSpPr>
        <p:spPr>
          <a:xfrm flipH="1" flipV="1">
            <a:off x="1860550" y="2976166"/>
            <a:ext cx="639766" cy="817166"/>
          </a:xfrm>
          <a:prstGeom prst="line">
            <a:avLst/>
          </a:prstGeom>
          <a:ln w="12700" cap="flat">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endCxn id="78" idx="3"/>
          </p:cNvCxnSpPr>
          <p:nvPr/>
        </p:nvCxnSpPr>
        <p:spPr>
          <a:xfrm flipH="1" flipV="1">
            <a:off x="1860550" y="3469443"/>
            <a:ext cx="639764" cy="333416"/>
          </a:xfrm>
          <a:prstGeom prst="line">
            <a:avLst/>
          </a:prstGeom>
          <a:ln w="12700" cap="flat">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endCxn id="85" idx="3"/>
          </p:cNvCxnSpPr>
          <p:nvPr/>
        </p:nvCxnSpPr>
        <p:spPr>
          <a:xfrm flipH="1">
            <a:off x="1860550" y="3805238"/>
            <a:ext cx="632622" cy="157482"/>
          </a:xfrm>
          <a:prstGeom prst="line">
            <a:avLst/>
          </a:prstGeom>
          <a:ln w="12700" cap="flat">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endCxn id="92" idx="3"/>
          </p:cNvCxnSpPr>
          <p:nvPr/>
        </p:nvCxnSpPr>
        <p:spPr>
          <a:xfrm flipH="1">
            <a:off x="1860550" y="3800475"/>
            <a:ext cx="639766" cy="655522"/>
          </a:xfrm>
          <a:prstGeom prst="line">
            <a:avLst/>
          </a:prstGeom>
          <a:ln w="12700" cap="flat">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52" name="Freeform 6"/>
          <p:cNvSpPr>
            <a:spLocks noEditPoints="1"/>
          </p:cNvSpPr>
          <p:nvPr/>
        </p:nvSpPr>
        <p:spPr bwMode="auto">
          <a:xfrm>
            <a:off x="332319" y="3076575"/>
            <a:ext cx="958806" cy="1091142"/>
          </a:xfrm>
          <a:custGeom>
            <a:avLst/>
            <a:gdLst/>
            <a:ahLst/>
            <a:cxnLst>
              <a:cxn ang="0">
                <a:pos x="2222" y="742"/>
              </a:cxn>
              <a:cxn ang="0">
                <a:pos x="2134" y="762"/>
              </a:cxn>
              <a:cxn ang="0">
                <a:pos x="1722" y="652"/>
              </a:cxn>
              <a:cxn ang="0">
                <a:pos x="1670" y="574"/>
              </a:cxn>
              <a:cxn ang="0">
                <a:pos x="1592" y="518"/>
              </a:cxn>
              <a:cxn ang="0">
                <a:pos x="1512" y="498"/>
              </a:cxn>
              <a:cxn ang="0">
                <a:pos x="1000" y="352"/>
              </a:cxn>
              <a:cxn ang="0">
                <a:pos x="926" y="374"/>
              </a:cxn>
              <a:cxn ang="0">
                <a:pos x="708" y="880"/>
              </a:cxn>
              <a:cxn ang="0">
                <a:pos x="710" y="954"/>
              </a:cxn>
              <a:cxn ang="0">
                <a:pos x="764" y="1006"/>
              </a:cxn>
              <a:cxn ang="0">
                <a:pos x="854" y="994"/>
              </a:cxn>
              <a:cxn ang="0">
                <a:pos x="1256" y="622"/>
              </a:cxn>
              <a:cxn ang="0">
                <a:pos x="964" y="1248"/>
              </a:cxn>
              <a:cxn ang="0">
                <a:pos x="58" y="2026"/>
              </a:cxn>
              <a:cxn ang="0">
                <a:pos x="12" y="2080"/>
              </a:cxn>
              <a:cxn ang="0">
                <a:pos x="0" y="2146"/>
              </a:cxn>
              <a:cxn ang="0">
                <a:pos x="18" y="2214"/>
              </a:cxn>
              <a:cxn ang="0">
                <a:pos x="58" y="2256"/>
              </a:cxn>
              <a:cxn ang="0">
                <a:pos x="122" y="2282"/>
              </a:cxn>
              <a:cxn ang="0">
                <a:pos x="190" y="2276"/>
              </a:cxn>
              <a:cxn ang="0">
                <a:pos x="802" y="2058"/>
              </a:cxn>
              <a:cxn ang="0">
                <a:pos x="842" y="2010"/>
              </a:cxn>
              <a:cxn ang="0">
                <a:pos x="1420" y="1954"/>
              </a:cxn>
              <a:cxn ang="0">
                <a:pos x="1016" y="2420"/>
              </a:cxn>
              <a:cxn ang="0">
                <a:pos x="1004" y="2486"/>
              </a:cxn>
              <a:cxn ang="0">
                <a:pos x="1024" y="2552"/>
              </a:cxn>
              <a:cxn ang="0">
                <a:pos x="1062" y="2594"/>
              </a:cxn>
              <a:cxn ang="0">
                <a:pos x="1128" y="2620"/>
              </a:cxn>
              <a:cxn ang="0">
                <a:pos x="1196" y="2612"/>
              </a:cxn>
              <a:cxn ang="0">
                <a:pos x="1254" y="2572"/>
              </a:cxn>
              <a:cxn ang="0">
                <a:pos x="1752" y="1998"/>
              </a:cxn>
              <a:cxn ang="0">
                <a:pos x="1762" y="1950"/>
              </a:cxn>
              <a:cxn ang="0">
                <a:pos x="1760" y="1904"/>
              </a:cxn>
              <a:cxn ang="0">
                <a:pos x="1726" y="1840"/>
              </a:cxn>
              <a:cxn ang="0">
                <a:pos x="1420" y="1514"/>
              </a:cxn>
              <a:cxn ang="0">
                <a:pos x="1726" y="1192"/>
              </a:cxn>
              <a:cxn ang="0">
                <a:pos x="1746" y="1236"/>
              </a:cxn>
              <a:cxn ang="0">
                <a:pos x="1782" y="1264"/>
              </a:cxn>
              <a:cxn ang="0">
                <a:pos x="1814" y="1270"/>
              </a:cxn>
              <a:cxn ang="0">
                <a:pos x="1848" y="1268"/>
              </a:cxn>
              <a:cxn ang="0">
                <a:pos x="1886" y="1246"/>
              </a:cxn>
              <a:cxn ang="0">
                <a:pos x="2294" y="896"/>
              </a:cxn>
              <a:cxn ang="0">
                <a:pos x="2300" y="826"/>
              </a:cxn>
              <a:cxn ang="0">
                <a:pos x="1782" y="540"/>
              </a:cxn>
              <a:cxn ang="0">
                <a:pos x="1888" y="518"/>
              </a:cxn>
              <a:cxn ang="0">
                <a:pos x="1990" y="442"/>
              </a:cxn>
              <a:cxn ang="0">
                <a:pos x="2046" y="324"/>
              </a:cxn>
              <a:cxn ang="0">
                <a:pos x="2046" y="216"/>
              </a:cxn>
              <a:cxn ang="0">
                <a:pos x="1990" y="98"/>
              </a:cxn>
              <a:cxn ang="0">
                <a:pos x="1888" y="20"/>
              </a:cxn>
              <a:cxn ang="0">
                <a:pos x="1782" y="0"/>
              </a:cxn>
              <a:cxn ang="0">
                <a:pos x="1652" y="32"/>
              </a:cxn>
              <a:cxn ang="0">
                <a:pos x="1558" y="118"/>
              </a:cxn>
              <a:cxn ang="0">
                <a:pos x="1512" y="242"/>
              </a:cxn>
              <a:cxn ang="0">
                <a:pos x="1524" y="350"/>
              </a:cxn>
              <a:cxn ang="0">
                <a:pos x="1590" y="462"/>
              </a:cxn>
              <a:cxn ang="0">
                <a:pos x="1702" y="528"/>
              </a:cxn>
            </a:cxnLst>
            <a:rect l="0" t="0" r="r" b="b"/>
            <a:pathLst>
              <a:path w="2304" h="2622">
                <a:moveTo>
                  <a:pt x="2270" y="774"/>
                </a:moveTo>
                <a:lnTo>
                  <a:pt x="2270" y="774"/>
                </a:lnTo>
                <a:lnTo>
                  <a:pt x="2256" y="760"/>
                </a:lnTo>
                <a:lnTo>
                  <a:pt x="2240" y="750"/>
                </a:lnTo>
                <a:lnTo>
                  <a:pt x="2222" y="742"/>
                </a:lnTo>
                <a:lnTo>
                  <a:pt x="2204" y="740"/>
                </a:lnTo>
                <a:lnTo>
                  <a:pt x="2186" y="740"/>
                </a:lnTo>
                <a:lnTo>
                  <a:pt x="2168" y="744"/>
                </a:lnTo>
                <a:lnTo>
                  <a:pt x="2150" y="750"/>
                </a:lnTo>
                <a:lnTo>
                  <a:pt x="2134" y="762"/>
                </a:lnTo>
                <a:lnTo>
                  <a:pt x="1864" y="988"/>
                </a:lnTo>
                <a:lnTo>
                  <a:pt x="1742" y="680"/>
                </a:lnTo>
                <a:lnTo>
                  <a:pt x="1742" y="680"/>
                </a:lnTo>
                <a:lnTo>
                  <a:pt x="1732" y="666"/>
                </a:lnTo>
                <a:lnTo>
                  <a:pt x="1722" y="652"/>
                </a:lnTo>
                <a:lnTo>
                  <a:pt x="1722" y="652"/>
                </a:lnTo>
                <a:lnTo>
                  <a:pt x="1712" y="630"/>
                </a:lnTo>
                <a:lnTo>
                  <a:pt x="1700" y="610"/>
                </a:lnTo>
                <a:lnTo>
                  <a:pt x="1686" y="592"/>
                </a:lnTo>
                <a:lnTo>
                  <a:pt x="1670" y="574"/>
                </a:lnTo>
                <a:lnTo>
                  <a:pt x="1654" y="558"/>
                </a:lnTo>
                <a:lnTo>
                  <a:pt x="1634" y="544"/>
                </a:lnTo>
                <a:lnTo>
                  <a:pt x="1614" y="530"/>
                </a:lnTo>
                <a:lnTo>
                  <a:pt x="1592" y="518"/>
                </a:lnTo>
                <a:lnTo>
                  <a:pt x="1592" y="518"/>
                </a:lnTo>
                <a:lnTo>
                  <a:pt x="1572" y="510"/>
                </a:lnTo>
                <a:lnTo>
                  <a:pt x="1552" y="504"/>
                </a:lnTo>
                <a:lnTo>
                  <a:pt x="1532" y="500"/>
                </a:lnTo>
                <a:lnTo>
                  <a:pt x="1512" y="498"/>
                </a:lnTo>
                <a:lnTo>
                  <a:pt x="1512" y="498"/>
                </a:lnTo>
                <a:lnTo>
                  <a:pt x="1504" y="492"/>
                </a:lnTo>
                <a:lnTo>
                  <a:pt x="1494" y="488"/>
                </a:lnTo>
                <a:lnTo>
                  <a:pt x="1020" y="356"/>
                </a:lnTo>
                <a:lnTo>
                  <a:pt x="1020" y="356"/>
                </a:lnTo>
                <a:lnTo>
                  <a:pt x="1000" y="352"/>
                </a:lnTo>
                <a:lnTo>
                  <a:pt x="982" y="354"/>
                </a:lnTo>
                <a:lnTo>
                  <a:pt x="962" y="358"/>
                </a:lnTo>
                <a:lnTo>
                  <a:pt x="946" y="366"/>
                </a:lnTo>
                <a:lnTo>
                  <a:pt x="946" y="366"/>
                </a:lnTo>
                <a:lnTo>
                  <a:pt x="926" y="374"/>
                </a:lnTo>
                <a:lnTo>
                  <a:pt x="910" y="386"/>
                </a:lnTo>
                <a:lnTo>
                  <a:pt x="896" y="402"/>
                </a:lnTo>
                <a:lnTo>
                  <a:pt x="890" y="412"/>
                </a:lnTo>
                <a:lnTo>
                  <a:pt x="886" y="422"/>
                </a:lnTo>
                <a:lnTo>
                  <a:pt x="708" y="880"/>
                </a:lnTo>
                <a:lnTo>
                  <a:pt x="708" y="880"/>
                </a:lnTo>
                <a:lnTo>
                  <a:pt x="702" y="898"/>
                </a:lnTo>
                <a:lnTo>
                  <a:pt x="702" y="918"/>
                </a:lnTo>
                <a:lnTo>
                  <a:pt x="704" y="936"/>
                </a:lnTo>
                <a:lnTo>
                  <a:pt x="710" y="954"/>
                </a:lnTo>
                <a:lnTo>
                  <a:pt x="718" y="970"/>
                </a:lnTo>
                <a:lnTo>
                  <a:pt x="732" y="984"/>
                </a:lnTo>
                <a:lnTo>
                  <a:pt x="746" y="996"/>
                </a:lnTo>
                <a:lnTo>
                  <a:pt x="764" y="1006"/>
                </a:lnTo>
                <a:lnTo>
                  <a:pt x="764" y="1006"/>
                </a:lnTo>
                <a:lnTo>
                  <a:pt x="782" y="1010"/>
                </a:lnTo>
                <a:lnTo>
                  <a:pt x="802" y="1012"/>
                </a:lnTo>
                <a:lnTo>
                  <a:pt x="820" y="1010"/>
                </a:lnTo>
                <a:lnTo>
                  <a:pt x="838" y="1004"/>
                </a:lnTo>
                <a:lnTo>
                  <a:pt x="854" y="994"/>
                </a:lnTo>
                <a:lnTo>
                  <a:pt x="868" y="982"/>
                </a:lnTo>
                <a:lnTo>
                  <a:pt x="880" y="968"/>
                </a:lnTo>
                <a:lnTo>
                  <a:pt x="890" y="950"/>
                </a:lnTo>
                <a:lnTo>
                  <a:pt x="1040" y="562"/>
                </a:lnTo>
                <a:lnTo>
                  <a:pt x="1256" y="622"/>
                </a:lnTo>
                <a:lnTo>
                  <a:pt x="1256" y="622"/>
                </a:lnTo>
                <a:lnTo>
                  <a:pt x="1248" y="636"/>
                </a:lnTo>
                <a:lnTo>
                  <a:pt x="1240" y="648"/>
                </a:lnTo>
                <a:lnTo>
                  <a:pt x="964" y="1248"/>
                </a:lnTo>
                <a:lnTo>
                  <a:pt x="964" y="1248"/>
                </a:lnTo>
                <a:lnTo>
                  <a:pt x="958" y="1260"/>
                </a:lnTo>
                <a:lnTo>
                  <a:pt x="954" y="1274"/>
                </a:lnTo>
                <a:lnTo>
                  <a:pt x="618" y="1838"/>
                </a:lnTo>
                <a:lnTo>
                  <a:pt x="58" y="2026"/>
                </a:lnTo>
                <a:lnTo>
                  <a:pt x="58" y="2026"/>
                </a:lnTo>
                <a:lnTo>
                  <a:pt x="46" y="2034"/>
                </a:lnTo>
                <a:lnTo>
                  <a:pt x="36" y="2044"/>
                </a:lnTo>
                <a:lnTo>
                  <a:pt x="26" y="2056"/>
                </a:lnTo>
                <a:lnTo>
                  <a:pt x="18" y="2068"/>
                </a:lnTo>
                <a:lnTo>
                  <a:pt x="12" y="2080"/>
                </a:lnTo>
                <a:lnTo>
                  <a:pt x="8" y="2092"/>
                </a:lnTo>
                <a:lnTo>
                  <a:pt x="4" y="2106"/>
                </a:lnTo>
                <a:lnTo>
                  <a:pt x="0" y="2120"/>
                </a:lnTo>
                <a:lnTo>
                  <a:pt x="0" y="2134"/>
                </a:lnTo>
                <a:lnTo>
                  <a:pt x="0" y="2146"/>
                </a:lnTo>
                <a:lnTo>
                  <a:pt x="0" y="2160"/>
                </a:lnTo>
                <a:lnTo>
                  <a:pt x="2" y="2174"/>
                </a:lnTo>
                <a:lnTo>
                  <a:pt x="6" y="2188"/>
                </a:lnTo>
                <a:lnTo>
                  <a:pt x="12" y="2200"/>
                </a:lnTo>
                <a:lnTo>
                  <a:pt x="18" y="2214"/>
                </a:lnTo>
                <a:lnTo>
                  <a:pt x="26" y="2226"/>
                </a:lnTo>
                <a:lnTo>
                  <a:pt x="26" y="2226"/>
                </a:lnTo>
                <a:lnTo>
                  <a:pt x="36" y="2238"/>
                </a:lnTo>
                <a:lnTo>
                  <a:pt x="46" y="2248"/>
                </a:lnTo>
                <a:lnTo>
                  <a:pt x="58" y="2256"/>
                </a:lnTo>
                <a:lnTo>
                  <a:pt x="70" y="2264"/>
                </a:lnTo>
                <a:lnTo>
                  <a:pt x="82" y="2270"/>
                </a:lnTo>
                <a:lnTo>
                  <a:pt x="94" y="2276"/>
                </a:lnTo>
                <a:lnTo>
                  <a:pt x="108" y="2280"/>
                </a:lnTo>
                <a:lnTo>
                  <a:pt x="122" y="2282"/>
                </a:lnTo>
                <a:lnTo>
                  <a:pt x="134" y="2284"/>
                </a:lnTo>
                <a:lnTo>
                  <a:pt x="148" y="2284"/>
                </a:lnTo>
                <a:lnTo>
                  <a:pt x="162" y="2282"/>
                </a:lnTo>
                <a:lnTo>
                  <a:pt x="176" y="2280"/>
                </a:lnTo>
                <a:lnTo>
                  <a:pt x="190" y="2276"/>
                </a:lnTo>
                <a:lnTo>
                  <a:pt x="202" y="2270"/>
                </a:lnTo>
                <a:lnTo>
                  <a:pt x="216" y="2264"/>
                </a:lnTo>
                <a:lnTo>
                  <a:pt x="228" y="2256"/>
                </a:lnTo>
                <a:lnTo>
                  <a:pt x="802" y="2058"/>
                </a:lnTo>
                <a:lnTo>
                  <a:pt x="802" y="2058"/>
                </a:lnTo>
                <a:lnTo>
                  <a:pt x="814" y="2048"/>
                </a:lnTo>
                <a:lnTo>
                  <a:pt x="826" y="2036"/>
                </a:lnTo>
                <a:lnTo>
                  <a:pt x="834" y="2024"/>
                </a:lnTo>
                <a:lnTo>
                  <a:pt x="842" y="2010"/>
                </a:lnTo>
                <a:lnTo>
                  <a:pt x="842" y="2010"/>
                </a:lnTo>
                <a:lnTo>
                  <a:pt x="854" y="2000"/>
                </a:lnTo>
                <a:lnTo>
                  <a:pt x="858" y="1994"/>
                </a:lnTo>
                <a:lnTo>
                  <a:pt x="864" y="1988"/>
                </a:lnTo>
                <a:lnTo>
                  <a:pt x="1064" y="1652"/>
                </a:lnTo>
                <a:lnTo>
                  <a:pt x="1420" y="1954"/>
                </a:lnTo>
                <a:lnTo>
                  <a:pt x="1038" y="2384"/>
                </a:lnTo>
                <a:lnTo>
                  <a:pt x="1038" y="2384"/>
                </a:lnTo>
                <a:lnTo>
                  <a:pt x="1030" y="2394"/>
                </a:lnTo>
                <a:lnTo>
                  <a:pt x="1022" y="2406"/>
                </a:lnTo>
                <a:lnTo>
                  <a:pt x="1016" y="2420"/>
                </a:lnTo>
                <a:lnTo>
                  <a:pt x="1010" y="2432"/>
                </a:lnTo>
                <a:lnTo>
                  <a:pt x="1006" y="2446"/>
                </a:lnTo>
                <a:lnTo>
                  <a:pt x="1004" y="2460"/>
                </a:lnTo>
                <a:lnTo>
                  <a:pt x="1002" y="2472"/>
                </a:lnTo>
                <a:lnTo>
                  <a:pt x="1004" y="2486"/>
                </a:lnTo>
                <a:lnTo>
                  <a:pt x="1004" y="2500"/>
                </a:lnTo>
                <a:lnTo>
                  <a:pt x="1008" y="2514"/>
                </a:lnTo>
                <a:lnTo>
                  <a:pt x="1012" y="2528"/>
                </a:lnTo>
                <a:lnTo>
                  <a:pt x="1016" y="2540"/>
                </a:lnTo>
                <a:lnTo>
                  <a:pt x="1024" y="2552"/>
                </a:lnTo>
                <a:lnTo>
                  <a:pt x="1032" y="2564"/>
                </a:lnTo>
                <a:lnTo>
                  <a:pt x="1040" y="2576"/>
                </a:lnTo>
                <a:lnTo>
                  <a:pt x="1052" y="2586"/>
                </a:lnTo>
                <a:lnTo>
                  <a:pt x="1052" y="2586"/>
                </a:lnTo>
                <a:lnTo>
                  <a:pt x="1062" y="2594"/>
                </a:lnTo>
                <a:lnTo>
                  <a:pt x="1074" y="2602"/>
                </a:lnTo>
                <a:lnTo>
                  <a:pt x="1088" y="2608"/>
                </a:lnTo>
                <a:lnTo>
                  <a:pt x="1100" y="2614"/>
                </a:lnTo>
                <a:lnTo>
                  <a:pt x="1114" y="2618"/>
                </a:lnTo>
                <a:lnTo>
                  <a:pt x="1128" y="2620"/>
                </a:lnTo>
                <a:lnTo>
                  <a:pt x="1142" y="2622"/>
                </a:lnTo>
                <a:lnTo>
                  <a:pt x="1154" y="2622"/>
                </a:lnTo>
                <a:lnTo>
                  <a:pt x="1168" y="2620"/>
                </a:lnTo>
                <a:lnTo>
                  <a:pt x="1182" y="2618"/>
                </a:lnTo>
                <a:lnTo>
                  <a:pt x="1196" y="2612"/>
                </a:lnTo>
                <a:lnTo>
                  <a:pt x="1208" y="2608"/>
                </a:lnTo>
                <a:lnTo>
                  <a:pt x="1220" y="2600"/>
                </a:lnTo>
                <a:lnTo>
                  <a:pt x="1232" y="2592"/>
                </a:lnTo>
                <a:lnTo>
                  <a:pt x="1244" y="2584"/>
                </a:lnTo>
                <a:lnTo>
                  <a:pt x="1254" y="2572"/>
                </a:lnTo>
                <a:lnTo>
                  <a:pt x="1728" y="2038"/>
                </a:lnTo>
                <a:lnTo>
                  <a:pt x="1728" y="2038"/>
                </a:lnTo>
                <a:lnTo>
                  <a:pt x="1738" y="2026"/>
                </a:lnTo>
                <a:lnTo>
                  <a:pt x="1746" y="2012"/>
                </a:lnTo>
                <a:lnTo>
                  <a:pt x="1752" y="1998"/>
                </a:lnTo>
                <a:lnTo>
                  <a:pt x="1758" y="1982"/>
                </a:lnTo>
                <a:lnTo>
                  <a:pt x="1758" y="1982"/>
                </a:lnTo>
                <a:lnTo>
                  <a:pt x="1760" y="1966"/>
                </a:lnTo>
                <a:lnTo>
                  <a:pt x="1762" y="1950"/>
                </a:lnTo>
                <a:lnTo>
                  <a:pt x="1762" y="1950"/>
                </a:lnTo>
                <a:lnTo>
                  <a:pt x="1764" y="1942"/>
                </a:lnTo>
                <a:lnTo>
                  <a:pt x="1764" y="1934"/>
                </a:lnTo>
                <a:lnTo>
                  <a:pt x="1764" y="1934"/>
                </a:lnTo>
                <a:lnTo>
                  <a:pt x="1762" y="1920"/>
                </a:lnTo>
                <a:lnTo>
                  <a:pt x="1760" y="1904"/>
                </a:lnTo>
                <a:lnTo>
                  <a:pt x="1756" y="1890"/>
                </a:lnTo>
                <a:lnTo>
                  <a:pt x="1750" y="1878"/>
                </a:lnTo>
                <a:lnTo>
                  <a:pt x="1744" y="1864"/>
                </a:lnTo>
                <a:lnTo>
                  <a:pt x="1736" y="1852"/>
                </a:lnTo>
                <a:lnTo>
                  <a:pt x="1726" y="1840"/>
                </a:lnTo>
                <a:lnTo>
                  <a:pt x="1714" y="1830"/>
                </a:lnTo>
                <a:lnTo>
                  <a:pt x="1388" y="1550"/>
                </a:lnTo>
                <a:lnTo>
                  <a:pt x="1388" y="1550"/>
                </a:lnTo>
                <a:lnTo>
                  <a:pt x="1404" y="1532"/>
                </a:lnTo>
                <a:lnTo>
                  <a:pt x="1420" y="1514"/>
                </a:lnTo>
                <a:lnTo>
                  <a:pt x="1434" y="1492"/>
                </a:lnTo>
                <a:lnTo>
                  <a:pt x="1446" y="1470"/>
                </a:lnTo>
                <a:lnTo>
                  <a:pt x="1658" y="1012"/>
                </a:lnTo>
                <a:lnTo>
                  <a:pt x="1726" y="1192"/>
                </a:lnTo>
                <a:lnTo>
                  <a:pt x="1726" y="1192"/>
                </a:lnTo>
                <a:lnTo>
                  <a:pt x="1728" y="1204"/>
                </a:lnTo>
                <a:lnTo>
                  <a:pt x="1732" y="1216"/>
                </a:lnTo>
                <a:lnTo>
                  <a:pt x="1738" y="1226"/>
                </a:lnTo>
                <a:lnTo>
                  <a:pt x="1746" y="1236"/>
                </a:lnTo>
                <a:lnTo>
                  <a:pt x="1746" y="1236"/>
                </a:lnTo>
                <a:lnTo>
                  <a:pt x="1754" y="1246"/>
                </a:lnTo>
                <a:lnTo>
                  <a:pt x="1762" y="1252"/>
                </a:lnTo>
                <a:lnTo>
                  <a:pt x="1772" y="1258"/>
                </a:lnTo>
                <a:lnTo>
                  <a:pt x="1782" y="1264"/>
                </a:lnTo>
                <a:lnTo>
                  <a:pt x="1782" y="1264"/>
                </a:lnTo>
                <a:lnTo>
                  <a:pt x="1786" y="1264"/>
                </a:lnTo>
                <a:lnTo>
                  <a:pt x="1786" y="1264"/>
                </a:lnTo>
                <a:lnTo>
                  <a:pt x="1800" y="1268"/>
                </a:lnTo>
                <a:lnTo>
                  <a:pt x="1814" y="1270"/>
                </a:lnTo>
                <a:lnTo>
                  <a:pt x="1814" y="1270"/>
                </a:lnTo>
                <a:lnTo>
                  <a:pt x="1830" y="1270"/>
                </a:lnTo>
                <a:lnTo>
                  <a:pt x="1848" y="1268"/>
                </a:lnTo>
                <a:lnTo>
                  <a:pt x="1848" y="1268"/>
                </a:lnTo>
                <a:lnTo>
                  <a:pt x="1848" y="1268"/>
                </a:lnTo>
                <a:lnTo>
                  <a:pt x="1848" y="1268"/>
                </a:lnTo>
                <a:lnTo>
                  <a:pt x="1856" y="1266"/>
                </a:lnTo>
                <a:lnTo>
                  <a:pt x="1856" y="1266"/>
                </a:lnTo>
                <a:lnTo>
                  <a:pt x="1868" y="1260"/>
                </a:lnTo>
                <a:lnTo>
                  <a:pt x="1878" y="1254"/>
                </a:lnTo>
                <a:lnTo>
                  <a:pt x="1886" y="1246"/>
                </a:lnTo>
                <a:lnTo>
                  <a:pt x="1894" y="1238"/>
                </a:lnTo>
                <a:lnTo>
                  <a:pt x="2280" y="910"/>
                </a:lnTo>
                <a:lnTo>
                  <a:pt x="2280" y="910"/>
                </a:lnTo>
                <a:lnTo>
                  <a:pt x="2288" y="904"/>
                </a:lnTo>
                <a:lnTo>
                  <a:pt x="2294" y="896"/>
                </a:lnTo>
                <a:lnTo>
                  <a:pt x="2298" y="888"/>
                </a:lnTo>
                <a:lnTo>
                  <a:pt x="2302" y="880"/>
                </a:lnTo>
                <a:lnTo>
                  <a:pt x="2304" y="862"/>
                </a:lnTo>
                <a:lnTo>
                  <a:pt x="2304" y="844"/>
                </a:lnTo>
                <a:lnTo>
                  <a:pt x="2300" y="826"/>
                </a:lnTo>
                <a:lnTo>
                  <a:pt x="2292" y="808"/>
                </a:lnTo>
                <a:lnTo>
                  <a:pt x="2282" y="790"/>
                </a:lnTo>
                <a:lnTo>
                  <a:pt x="2270" y="774"/>
                </a:lnTo>
                <a:lnTo>
                  <a:pt x="2270" y="774"/>
                </a:lnTo>
                <a:close/>
                <a:moveTo>
                  <a:pt x="1782" y="540"/>
                </a:moveTo>
                <a:lnTo>
                  <a:pt x="1782" y="540"/>
                </a:lnTo>
                <a:lnTo>
                  <a:pt x="1810" y="538"/>
                </a:lnTo>
                <a:lnTo>
                  <a:pt x="1836" y="534"/>
                </a:lnTo>
                <a:lnTo>
                  <a:pt x="1862" y="528"/>
                </a:lnTo>
                <a:lnTo>
                  <a:pt x="1888" y="518"/>
                </a:lnTo>
                <a:lnTo>
                  <a:pt x="1910" y="508"/>
                </a:lnTo>
                <a:lnTo>
                  <a:pt x="1932" y="494"/>
                </a:lnTo>
                <a:lnTo>
                  <a:pt x="1954" y="478"/>
                </a:lnTo>
                <a:lnTo>
                  <a:pt x="1974" y="462"/>
                </a:lnTo>
                <a:lnTo>
                  <a:pt x="1990" y="442"/>
                </a:lnTo>
                <a:lnTo>
                  <a:pt x="2006" y="422"/>
                </a:lnTo>
                <a:lnTo>
                  <a:pt x="2020" y="398"/>
                </a:lnTo>
                <a:lnTo>
                  <a:pt x="2032" y="376"/>
                </a:lnTo>
                <a:lnTo>
                  <a:pt x="2040" y="350"/>
                </a:lnTo>
                <a:lnTo>
                  <a:pt x="2046" y="324"/>
                </a:lnTo>
                <a:lnTo>
                  <a:pt x="2050" y="298"/>
                </a:lnTo>
                <a:lnTo>
                  <a:pt x="2052" y="270"/>
                </a:lnTo>
                <a:lnTo>
                  <a:pt x="2052" y="270"/>
                </a:lnTo>
                <a:lnTo>
                  <a:pt x="2050" y="242"/>
                </a:lnTo>
                <a:lnTo>
                  <a:pt x="2046" y="216"/>
                </a:lnTo>
                <a:lnTo>
                  <a:pt x="2040" y="190"/>
                </a:lnTo>
                <a:lnTo>
                  <a:pt x="2032" y="164"/>
                </a:lnTo>
                <a:lnTo>
                  <a:pt x="2020" y="142"/>
                </a:lnTo>
                <a:lnTo>
                  <a:pt x="2006" y="118"/>
                </a:lnTo>
                <a:lnTo>
                  <a:pt x="1990" y="98"/>
                </a:lnTo>
                <a:lnTo>
                  <a:pt x="1974" y="78"/>
                </a:lnTo>
                <a:lnTo>
                  <a:pt x="1954" y="62"/>
                </a:lnTo>
                <a:lnTo>
                  <a:pt x="1932" y="46"/>
                </a:lnTo>
                <a:lnTo>
                  <a:pt x="1910" y="32"/>
                </a:lnTo>
                <a:lnTo>
                  <a:pt x="1888" y="20"/>
                </a:lnTo>
                <a:lnTo>
                  <a:pt x="1862" y="12"/>
                </a:lnTo>
                <a:lnTo>
                  <a:pt x="1836" y="6"/>
                </a:lnTo>
                <a:lnTo>
                  <a:pt x="1810" y="0"/>
                </a:lnTo>
                <a:lnTo>
                  <a:pt x="1782" y="0"/>
                </a:lnTo>
                <a:lnTo>
                  <a:pt x="1782" y="0"/>
                </a:lnTo>
                <a:lnTo>
                  <a:pt x="1754" y="0"/>
                </a:lnTo>
                <a:lnTo>
                  <a:pt x="1728" y="6"/>
                </a:lnTo>
                <a:lnTo>
                  <a:pt x="1702" y="12"/>
                </a:lnTo>
                <a:lnTo>
                  <a:pt x="1676" y="20"/>
                </a:lnTo>
                <a:lnTo>
                  <a:pt x="1652" y="32"/>
                </a:lnTo>
                <a:lnTo>
                  <a:pt x="1630" y="46"/>
                </a:lnTo>
                <a:lnTo>
                  <a:pt x="1610" y="62"/>
                </a:lnTo>
                <a:lnTo>
                  <a:pt x="1590" y="78"/>
                </a:lnTo>
                <a:lnTo>
                  <a:pt x="1574" y="98"/>
                </a:lnTo>
                <a:lnTo>
                  <a:pt x="1558" y="118"/>
                </a:lnTo>
                <a:lnTo>
                  <a:pt x="1544" y="142"/>
                </a:lnTo>
                <a:lnTo>
                  <a:pt x="1532" y="164"/>
                </a:lnTo>
                <a:lnTo>
                  <a:pt x="1524" y="190"/>
                </a:lnTo>
                <a:lnTo>
                  <a:pt x="1518" y="216"/>
                </a:lnTo>
                <a:lnTo>
                  <a:pt x="1512" y="242"/>
                </a:lnTo>
                <a:lnTo>
                  <a:pt x="1512" y="270"/>
                </a:lnTo>
                <a:lnTo>
                  <a:pt x="1512" y="270"/>
                </a:lnTo>
                <a:lnTo>
                  <a:pt x="1512" y="298"/>
                </a:lnTo>
                <a:lnTo>
                  <a:pt x="1518" y="324"/>
                </a:lnTo>
                <a:lnTo>
                  <a:pt x="1524" y="350"/>
                </a:lnTo>
                <a:lnTo>
                  <a:pt x="1532" y="376"/>
                </a:lnTo>
                <a:lnTo>
                  <a:pt x="1544" y="398"/>
                </a:lnTo>
                <a:lnTo>
                  <a:pt x="1558" y="422"/>
                </a:lnTo>
                <a:lnTo>
                  <a:pt x="1574" y="442"/>
                </a:lnTo>
                <a:lnTo>
                  <a:pt x="1590" y="462"/>
                </a:lnTo>
                <a:lnTo>
                  <a:pt x="1610" y="478"/>
                </a:lnTo>
                <a:lnTo>
                  <a:pt x="1630" y="494"/>
                </a:lnTo>
                <a:lnTo>
                  <a:pt x="1652" y="508"/>
                </a:lnTo>
                <a:lnTo>
                  <a:pt x="1676" y="518"/>
                </a:lnTo>
                <a:lnTo>
                  <a:pt x="1702" y="528"/>
                </a:lnTo>
                <a:lnTo>
                  <a:pt x="1728" y="534"/>
                </a:lnTo>
                <a:lnTo>
                  <a:pt x="1754" y="538"/>
                </a:lnTo>
                <a:lnTo>
                  <a:pt x="1782" y="540"/>
                </a:lnTo>
                <a:lnTo>
                  <a:pt x="1782" y="540"/>
                </a:lnTo>
                <a:close/>
              </a:path>
            </a:pathLst>
          </a:custGeom>
          <a:solidFill>
            <a:schemeClr val="bg2">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4" name="Group 107"/>
          <p:cNvGrpSpPr/>
          <p:nvPr/>
        </p:nvGrpSpPr>
        <p:grpSpPr>
          <a:xfrm>
            <a:off x="1403350" y="2768319"/>
            <a:ext cx="457200" cy="415694"/>
            <a:chOff x="1403350" y="2768319"/>
            <a:chExt cx="457200" cy="415694"/>
          </a:xfrm>
        </p:grpSpPr>
        <p:sp>
          <p:nvSpPr>
            <p:cNvPr id="66" name="Rectangle 65"/>
            <p:cNvSpPr/>
            <p:nvPr/>
          </p:nvSpPr>
          <p:spPr>
            <a:xfrm>
              <a:off x="1403350" y="2768319"/>
              <a:ext cx="457200" cy="41569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5" name="Group 64"/>
            <p:cNvGrpSpPr/>
            <p:nvPr/>
          </p:nvGrpSpPr>
          <p:grpSpPr>
            <a:xfrm>
              <a:off x="1503487" y="2800351"/>
              <a:ext cx="256926" cy="351630"/>
              <a:chOff x="-5119688" y="546100"/>
              <a:chExt cx="3359150" cy="4597400"/>
            </a:xfrm>
            <a:solidFill>
              <a:schemeClr val="bg1"/>
            </a:solidFill>
          </p:grpSpPr>
          <p:sp>
            <p:nvSpPr>
              <p:cNvPr id="55307" name="Freeform 11"/>
              <p:cNvSpPr>
                <a:spLocks/>
              </p:cNvSpPr>
              <p:nvPr/>
            </p:nvSpPr>
            <p:spPr bwMode="auto">
              <a:xfrm>
                <a:off x="-4725988" y="1704975"/>
                <a:ext cx="2279650" cy="2279650"/>
              </a:xfrm>
              <a:custGeom>
                <a:avLst/>
                <a:gdLst/>
                <a:ahLst/>
                <a:cxnLst>
                  <a:cxn ang="0">
                    <a:pos x="608" y="8"/>
                  </a:cxn>
                  <a:cxn ang="0">
                    <a:pos x="438" y="56"/>
                  </a:cxn>
                  <a:cxn ang="0">
                    <a:pos x="288" y="142"/>
                  </a:cxn>
                  <a:cxn ang="0">
                    <a:pos x="164" y="262"/>
                  </a:cxn>
                  <a:cxn ang="0">
                    <a:pos x="70" y="406"/>
                  </a:cxn>
                  <a:cxn ang="0">
                    <a:pos x="14" y="574"/>
                  </a:cxn>
                  <a:cxn ang="0">
                    <a:pos x="0" y="718"/>
                  </a:cxn>
                  <a:cxn ang="0">
                    <a:pos x="56" y="1000"/>
                  </a:cxn>
                  <a:cxn ang="0">
                    <a:pos x="152" y="1158"/>
                  </a:cxn>
                  <a:cxn ang="0">
                    <a:pos x="194" y="1168"/>
                  </a:cxn>
                  <a:cxn ang="0">
                    <a:pos x="222" y="1146"/>
                  </a:cxn>
                  <a:cxn ang="0">
                    <a:pos x="224" y="1104"/>
                  </a:cxn>
                  <a:cxn ang="0">
                    <a:pos x="142" y="964"/>
                  </a:cxn>
                  <a:cxn ang="0">
                    <a:pos x="92" y="718"/>
                  </a:cxn>
                  <a:cxn ang="0">
                    <a:pos x="104" y="592"/>
                  </a:cxn>
                  <a:cxn ang="0">
                    <a:pos x="154" y="446"/>
                  </a:cxn>
                  <a:cxn ang="0">
                    <a:pos x="234" y="320"/>
                  </a:cxn>
                  <a:cxn ang="0">
                    <a:pos x="344" y="216"/>
                  </a:cxn>
                  <a:cxn ang="0">
                    <a:pos x="474" y="142"/>
                  </a:cxn>
                  <a:cxn ang="0">
                    <a:pos x="622" y="100"/>
                  </a:cxn>
                  <a:cxn ang="0">
                    <a:pos x="750" y="94"/>
                  </a:cxn>
                  <a:cxn ang="0">
                    <a:pos x="904" y="120"/>
                  </a:cxn>
                  <a:cxn ang="0">
                    <a:pos x="1042" y="182"/>
                  </a:cxn>
                  <a:cxn ang="0">
                    <a:pos x="1160" y="276"/>
                  </a:cxn>
                  <a:cxn ang="0">
                    <a:pos x="1252" y="394"/>
                  </a:cxn>
                  <a:cxn ang="0">
                    <a:pos x="1316" y="532"/>
                  </a:cxn>
                  <a:cxn ang="0">
                    <a:pos x="1342" y="686"/>
                  </a:cxn>
                  <a:cxn ang="0">
                    <a:pos x="1336" y="814"/>
                  </a:cxn>
                  <a:cxn ang="0">
                    <a:pos x="1294" y="962"/>
                  </a:cxn>
                  <a:cxn ang="0">
                    <a:pos x="1218" y="1092"/>
                  </a:cxn>
                  <a:cxn ang="0">
                    <a:pos x="1116" y="1200"/>
                  </a:cxn>
                  <a:cxn ang="0">
                    <a:pos x="988" y="1282"/>
                  </a:cxn>
                  <a:cxn ang="0">
                    <a:pos x="844" y="1332"/>
                  </a:cxn>
                  <a:cxn ang="0">
                    <a:pos x="718" y="1344"/>
                  </a:cxn>
                  <a:cxn ang="0">
                    <a:pos x="472" y="1294"/>
                  </a:cxn>
                  <a:cxn ang="0">
                    <a:pos x="332" y="1212"/>
                  </a:cxn>
                  <a:cxn ang="0">
                    <a:pos x="290" y="1214"/>
                  </a:cxn>
                  <a:cxn ang="0">
                    <a:pos x="268" y="1242"/>
                  </a:cxn>
                  <a:cxn ang="0">
                    <a:pos x="278" y="1284"/>
                  </a:cxn>
                  <a:cxn ang="0">
                    <a:pos x="436" y="1378"/>
                  </a:cxn>
                  <a:cxn ang="0">
                    <a:pos x="718" y="1436"/>
                  </a:cxn>
                  <a:cxn ang="0">
                    <a:pos x="862" y="1422"/>
                  </a:cxn>
                  <a:cxn ang="0">
                    <a:pos x="1028" y="1366"/>
                  </a:cxn>
                  <a:cxn ang="0">
                    <a:pos x="1174" y="1272"/>
                  </a:cxn>
                  <a:cxn ang="0">
                    <a:pos x="1292" y="1148"/>
                  </a:cxn>
                  <a:cxn ang="0">
                    <a:pos x="1380" y="998"/>
                  </a:cxn>
                  <a:cxn ang="0">
                    <a:pos x="1428" y="828"/>
                  </a:cxn>
                  <a:cxn ang="0">
                    <a:pos x="1434" y="682"/>
                  </a:cxn>
                  <a:cxn ang="0">
                    <a:pos x="1404" y="504"/>
                  </a:cxn>
                  <a:cxn ang="0">
                    <a:pos x="1332" y="346"/>
                  </a:cxn>
                  <a:cxn ang="0">
                    <a:pos x="1226" y="210"/>
                  </a:cxn>
                  <a:cxn ang="0">
                    <a:pos x="1090" y="104"/>
                  </a:cxn>
                  <a:cxn ang="0">
                    <a:pos x="930" y="32"/>
                  </a:cxn>
                  <a:cxn ang="0">
                    <a:pos x="754" y="0"/>
                  </a:cxn>
                </a:cxnLst>
                <a:rect l="0" t="0" r="r" b="b"/>
                <a:pathLst>
                  <a:path w="1436" h="1436">
                    <a:moveTo>
                      <a:pt x="718" y="0"/>
                    </a:moveTo>
                    <a:lnTo>
                      <a:pt x="718" y="0"/>
                    </a:lnTo>
                    <a:lnTo>
                      <a:pt x="680" y="0"/>
                    </a:lnTo>
                    <a:lnTo>
                      <a:pt x="644" y="4"/>
                    </a:lnTo>
                    <a:lnTo>
                      <a:pt x="608" y="8"/>
                    </a:lnTo>
                    <a:lnTo>
                      <a:pt x="572" y="14"/>
                    </a:lnTo>
                    <a:lnTo>
                      <a:pt x="538" y="22"/>
                    </a:lnTo>
                    <a:lnTo>
                      <a:pt x="504" y="32"/>
                    </a:lnTo>
                    <a:lnTo>
                      <a:pt x="470" y="44"/>
                    </a:lnTo>
                    <a:lnTo>
                      <a:pt x="438" y="56"/>
                    </a:lnTo>
                    <a:lnTo>
                      <a:pt x="406" y="70"/>
                    </a:lnTo>
                    <a:lnTo>
                      <a:pt x="376" y="86"/>
                    </a:lnTo>
                    <a:lnTo>
                      <a:pt x="346" y="104"/>
                    </a:lnTo>
                    <a:lnTo>
                      <a:pt x="316" y="122"/>
                    </a:lnTo>
                    <a:lnTo>
                      <a:pt x="288" y="142"/>
                    </a:lnTo>
                    <a:lnTo>
                      <a:pt x="260" y="164"/>
                    </a:lnTo>
                    <a:lnTo>
                      <a:pt x="234" y="186"/>
                    </a:lnTo>
                    <a:lnTo>
                      <a:pt x="210" y="210"/>
                    </a:lnTo>
                    <a:lnTo>
                      <a:pt x="186" y="236"/>
                    </a:lnTo>
                    <a:lnTo>
                      <a:pt x="164" y="262"/>
                    </a:lnTo>
                    <a:lnTo>
                      <a:pt x="142" y="288"/>
                    </a:lnTo>
                    <a:lnTo>
                      <a:pt x="122" y="316"/>
                    </a:lnTo>
                    <a:lnTo>
                      <a:pt x="104" y="346"/>
                    </a:lnTo>
                    <a:lnTo>
                      <a:pt x="86" y="376"/>
                    </a:lnTo>
                    <a:lnTo>
                      <a:pt x="70" y="406"/>
                    </a:lnTo>
                    <a:lnTo>
                      <a:pt x="56" y="438"/>
                    </a:lnTo>
                    <a:lnTo>
                      <a:pt x="42" y="472"/>
                    </a:lnTo>
                    <a:lnTo>
                      <a:pt x="32" y="504"/>
                    </a:lnTo>
                    <a:lnTo>
                      <a:pt x="22" y="538"/>
                    </a:lnTo>
                    <a:lnTo>
                      <a:pt x="14" y="574"/>
                    </a:lnTo>
                    <a:lnTo>
                      <a:pt x="8" y="608"/>
                    </a:lnTo>
                    <a:lnTo>
                      <a:pt x="2" y="644"/>
                    </a:lnTo>
                    <a:lnTo>
                      <a:pt x="0" y="682"/>
                    </a:lnTo>
                    <a:lnTo>
                      <a:pt x="0" y="718"/>
                    </a:lnTo>
                    <a:lnTo>
                      <a:pt x="0" y="718"/>
                    </a:lnTo>
                    <a:lnTo>
                      <a:pt x="2" y="776"/>
                    </a:lnTo>
                    <a:lnTo>
                      <a:pt x="8" y="834"/>
                    </a:lnTo>
                    <a:lnTo>
                      <a:pt x="20" y="892"/>
                    </a:lnTo>
                    <a:lnTo>
                      <a:pt x="36" y="946"/>
                    </a:lnTo>
                    <a:lnTo>
                      <a:pt x="56" y="1000"/>
                    </a:lnTo>
                    <a:lnTo>
                      <a:pt x="82" y="1052"/>
                    </a:lnTo>
                    <a:lnTo>
                      <a:pt x="112" y="1102"/>
                    </a:lnTo>
                    <a:lnTo>
                      <a:pt x="144" y="1150"/>
                    </a:lnTo>
                    <a:lnTo>
                      <a:pt x="144" y="1150"/>
                    </a:lnTo>
                    <a:lnTo>
                      <a:pt x="152" y="1158"/>
                    </a:lnTo>
                    <a:lnTo>
                      <a:pt x="158" y="1164"/>
                    </a:lnTo>
                    <a:lnTo>
                      <a:pt x="166" y="1166"/>
                    </a:lnTo>
                    <a:lnTo>
                      <a:pt x="176" y="1168"/>
                    </a:lnTo>
                    <a:lnTo>
                      <a:pt x="184" y="1170"/>
                    </a:lnTo>
                    <a:lnTo>
                      <a:pt x="194" y="1168"/>
                    </a:lnTo>
                    <a:lnTo>
                      <a:pt x="202" y="1164"/>
                    </a:lnTo>
                    <a:lnTo>
                      <a:pt x="210" y="1160"/>
                    </a:lnTo>
                    <a:lnTo>
                      <a:pt x="210" y="1160"/>
                    </a:lnTo>
                    <a:lnTo>
                      <a:pt x="216" y="1154"/>
                    </a:lnTo>
                    <a:lnTo>
                      <a:pt x="222" y="1146"/>
                    </a:lnTo>
                    <a:lnTo>
                      <a:pt x="226" y="1138"/>
                    </a:lnTo>
                    <a:lnTo>
                      <a:pt x="228" y="1130"/>
                    </a:lnTo>
                    <a:lnTo>
                      <a:pt x="228" y="1120"/>
                    </a:lnTo>
                    <a:lnTo>
                      <a:pt x="226" y="1112"/>
                    </a:lnTo>
                    <a:lnTo>
                      <a:pt x="224" y="1104"/>
                    </a:lnTo>
                    <a:lnTo>
                      <a:pt x="218" y="1096"/>
                    </a:lnTo>
                    <a:lnTo>
                      <a:pt x="218" y="1096"/>
                    </a:lnTo>
                    <a:lnTo>
                      <a:pt x="190" y="1054"/>
                    </a:lnTo>
                    <a:lnTo>
                      <a:pt x="164" y="1010"/>
                    </a:lnTo>
                    <a:lnTo>
                      <a:pt x="142" y="964"/>
                    </a:lnTo>
                    <a:lnTo>
                      <a:pt x="124" y="916"/>
                    </a:lnTo>
                    <a:lnTo>
                      <a:pt x="110" y="868"/>
                    </a:lnTo>
                    <a:lnTo>
                      <a:pt x="100" y="820"/>
                    </a:lnTo>
                    <a:lnTo>
                      <a:pt x="94" y="770"/>
                    </a:lnTo>
                    <a:lnTo>
                      <a:pt x="92" y="718"/>
                    </a:lnTo>
                    <a:lnTo>
                      <a:pt x="92" y="718"/>
                    </a:lnTo>
                    <a:lnTo>
                      <a:pt x="92" y="686"/>
                    </a:lnTo>
                    <a:lnTo>
                      <a:pt x="94" y="654"/>
                    </a:lnTo>
                    <a:lnTo>
                      <a:pt x="98" y="622"/>
                    </a:lnTo>
                    <a:lnTo>
                      <a:pt x="104" y="592"/>
                    </a:lnTo>
                    <a:lnTo>
                      <a:pt x="112" y="562"/>
                    </a:lnTo>
                    <a:lnTo>
                      <a:pt x="120" y="532"/>
                    </a:lnTo>
                    <a:lnTo>
                      <a:pt x="130" y="504"/>
                    </a:lnTo>
                    <a:lnTo>
                      <a:pt x="140" y="474"/>
                    </a:lnTo>
                    <a:lnTo>
                      <a:pt x="154" y="446"/>
                    </a:lnTo>
                    <a:lnTo>
                      <a:pt x="168" y="420"/>
                    </a:lnTo>
                    <a:lnTo>
                      <a:pt x="182" y="394"/>
                    </a:lnTo>
                    <a:lnTo>
                      <a:pt x="198" y="368"/>
                    </a:lnTo>
                    <a:lnTo>
                      <a:pt x="216" y="344"/>
                    </a:lnTo>
                    <a:lnTo>
                      <a:pt x="234" y="320"/>
                    </a:lnTo>
                    <a:lnTo>
                      <a:pt x="254" y="298"/>
                    </a:lnTo>
                    <a:lnTo>
                      <a:pt x="276" y="276"/>
                    </a:lnTo>
                    <a:lnTo>
                      <a:pt x="296" y="254"/>
                    </a:lnTo>
                    <a:lnTo>
                      <a:pt x="320" y="236"/>
                    </a:lnTo>
                    <a:lnTo>
                      <a:pt x="344" y="216"/>
                    </a:lnTo>
                    <a:lnTo>
                      <a:pt x="368" y="200"/>
                    </a:lnTo>
                    <a:lnTo>
                      <a:pt x="394" y="182"/>
                    </a:lnTo>
                    <a:lnTo>
                      <a:pt x="420" y="168"/>
                    </a:lnTo>
                    <a:lnTo>
                      <a:pt x="446" y="154"/>
                    </a:lnTo>
                    <a:lnTo>
                      <a:pt x="474" y="142"/>
                    </a:lnTo>
                    <a:lnTo>
                      <a:pt x="502" y="130"/>
                    </a:lnTo>
                    <a:lnTo>
                      <a:pt x="532" y="120"/>
                    </a:lnTo>
                    <a:lnTo>
                      <a:pt x="562" y="112"/>
                    </a:lnTo>
                    <a:lnTo>
                      <a:pt x="592" y="104"/>
                    </a:lnTo>
                    <a:lnTo>
                      <a:pt x="622" y="100"/>
                    </a:lnTo>
                    <a:lnTo>
                      <a:pt x="654" y="96"/>
                    </a:lnTo>
                    <a:lnTo>
                      <a:pt x="686" y="94"/>
                    </a:lnTo>
                    <a:lnTo>
                      <a:pt x="718" y="92"/>
                    </a:lnTo>
                    <a:lnTo>
                      <a:pt x="718" y="92"/>
                    </a:lnTo>
                    <a:lnTo>
                      <a:pt x="750" y="94"/>
                    </a:lnTo>
                    <a:lnTo>
                      <a:pt x="782" y="96"/>
                    </a:lnTo>
                    <a:lnTo>
                      <a:pt x="812" y="100"/>
                    </a:lnTo>
                    <a:lnTo>
                      <a:pt x="844" y="104"/>
                    </a:lnTo>
                    <a:lnTo>
                      <a:pt x="874" y="112"/>
                    </a:lnTo>
                    <a:lnTo>
                      <a:pt x="904" y="120"/>
                    </a:lnTo>
                    <a:lnTo>
                      <a:pt x="932" y="130"/>
                    </a:lnTo>
                    <a:lnTo>
                      <a:pt x="960" y="142"/>
                    </a:lnTo>
                    <a:lnTo>
                      <a:pt x="988" y="154"/>
                    </a:lnTo>
                    <a:lnTo>
                      <a:pt x="1016" y="168"/>
                    </a:lnTo>
                    <a:lnTo>
                      <a:pt x="1042" y="182"/>
                    </a:lnTo>
                    <a:lnTo>
                      <a:pt x="1068" y="200"/>
                    </a:lnTo>
                    <a:lnTo>
                      <a:pt x="1092" y="216"/>
                    </a:lnTo>
                    <a:lnTo>
                      <a:pt x="1116" y="236"/>
                    </a:lnTo>
                    <a:lnTo>
                      <a:pt x="1138" y="254"/>
                    </a:lnTo>
                    <a:lnTo>
                      <a:pt x="1160" y="276"/>
                    </a:lnTo>
                    <a:lnTo>
                      <a:pt x="1180" y="298"/>
                    </a:lnTo>
                    <a:lnTo>
                      <a:pt x="1200" y="320"/>
                    </a:lnTo>
                    <a:lnTo>
                      <a:pt x="1218" y="344"/>
                    </a:lnTo>
                    <a:lnTo>
                      <a:pt x="1236" y="368"/>
                    </a:lnTo>
                    <a:lnTo>
                      <a:pt x="1252" y="394"/>
                    </a:lnTo>
                    <a:lnTo>
                      <a:pt x="1268" y="420"/>
                    </a:lnTo>
                    <a:lnTo>
                      <a:pt x="1282" y="446"/>
                    </a:lnTo>
                    <a:lnTo>
                      <a:pt x="1294" y="474"/>
                    </a:lnTo>
                    <a:lnTo>
                      <a:pt x="1306" y="504"/>
                    </a:lnTo>
                    <a:lnTo>
                      <a:pt x="1316" y="532"/>
                    </a:lnTo>
                    <a:lnTo>
                      <a:pt x="1324" y="562"/>
                    </a:lnTo>
                    <a:lnTo>
                      <a:pt x="1330" y="592"/>
                    </a:lnTo>
                    <a:lnTo>
                      <a:pt x="1336" y="622"/>
                    </a:lnTo>
                    <a:lnTo>
                      <a:pt x="1340" y="654"/>
                    </a:lnTo>
                    <a:lnTo>
                      <a:pt x="1342" y="686"/>
                    </a:lnTo>
                    <a:lnTo>
                      <a:pt x="1344" y="718"/>
                    </a:lnTo>
                    <a:lnTo>
                      <a:pt x="1344" y="718"/>
                    </a:lnTo>
                    <a:lnTo>
                      <a:pt x="1342" y="750"/>
                    </a:lnTo>
                    <a:lnTo>
                      <a:pt x="1340" y="782"/>
                    </a:lnTo>
                    <a:lnTo>
                      <a:pt x="1336" y="814"/>
                    </a:lnTo>
                    <a:lnTo>
                      <a:pt x="1330" y="844"/>
                    </a:lnTo>
                    <a:lnTo>
                      <a:pt x="1324" y="874"/>
                    </a:lnTo>
                    <a:lnTo>
                      <a:pt x="1316" y="904"/>
                    </a:lnTo>
                    <a:lnTo>
                      <a:pt x="1306" y="932"/>
                    </a:lnTo>
                    <a:lnTo>
                      <a:pt x="1294" y="962"/>
                    </a:lnTo>
                    <a:lnTo>
                      <a:pt x="1282" y="990"/>
                    </a:lnTo>
                    <a:lnTo>
                      <a:pt x="1268" y="1016"/>
                    </a:lnTo>
                    <a:lnTo>
                      <a:pt x="1252" y="1042"/>
                    </a:lnTo>
                    <a:lnTo>
                      <a:pt x="1236" y="1068"/>
                    </a:lnTo>
                    <a:lnTo>
                      <a:pt x="1218" y="1092"/>
                    </a:lnTo>
                    <a:lnTo>
                      <a:pt x="1200" y="1116"/>
                    </a:lnTo>
                    <a:lnTo>
                      <a:pt x="1180" y="1138"/>
                    </a:lnTo>
                    <a:lnTo>
                      <a:pt x="1160" y="1160"/>
                    </a:lnTo>
                    <a:lnTo>
                      <a:pt x="1138" y="1182"/>
                    </a:lnTo>
                    <a:lnTo>
                      <a:pt x="1116" y="1200"/>
                    </a:lnTo>
                    <a:lnTo>
                      <a:pt x="1092" y="1220"/>
                    </a:lnTo>
                    <a:lnTo>
                      <a:pt x="1068" y="1236"/>
                    </a:lnTo>
                    <a:lnTo>
                      <a:pt x="1042" y="1254"/>
                    </a:lnTo>
                    <a:lnTo>
                      <a:pt x="1016" y="1268"/>
                    </a:lnTo>
                    <a:lnTo>
                      <a:pt x="988" y="1282"/>
                    </a:lnTo>
                    <a:lnTo>
                      <a:pt x="960" y="1294"/>
                    </a:lnTo>
                    <a:lnTo>
                      <a:pt x="932" y="1306"/>
                    </a:lnTo>
                    <a:lnTo>
                      <a:pt x="904" y="1316"/>
                    </a:lnTo>
                    <a:lnTo>
                      <a:pt x="874" y="1324"/>
                    </a:lnTo>
                    <a:lnTo>
                      <a:pt x="844" y="1332"/>
                    </a:lnTo>
                    <a:lnTo>
                      <a:pt x="812" y="1336"/>
                    </a:lnTo>
                    <a:lnTo>
                      <a:pt x="782" y="1340"/>
                    </a:lnTo>
                    <a:lnTo>
                      <a:pt x="750" y="1342"/>
                    </a:lnTo>
                    <a:lnTo>
                      <a:pt x="718" y="1344"/>
                    </a:lnTo>
                    <a:lnTo>
                      <a:pt x="718" y="1344"/>
                    </a:lnTo>
                    <a:lnTo>
                      <a:pt x="666" y="1342"/>
                    </a:lnTo>
                    <a:lnTo>
                      <a:pt x="616" y="1336"/>
                    </a:lnTo>
                    <a:lnTo>
                      <a:pt x="566" y="1326"/>
                    </a:lnTo>
                    <a:lnTo>
                      <a:pt x="518" y="1312"/>
                    </a:lnTo>
                    <a:lnTo>
                      <a:pt x="472" y="1294"/>
                    </a:lnTo>
                    <a:lnTo>
                      <a:pt x="426" y="1272"/>
                    </a:lnTo>
                    <a:lnTo>
                      <a:pt x="382" y="1246"/>
                    </a:lnTo>
                    <a:lnTo>
                      <a:pt x="340" y="1216"/>
                    </a:lnTo>
                    <a:lnTo>
                      <a:pt x="340" y="1216"/>
                    </a:lnTo>
                    <a:lnTo>
                      <a:pt x="332" y="1212"/>
                    </a:lnTo>
                    <a:lnTo>
                      <a:pt x="324" y="1210"/>
                    </a:lnTo>
                    <a:lnTo>
                      <a:pt x="316" y="1208"/>
                    </a:lnTo>
                    <a:lnTo>
                      <a:pt x="306" y="1208"/>
                    </a:lnTo>
                    <a:lnTo>
                      <a:pt x="298" y="1210"/>
                    </a:lnTo>
                    <a:lnTo>
                      <a:pt x="290" y="1214"/>
                    </a:lnTo>
                    <a:lnTo>
                      <a:pt x="282" y="1220"/>
                    </a:lnTo>
                    <a:lnTo>
                      <a:pt x="276" y="1226"/>
                    </a:lnTo>
                    <a:lnTo>
                      <a:pt x="276" y="1226"/>
                    </a:lnTo>
                    <a:lnTo>
                      <a:pt x="270" y="1234"/>
                    </a:lnTo>
                    <a:lnTo>
                      <a:pt x="268" y="1242"/>
                    </a:lnTo>
                    <a:lnTo>
                      <a:pt x="266" y="1252"/>
                    </a:lnTo>
                    <a:lnTo>
                      <a:pt x="266" y="1260"/>
                    </a:lnTo>
                    <a:lnTo>
                      <a:pt x="268" y="1268"/>
                    </a:lnTo>
                    <a:lnTo>
                      <a:pt x="272" y="1276"/>
                    </a:lnTo>
                    <a:lnTo>
                      <a:pt x="278" y="1284"/>
                    </a:lnTo>
                    <a:lnTo>
                      <a:pt x="284" y="1290"/>
                    </a:lnTo>
                    <a:lnTo>
                      <a:pt x="284" y="1290"/>
                    </a:lnTo>
                    <a:lnTo>
                      <a:pt x="332" y="1324"/>
                    </a:lnTo>
                    <a:lnTo>
                      <a:pt x="384" y="1354"/>
                    </a:lnTo>
                    <a:lnTo>
                      <a:pt x="436" y="1378"/>
                    </a:lnTo>
                    <a:lnTo>
                      <a:pt x="490" y="1400"/>
                    </a:lnTo>
                    <a:lnTo>
                      <a:pt x="544" y="1416"/>
                    </a:lnTo>
                    <a:lnTo>
                      <a:pt x="602" y="1426"/>
                    </a:lnTo>
                    <a:lnTo>
                      <a:pt x="658" y="1434"/>
                    </a:lnTo>
                    <a:lnTo>
                      <a:pt x="718" y="1436"/>
                    </a:lnTo>
                    <a:lnTo>
                      <a:pt x="718" y="1436"/>
                    </a:lnTo>
                    <a:lnTo>
                      <a:pt x="754" y="1436"/>
                    </a:lnTo>
                    <a:lnTo>
                      <a:pt x="790" y="1432"/>
                    </a:lnTo>
                    <a:lnTo>
                      <a:pt x="826" y="1428"/>
                    </a:lnTo>
                    <a:lnTo>
                      <a:pt x="862" y="1422"/>
                    </a:lnTo>
                    <a:lnTo>
                      <a:pt x="896" y="1414"/>
                    </a:lnTo>
                    <a:lnTo>
                      <a:pt x="930" y="1404"/>
                    </a:lnTo>
                    <a:lnTo>
                      <a:pt x="964" y="1392"/>
                    </a:lnTo>
                    <a:lnTo>
                      <a:pt x="996" y="1380"/>
                    </a:lnTo>
                    <a:lnTo>
                      <a:pt x="1028" y="1366"/>
                    </a:lnTo>
                    <a:lnTo>
                      <a:pt x="1060" y="1350"/>
                    </a:lnTo>
                    <a:lnTo>
                      <a:pt x="1090" y="1332"/>
                    </a:lnTo>
                    <a:lnTo>
                      <a:pt x="1118" y="1314"/>
                    </a:lnTo>
                    <a:lnTo>
                      <a:pt x="1146" y="1294"/>
                    </a:lnTo>
                    <a:lnTo>
                      <a:pt x="1174" y="1272"/>
                    </a:lnTo>
                    <a:lnTo>
                      <a:pt x="1200" y="1250"/>
                    </a:lnTo>
                    <a:lnTo>
                      <a:pt x="1226" y="1226"/>
                    </a:lnTo>
                    <a:lnTo>
                      <a:pt x="1248" y="1200"/>
                    </a:lnTo>
                    <a:lnTo>
                      <a:pt x="1272" y="1174"/>
                    </a:lnTo>
                    <a:lnTo>
                      <a:pt x="1292" y="1148"/>
                    </a:lnTo>
                    <a:lnTo>
                      <a:pt x="1312" y="1120"/>
                    </a:lnTo>
                    <a:lnTo>
                      <a:pt x="1332" y="1090"/>
                    </a:lnTo>
                    <a:lnTo>
                      <a:pt x="1348" y="1060"/>
                    </a:lnTo>
                    <a:lnTo>
                      <a:pt x="1364" y="1030"/>
                    </a:lnTo>
                    <a:lnTo>
                      <a:pt x="1380" y="998"/>
                    </a:lnTo>
                    <a:lnTo>
                      <a:pt x="1392" y="964"/>
                    </a:lnTo>
                    <a:lnTo>
                      <a:pt x="1404" y="932"/>
                    </a:lnTo>
                    <a:lnTo>
                      <a:pt x="1414" y="898"/>
                    </a:lnTo>
                    <a:lnTo>
                      <a:pt x="1422" y="862"/>
                    </a:lnTo>
                    <a:lnTo>
                      <a:pt x="1428" y="828"/>
                    </a:lnTo>
                    <a:lnTo>
                      <a:pt x="1432" y="792"/>
                    </a:lnTo>
                    <a:lnTo>
                      <a:pt x="1434" y="754"/>
                    </a:lnTo>
                    <a:lnTo>
                      <a:pt x="1436" y="718"/>
                    </a:lnTo>
                    <a:lnTo>
                      <a:pt x="1436" y="718"/>
                    </a:lnTo>
                    <a:lnTo>
                      <a:pt x="1434" y="682"/>
                    </a:lnTo>
                    <a:lnTo>
                      <a:pt x="1432" y="644"/>
                    </a:lnTo>
                    <a:lnTo>
                      <a:pt x="1428" y="608"/>
                    </a:lnTo>
                    <a:lnTo>
                      <a:pt x="1422" y="574"/>
                    </a:lnTo>
                    <a:lnTo>
                      <a:pt x="1414" y="538"/>
                    </a:lnTo>
                    <a:lnTo>
                      <a:pt x="1404" y="504"/>
                    </a:lnTo>
                    <a:lnTo>
                      <a:pt x="1392" y="472"/>
                    </a:lnTo>
                    <a:lnTo>
                      <a:pt x="1380" y="438"/>
                    </a:lnTo>
                    <a:lnTo>
                      <a:pt x="1364" y="406"/>
                    </a:lnTo>
                    <a:lnTo>
                      <a:pt x="1348" y="376"/>
                    </a:lnTo>
                    <a:lnTo>
                      <a:pt x="1332" y="346"/>
                    </a:lnTo>
                    <a:lnTo>
                      <a:pt x="1312" y="316"/>
                    </a:lnTo>
                    <a:lnTo>
                      <a:pt x="1292" y="288"/>
                    </a:lnTo>
                    <a:lnTo>
                      <a:pt x="1272" y="262"/>
                    </a:lnTo>
                    <a:lnTo>
                      <a:pt x="1248" y="236"/>
                    </a:lnTo>
                    <a:lnTo>
                      <a:pt x="1226" y="210"/>
                    </a:lnTo>
                    <a:lnTo>
                      <a:pt x="1200" y="186"/>
                    </a:lnTo>
                    <a:lnTo>
                      <a:pt x="1174" y="164"/>
                    </a:lnTo>
                    <a:lnTo>
                      <a:pt x="1146" y="142"/>
                    </a:lnTo>
                    <a:lnTo>
                      <a:pt x="1118" y="122"/>
                    </a:lnTo>
                    <a:lnTo>
                      <a:pt x="1090" y="104"/>
                    </a:lnTo>
                    <a:lnTo>
                      <a:pt x="1060" y="86"/>
                    </a:lnTo>
                    <a:lnTo>
                      <a:pt x="1028" y="70"/>
                    </a:lnTo>
                    <a:lnTo>
                      <a:pt x="996" y="56"/>
                    </a:lnTo>
                    <a:lnTo>
                      <a:pt x="964" y="44"/>
                    </a:lnTo>
                    <a:lnTo>
                      <a:pt x="930" y="32"/>
                    </a:lnTo>
                    <a:lnTo>
                      <a:pt x="896" y="22"/>
                    </a:lnTo>
                    <a:lnTo>
                      <a:pt x="862" y="14"/>
                    </a:lnTo>
                    <a:lnTo>
                      <a:pt x="826" y="8"/>
                    </a:lnTo>
                    <a:lnTo>
                      <a:pt x="790" y="4"/>
                    </a:lnTo>
                    <a:lnTo>
                      <a:pt x="754" y="0"/>
                    </a:lnTo>
                    <a:lnTo>
                      <a:pt x="718" y="0"/>
                    </a:lnTo>
                    <a:lnTo>
                      <a:pt x="7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308" name="Freeform 12"/>
              <p:cNvSpPr>
                <a:spLocks/>
              </p:cNvSpPr>
              <p:nvPr/>
            </p:nvSpPr>
            <p:spPr bwMode="auto">
              <a:xfrm>
                <a:off x="-3659188" y="2193925"/>
                <a:ext cx="917575" cy="723900"/>
              </a:xfrm>
              <a:custGeom>
                <a:avLst/>
                <a:gdLst/>
                <a:ahLst/>
                <a:cxnLst>
                  <a:cxn ang="0">
                    <a:pos x="46" y="0"/>
                  </a:cxn>
                  <a:cxn ang="0">
                    <a:pos x="46" y="0"/>
                  </a:cxn>
                  <a:cxn ang="0">
                    <a:pos x="36" y="0"/>
                  </a:cxn>
                  <a:cxn ang="0">
                    <a:pos x="28" y="4"/>
                  </a:cxn>
                  <a:cxn ang="0">
                    <a:pos x="20" y="8"/>
                  </a:cxn>
                  <a:cxn ang="0">
                    <a:pos x="12" y="14"/>
                  </a:cxn>
                  <a:cxn ang="0">
                    <a:pos x="8" y="20"/>
                  </a:cxn>
                  <a:cxn ang="0">
                    <a:pos x="2" y="28"/>
                  </a:cxn>
                  <a:cxn ang="0">
                    <a:pos x="0" y="36"/>
                  </a:cxn>
                  <a:cxn ang="0">
                    <a:pos x="0" y="46"/>
                  </a:cxn>
                  <a:cxn ang="0">
                    <a:pos x="0" y="410"/>
                  </a:cxn>
                  <a:cxn ang="0">
                    <a:pos x="0" y="410"/>
                  </a:cxn>
                  <a:cxn ang="0">
                    <a:pos x="0" y="420"/>
                  </a:cxn>
                  <a:cxn ang="0">
                    <a:pos x="2" y="428"/>
                  </a:cxn>
                  <a:cxn ang="0">
                    <a:pos x="8" y="436"/>
                  </a:cxn>
                  <a:cxn ang="0">
                    <a:pos x="12" y="442"/>
                  </a:cxn>
                  <a:cxn ang="0">
                    <a:pos x="20" y="448"/>
                  </a:cxn>
                  <a:cxn ang="0">
                    <a:pos x="28" y="452"/>
                  </a:cxn>
                  <a:cxn ang="0">
                    <a:pos x="36" y="456"/>
                  </a:cxn>
                  <a:cxn ang="0">
                    <a:pos x="46" y="456"/>
                  </a:cxn>
                  <a:cxn ang="0">
                    <a:pos x="532" y="456"/>
                  </a:cxn>
                  <a:cxn ang="0">
                    <a:pos x="532" y="456"/>
                  </a:cxn>
                  <a:cxn ang="0">
                    <a:pos x="542" y="456"/>
                  </a:cxn>
                  <a:cxn ang="0">
                    <a:pos x="550" y="452"/>
                  </a:cxn>
                  <a:cxn ang="0">
                    <a:pos x="558" y="448"/>
                  </a:cxn>
                  <a:cxn ang="0">
                    <a:pos x="566" y="442"/>
                  </a:cxn>
                  <a:cxn ang="0">
                    <a:pos x="570" y="436"/>
                  </a:cxn>
                  <a:cxn ang="0">
                    <a:pos x="576" y="428"/>
                  </a:cxn>
                  <a:cxn ang="0">
                    <a:pos x="578" y="420"/>
                  </a:cxn>
                  <a:cxn ang="0">
                    <a:pos x="578" y="410"/>
                  </a:cxn>
                  <a:cxn ang="0">
                    <a:pos x="578" y="410"/>
                  </a:cxn>
                  <a:cxn ang="0">
                    <a:pos x="578" y="400"/>
                  </a:cxn>
                  <a:cxn ang="0">
                    <a:pos x="576" y="392"/>
                  </a:cxn>
                  <a:cxn ang="0">
                    <a:pos x="570" y="384"/>
                  </a:cxn>
                  <a:cxn ang="0">
                    <a:pos x="566" y="378"/>
                  </a:cxn>
                  <a:cxn ang="0">
                    <a:pos x="558" y="372"/>
                  </a:cxn>
                  <a:cxn ang="0">
                    <a:pos x="550" y="368"/>
                  </a:cxn>
                  <a:cxn ang="0">
                    <a:pos x="542" y="364"/>
                  </a:cxn>
                  <a:cxn ang="0">
                    <a:pos x="532" y="364"/>
                  </a:cxn>
                  <a:cxn ang="0">
                    <a:pos x="92" y="364"/>
                  </a:cxn>
                  <a:cxn ang="0">
                    <a:pos x="92" y="46"/>
                  </a:cxn>
                  <a:cxn ang="0">
                    <a:pos x="92" y="46"/>
                  </a:cxn>
                  <a:cxn ang="0">
                    <a:pos x="90" y="36"/>
                  </a:cxn>
                  <a:cxn ang="0">
                    <a:pos x="88" y="28"/>
                  </a:cxn>
                  <a:cxn ang="0">
                    <a:pos x="84" y="20"/>
                  </a:cxn>
                  <a:cxn ang="0">
                    <a:pos x="78" y="14"/>
                  </a:cxn>
                  <a:cxn ang="0">
                    <a:pos x="72" y="8"/>
                  </a:cxn>
                  <a:cxn ang="0">
                    <a:pos x="64" y="4"/>
                  </a:cxn>
                  <a:cxn ang="0">
                    <a:pos x="54" y="0"/>
                  </a:cxn>
                  <a:cxn ang="0">
                    <a:pos x="46" y="0"/>
                  </a:cxn>
                  <a:cxn ang="0">
                    <a:pos x="46" y="0"/>
                  </a:cxn>
                </a:cxnLst>
                <a:rect l="0" t="0" r="r" b="b"/>
                <a:pathLst>
                  <a:path w="578" h="456">
                    <a:moveTo>
                      <a:pt x="46" y="0"/>
                    </a:moveTo>
                    <a:lnTo>
                      <a:pt x="46" y="0"/>
                    </a:lnTo>
                    <a:lnTo>
                      <a:pt x="36" y="0"/>
                    </a:lnTo>
                    <a:lnTo>
                      <a:pt x="28" y="4"/>
                    </a:lnTo>
                    <a:lnTo>
                      <a:pt x="20" y="8"/>
                    </a:lnTo>
                    <a:lnTo>
                      <a:pt x="12" y="14"/>
                    </a:lnTo>
                    <a:lnTo>
                      <a:pt x="8" y="20"/>
                    </a:lnTo>
                    <a:lnTo>
                      <a:pt x="2" y="28"/>
                    </a:lnTo>
                    <a:lnTo>
                      <a:pt x="0" y="36"/>
                    </a:lnTo>
                    <a:lnTo>
                      <a:pt x="0" y="46"/>
                    </a:lnTo>
                    <a:lnTo>
                      <a:pt x="0" y="410"/>
                    </a:lnTo>
                    <a:lnTo>
                      <a:pt x="0" y="410"/>
                    </a:lnTo>
                    <a:lnTo>
                      <a:pt x="0" y="420"/>
                    </a:lnTo>
                    <a:lnTo>
                      <a:pt x="2" y="428"/>
                    </a:lnTo>
                    <a:lnTo>
                      <a:pt x="8" y="436"/>
                    </a:lnTo>
                    <a:lnTo>
                      <a:pt x="12" y="442"/>
                    </a:lnTo>
                    <a:lnTo>
                      <a:pt x="20" y="448"/>
                    </a:lnTo>
                    <a:lnTo>
                      <a:pt x="28" y="452"/>
                    </a:lnTo>
                    <a:lnTo>
                      <a:pt x="36" y="456"/>
                    </a:lnTo>
                    <a:lnTo>
                      <a:pt x="46" y="456"/>
                    </a:lnTo>
                    <a:lnTo>
                      <a:pt x="532" y="456"/>
                    </a:lnTo>
                    <a:lnTo>
                      <a:pt x="532" y="456"/>
                    </a:lnTo>
                    <a:lnTo>
                      <a:pt x="542" y="456"/>
                    </a:lnTo>
                    <a:lnTo>
                      <a:pt x="550" y="452"/>
                    </a:lnTo>
                    <a:lnTo>
                      <a:pt x="558" y="448"/>
                    </a:lnTo>
                    <a:lnTo>
                      <a:pt x="566" y="442"/>
                    </a:lnTo>
                    <a:lnTo>
                      <a:pt x="570" y="436"/>
                    </a:lnTo>
                    <a:lnTo>
                      <a:pt x="576" y="428"/>
                    </a:lnTo>
                    <a:lnTo>
                      <a:pt x="578" y="420"/>
                    </a:lnTo>
                    <a:lnTo>
                      <a:pt x="578" y="410"/>
                    </a:lnTo>
                    <a:lnTo>
                      <a:pt x="578" y="410"/>
                    </a:lnTo>
                    <a:lnTo>
                      <a:pt x="578" y="400"/>
                    </a:lnTo>
                    <a:lnTo>
                      <a:pt x="576" y="392"/>
                    </a:lnTo>
                    <a:lnTo>
                      <a:pt x="570" y="384"/>
                    </a:lnTo>
                    <a:lnTo>
                      <a:pt x="566" y="378"/>
                    </a:lnTo>
                    <a:lnTo>
                      <a:pt x="558" y="372"/>
                    </a:lnTo>
                    <a:lnTo>
                      <a:pt x="550" y="368"/>
                    </a:lnTo>
                    <a:lnTo>
                      <a:pt x="542" y="364"/>
                    </a:lnTo>
                    <a:lnTo>
                      <a:pt x="532" y="364"/>
                    </a:lnTo>
                    <a:lnTo>
                      <a:pt x="92" y="364"/>
                    </a:lnTo>
                    <a:lnTo>
                      <a:pt x="92" y="46"/>
                    </a:lnTo>
                    <a:lnTo>
                      <a:pt x="92" y="46"/>
                    </a:lnTo>
                    <a:lnTo>
                      <a:pt x="90" y="36"/>
                    </a:lnTo>
                    <a:lnTo>
                      <a:pt x="88" y="28"/>
                    </a:lnTo>
                    <a:lnTo>
                      <a:pt x="84" y="20"/>
                    </a:lnTo>
                    <a:lnTo>
                      <a:pt x="78" y="14"/>
                    </a:lnTo>
                    <a:lnTo>
                      <a:pt x="72" y="8"/>
                    </a:lnTo>
                    <a:lnTo>
                      <a:pt x="64" y="4"/>
                    </a:lnTo>
                    <a:lnTo>
                      <a:pt x="54" y="0"/>
                    </a:lnTo>
                    <a:lnTo>
                      <a:pt x="46" y="0"/>
                    </a:lnTo>
                    <a:lnTo>
                      <a:pt x="4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309" name="Freeform 13"/>
              <p:cNvSpPr>
                <a:spLocks noEditPoints="1"/>
              </p:cNvSpPr>
              <p:nvPr/>
            </p:nvSpPr>
            <p:spPr bwMode="auto">
              <a:xfrm>
                <a:off x="-5119688" y="546100"/>
                <a:ext cx="3359150" cy="4597400"/>
              </a:xfrm>
              <a:custGeom>
                <a:avLst/>
                <a:gdLst/>
                <a:ahLst/>
                <a:cxnLst>
                  <a:cxn ang="0">
                    <a:pos x="1842" y="1046"/>
                  </a:cxn>
                  <a:cxn ang="0">
                    <a:pos x="1670" y="788"/>
                  </a:cxn>
                  <a:cxn ang="0">
                    <a:pos x="1448" y="42"/>
                  </a:cxn>
                  <a:cxn ang="0">
                    <a:pos x="1406" y="0"/>
                  </a:cxn>
                  <a:cxn ang="0">
                    <a:pos x="1362" y="22"/>
                  </a:cxn>
                  <a:cxn ang="0">
                    <a:pos x="1302" y="544"/>
                  </a:cxn>
                  <a:cxn ang="0">
                    <a:pos x="966" y="484"/>
                  </a:cxn>
                  <a:cxn ang="0">
                    <a:pos x="578" y="564"/>
                  </a:cxn>
                  <a:cxn ang="0">
                    <a:pos x="564" y="16"/>
                  </a:cxn>
                  <a:cxn ang="0">
                    <a:pos x="516" y="2"/>
                  </a:cxn>
                  <a:cxn ang="0">
                    <a:pos x="430" y="646"/>
                  </a:cxn>
                  <a:cxn ang="0">
                    <a:pos x="180" y="888"/>
                  </a:cxn>
                  <a:cxn ang="0">
                    <a:pos x="18" y="1264"/>
                  </a:cxn>
                  <a:cxn ang="0">
                    <a:pos x="18" y="1632"/>
                  </a:cxn>
                  <a:cxn ang="0">
                    <a:pos x="180" y="2008"/>
                  </a:cxn>
                  <a:cxn ang="0">
                    <a:pos x="484" y="2854"/>
                  </a:cxn>
                  <a:cxn ang="0">
                    <a:pos x="512" y="2894"/>
                  </a:cxn>
                  <a:cxn ang="0">
                    <a:pos x="552" y="2892"/>
                  </a:cxn>
                  <a:cxn ang="0">
                    <a:pos x="528" y="2308"/>
                  </a:cxn>
                  <a:cxn ang="0">
                    <a:pos x="850" y="2406"/>
                  </a:cxn>
                  <a:cxn ang="0">
                    <a:pos x="1194" y="2386"/>
                  </a:cxn>
                  <a:cxn ang="0">
                    <a:pos x="1356" y="2856"/>
                  </a:cxn>
                  <a:cxn ang="0">
                    <a:pos x="1398" y="2896"/>
                  </a:cxn>
                  <a:cxn ang="0">
                    <a:pos x="1432" y="2884"/>
                  </a:cxn>
                  <a:cxn ang="0">
                    <a:pos x="1536" y="2226"/>
                  </a:cxn>
                  <a:cxn ang="0">
                    <a:pos x="1754" y="2004"/>
                  </a:cxn>
                  <a:cxn ang="0">
                    <a:pos x="1890" y="1724"/>
                  </a:cxn>
                  <a:cxn ang="0">
                    <a:pos x="2012" y="1666"/>
                  </a:cxn>
                  <a:cxn ang="0">
                    <a:pos x="2094" y="1590"/>
                  </a:cxn>
                  <a:cxn ang="0">
                    <a:pos x="2116" y="1386"/>
                  </a:cxn>
                  <a:cxn ang="0">
                    <a:pos x="2076" y="1278"/>
                  </a:cxn>
                  <a:cxn ang="0">
                    <a:pos x="1980" y="1220"/>
                  </a:cxn>
                  <a:cxn ang="0">
                    <a:pos x="876" y="2316"/>
                  </a:cxn>
                  <a:cxn ang="0">
                    <a:pos x="588" y="2234"/>
                  </a:cxn>
                  <a:cxn ang="0">
                    <a:pos x="348" y="2064"/>
                  </a:cxn>
                  <a:cxn ang="0">
                    <a:pos x="180" y="1826"/>
                  </a:cxn>
                  <a:cxn ang="0">
                    <a:pos x="98" y="1538"/>
                  </a:cxn>
                  <a:cxn ang="0">
                    <a:pos x="110" y="1272"/>
                  </a:cxn>
                  <a:cxn ang="0">
                    <a:pos x="220" y="996"/>
                  </a:cxn>
                  <a:cxn ang="0">
                    <a:pos x="410" y="776"/>
                  </a:cxn>
                  <a:cxn ang="0">
                    <a:pos x="666" y="628"/>
                  </a:cxn>
                  <a:cxn ang="0">
                    <a:pos x="966" y="576"/>
                  </a:cxn>
                  <a:cxn ang="0">
                    <a:pos x="1224" y="614"/>
                  </a:cxn>
                  <a:cxn ang="0">
                    <a:pos x="1488" y="750"/>
                  </a:cxn>
                  <a:cxn ang="0">
                    <a:pos x="1688" y="960"/>
                  </a:cxn>
                  <a:cxn ang="0">
                    <a:pos x="1810" y="1230"/>
                  </a:cxn>
                  <a:cxn ang="0">
                    <a:pos x="1836" y="1492"/>
                  </a:cxn>
                  <a:cxn ang="0">
                    <a:pos x="1770" y="1788"/>
                  </a:cxn>
                  <a:cxn ang="0">
                    <a:pos x="1610" y="2034"/>
                  </a:cxn>
                  <a:cxn ang="0">
                    <a:pos x="1382" y="2214"/>
                  </a:cxn>
                  <a:cxn ang="0">
                    <a:pos x="1098" y="2310"/>
                  </a:cxn>
                  <a:cxn ang="0">
                    <a:pos x="2022" y="1526"/>
                  </a:cxn>
                  <a:cxn ang="0">
                    <a:pos x="1946" y="1586"/>
                  </a:cxn>
                  <a:cxn ang="0">
                    <a:pos x="1930" y="1448"/>
                  </a:cxn>
                  <a:cxn ang="0">
                    <a:pos x="1962" y="1310"/>
                  </a:cxn>
                  <a:cxn ang="0">
                    <a:pos x="2022" y="1386"/>
                  </a:cxn>
                </a:cxnLst>
                <a:rect l="0" t="0" r="r" b="b"/>
                <a:pathLst>
                  <a:path w="2116" h="2896">
                    <a:moveTo>
                      <a:pt x="1946" y="1216"/>
                    </a:moveTo>
                    <a:lnTo>
                      <a:pt x="1902" y="1216"/>
                    </a:lnTo>
                    <a:lnTo>
                      <a:pt x="1902" y="1216"/>
                    </a:lnTo>
                    <a:lnTo>
                      <a:pt x="1890" y="1172"/>
                    </a:lnTo>
                    <a:lnTo>
                      <a:pt x="1876" y="1130"/>
                    </a:lnTo>
                    <a:lnTo>
                      <a:pt x="1860" y="1088"/>
                    </a:lnTo>
                    <a:lnTo>
                      <a:pt x="1842" y="1046"/>
                    </a:lnTo>
                    <a:lnTo>
                      <a:pt x="1822" y="1006"/>
                    </a:lnTo>
                    <a:lnTo>
                      <a:pt x="1802" y="966"/>
                    </a:lnTo>
                    <a:lnTo>
                      <a:pt x="1778" y="928"/>
                    </a:lnTo>
                    <a:lnTo>
                      <a:pt x="1754" y="892"/>
                    </a:lnTo>
                    <a:lnTo>
                      <a:pt x="1726" y="856"/>
                    </a:lnTo>
                    <a:lnTo>
                      <a:pt x="1698" y="822"/>
                    </a:lnTo>
                    <a:lnTo>
                      <a:pt x="1670" y="788"/>
                    </a:lnTo>
                    <a:lnTo>
                      <a:pt x="1638" y="758"/>
                    </a:lnTo>
                    <a:lnTo>
                      <a:pt x="1606" y="726"/>
                    </a:lnTo>
                    <a:lnTo>
                      <a:pt x="1572" y="698"/>
                    </a:lnTo>
                    <a:lnTo>
                      <a:pt x="1536" y="670"/>
                    </a:lnTo>
                    <a:lnTo>
                      <a:pt x="1500" y="646"/>
                    </a:lnTo>
                    <a:lnTo>
                      <a:pt x="1448" y="42"/>
                    </a:lnTo>
                    <a:lnTo>
                      <a:pt x="1448" y="42"/>
                    </a:lnTo>
                    <a:lnTo>
                      <a:pt x="1446" y="32"/>
                    </a:lnTo>
                    <a:lnTo>
                      <a:pt x="1442" y="24"/>
                    </a:lnTo>
                    <a:lnTo>
                      <a:pt x="1438" y="16"/>
                    </a:lnTo>
                    <a:lnTo>
                      <a:pt x="1432" y="10"/>
                    </a:lnTo>
                    <a:lnTo>
                      <a:pt x="1424" y="4"/>
                    </a:lnTo>
                    <a:lnTo>
                      <a:pt x="1416" y="2"/>
                    </a:lnTo>
                    <a:lnTo>
                      <a:pt x="1406" y="0"/>
                    </a:lnTo>
                    <a:lnTo>
                      <a:pt x="1398" y="0"/>
                    </a:lnTo>
                    <a:lnTo>
                      <a:pt x="1398" y="0"/>
                    </a:lnTo>
                    <a:lnTo>
                      <a:pt x="1388" y="2"/>
                    </a:lnTo>
                    <a:lnTo>
                      <a:pt x="1380" y="4"/>
                    </a:lnTo>
                    <a:lnTo>
                      <a:pt x="1372" y="10"/>
                    </a:lnTo>
                    <a:lnTo>
                      <a:pt x="1366" y="16"/>
                    </a:lnTo>
                    <a:lnTo>
                      <a:pt x="1362" y="22"/>
                    </a:lnTo>
                    <a:lnTo>
                      <a:pt x="1358" y="32"/>
                    </a:lnTo>
                    <a:lnTo>
                      <a:pt x="1356" y="40"/>
                    </a:lnTo>
                    <a:lnTo>
                      <a:pt x="1356" y="50"/>
                    </a:lnTo>
                    <a:lnTo>
                      <a:pt x="1402" y="588"/>
                    </a:lnTo>
                    <a:lnTo>
                      <a:pt x="1402" y="588"/>
                    </a:lnTo>
                    <a:lnTo>
                      <a:pt x="1352" y="564"/>
                    </a:lnTo>
                    <a:lnTo>
                      <a:pt x="1302" y="544"/>
                    </a:lnTo>
                    <a:lnTo>
                      <a:pt x="1248" y="526"/>
                    </a:lnTo>
                    <a:lnTo>
                      <a:pt x="1194" y="510"/>
                    </a:lnTo>
                    <a:lnTo>
                      <a:pt x="1138" y="498"/>
                    </a:lnTo>
                    <a:lnTo>
                      <a:pt x="1082" y="490"/>
                    </a:lnTo>
                    <a:lnTo>
                      <a:pt x="1024" y="484"/>
                    </a:lnTo>
                    <a:lnTo>
                      <a:pt x="966" y="484"/>
                    </a:lnTo>
                    <a:lnTo>
                      <a:pt x="966" y="484"/>
                    </a:lnTo>
                    <a:lnTo>
                      <a:pt x="906" y="484"/>
                    </a:lnTo>
                    <a:lnTo>
                      <a:pt x="850" y="490"/>
                    </a:lnTo>
                    <a:lnTo>
                      <a:pt x="792" y="498"/>
                    </a:lnTo>
                    <a:lnTo>
                      <a:pt x="738" y="510"/>
                    </a:lnTo>
                    <a:lnTo>
                      <a:pt x="682" y="526"/>
                    </a:lnTo>
                    <a:lnTo>
                      <a:pt x="630" y="544"/>
                    </a:lnTo>
                    <a:lnTo>
                      <a:pt x="578" y="564"/>
                    </a:lnTo>
                    <a:lnTo>
                      <a:pt x="528" y="588"/>
                    </a:lnTo>
                    <a:lnTo>
                      <a:pt x="576" y="50"/>
                    </a:lnTo>
                    <a:lnTo>
                      <a:pt x="576" y="50"/>
                    </a:lnTo>
                    <a:lnTo>
                      <a:pt x="576" y="40"/>
                    </a:lnTo>
                    <a:lnTo>
                      <a:pt x="574" y="32"/>
                    </a:lnTo>
                    <a:lnTo>
                      <a:pt x="570" y="22"/>
                    </a:lnTo>
                    <a:lnTo>
                      <a:pt x="564" y="16"/>
                    </a:lnTo>
                    <a:lnTo>
                      <a:pt x="558" y="10"/>
                    </a:lnTo>
                    <a:lnTo>
                      <a:pt x="552" y="4"/>
                    </a:lnTo>
                    <a:lnTo>
                      <a:pt x="542" y="2"/>
                    </a:lnTo>
                    <a:lnTo>
                      <a:pt x="534" y="0"/>
                    </a:lnTo>
                    <a:lnTo>
                      <a:pt x="534" y="0"/>
                    </a:lnTo>
                    <a:lnTo>
                      <a:pt x="524" y="0"/>
                    </a:lnTo>
                    <a:lnTo>
                      <a:pt x="516" y="2"/>
                    </a:lnTo>
                    <a:lnTo>
                      <a:pt x="506" y="4"/>
                    </a:lnTo>
                    <a:lnTo>
                      <a:pt x="500" y="10"/>
                    </a:lnTo>
                    <a:lnTo>
                      <a:pt x="494" y="16"/>
                    </a:lnTo>
                    <a:lnTo>
                      <a:pt x="488" y="24"/>
                    </a:lnTo>
                    <a:lnTo>
                      <a:pt x="486" y="32"/>
                    </a:lnTo>
                    <a:lnTo>
                      <a:pt x="484" y="42"/>
                    </a:lnTo>
                    <a:lnTo>
                      <a:pt x="430" y="646"/>
                    </a:lnTo>
                    <a:lnTo>
                      <a:pt x="430" y="646"/>
                    </a:lnTo>
                    <a:lnTo>
                      <a:pt x="384" y="680"/>
                    </a:lnTo>
                    <a:lnTo>
                      <a:pt x="338" y="716"/>
                    </a:lnTo>
                    <a:lnTo>
                      <a:pt x="294" y="756"/>
                    </a:lnTo>
                    <a:lnTo>
                      <a:pt x="254" y="796"/>
                    </a:lnTo>
                    <a:lnTo>
                      <a:pt x="216" y="840"/>
                    </a:lnTo>
                    <a:lnTo>
                      <a:pt x="180" y="888"/>
                    </a:lnTo>
                    <a:lnTo>
                      <a:pt x="148" y="936"/>
                    </a:lnTo>
                    <a:lnTo>
                      <a:pt x="118" y="986"/>
                    </a:lnTo>
                    <a:lnTo>
                      <a:pt x="92" y="1038"/>
                    </a:lnTo>
                    <a:lnTo>
                      <a:pt x="68" y="1092"/>
                    </a:lnTo>
                    <a:lnTo>
                      <a:pt x="48" y="1148"/>
                    </a:lnTo>
                    <a:lnTo>
                      <a:pt x="32" y="1206"/>
                    </a:lnTo>
                    <a:lnTo>
                      <a:pt x="18" y="1264"/>
                    </a:lnTo>
                    <a:lnTo>
                      <a:pt x="8" y="1324"/>
                    </a:lnTo>
                    <a:lnTo>
                      <a:pt x="2" y="1386"/>
                    </a:lnTo>
                    <a:lnTo>
                      <a:pt x="0" y="1448"/>
                    </a:lnTo>
                    <a:lnTo>
                      <a:pt x="0" y="1448"/>
                    </a:lnTo>
                    <a:lnTo>
                      <a:pt x="2" y="1510"/>
                    </a:lnTo>
                    <a:lnTo>
                      <a:pt x="8" y="1572"/>
                    </a:lnTo>
                    <a:lnTo>
                      <a:pt x="18" y="1632"/>
                    </a:lnTo>
                    <a:lnTo>
                      <a:pt x="32" y="1690"/>
                    </a:lnTo>
                    <a:lnTo>
                      <a:pt x="48" y="1748"/>
                    </a:lnTo>
                    <a:lnTo>
                      <a:pt x="68" y="1804"/>
                    </a:lnTo>
                    <a:lnTo>
                      <a:pt x="92" y="1858"/>
                    </a:lnTo>
                    <a:lnTo>
                      <a:pt x="118" y="1910"/>
                    </a:lnTo>
                    <a:lnTo>
                      <a:pt x="148" y="1960"/>
                    </a:lnTo>
                    <a:lnTo>
                      <a:pt x="180" y="2008"/>
                    </a:lnTo>
                    <a:lnTo>
                      <a:pt x="216" y="2056"/>
                    </a:lnTo>
                    <a:lnTo>
                      <a:pt x="254" y="2100"/>
                    </a:lnTo>
                    <a:lnTo>
                      <a:pt x="294" y="2140"/>
                    </a:lnTo>
                    <a:lnTo>
                      <a:pt x="338" y="2180"/>
                    </a:lnTo>
                    <a:lnTo>
                      <a:pt x="384" y="2216"/>
                    </a:lnTo>
                    <a:lnTo>
                      <a:pt x="430" y="2250"/>
                    </a:lnTo>
                    <a:lnTo>
                      <a:pt x="484" y="2854"/>
                    </a:lnTo>
                    <a:lnTo>
                      <a:pt x="484" y="2854"/>
                    </a:lnTo>
                    <a:lnTo>
                      <a:pt x="484" y="2864"/>
                    </a:lnTo>
                    <a:lnTo>
                      <a:pt x="488" y="2872"/>
                    </a:lnTo>
                    <a:lnTo>
                      <a:pt x="492" y="2878"/>
                    </a:lnTo>
                    <a:lnTo>
                      <a:pt x="498" y="2884"/>
                    </a:lnTo>
                    <a:lnTo>
                      <a:pt x="504" y="2890"/>
                    </a:lnTo>
                    <a:lnTo>
                      <a:pt x="512" y="2894"/>
                    </a:lnTo>
                    <a:lnTo>
                      <a:pt x="520" y="2896"/>
                    </a:lnTo>
                    <a:lnTo>
                      <a:pt x="530" y="2896"/>
                    </a:lnTo>
                    <a:lnTo>
                      <a:pt x="530" y="2896"/>
                    </a:lnTo>
                    <a:lnTo>
                      <a:pt x="534" y="2896"/>
                    </a:lnTo>
                    <a:lnTo>
                      <a:pt x="534" y="2896"/>
                    </a:lnTo>
                    <a:lnTo>
                      <a:pt x="542" y="2894"/>
                    </a:lnTo>
                    <a:lnTo>
                      <a:pt x="552" y="2892"/>
                    </a:lnTo>
                    <a:lnTo>
                      <a:pt x="558" y="2886"/>
                    </a:lnTo>
                    <a:lnTo>
                      <a:pt x="564" y="2880"/>
                    </a:lnTo>
                    <a:lnTo>
                      <a:pt x="570" y="2874"/>
                    </a:lnTo>
                    <a:lnTo>
                      <a:pt x="574" y="2864"/>
                    </a:lnTo>
                    <a:lnTo>
                      <a:pt x="576" y="2856"/>
                    </a:lnTo>
                    <a:lnTo>
                      <a:pt x="576" y="2846"/>
                    </a:lnTo>
                    <a:lnTo>
                      <a:pt x="528" y="2308"/>
                    </a:lnTo>
                    <a:lnTo>
                      <a:pt x="528" y="2308"/>
                    </a:lnTo>
                    <a:lnTo>
                      <a:pt x="578" y="2332"/>
                    </a:lnTo>
                    <a:lnTo>
                      <a:pt x="630" y="2352"/>
                    </a:lnTo>
                    <a:lnTo>
                      <a:pt x="682" y="2370"/>
                    </a:lnTo>
                    <a:lnTo>
                      <a:pt x="738" y="2386"/>
                    </a:lnTo>
                    <a:lnTo>
                      <a:pt x="792" y="2398"/>
                    </a:lnTo>
                    <a:lnTo>
                      <a:pt x="850" y="2406"/>
                    </a:lnTo>
                    <a:lnTo>
                      <a:pt x="906" y="2412"/>
                    </a:lnTo>
                    <a:lnTo>
                      <a:pt x="966" y="2412"/>
                    </a:lnTo>
                    <a:lnTo>
                      <a:pt x="966" y="2412"/>
                    </a:lnTo>
                    <a:lnTo>
                      <a:pt x="1024" y="2412"/>
                    </a:lnTo>
                    <a:lnTo>
                      <a:pt x="1082" y="2406"/>
                    </a:lnTo>
                    <a:lnTo>
                      <a:pt x="1138" y="2398"/>
                    </a:lnTo>
                    <a:lnTo>
                      <a:pt x="1194" y="2386"/>
                    </a:lnTo>
                    <a:lnTo>
                      <a:pt x="1248" y="2370"/>
                    </a:lnTo>
                    <a:lnTo>
                      <a:pt x="1302" y="2352"/>
                    </a:lnTo>
                    <a:lnTo>
                      <a:pt x="1352" y="2332"/>
                    </a:lnTo>
                    <a:lnTo>
                      <a:pt x="1402" y="2308"/>
                    </a:lnTo>
                    <a:lnTo>
                      <a:pt x="1356" y="2846"/>
                    </a:lnTo>
                    <a:lnTo>
                      <a:pt x="1356" y="2846"/>
                    </a:lnTo>
                    <a:lnTo>
                      <a:pt x="1356" y="2856"/>
                    </a:lnTo>
                    <a:lnTo>
                      <a:pt x="1358" y="2864"/>
                    </a:lnTo>
                    <a:lnTo>
                      <a:pt x="1362" y="2874"/>
                    </a:lnTo>
                    <a:lnTo>
                      <a:pt x="1366" y="2880"/>
                    </a:lnTo>
                    <a:lnTo>
                      <a:pt x="1372" y="2886"/>
                    </a:lnTo>
                    <a:lnTo>
                      <a:pt x="1380" y="2892"/>
                    </a:lnTo>
                    <a:lnTo>
                      <a:pt x="1388" y="2894"/>
                    </a:lnTo>
                    <a:lnTo>
                      <a:pt x="1398" y="2896"/>
                    </a:lnTo>
                    <a:lnTo>
                      <a:pt x="1398" y="2896"/>
                    </a:lnTo>
                    <a:lnTo>
                      <a:pt x="1402" y="2896"/>
                    </a:lnTo>
                    <a:lnTo>
                      <a:pt x="1402" y="2896"/>
                    </a:lnTo>
                    <a:lnTo>
                      <a:pt x="1410" y="2896"/>
                    </a:lnTo>
                    <a:lnTo>
                      <a:pt x="1418" y="2894"/>
                    </a:lnTo>
                    <a:lnTo>
                      <a:pt x="1426" y="2890"/>
                    </a:lnTo>
                    <a:lnTo>
                      <a:pt x="1432" y="2884"/>
                    </a:lnTo>
                    <a:lnTo>
                      <a:pt x="1438" y="2878"/>
                    </a:lnTo>
                    <a:lnTo>
                      <a:pt x="1442" y="2872"/>
                    </a:lnTo>
                    <a:lnTo>
                      <a:pt x="1446" y="2864"/>
                    </a:lnTo>
                    <a:lnTo>
                      <a:pt x="1448" y="2854"/>
                    </a:lnTo>
                    <a:lnTo>
                      <a:pt x="1500" y="2250"/>
                    </a:lnTo>
                    <a:lnTo>
                      <a:pt x="1500" y="2250"/>
                    </a:lnTo>
                    <a:lnTo>
                      <a:pt x="1536" y="2226"/>
                    </a:lnTo>
                    <a:lnTo>
                      <a:pt x="1572" y="2198"/>
                    </a:lnTo>
                    <a:lnTo>
                      <a:pt x="1606" y="2170"/>
                    </a:lnTo>
                    <a:lnTo>
                      <a:pt x="1638" y="2138"/>
                    </a:lnTo>
                    <a:lnTo>
                      <a:pt x="1670" y="2108"/>
                    </a:lnTo>
                    <a:lnTo>
                      <a:pt x="1698" y="2074"/>
                    </a:lnTo>
                    <a:lnTo>
                      <a:pt x="1726" y="2040"/>
                    </a:lnTo>
                    <a:lnTo>
                      <a:pt x="1754" y="2004"/>
                    </a:lnTo>
                    <a:lnTo>
                      <a:pt x="1778" y="1968"/>
                    </a:lnTo>
                    <a:lnTo>
                      <a:pt x="1802" y="1930"/>
                    </a:lnTo>
                    <a:lnTo>
                      <a:pt x="1822" y="1890"/>
                    </a:lnTo>
                    <a:lnTo>
                      <a:pt x="1842" y="1850"/>
                    </a:lnTo>
                    <a:lnTo>
                      <a:pt x="1860" y="1808"/>
                    </a:lnTo>
                    <a:lnTo>
                      <a:pt x="1876" y="1766"/>
                    </a:lnTo>
                    <a:lnTo>
                      <a:pt x="1890" y="1724"/>
                    </a:lnTo>
                    <a:lnTo>
                      <a:pt x="1902" y="1680"/>
                    </a:lnTo>
                    <a:lnTo>
                      <a:pt x="1946" y="1680"/>
                    </a:lnTo>
                    <a:lnTo>
                      <a:pt x="1946" y="1680"/>
                    </a:lnTo>
                    <a:lnTo>
                      <a:pt x="1964" y="1678"/>
                    </a:lnTo>
                    <a:lnTo>
                      <a:pt x="1980" y="1676"/>
                    </a:lnTo>
                    <a:lnTo>
                      <a:pt x="1996" y="1672"/>
                    </a:lnTo>
                    <a:lnTo>
                      <a:pt x="2012" y="1666"/>
                    </a:lnTo>
                    <a:lnTo>
                      <a:pt x="2026" y="1658"/>
                    </a:lnTo>
                    <a:lnTo>
                      <a:pt x="2040" y="1650"/>
                    </a:lnTo>
                    <a:lnTo>
                      <a:pt x="2054" y="1640"/>
                    </a:lnTo>
                    <a:lnTo>
                      <a:pt x="2066" y="1630"/>
                    </a:lnTo>
                    <a:lnTo>
                      <a:pt x="2076" y="1618"/>
                    </a:lnTo>
                    <a:lnTo>
                      <a:pt x="2086" y="1604"/>
                    </a:lnTo>
                    <a:lnTo>
                      <a:pt x="2094" y="1590"/>
                    </a:lnTo>
                    <a:lnTo>
                      <a:pt x="2102" y="1576"/>
                    </a:lnTo>
                    <a:lnTo>
                      <a:pt x="2108" y="1560"/>
                    </a:lnTo>
                    <a:lnTo>
                      <a:pt x="2112" y="1544"/>
                    </a:lnTo>
                    <a:lnTo>
                      <a:pt x="2114" y="1526"/>
                    </a:lnTo>
                    <a:lnTo>
                      <a:pt x="2116" y="1510"/>
                    </a:lnTo>
                    <a:lnTo>
                      <a:pt x="2116" y="1386"/>
                    </a:lnTo>
                    <a:lnTo>
                      <a:pt x="2116" y="1386"/>
                    </a:lnTo>
                    <a:lnTo>
                      <a:pt x="2114" y="1370"/>
                    </a:lnTo>
                    <a:lnTo>
                      <a:pt x="2112" y="1352"/>
                    </a:lnTo>
                    <a:lnTo>
                      <a:pt x="2108" y="1336"/>
                    </a:lnTo>
                    <a:lnTo>
                      <a:pt x="2102" y="1320"/>
                    </a:lnTo>
                    <a:lnTo>
                      <a:pt x="2094" y="1306"/>
                    </a:lnTo>
                    <a:lnTo>
                      <a:pt x="2086" y="1292"/>
                    </a:lnTo>
                    <a:lnTo>
                      <a:pt x="2076" y="1278"/>
                    </a:lnTo>
                    <a:lnTo>
                      <a:pt x="2066" y="1266"/>
                    </a:lnTo>
                    <a:lnTo>
                      <a:pt x="2054" y="1256"/>
                    </a:lnTo>
                    <a:lnTo>
                      <a:pt x="2040" y="1246"/>
                    </a:lnTo>
                    <a:lnTo>
                      <a:pt x="2026" y="1238"/>
                    </a:lnTo>
                    <a:lnTo>
                      <a:pt x="2012" y="1230"/>
                    </a:lnTo>
                    <a:lnTo>
                      <a:pt x="1996" y="1224"/>
                    </a:lnTo>
                    <a:lnTo>
                      <a:pt x="1980" y="1220"/>
                    </a:lnTo>
                    <a:lnTo>
                      <a:pt x="1964" y="1218"/>
                    </a:lnTo>
                    <a:lnTo>
                      <a:pt x="1946" y="1216"/>
                    </a:lnTo>
                    <a:lnTo>
                      <a:pt x="1946" y="1216"/>
                    </a:lnTo>
                    <a:close/>
                    <a:moveTo>
                      <a:pt x="966" y="2320"/>
                    </a:moveTo>
                    <a:lnTo>
                      <a:pt x="966" y="2320"/>
                    </a:lnTo>
                    <a:lnTo>
                      <a:pt x="920" y="2320"/>
                    </a:lnTo>
                    <a:lnTo>
                      <a:pt x="876" y="2316"/>
                    </a:lnTo>
                    <a:lnTo>
                      <a:pt x="832" y="2310"/>
                    </a:lnTo>
                    <a:lnTo>
                      <a:pt x="790" y="2302"/>
                    </a:lnTo>
                    <a:lnTo>
                      <a:pt x="748" y="2292"/>
                    </a:lnTo>
                    <a:lnTo>
                      <a:pt x="706" y="2282"/>
                    </a:lnTo>
                    <a:lnTo>
                      <a:pt x="666" y="2268"/>
                    </a:lnTo>
                    <a:lnTo>
                      <a:pt x="626" y="2252"/>
                    </a:lnTo>
                    <a:lnTo>
                      <a:pt x="588" y="2234"/>
                    </a:lnTo>
                    <a:lnTo>
                      <a:pt x="550" y="2214"/>
                    </a:lnTo>
                    <a:lnTo>
                      <a:pt x="514" y="2194"/>
                    </a:lnTo>
                    <a:lnTo>
                      <a:pt x="478" y="2172"/>
                    </a:lnTo>
                    <a:lnTo>
                      <a:pt x="444" y="2146"/>
                    </a:lnTo>
                    <a:lnTo>
                      <a:pt x="410" y="2120"/>
                    </a:lnTo>
                    <a:lnTo>
                      <a:pt x="380" y="2094"/>
                    </a:lnTo>
                    <a:lnTo>
                      <a:pt x="348" y="2064"/>
                    </a:lnTo>
                    <a:lnTo>
                      <a:pt x="320" y="2034"/>
                    </a:lnTo>
                    <a:lnTo>
                      <a:pt x="292" y="2002"/>
                    </a:lnTo>
                    <a:lnTo>
                      <a:pt x="266" y="1970"/>
                    </a:lnTo>
                    <a:lnTo>
                      <a:pt x="242" y="1936"/>
                    </a:lnTo>
                    <a:lnTo>
                      <a:pt x="220" y="1900"/>
                    </a:lnTo>
                    <a:lnTo>
                      <a:pt x="198" y="1864"/>
                    </a:lnTo>
                    <a:lnTo>
                      <a:pt x="180" y="1826"/>
                    </a:lnTo>
                    <a:lnTo>
                      <a:pt x="162" y="1788"/>
                    </a:lnTo>
                    <a:lnTo>
                      <a:pt x="146" y="1748"/>
                    </a:lnTo>
                    <a:lnTo>
                      <a:pt x="132" y="1708"/>
                    </a:lnTo>
                    <a:lnTo>
                      <a:pt x="120" y="1666"/>
                    </a:lnTo>
                    <a:lnTo>
                      <a:pt x="110" y="1624"/>
                    </a:lnTo>
                    <a:lnTo>
                      <a:pt x="104" y="1580"/>
                    </a:lnTo>
                    <a:lnTo>
                      <a:pt x="98" y="1538"/>
                    </a:lnTo>
                    <a:lnTo>
                      <a:pt x="94" y="1492"/>
                    </a:lnTo>
                    <a:lnTo>
                      <a:pt x="94" y="1448"/>
                    </a:lnTo>
                    <a:lnTo>
                      <a:pt x="94" y="1448"/>
                    </a:lnTo>
                    <a:lnTo>
                      <a:pt x="94" y="1404"/>
                    </a:lnTo>
                    <a:lnTo>
                      <a:pt x="98" y="1358"/>
                    </a:lnTo>
                    <a:lnTo>
                      <a:pt x="104" y="1316"/>
                    </a:lnTo>
                    <a:lnTo>
                      <a:pt x="110" y="1272"/>
                    </a:lnTo>
                    <a:lnTo>
                      <a:pt x="120" y="1230"/>
                    </a:lnTo>
                    <a:lnTo>
                      <a:pt x="132" y="1188"/>
                    </a:lnTo>
                    <a:lnTo>
                      <a:pt x="146" y="1148"/>
                    </a:lnTo>
                    <a:lnTo>
                      <a:pt x="162" y="1108"/>
                    </a:lnTo>
                    <a:lnTo>
                      <a:pt x="180" y="1070"/>
                    </a:lnTo>
                    <a:lnTo>
                      <a:pt x="198" y="1032"/>
                    </a:lnTo>
                    <a:lnTo>
                      <a:pt x="220" y="996"/>
                    </a:lnTo>
                    <a:lnTo>
                      <a:pt x="242" y="960"/>
                    </a:lnTo>
                    <a:lnTo>
                      <a:pt x="266" y="926"/>
                    </a:lnTo>
                    <a:lnTo>
                      <a:pt x="292" y="894"/>
                    </a:lnTo>
                    <a:lnTo>
                      <a:pt x="320" y="862"/>
                    </a:lnTo>
                    <a:lnTo>
                      <a:pt x="348" y="832"/>
                    </a:lnTo>
                    <a:lnTo>
                      <a:pt x="380" y="802"/>
                    </a:lnTo>
                    <a:lnTo>
                      <a:pt x="410" y="776"/>
                    </a:lnTo>
                    <a:lnTo>
                      <a:pt x="444" y="750"/>
                    </a:lnTo>
                    <a:lnTo>
                      <a:pt x="478" y="724"/>
                    </a:lnTo>
                    <a:lnTo>
                      <a:pt x="514" y="702"/>
                    </a:lnTo>
                    <a:lnTo>
                      <a:pt x="550" y="682"/>
                    </a:lnTo>
                    <a:lnTo>
                      <a:pt x="588" y="662"/>
                    </a:lnTo>
                    <a:lnTo>
                      <a:pt x="626" y="644"/>
                    </a:lnTo>
                    <a:lnTo>
                      <a:pt x="666" y="628"/>
                    </a:lnTo>
                    <a:lnTo>
                      <a:pt x="706" y="614"/>
                    </a:lnTo>
                    <a:lnTo>
                      <a:pt x="748" y="604"/>
                    </a:lnTo>
                    <a:lnTo>
                      <a:pt x="790" y="594"/>
                    </a:lnTo>
                    <a:lnTo>
                      <a:pt x="832" y="586"/>
                    </a:lnTo>
                    <a:lnTo>
                      <a:pt x="876" y="580"/>
                    </a:lnTo>
                    <a:lnTo>
                      <a:pt x="920" y="576"/>
                    </a:lnTo>
                    <a:lnTo>
                      <a:pt x="966" y="576"/>
                    </a:lnTo>
                    <a:lnTo>
                      <a:pt x="966" y="576"/>
                    </a:lnTo>
                    <a:lnTo>
                      <a:pt x="1010" y="576"/>
                    </a:lnTo>
                    <a:lnTo>
                      <a:pt x="1054" y="580"/>
                    </a:lnTo>
                    <a:lnTo>
                      <a:pt x="1098" y="586"/>
                    </a:lnTo>
                    <a:lnTo>
                      <a:pt x="1142" y="594"/>
                    </a:lnTo>
                    <a:lnTo>
                      <a:pt x="1184" y="604"/>
                    </a:lnTo>
                    <a:lnTo>
                      <a:pt x="1224" y="614"/>
                    </a:lnTo>
                    <a:lnTo>
                      <a:pt x="1266" y="628"/>
                    </a:lnTo>
                    <a:lnTo>
                      <a:pt x="1304" y="644"/>
                    </a:lnTo>
                    <a:lnTo>
                      <a:pt x="1344" y="662"/>
                    </a:lnTo>
                    <a:lnTo>
                      <a:pt x="1382" y="682"/>
                    </a:lnTo>
                    <a:lnTo>
                      <a:pt x="1418" y="702"/>
                    </a:lnTo>
                    <a:lnTo>
                      <a:pt x="1452" y="724"/>
                    </a:lnTo>
                    <a:lnTo>
                      <a:pt x="1488" y="750"/>
                    </a:lnTo>
                    <a:lnTo>
                      <a:pt x="1520" y="776"/>
                    </a:lnTo>
                    <a:lnTo>
                      <a:pt x="1552" y="802"/>
                    </a:lnTo>
                    <a:lnTo>
                      <a:pt x="1582" y="832"/>
                    </a:lnTo>
                    <a:lnTo>
                      <a:pt x="1610" y="862"/>
                    </a:lnTo>
                    <a:lnTo>
                      <a:pt x="1638" y="894"/>
                    </a:lnTo>
                    <a:lnTo>
                      <a:pt x="1664" y="926"/>
                    </a:lnTo>
                    <a:lnTo>
                      <a:pt x="1688" y="960"/>
                    </a:lnTo>
                    <a:lnTo>
                      <a:pt x="1712" y="996"/>
                    </a:lnTo>
                    <a:lnTo>
                      <a:pt x="1732" y="1032"/>
                    </a:lnTo>
                    <a:lnTo>
                      <a:pt x="1752" y="1070"/>
                    </a:lnTo>
                    <a:lnTo>
                      <a:pt x="1770" y="1108"/>
                    </a:lnTo>
                    <a:lnTo>
                      <a:pt x="1784" y="1148"/>
                    </a:lnTo>
                    <a:lnTo>
                      <a:pt x="1798" y="1188"/>
                    </a:lnTo>
                    <a:lnTo>
                      <a:pt x="1810" y="1230"/>
                    </a:lnTo>
                    <a:lnTo>
                      <a:pt x="1820" y="1272"/>
                    </a:lnTo>
                    <a:lnTo>
                      <a:pt x="1828" y="1316"/>
                    </a:lnTo>
                    <a:lnTo>
                      <a:pt x="1834" y="1358"/>
                    </a:lnTo>
                    <a:lnTo>
                      <a:pt x="1836" y="1404"/>
                    </a:lnTo>
                    <a:lnTo>
                      <a:pt x="1838" y="1448"/>
                    </a:lnTo>
                    <a:lnTo>
                      <a:pt x="1838" y="1448"/>
                    </a:lnTo>
                    <a:lnTo>
                      <a:pt x="1836" y="1492"/>
                    </a:lnTo>
                    <a:lnTo>
                      <a:pt x="1834" y="1538"/>
                    </a:lnTo>
                    <a:lnTo>
                      <a:pt x="1828" y="1580"/>
                    </a:lnTo>
                    <a:lnTo>
                      <a:pt x="1820" y="1624"/>
                    </a:lnTo>
                    <a:lnTo>
                      <a:pt x="1810" y="1666"/>
                    </a:lnTo>
                    <a:lnTo>
                      <a:pt x="1798" y="1708"/>
                    </a:lnTo>
                    <a:lnTo>
                      <a:pt x="1784" y="1748"/>
                    </a:lnTo>
                    <a:lnTo>
                      <a:pt x="1770" y="1788"/>
                    </a:lnTo>
                    <a:lnTo>
                      <a:pt x="1752" y="1826"/>
                    </a:lnTo>
                    <a:lnTo>
                      <a:pt x="1732" y="1864"/>
                    </a:lnTo>
                    <a:lnTo>
                      <a:pt x="1712" y="1900"/>
                    </a:lnTo>
                    <a:lnTo>
                      <a:pt x="1688" y="1936"/>
                    </a:lnTo>
                    <a:lnTo>
                      <a:pt x="1664" y="1970"/>
                    </a:lnTo>
                    <a:lnTo>
                      <a:pt x="1638" y="2002"/>
                    </a:lnTo>
                    <a:lnTo>
                      <a:pt x="1610" y="2034"/>
                    </a:lnTo>
                    <a:lnTo>
                      <a:pt x="1582" y="2064"/>
                    </a:lnTo>
                    <a:lnTo>
                      <a:pt x="1552" y="2094"/>
                    </a:lnTo>
                    <a:lnTo>
                      <a:pt x="1520" y="2120"/>
                    </a:lnTo>
                    <a:lnTo>
                      <a:pt x="1488" y="2146"/>
                    </a:lnTo>
                    <a:lnTo>
                      <a:pt x="1452" y="2172"/>
                    </a:lnTo>
                    <a:lnTo>
                      <a:pt x="1418" y="2194"/>
                    </a:lnTo>
                    <a:lnTo>
                      <a:pt x="1382" y="2214"/>
                    </a:lnTo>
                    <a:lnTo>
                      <a:pt x="1344" y="2234"/>
                    </a:lnTo>
                    <a:lnTo>
                      <a:pt x="1304" y="2252"/>
                    </a:lnTo>
                    <a:lnTo>
                      <a:pt x="1266" y="2268"/>
                    </a:lnTo>
                    <a:lnTo>
                      <a:pt x="1224" y="2282"/>
                    </a:lnTo>
                    <a:lnTo>
                      <a:pt x="1184" y="2292"/>
                    </a:lnTo>
                    <a:lnTo>
                      <a:pt x="1142" y="2302"/>
                    </a:lnTo>
                    <a:lnTo>
                      <a:pt x="1098" y="2310"/>
                    </a:lnTo>
                    <a:lnTo>
                      <a:pt x="1054" y="2316"/>
                    </a:lnTo>
                    <a:lnTo>
                      <a:pt x="1010" y="2320"/>
                    </a:lnTo>
                    <a:lnTo>
                      <a:pt x="966" y="2320"/>
                    </a:lnTo>
                    <a:lnTo>
                      <a:pt x="966" y="2320"/>
                    </a:lnTo>
                    <a:close/>
                    <a:moveTo>
                      <a:pt x="2022" y="1510"/>
                    </a:moveTo>
                    <a:lnTo>
                      <a:pt x="2022" y="1510"/>
                    </a:lnTo>
                    <a:lnTo>
                      <a:pt x="2022" y="1526"/>
                    </a:lnTo>
                    <a:lnTo>
                      <a:pt x="2016" y="1540"/>
                    </a:lnTo>
                    <a:lnTo>
                      <a:pt x="2010" y="1552"/>
                    </a:lnTo>
                    <a:lnTo>
                      <a:pt x="2000" y="1564"/>
                    </a:lnTo>
                    <a:lnTo>
                      <a:pt x="1988" y="1574"/>
                    </a:lnTo>
                    <a:lnTo>
                      <a:pt x="1976" y="1580"/>
                    </a:lnTo>
                    <a:lnTo>
                      <a:pt x="1962" y="1586"/>
                    </a:lnTo>
                    <a:lnTo>
                      <a:pt x="1946" y="1586"/>
                    </a:lnTo>
                    <a:lnTo>
                      <a:pt x="1920" y="1586"/>
                    </a:lnTo>
                    <a:lnTo>
                      <a:pt x="1920" y="1586"/>
                    </a:lnTo>
                    <a:lnTo>
                      <a:pt x="1924" y="1552"/>
                    </a:lnTo>
                    <a:lnTo>
                      <a:pt x="1928" y="1518"/>
                    </a:lnTo>
                    <a:lnTo>
                      <a:pt x="1930" y="1484"/>
                    </a:lnTo>
                    <a:lnTo>
                      <a:pt x="1930" y="1448"/>
                    </a:lnTo>
                    <a:lnTo>
                      <a:pt x="1930" y="1448"/>
                    </a:lnTo>
                    <a:lnTo>
                      <a:pt x="1930" y="1412"/>
                    </a:lnTo>
                    <a:lnTo>
                      <a:pt x="1928" y="1378"/>
                    </a:lnTo>
                    <a:lnTo>
                      <a:pt x="1924" y="1344"/>
                    </a:lnTo>
                    <a:lnTo>
                      <a:pt x="1920" y="1310"/>
                    </a:lnTo>
                    <a:lnTo>
                      <a:pt x="1946" y="1310"/>
                    </a:lnTo>
                    <a:lnTo>
                      <a:pt x="1946" y="1310"/>
                    </a:lnTo>
                    <a:lnTo>
                      <a:pt x="1962" y="1310"/>
                    </a:lnTo>
                    <a:lnTo>
                      <a:pt x="1976" y="1316"/>
                    </a:lnTo>
                    <a:lnTo>
                      <a:pt x="1988" y="1322"/>
                    </a:lnTo>
                    <a:lnTo>
                      <a:pt x="2000" y="1332"/>
                    </a:lnTo>
                    <a:lnTo>
                      <a:pt x="2010" y="1344"/>
                    </a:lnTo>
                    <a:lnTo>
                      <a:pt x="2016" y="1356"/>
                    </a:lnTo>
                    <a:lnTo>
                      <a:pt x="2022" y="1370"/>
                    </a:lnTo>
                    <a:lnTo>
                      <a:pt x="2022" y="1386"/>
                    </a:lnTo>
                    <a:lnTo>
                      <a:pt x="2022" y="15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310" name="Freeform 14"/>
              <p:cNvSpPr>
                <a:spLocks/>
              </p:cNvSpPr>
              <p:nvPr/>
            </p:nvSpPr>
            <p:spPr bwMode="auto">
              <a:xfrm>
                <a:off x="-3881438" y="3260725"/>
                <a:ext cx="587375" cy="146050"/>
              </a:xfrm>
              <a:custGeom>
                <a:avLst/>
                <a:gdLst/>
                <a:ahLst/>
                <a:cxnLst>
                  <a:cxn ang="0">
                    <a:pos x="0" y="46"/>
                  </a:cxn>
                  <a:cxn ang="0">
                    <a:pos x="0" y="46"/>
                  </a:cxn>
                  <a:cxn ang="0">
                    <a:pos x="2" y="56"/>
                  </a:cxn>
                  <a:cxn ang="0">
                    <a:pos x="4" y="64"/>
                  </a:cxn>
                  <a:cxn ang="0">
                    <a:pos x="8" y="72"/>
                  </a:cxn>
                  <a:cxn ang="0">
                    <a:pos x="14" y="78"/>
                  </a:cxn>
                  <a:cxn ang="0">
                    <a:pos x="20" y="84"/>
                  </a:cxn>
                  <a:cxn ang="0">
                    <a:pos x="28" y="88"/>
                  </a:cxn>
                  <a:cxn ang="0">
                    <a:pos x="38" y="92"/>
                  </a:cxn>
                  <a:cxn ang="0">
                    <a:pos x="46" y="92"/>
                  </a:cxn>
                  <a:cxn ang="0">
                    <a:pos x="324" y="92"/>
                  </a:cxn>
                  <a:cxn ang="0">
                    <a:pos x="324" y="92"/>
                  </a:cxn>
                  <a:cxn ang="0">
                    <a:pos x="334" y="92"/>
                  </a:cxn>
                  <a:cxn ang="0">
                    <a:pos x="342" y="88"/>
                  </a:cxn>
                  <a:cxn ang="0">
                    <a:pos x="350" y="84"/>
                  </a:cxn>
                  <a:cxn ang="0">
                    <a:pos x="356" y="78"/>
                  </a:cxn>
                  <a:cxn ang="0">
                    <a:pos x="362" y="72"/>
                  </a:cxn>
                  <a:cxn ang="0">
                    <a:pos x="366" y="64"/>
                  </a:cxn>
                  <a:cxn ang="0">
                    <a:pos x="370" y="56"/>
                  </a:cxn>
                  <a:cxn ang="0">
                    <a:pos x="370" y="46"/>
                  </a:cxn>
                  <a:cxn ang="0">
                    <a:pos x="370" y="46"/>
                  </a:cxn>
                  <a:cxn ang="0">
                    <a:pos x="370" y="36"/>
                  </a:cxn>
                  <a:cxn ang="0">
                    <a:pos x="366" y="28"/>
                  </a:cxn>
                  <a:cxn ang="0">
                    <a:pos x="362" y="20"/>
                  </a:cxn>
                  <a:cxn ang="0">
                    <a:pos x="356" y="14"/>
                  </a:cxn>
                  <a:cxn ang="0">
                    <a:pos x="350" y="8"/>
                  </a:cxn>
                  <a:cxn ang="0">
                    <a:pos x="342" y="4"/>
                  </a:cxn>
                  <a:cxn ang="0">
                    <a:pos x="334" y="0"/>
                  </a:cxn>
                  <a:cxn ang="0">
                    <a:pos x="324" y="0"/>
                  </a:cxn>
                  <a:cxn ang="0">
                    <a:pos x="46" y="0"/>
                  </a:cxn>
                  <a:cxn ang="0">
                    <a:pos x="46" y="0"/>
                  </a:cxn>
                  <a:cxn ang="0">
                    <a:pos x="38" y="0"/>
                  </a:cxn>
                  <a:cxn ang="0">
                    <a:pos x="28" y="4"/>
                  </a:cxn>
                  <a:cxn ang="0">
                    <a:pos x="20" y="8"/>
                  </a:cxn>
                  <a:cxn ang="0">
                    <a:pos x="14" y="14"/>
                  </a:cxn>
                  <a:cxn ang="0">
                    <a:pos x="8" y="20"/>
                  </a:cxn>
                  <a:cxn ang="0">
                    <a:pos x="4" y="28"/>
                  </a:cxn>
                  <a:cxn ang="0">
                    <a:pos x="2" y="36"/>
                  </a:cxn>
                  <a:cxn ang="0">
                    <a:pos x="0" y="46"/>
                  </a:cxn>
                  <a:cxn ang="0">
                    <a:pos x="0" y="46"/>
                  </a:cxn>
                </a:cxnLst>
                <a:rect l="0" t="0" r="r" b="b"/>
                <a:pathLst>
                  <a:path w="370" h="92">
                    <a:moveTo>
                      <a:pt x="0" y="46"/>
                    </a:moveTo>
                    <a:lnTo>
                      <a:pt x="0" y="46"/>
                    </a:lnTo>
                    <a:lnTo>
                      <a:pt x="2" y="56"/>
                    </a:lnTo>
                    <a:lnTo>
                      <a:pt x="4" y="64"/>
                    </a:lnTo>
                    <a:lnTo>
                      <a:pt x="8" y="72"/>
                    </a:lnTo>
                    <a:lnTo>
                      <a:pt x="14" y="78"/>
                    </a:lnTo>
                    <a:lnTo>
                      <a:pt x="20" y="84"/>
                    </a:lnTo>
                    <a:lnTo>
                      <a:pt x="28" y="88"/>
                    </a:lnTo>
                    <a:lnTo>
                      <a:pt x="38" y="92"/>
                    </a:lnTo>
                    <a:lnTo>
                      <a:pt x="46" y="92"/>
                    </a:lnTo>
                    <a:lnTo>
                      <a:pt x="324" y="92"/>
                    </a:lnTo>
                    <a:lnTo>
                      <a:pt x="324" y="92"/>
                    </a:lnTo>
                    <a:lnTo>
                      <a:pt x="334" y="92"/>
                    </a:lnTo>
                    <a:lnTo>
                      <a:pt x="342" y="88"/>
                    </a:lnTo>
                    <a:lnTo>
                      <a:pt x="350" y="84"/>
                    </a:lnTo>
                    <a:lnTo>
                      <a:pt x="356" y="78"/>
                    </a:lnTo>
                    <a:lnTo>
                      <a:pt x="362" y="72"/>
                    </a:lnTo>
                    <a:lnTo>
                      <a:pt x="366" y="64"/>
                    </a:lnTo>
                    <a:lnTo>
                      <a:pt x="370" y="56"/>
                    </a:lnTo>
                    <a:lnTo>
                      <a:pt x="370" y="46"/>
                    </a:lnTo>
                    <a:lnTo>
                      <a:pt x="370" y="46"/>
                    </a:lnTo>
                    <a:lnTo>
                      <a:pt x="370" y="36"/>
                    </a:lnTo>
                    <a:lnTo>
                      <a:pt x="366" y="28"/>
                    </a:lnTo>
                    <a:lnTo>
                      <a:pt x="362" y="20"/>
                    </a:lnTo>
                    <a:lnTo>
                      <a:pt x="356" y="14"/>
                    </a:lnTo>
                    <a:lnTo>
                      <a:pt x="350" y="8"/>
                    </a:lnTo>
                    <a:lnTo>
                      <a:pt x="342" y="4"/>
                    </a:lnTo>
                    <a:lnTo>
                      <a:pt x="334" y="0"/>
                    </a:lnTo>
                    <a:lnTo>
                      <a:pt x="324" y="0"/>
                    </a:lnTo>
                    <a:lnTo>
                      <a:pt x="46" y="0"/>
                    </a:lnTo>
                    <a:lnTo>
                      <a:pt x="46" y="0"/>
                    </a:lnTo>
                    <a:lnTo>
                      <a:pt x="38" y="0"/>
                    </a:lnTo>
                    <a:lnTo>
                      <a:pt x="28" y="4"/>
                    </a:lnTo>
                    <a:lnTo>
                      <a:pt x="20" y="8"/>
                    </a:lnTo>
                    <a:lnTo>
                      <a:pt x="14" y="14"/>
                    </a:lnTo>
                    <a:lnTo>
                      <a:pt x="8" y="20"/>
                    </a:lnTo>
                    <a:lnTo>
                      <a:pt x="4" y="28"/>
                    </a:lnTo>
                    <a:lnTo>
                      <a:pt x="2" y="36"/>
                    </a:lnTo>
                    <a:lnTo>
                      <a:pt x="0" y="46"/>
                    </a:lnTo>
                    <a:lnTo>
                      <a:pt x="0"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nvGrpSpPr>
          <p:cNvPr id="6" name="Group 106"/>
          <p:cNvGrpSpPr/>
          <p:nvPr/>
        </p:nvGrpSpPr>
        <p:grpSpPr>
          <a:xfrm>
            <a:off x="1403350" y="3754873"/>
            <a:ext cx="457200" cy="415694"/>
            <a:chOff x="1403350" y="3754873"/>
            <a:chExt cx="457200" cy="415694"/>
          </a:xfrm>
        </p:grpSpPr>
        <p:sp>
          <p:nvSpPr>
            <p:cNvPr id="85" name="Rectangle 84"/>
            <p:cNvSpPr/>
            <p:nvPr/>
          </p:nvSpPr>
          <p:spPr>
            <a:xfrm>
              <a:off x="1403350" y="3754873"/>
              <a:ext cx="457200" cy="41569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02" name="Freeform 20"/>
            <p:cNvSpPr>
              <a:spLocks noChangeAspect="1" noEditPoints="1"/>
            </p:cNvSpPr>
            <p:nvPr/>
          </p:nvSpPr>
          <p:spPr bwMode="auto">
            <a:xfrm>
              <a:off x="1503934" y="3834795"/>
              <a:ext cx="256032" cy="255851"/>
            </a:xfrm>
            <a:custGeom>
              <a:avLst/>
              <a:gdLst/>
              <a:ahLst/>
              <a:cxnLst>
                <a:cxn ang="0">
                  <a:pos x="2116" y="2587"/>
                </a:cxn>
                <a:cxn ang="0">
                  <a:pos x="2081" y="2534"/>
                </a:cxn>
                <a:cxn ang="0">
                  <a:pos x="2026" y="2568"/>
                </a:cxn>
                <a:cxn ang="0">
                  <a:pos x="2062" y="2624"/>
                </a:cxn>
                <a:cxn ang="0">
                  <a:pos x="1610" y="216"/>
                </a:cxn>
                <a:cxn ang="0">
                  <a:pos x="1213" y="216"/>
                </a:cxn>
                <a:cxn ang="0">
                  <a:pos x="718" y="334"/>
                </a:cxn>
                <a:cxn ang="0">
                  <a:pos x="836" y="876"/>
                </a:cxn>
                <a:cxn ang="0">
                  <a:pos x="882" y="896"/>
                </a:cxn>
                <a:cxn ang="0">
                  <a:pos x="1486" y="838"/>
                </a:cxn>
                <a:cxn ang="0">
                  <a:pos x="1973" y="894"/>
                </a:cxn>
                <a:cxn ang="0">
                  <a:pos x="2114" y="359"/>
                </a:cxn>
                <a:cxn ang="0">
                  <a:pos x="1919" y="800"/>
                </a:cxn>
                <a:cxn ang="0">
                  <a:pos x="1367" y="747"/>
                </a:cxn>
                <a:cxn ang="0">
                  <a:pos x="1003" y="351"/>
                </a:cxn>
                <a:cxn ang="0">
                  <a:pos x="1484" y="292"/>
                </a:cxn>
                <a:cxn ang="0">
                  <a:pos x="517" y="0"/>
                </a:cxn>
                <a:cxn ang="0">
                  <a:pos x="317" y="38"/>
                </a:cxn>
                <a:cxn ang="0">
                  <a:pos x="149" y="149"/>
                </a:cxn>
                <a:cxn ang="0">
                  <a:pos x="29" y="340"/>
                </a:cxn>
                <a:cxn ang="0">
                  <a:pos x="0" y="2303"/>
                </a:cxn>
                <a:cxn ang="0">
                  <a:pos x="50" y="2534"/>
                </a:cxn>
                <a:cxn ang="0">
                  <a:pos x="187" y="2710"/>
                </a:cxn>
                <a:cxn ang="0">
                  <a:pos x="388" y="2813"/>
                </a:cxn>
                <a:cxn ang="0">
                  <a:pos x="2356" y="2826"/>
                </a:cxn>
                <a:cxn ang="0">
                  <a:pos x="2574" y="2755"/>
                </a:cxn>
                <a:cxn ang="0">
                  <a:pos x="2727" y="2616"/>
                </a:cxn>
                <a:cxn ang="0">
                  <a:pos x="2819" y="2408"/>
                </a:cxn>
                <a:cxn ang="0">
                  <a:pos x="2822" y="437"/>
                </a:cxn>
                <a:cxn ang="0">
                  <a:pos x="2740" y="225"/>
                </a:cxn>
                <a:cxn ang="0">
                  <a:pos x="2578" y="74"/>
                </a:cxn>
                <a:cxn ang="0">
                  <a:pos x="2358" y="2"/>
                </a:cxn>
                <a:cxn ang="0">
                  <a:pos x="2702" y="2473"/>
                </a:cxn>
                <a:cxn ang="0">
                  <a:pos x="2433" y="2717"/>
                </a:cxn>
                <a:cxn ang="0">
                  <a:pos x="349" y="2704"/>
                </a:cxn>
                <a:cxn ang="0">
                  <a:pos x="111" y="2435"/>
                </a:cxn>
                <a:cxn ang="0">
                  <a:pos x="92" y="517"/>
                </a:cxn>
                <a:cxn ang="0">
                  <a:pos x="212" y="214"/>
                </a:cxn>
                <a:cxn ang="0">
                  <a:pos x="2303" y="92"/>
                </a:cxn>
                <a:cxn ang="0">
                  <a:pos x="2612" y="216"/>
                </a:cxn>
                <a:cxn ang="0">
                  <a:pos x="2736" y="1012"/>
                </a:cxn>
                <a:cxn ang="0">
                  <a:pos x="2496" y="2543"/>
                </a:cxn>
                <a:cxn ang="0">
                  <a:pos x="2624" y="2274"/>
                </a:cxn>
                <a:cxn ang="0">
                  <a:pos x="2578" y="2228"/>
                </a:cxn>
                <a:cxn ang="0">
                  <a:pos x="2532" y="2274"/>
                </a:cxn>
                <a:cxn ang="0">
                  <a:pos x="2456" y="2456"/>
                </a:cxn>
                <a:cxn ang="0">
                  <a:pos x="2272" y="2532"/>
                </a:cxn>
                <a:cxn ang="0">
                  <a:pos x="2227" y="2578"/>
                </a:cxn>
                <a:cxn ang="0">
                  <a:pos x="2272" y="2624"/>
                </a:cxn>
                <a:cxn ang="0">
                  <a:pos x="288" y="256"/>
                </a:cxn>
                <a:cxn ang="0">
                  <a:pos x="197" y="449"/>
                </a:cxn>
                <a:cxn ang="0">
                  <a:pos x="243" y="495"/>
                </a:cxn>
                <a:cxn ang="0">
                  <a:pos x="288" y="449"/>
                </a:cxn>
                <a:cxn ang="0">
                  <a:pos x="336" y="336"/>
                </a:cxn>
                <a:cxn ang="0">
                  <a:pos x="449" y="290"/>
                </a:cxn>
                <a:cxn ang="0">
                  <a:pos x="495" y="244"/>
                </a:cxn>
                <a:cxn ang="0">
                  <a:pos x="449" y="199"/>
                </a:cxn>
              </a:cxnLst>
              <a:rect l="0" t="0" r="r" b="b"/>
              <a:pathLst>
                <a:path w="2830" h="2828">
                  <a:moveTo>
                    <a:pt x="2072" y="2624"/>
                  </a:moveTo>
                  <a:lnTo>
                    <a:pt x="2072" y="2624"/>
                  </a:lnTo>
                  <a:lnTo>
                    <a:pt x="2081" y="2624"/>
                  </a:lnTo>
                  <a:lnTo>
                    <a:pt x="2089" y="2620"/>
                  </a:lnTo>
                  <a:lnTo>
                    <a:pt x="2097" y="2616"/>
                  </a:lnTo>
                  <a:lnTo>
                    <a:pt x="2104" y="2610"/>
                  </a:lnTo>
                  <a:lnTo>
                    <a:pt x="2110" y="2603"/>
                  </a:lnTo>
                  <a:lnTo>
                    <a:pt x="2114" y="2595"/>
                  </a:lnTo>
                  <a:lnTo>
                    <a:pt x="2116" y="2587"/>
                  </a:lnTo>
                  <a:lnTo>
                    <a:pt x="2118" y="2578"/>
                  </a:lnTo>
                  <a:lnTo>
                    <a:pt x="2118" y="2578"/>
                  </a:lnTo>
                  <a:lnTo>
                    <a:pt x="2116" y="2568"/>
                  </a:lnTo>
                  <a:lnTo>
                    <a:pt x="2114" y="2561"/>
                  </a:lnTo>
                  <a:lnTo>
                    <a:pt x="2110" y="2553"/>
                  </a:lnTo>
                  <a:lnTo>
                    <a:pt x="2104" y="2545"/>
                  </a:lnTo>
                  <a:lnTo>
                    <a:pt x="2097" y="2540"/>
                  </a:lnTo>
                  <a:lnTo>
                    <a:pt x="2089" y="2536"/>
                  </a:lnTo>
                  <a:lnTo>
                    <a:pt x="2081" y="2534"/>
                  </a:lnTo>
                  <a:lnTo>
                    <a:pt x="2072" y="2532"/>
                  </a:lnTo>
                  <a:lnTo>
                    <a:pt x="2072" y="2532"/>
                  </a:lnTo>
                  <a:lnTo>
                    <a:pt x="2062" y="2534"/>
                  </a:lnTo>
                  <a:lnTo>
                    <a:pt x="2053" y="2536"/>
                  </a:lnTo>
                  <a:lnTo>
                    <a:pt x="2045" y="2540"/>
                  </a:lnTo>
                  <a:lnTo>
                    <a:pt x="2039" y="2545"/>
                  </a:lnTo>
                  <a:lnTo>
                    <a:pt x="2034" y="2553"/>
                  </a:lnTo>
                  <a:lnTo>
                    <a:pt x="2030" y="2561"/>
                  </a:lnTo>
                  <a:lnTo>
                    <a:pt x="2026" y="2568"/>
                  </a:lnTo>
                  <a:lnTo>
                    <a:pt x="2026" y="2578"/>
                  </a:lnTo>
                  <a:lnTo>
                    <a:pt x="2026" y="2578"/>
                  </a:lnTo>
                  <a:lnTo>
                    <a:pt x="2026" y="2587"/>
                  </a:lnTo>
                  <a:lnTo>
                    <a:pt x="2030" y="2595"/>
                  </a:lnTo>
                  <a:lnTo>
                    <a:pt x="2034" y="2603"/>
                  </a:lnTo>
                  <a:lnTo>
                    <a:pt x="2039" y="2610"/>
                  </a:lnTo>
                  <a:lnTo>
                    <a:pt x="2045" y="2616"/>
                  </a:lnTo>
                  <a:lnTo>
                    <a:pt x="2053" y="2620"/>
                  </a:lnTo>
                  <a:lnTo>
                    <a:pt x="2062" y="2624"/>
                  </a:lnTo>
                  <a:lnTo>
                    <a:pt x="2072" y="2624"/>
                  </a:lnTo>
                  <a:lnTo>
                    <a:pt x="2072" y="2624"/>
                  </a:lnTo>
                  <a:close/>
                  <a:moveTo>
                    <a:pt x="2080" y="321"/>
                  </a:moveTo>
                  <a:lnTo>
                    <a:pt x="2080" y="321"/>
                  </a:lnTo>
                  <a:lnTo>
                    <a:pt x="1999" y="300"/>
                  </a:lnTo>
                  <a:lnTo>
                    <a:pt x="1921" y="279"/>
                  </a:lnTo>
                  <a:lnTo>
                    <a:pt x="1824" y="258"/>
                  </a:lnTo>
                  <a:lnTo>
                    <a:pt x="1719" y="235"/>
                  </a:lnTo>
                  <a:lnTo>
                    <a:pt x="1610" y="216"/>
                  </a:lnTo>
                  <a:lnTo>
                    <a:pt x="1556" y="208"/>
                  </a:lnTo>
                  <a:lnTo>
                    <a:pt x="1507" y="202"/>
                  </a:lnTo>
                  <a:lnTo>
                    <a:pt x="1459" y="199"/>
                  </a:lnTo>
                  <a:lnTo>
                    <a:pt x="1413" y="197"/>
                  </a:lnTo>
                  <a:lnTo>
                    <a:pt x="1413" y="197"/>
                  </a:lnTo>
                  <a:lnTo>
                    <a:pt x="1369" y="199"/>
                  </a:lnTo>
                  <a:lnTo>
                    <a:pt x="1320" y="202"/>
                  </a:lnTo>
                  <a:lnTo>
                    <a:pt x="1268" y="208"/>
                  </a:lnTo>
                  <a:lnTo>
                    <a:pt x="1213" y="216"/>
                  </a:lnTo>
                  <a:lnTo>
                    <a:pt x="1104" y="235"/>
                  </a:lnTo>
                  <a:lnTo>
                    <a:pt x="997" y="258"/>
                  </a:lnTo>
                  <a:lnTo>
                    <a:pt x="899" y="279"/>
                  </a:lnTo>
                  <a:lnTo>
                    <a:pt x="821" y="300"/>
                  </a:lnTo>
                  <a:lnTo>
                    <a:pt x="741" y="321"/>
                  </a:lnTo>
                  <a:lnTo>
                    <a:pt x="741" y="321"/>
                  </a:lnTo>
                  <a:lnTo>
                    <a:pt x="731" y="325"/>
                  </a:lnTo>
                  <a:lnTo>
                    <a:pt x="724" y="328"/>
                  </a:lnTo>
                  <a:lnTo>
                    <a:pt x="718" y="334"/>
                  </a:lnTo>
                  <a:lnTo>
                    <a:pt x="712" y="342"/>
                  </a:lnTo>
                  <a:lnTo>
                    <a:pt x="708" y="349"/>
                  </a:lnTo>
                  <a:lnTo>
                    <a:pt x="707" y="359"/>
                  </a:lnTo>
                  <a:lnTo>
                    <a:pt x="707" y="367"/>
                  </a:lnTo>
                  <a:lnTo>
                    <a:pt x="708" y="376"/>
                  </a:lnTo>
                  <a:lnTo>
                    <a:pt x="831" y="863"/>
                  </a:lnTo>
                  <a:lnTo>
                    <a:pt x="831" y="863"/>
                  </a:lnTo>
                  <a:lnTo>
                    <a:pt x="833" y="869"/>
                  </a:lnTo>
                  <a:lnTo>
                    <a:pt x="836" y="876"/>
                  </a:lnTo>
                  <a:lnTo>
                    <a:pt x="840" y="882"/>
                  </a:lnTo>
                  <a:lnTo>
                    <a:pt x="846" y="888"/>
                  </a:lnTo>
                  <a:lnTo>
                    <a:pt x="852" y="892"/>
                  </a:lnTo>
                  <a:lnTo>
                    <a:pt x="859" y="894"/>
                  </a:lnTo>
                  <a:lnTo>
                    <a:pt x="867" y="896"/>
                  </a:lnTo>
                  <a:lnTo>
                    <a:pt x="875" y="897"/>
                  </a:lnTo>
                  <a:lnTo>
                    <a:pt x="875" y="897"/>
                  </a:lnTo>
                  <a:lnTo>
                    <a:pt x="882" y="896"/>
                  </a:lnTo>
                  <a:lnTo>
                    <a:pt x="882" y="896"/>
                  </a:lnTo>
                  <a:lnTo>
                    <a:pt x="941" y="886"/>
                  </a:lnTo>
                  <a:lnTo>
                    <a:pt x="1083" y="867"/>
                  </a:lnTo>
                  <a:lnTo>
                    <a:pt x="1169" y="855"/>
                  </a:lnTo>
                  <a:lnTo>
                    <a:pt x="1258" y="846"/>
                  </a:lnTo>
                  <a:lnTo>
                    <a:pt x="1341" y="838"/>
                  </a:lnTo>
                  <a:lnTo>
                    <a:pt x="1379" y="836"/>
                  </a:lnTo>
                  <a:lnTo>
                    <a:pt x="1415" y="836"/>
                  </a:lnTo>
                  <a:lnTo>
                    <a:pt x="1415" y="836"/>
                  </a:lnTo>
                  <a:lnTo>
                    <a:pt x="1486" y="838"/>
                  </a:lnTo>
                  <a:lnTo>
                    <a:pt x="1568" y="846"/>
                  </a:lnTo>
                  <a:lnTo>
                    <a:pt x="1656" y="855"/>
                  </a:lnTo>
                  <a:lnTo>
                    <a:pt x="1743" y="867"/>
                  </a:lnTo>
                  <a:lnTo>
                    <a:pt x="1887" y="888"/>
                  </a:lnTo>
                  <a:lnTo>
                    <a:pt x="1948" y="897"/>
                  </a:lnTo>
                  <a:lnTo>
                    <a:pt x="1948" y="897"/>
                  </a:lnTo>
                  <a:lnTo>
                    <a:pt x="1955" y="897"/>
                  </a:lnTo>
                  <a:lnTo>
                    <a:pt x="1965" y="897"/>
                  </a:lnTo>
                  <a:lnTo>
                    <a:pt x="1973" y="894"/>
                  </a:lnTo>
                  <a:lnTo>
                    <a:pt x="1980" y="890"/>
                  </a:lnTo>
                  <a:lnTo>
                    <a:pt x="1986" y="884"/>
                  </a:lnTo>
                  <a:lnTo>
                    <a:pt x="1992" y="878"/>
                  </a:lnTo>
                  <a:lnTo>
                    <a:pt x="1996" y="871"/>
                  </a:lnTo>
                  <a:lnTo>
                    <a:pt x="1999" y="863"/>
                  </a:lnTo>
                  <a:lnTo>
                    <a:pt x="2114" y="376"/>
                  </a:lnTo>
                  <a:lnTo>
                    <a:pt x="2114" y="376"/>
                  </a:lnTo>
                  <a:lnTo>
                    <a:pt x="2114" y="367"/>
                  </a:lnTo>
                  <a:lnTo>
                    <a:pt x="2114" y="359"/>
                  </a:lnTo>
                  <a:lnTo>
                    <a:pt x="2112" y="349"/>
                  </a:lnTo>
                  <a:lnTo>
                    <a:pt x="2108" y="342"/>
                  </a:lnTo>
                  <a:lnTo>
                    <a:pt x="2102" y="334"/>
                  </a:lnTo>
                  <a:lnTo>
                    <a:pt x="2097" y="328"/>
                  </a:lnTo>
                  <a:lnTo>
                    <a:pt x="2089" y="325"/>
                  </a:lnTo>
                  <a:lnTo>
                    <a:pt x="2080" y="321"/>
                  </a:lnTo>
                  <a:lnTo>
                    <a:pt x="2080" y="321"/>
                  </a:lnTo>
                  <a:close/>
                  <a:moveTo>
                    <a:pt x="1919" y="800"/>
                  </a:moveTo>
                  <a:lnTo>
                    <a:pt x="1919" y="800"/>
                  </a:lnTo>
                  <a:lnTo>
                    <a:pt x="1829" y="787"/>
                  </a:lnTo>
                  <a:lnTo>
                    <a:pt x="1709" y="770"/>
                  </a:lnTo>
                  <a:lnTo>
                    <a:pt x="1581" y="756"/>
                  </a:lnTo>
                  <a:lnTo>
                    <a:pt x="1518" y="750"/>
                  </a:lnTo>
                  <a:lnTo>
                    <a:pt x="1459" y="747"/>
                  </a:lnTo>
                  <a:lnTo>
                    <a:pt x="1459" y="502"/>
                  </a:lnTo>
                  <a:lnTo>
                    <a:pt x="1367" y="502"/>
                  </a:lnTo>
                  <a:lnTo>
                    <a:pt x="1367" y="747"/>
                  </a:lnTo>
                  <a:lnTo>
                    <a:pt x="1367" y="747"/>
                  </a:lnTo>
                  <a:lnTo>
                    <a:pt x="1308" y="750"/>
                  </a:lnTo>
                  <a:lnTo>
                    <a:pt x="1245" y="754"/>
                  </a:lnTo>
                  <a:lnTo>
                    <a:pt x="1115" y="770"/>
                  </a:lnTo>
                  <a:lnTo>
                    <a:pt x="997" y="787"/>
                  </a:lnTo>
                  <a:lnTo>
                    <a:pt x="909" y="800"/>
                  </a:lnTo>
                  <a:lnTo>
                    <a:pt x="808" y="397"/>
                  </a:lnTo>
                  <a:lnTo>
                    <a:pt x="808" y="397"/>
                  </a:lnTo>
                  <a:lnTo>
                    <a:pt x="924" y="369"/>
                  </a:lnTo>
                  <a:lnTo>
                    <a:pt x="1003" y="351"/>
                  </a:lnTo>
                  <a:lnTo>
                    <a:pt x="1087" y="332"/>
                  </a:lnTo>
                  <a:lnTo>
                    <a:pt x="1174" y="315"/>
                  </a:lnTo>
                  <a:lnTo>
                    <a:pt x="1260" y="302"/>
                  </a:lnTo>
                  <a:lnTo>
                    <a:pt x="1341" y="292"/>
                  </a:lnTo>
                  <a:lnTo>
                    <a:pt x="1379" y="290"/>
                  </a:lnTo>
                  <a:lnTo>
                    <a:pt x="1413" y="290"/>
                  </a:lnTo>
                  <a:lnTo>
                    <a:pt x="1413" y="290"/>
                  </a:lnTo>
                  <a:lnTo>
                    <a:pt x="1447" y="290"/>
                  </a:lnTo>
                  <a:lnTo>
                    <a:pt x="1484" y="292"/>
                  </a:lnTo>
                  <a:lnTo>
                    <a:pt x="1564" y="302"/>
                  </a:lnTo>
                  <a:lnTo>
                    <a:pt x="1648" y="317"/>
                  </a:lnTo>
                  <a:lnTo>
                    <a:pt x="1736" y="332"/>
                  </a:lnTo>
                  <a:lnTo>
                    <a:pt x="1818" y="351"/>
                  </a:lnTo>
                  <a:lnTo>
                    <a:pt x="1896" y="369"/>
                  </a:lnTo>
                  <a:lnTo>
                    <a:pt x="2013" y="399"/>
                  </a:lnTo>
                  <a:lnTo>
                    <a:pt x="1919" y="800"/>
                  </a:lnTo>
                  <a:close/>
                  <a:moveTo>
                    <a:pt x="2303" y="0"/>
                  </a:moveTo>
                  <a:lnTo>
                    <a:pt x="517" y="0"/>
                  </a:lnTo>
                  <a:lnTo>
                    <a:pt x="517" y="0"/>
                  </a:lnTo>
                  <a:lnTo>
                    <a:pt x="491" y="0"/>
                  </a:lnTo>
                  <a:lnTo>
                    <a:pt x="464" y="2"/>
                  </a:lnTo>
                  <a:lnTo>
                    <a:pt x="439" y="6"/>
                  </a:lnTo>
                  <a:lnTo>
                    <a:pt x="412" y="10"/>
                  </a:lnTo>
                  <a:lnTo>
                    <a:pt x="388" y="15"/>
                  </a:lnTo>
                  <a:lnTo>
                    <a:pt x="365" y="21"/>
                  </a:lnTo>
                  <a:lnTo>
                    <a:pt x="340" y="31"/>
                  </a:lnTo>
                  <a:lnTo>
                    <a:pt x="317" y="38"/>
                  </a:lnTo>
                  <a:lnTo>
                    <a:pt x="292" y="48"/>
                  </a:lnTo>
                  <a:lnTo>
                    <a:pt x="271" y="59"/>
                  </a:lnTo>
                  <a:lnTo>
                    <a:pt x="248" y="73"/>
                  </a:lnTo>
                  <a:lnTo>
                    <a:pt x="227" y="86"/>
                  </a:lnTo>
                  <a:lnTo>
                    <a:pt x="206" y="99"/>
                  </a:lnTo>
                  <a:lnTo>
                    <a:pt x="187" y="115"/>
                  </a:lnTo>
                  <a:lnTo>
                    <a:pt x="168" y="132"/>
                  </a:lnTo>
                  <a:lnTo>
                    <a:pt x="149" y="149"/>
                  </a:lnTo>
                  <a:lnTo>
                    <a:pt x="149" y="149"/>
                  </a:lnTo>
                  <a:lnTo>
                    <a:pt x="132" y="168"/>
                  </a:lnTo>
                  <a:lnTo>
                    <a:pt x="115" y="187"/>
                  </a:lnTo>
                  <a:lnTo>
                    <a:pt x="99" y="206"/>
                  </a:lnTo>
                  <a:lnTo>
                    <a:pt x="86" y="227"/>
                  </a:lnTo>
                  <a:lnTo>
                    <a:pt x="73" y="248"/>
                  </a:lnTo>
                  <a:lnTo>
                    <a:pt x="59" y="271"/>
                  </a:lnTo>
                  <a:lnTo>
                    <a:pt x="48" y="294"/>
                  </a:lnTo>
                  <a:lnTo>
                    <a:pt x="38" y="317"/>
                  </a:lnTo>
                  <a:lnTo>
                    <a:pt x="29" y="340"/>
                  </a:lnTo>
                  <a:lnTo>
                    <a:pt x="21" y="365"/>
                  </a:lnTo>
                  <a:lnTo>
                    <a:pt x="15" y="388"/>
                  </a:lnTo>
                  <a:lnTo>
                    <a:pt x="10" y="414"/>
                  </a:lnTo>
                  <a:lnTo>
                    <a:pt x="6" y="439"/>
                  </a:lnTo>
                  <a:lnTo>
                    <a:pt x="2" y="464"/>
                  </a:lnTo>
                  <a:lnTo>
                    <a:pt x="0" y="491"/>
                  </a:lnTo>
                  <a:lnTo>
                    <a:pt x="0" y="517"/>
                  </a:lnTo>
                  <a:lnTo>
                    <a:pt x="0" y="2303"/>
                  </a:lnTo>
                  <a:lnTo>
                    <a:pt x="0" y="2303"/>
                  </a:lnTo>
                  <a:lnTo>
                    <a:pt x="0" y="2332"/>
                  </a:lnTo>
                  <a:lnTo>
                    <a:pt x="2" y="2358"/>
                  </a:lnTo>
                  <a:lnTo>
                    <a:pt x="6" y="2385"/>
                  </a:lnTo>
                  <a:lnTo>
                    <a:pt x="10" y="2410"/>
                  </a:lnTo>
                  <a:lnTo>
                    <a:pt x="15" y="2437"/>
                  </a:lnTo>
                  <a:lnTo>
                    <a:pt x="23" y="2461"/>
                  </a:lnTo>
                  <a:lnTo>
                    <a:pt x="31" y="2486"/>
                  </a:lnTo>
                  <a:lnTo>
                    <a:pt x="40" y="2509"/>
                  </a:lnTo>
                  <a:lnTo>
                    <a:pt x="50" y="2534"/>
                  </a:lnTo>
                  <a:lnTo>
                    <a:pt x="61" y="2557"/>
                  </a:lnTo>
                  <a:lnTo>
                    <a:pt x="74" y="2578"/>
                  </a:lnTo>
                  <a:lnTo>
                    <a:pt x="88" y="2599"/>
                  </a:lnTo>
                  <a:lnTo>
                    <a:pt x="101" y="2620"/>
                  </a:lnTo>
                  <a:lnTo>
                    <a:pt x="116" y="2639"/>
                  </a:lnTo>
                  <a:lnTo>
                    <a:pt x="134" y="2658"/>
                  </a:lnTo>
                  <a:lnTo>
                    <a:pt x="151" y="2677"/>
                  </a:lnTo>
                  <a:lnTo>
                    <a:pt x="168" y="2694"/>
                  </a:lnTo>
                  <a:lnTo>
                    <a:pt x="187" y="2710"/>
                  </a:lnTo>
                  <a:lnTo>
                    <a:pt x="206" y="2725"/>
                  </a:lnTo>
                  <a:lnTo>
                    <a:pt x="225" y="2740"/>
                  </a:lnTo>
                  <a:lnTo>
                    <a:pt x="246" y="2754"/>
                  </a:lnTo>
                  <a:lnTo>
                    <a:pt x="269" y="2767"/>
                  </a:lnTo>
                  <a:lnTo>
                    <a:pt x="292" y="2778"/>
                  </a:lnTo>
                  <a:lnTo>
                    <a:pt x="315" y="2788"/>
                  </a:lnTo>
                  <a:lnTo>
                    <a:pt x="338" y="2797"/>
                  </a:lnTo>
                  <a:lnTo>
                    <a:pt x="363" y="2805"/>
                  </a:lnTo>
                  <a:lnTo>
                    <a:pt x="388" y="2813"/>
                  </a:lnTo>
                  <a:lnTo>
                    <a:pt x="412" y="2818"/>
                  </a:lnTo>
                  <a:lnTo>
                    <a:pt x="437" y="2822"/>
                  </a:lnTo>
                  <a:lnTo>
                    <a:pt x="464" y="2826"/>
                  </a:lnTo>
                  <a:lnTo>
                    <a:pt x="491" y="2828"/>
                  </a:lnTo>
                  <a:lnTo>
                    <a:pt x="517" y="2828"/>
                  </a:lnTo>
                  <a:lnTo>
                    <a:pt x="2305" y="2828"/>
                  </a:lnTo>
                  <a:lnTo>
                    <a:pt x="2305" y="2828"/>
                  </a:lnTo>
                  <a:lnTo>
                    <a:pt x="2332" y="2828"/>
                  </a:lnTo>
                  <a:lnTo>
                    <a:pt x="2356" y="2826"/>
                  </a:lnTo>
                  <a:lnTo>
                    <a:pt x="2383" y="2822"/>
                  </a:lnTo>
                  <a:lnTo>
                    <a:pt x="2408" y="2818"/>
                  </a:lnTo>
                  <a:lnTo>
                    <a:pt x="2433" y="2813"/>
                  </a:lnTo>
                  <a:lnTo>
                    <a:pt x="2458" y="2807"/>
                  </a:lnTo>
                  <a:lnTo>
                    <a:pt x="2482" y="2797"/>
                  </a:lnTo>
                  <a:lnTo>
                    <a:pt x="2505" y="2790"/>
                  </a:lnTo>
                  <a:lnTo>
                    <a:pt x="2530" y="2778"/>
                  </a:lnTo>
                  <a:lnTo>
                    <a:pt x="2553" y="2767"/>
                  </a:lnTo>
                  <a:lnTo>
                    <a:pt x="2574" y="2755"/>
                  </a:lnTo>
                  <a:lnTo>
                    <a:pt x="2597" y="2740"/>
                  </a:lnTo>
                  <a:lnTo>
                    <a:pt x="2618" y="2727"/>
                  </a:lnTo>
                  <a:lnTo>
                    <a:pt x="2637" y="2710"/>
                  </a:lnTo>
                  <a:lnTo>
                    <a:pt x="2656" y="2692"/>
                  </a:lnTo>
                  <a:lnTo>
                    <a:pt x="2675" y="2675"/>
                  </a:lnTo>
                  <a:lnTo>
                    <a:pt x="2675" y="2675"/>
                  </a:lnTo>
                  <a:lnTo>
                    <a:pt x="2694" y="2656"/>
                  </a:lnTo>
                  <a:lnTo>
                    <a:pt x="2712" y="2637"/>
                  </a:lnTo>
                  <a:lnTo>
                    <a:pt x="2727" y="2616"/>
                  </a:lnTo>
                  <a:lnTo>
                    <a:pt x="2742" y="2595"/>
                  </a:lnTo>
                  <a:lnTo>
                    <a:pt x="2756" y="2574"/>
                  </a:lnTo>
                  <a:lnTo>
                    <a:pt x="2767" y="2551"/>
                  </a:lnTo>
                  <a:lnTo>
                    <a:pt x="2778" y="2528"/>
                  </a:lnTo>
                  <a:lnTo>
                    <a:pt x="2790" y="2505"/>
                  </a:lnTo>
                  <a:lnTo>
                    <a:pt x="2799" y="2480"/>
                  </a:lnTo>
                  <a:lnTo>
                    <a:pt x="2807" y="2458"/>
                  </a:lnTo>
                  <a:lnTo>
                    <a:pt x="2813" y="2433"/>
                  </a:lnTo>
                  <a:lnTo>
                    <a:pt x="2819" y="2408"/>
                  </a:lnTo>
                  <a:lnTo>
                    <a:pt x="2824" y="2381"/>
                  </a:lnTo>
                  <a:lnTo>
                    <a:pt x="2826" y="2356"/>
                  </a:lnTo>
                  <a:lnTo>
                    <a:pt x="2828" y="2330"/>
                  </a:lnTo>
                  <a:lnTo>
                    <a:pt x="2830" y="2303"/>
                  </a:lnTo>
                  <a:lnTo>
                    <a:pt x="2830" y="517"/>
                  </a:lnTo>
                  <a:lnTo>
                    <a:pt x="2830" y="517"/>
                  </a:lnTo>
                  <a:lnTo>
                    <a:pt x="2828" y="491"/>
                  </a:lnTo>
                  <a:lnTo>
                    <a:pt x="2826" y="464"/>
                  </a:lnTo>
                  <a:lnTo>
                    <a:pt x="2822" y="437"/>
                  </a:lnTo>
                  <a:lnTo>
                    <a:pt x="2819" y="412"/>
                  </a:lnTo>
                  <a:lnTo>
                    <a:pt x="2813" y="386"/>
                  </a:lnTo>
                  <a:lnTo>
                    <a:pt x="2805" y="361"/>
                  </a:lnTo>
                  <a:lnTo>
                    <a:pt x="2798" y="338"/>
                  </a:lnTo>
                  <a:lnTo>
                    <a:pt x="2788" y="313"/>
                  </a:lnTo>
                  <a:lnTo>
                    <a:pt x="2778" y="290"/>
                  </a:lnTo>
                  <a:lnTo>
                    <a:pt x="2767" y="269"/>
                  </a:lnTo>
                  <a:lnTo>
                    <a:pt x="2754" y="246"/>
                  </a:lnTo>
                  <a:lnTo>
                    <a:pt x="2740" y="225"/>
                  </a:lnTo>
                  <a:lnTo>
                    <a:pt x="2725" y="206"/>
                  </a:lnTo>
                  <a:lnTo>
                    <a:pt x="2710" y="187"/>
                  </a:lnTo>
                  <a:lnTo>
                    <a:pt x="2694" y="168"/>
                  </a:lnTo>
                  <a:lnTo>
                    <a:pt x="2677" y="149"/>
                  </a:lnTo>
                  <a:lnTo>
                    <a:pt x="2658" y="134"/>
                  </a:lnTo>
                  <a:lnTo>
                    <a:pt x="2639" y="116"/>
                  </a:lnTo>
                  <a:lnTo>
                    <a:pt x="2620" y="101"/>
                  </a:lnTo>
                  <a:lnTo>
                    <a:pt x="2599" y="88"/>
                  </a:lnTo>
                  <a:lnTo>
                    <a:pt x="2578" y="74"/>
                  </a:lnTo>
                  <a:lnTo>
                    <a:pt x="2557" y="61"/>
                  </a:lnTo>
                  <a:lnTo>
                    <a:pt x="2534" y="50"/>
                  </a:lnTo>
                  <a:lnTo>
                    <a:pt x="2509" y="40"/>
                  </a:lnTo>
                  <a:lnTo>
                    <a:pt x="2486" y="31"/>
                  </a:lnTo>
                  <a:lnTo>
                    <a:pt x="2461" y="23"/>
                  </a:lnTo>
                  <a:lnTo>
                    <a:pt x="2437" y="15"/>
                  </a:lnTo>
                  <a:lnTo>
                    <a:pt x="2412" y="10"/>
                  </a:lnTo>
                  <a:lnTo>
                    <a:pt x="2385" y="6"/>
                  </a:lnTo>
                  <a:lnTo>
                    <a:pt x="2358" y="2"/>
                  </a:lnTo>
                  <a:lnTo>
                    <a:pt x="2332" y="0"/>
                  </a:lnTo>
                  <a:lnTo>
                    <a:pt x="2303" y="0"/>
                  </a:lnTo>
                  <a:lnTo>
                    <a:pt x="2303" y="0"/>
                  </a:lnTo>
                  <a:close/>
                  <a:moveTo>
                    <a:pt x="2736" y="2305"/>
                  </a:moveTo>
                  <a:lnTo>
                    <a:pt x="2736" y="2305"/>
                  </a:lnTo>
                  <a:lnTo>
                    <a:pt x="2735" y="2349"/>
                  </a:lnTo>
                  <a:lnTo>
                    <a:pt x="2729" y="2391"/>
                  </a:lnTo>
                  <a:lnTo>
                    <a:pt x="2717" y="2433"/>
                  </a:lnTo>
                  <a:lnTo>
                    <a:pt x="2702" y="2473"/>
                  </a:lnTo>
                  <a:lnTo>
                    <a:pt x="2685" y="2511"/>
                  </a:lnTo>
                  <a:lnTo>
                    <a:pt x="2662" y="2545"/>
                  </a:lnTo>
                  <a:lnTo>
                    <a:pt x="2637" y="2580"/>
                  </a:lnTo>
                  <a:lnTo>
                    <a:pt x="2610" y="2610"/>
                  </a:lnTo>
                  <a:lnTo>
                    <a:pt x="2580" y="2639"/>
                  </a:lnTo>
                  <a:lnTo>
                    <a:pt x="2545" y="2664"/>
                  </a:lnTo>
                  <a:lnTo>
                    <a:pt x="2509" y="2685"/>
                  </a:lnTo>
                  <a:lnTo>
                    <a:pt x="2473" y="2704"/>
                  </a:lnTo>
                  <a:lnTo>
                    <a:pt x="2433" y="2717"/>
                  </a:lnTo>
                  <a:lnTo>
                    <a:pt x="2391" y="2729"/>
                  </a:lnTo>
                  <a:lnTo>
                    <a:pt x="2349" y="2734"/>
                  </a:lnTo>
                  <a:lnTo>
                    <a:pt x="2303" y="2738"/>
                  </a:lnTo>
                  <a:lnTo>
                    <a:pt x="517" y="2738"/>
                  </a:lnTo>
                  <a:lnTo>
                    <a:pt x="517" y="2738"/>
                  </a:lnTo>
                  <a:lnTo>
                    <a:pt x="474" y="2734"/>
                  </a:lnTo>
                  <a:lnTo>
                    <a:pt x="430" y="2729"/>
                  </a:lnTo>
                  <a:lnTo>
                    <a:pt x="390" y="2719"/>
                  </a:lnTo>
                  <a:lnTo>
                    <a:pt x="349" y="2704"/>
                  </a:lnTo>
                  <a:lnTo>
                    <a:pt x="313" y="2687"/>
                  </a:lnTo>
                  <a:lnTo>
                    <a:pt x="277" y="2664"/>
                  </a:lnTo>
                  <a:lnTo>
                    <a:pt x="244" y="2639"/>
                  </a:lnTo>
                  <a:lnTo>
                    <a:pt x="214" y="2612"/>
                  </a:lnTo>
                  <a:lnTo>
                    <a:pt x="187" y="2582"/>
                  </a:lnTo>
                  <a:lnTo>
                    <a:pt x="162" y="2547"/>
                  </a:lnTo>
                  <a:lnTo>
                    <a:pt x="141" y="2513"/>
                  </a:lnTo>
                  <a:lnTo>
                    <a:pt x="124" y="2475"/>
                  </a:lnTo>
                  <a:lnTo>
                    <a:pt x="111" y="2435"/>
                  </a:lnTo>
                  <a:lnTo>
                    <a:pt x="99" y="2393"/>
                  </a:lnTo>
                  <a:lnTo>
                    <a:pt x="94" y="2349"/>
                  </a:lnTo>
                  <a:lnTo>
                    <a:pt x="92" y="2305"/>
                  </a:lnTo>
                  <a:lnTo>
                    <a:pt x="92" y="1104"/>
                  </a:lnTo>
                  <a:lnTo>
                    <a:pt x="2736" y="1104"/>
                  </a:lnTo>
                  <a:lnTo>
                    <a:pt x="2736" y="2305"/>
                  </a:lnTo>
                  <a:close/>
                  <a:moveTo>
                    <a:pt x="2736" y="1012"/>
                  </a:moveTo>
                  <a:lnTo>
                    <a:pt x="92" y="1012"/>
                  </a:lnTo>
                  <a:lnTo>
                    <a:pt x="92" y="517"/>
                  </a:lnTo>
                  <a:lnTo>
                    <a:pt x="92" y="517"/>
                  </a:lnTo>
                  <a:lnTo>
                    <a:pt x="94" y="474"/>
                  </a:lnTo>
                  <a:lnTo>
                    <a:pt x="99" y="430"/>
                  </a:lnTo>
                  <a:lnTo>
                    <a:pt x="109" y="388"/>
                  </a:lnTo>
                  <a:lnTo>
                    <a:pt x="124" y="348"/>
                  </a:lnTo>
                  <a:lnTo>
                    <a:pt x="141" y="311"/>
                  </a:lnTo>
                  <a:lnTo>
                    <a:pt x="162" y="277"/>
                  </a:lnTo>
                  <a:lnTo>
                    <a:pt x="185" y="243"/>
                  </a:lnTo>
                  <a:lnTo>
                    <a:pt x="212" y="214"/>
                  </a:lnTo>
                  <a:lnTo>
                    <a:pt x="243" y="187"/>
                  </a:lnTo>
                  <a:lnTo>
                    <a:pt x="275" y="162"/>
                  </a:lnTo>
                  <a:lnTo>
                    <a:pt x="311" y="141"/>
                  </a:lnTo>
                  <a:lnTo>
                    <a:pt x="348" y="124"/>
                  </a:lnTo>
                  <a:lnTo>
                    <a:pt x="388" y="111"/>
                  </a:lnTo>
                  <a:lnTo>
                    <a:pt x="430" y="99"/>
                  </a:lnTo>
                  <a:lnTo>
                    <a:pt x="472" y="94"/>
                  </a:lnTo>
                  <a:lnTo>
                    <a:pt x="517" y="92"/>
                  </a:lnTo>
                  <a:lnTo>
                    <a:pt x="2303" y="92"/>
                  </a:lnTo>
                  <a:lnTo>
                    <a:pt x="2303" y="92"/>
                  </a:lnTo>
                  <a:lnTo>
                    <a:pt x="2349" y="94"/>
                  </a:lnTo>
                  <a:lnTo>
                    <a:pt x="2393" y="99"/>
                  </a:lnTo>
                  <a:lnTo>
                    <a:pt x="2435" y="111"/>
                  </a:lnTo>
                  <a:lnTo>
                    <a:pt x="2475" y="124"/>
                  </a:lnTo>
                  <a:lnTo>
                    <a:pt x="2511" y="143"/>
                  </a:lnTo>
                  <a:lnTo>
                    <a:pt x="2547" y="164"/>
                  </a:lnTo>
                  <a:lnTo>
                    <a:pt x="2582" y="187"/>
                  </a:lnTo>
                  <a:lnTo>
                    <a:pt x="2612" y="216"/>
                  </a:lnTo>
                  <a:lnTo>
                    <a:pt x="2639" y="244"/>
                  </a:lnTo>
                  <a:lnTo>
                    <a:pt x="2664" y="277"/>
                  </a:lnTo>
                  <a:lnTo>
                    <a:pt x="2685" y="313"/>
                  </a:lnTo>
                  <a:lnTo>
                    <a:pt x="2704" y="349"/>
                  </a:lnTo>
                  <a:lnTo>
                    <a:pt x="2717" y="390"/>
                  </a:lnTo>
                  <a:lnTo>
                    <a:pt x="2729" y="432"/>
                  </a:lnTo>
                  <a:lnTo>
                    <a:pt x="2735" y="474"/>
                  </a:lnTo>
                  <a:lnTo>
                    <a:pt x="2736" y="517"/>
                  </a:lnTo>
                  <a:lnTo>
                    <a:pt x="2736" y="1012"/>
                  </a:lnTo>
                  <a:close/>
                  <a:moveTo>
                    <a:pt x="2272" y="2624"/>
                  </a:moveTo>
                  <a:lnTo>
                    <a:pt x="2272" y="2624"/>
                  </a:lnTo>
                  <a:lnTo>
                    <a:pt x="2309" y="2622"/>
                  </a:lnTo>
                  <a:lnTo>
                    <a:pt x="2343" y="2616"/>
                  </a:lnTo>
                  <a:lnTo>
                    <a:pt x="2377" y="2608"/>
                  </a:lnTo>
                  <a:lnTo>
                    <a:pt x="2410" y="2597"/>
                  </a:lnTo>
                  <a:lnTo>
                    <a:pt x="2440" y="2582"/>
                  </a:lnTo>
                  <a:lnTo>
                    <a:pt x="2469" y="2564"/>
                  </a:lnTo>
                  <a:lnTo>
                    <a:pt x="2496" y="2543"/>
                  </a:lnTo>
                  <a:lnTo>
                    <a:pt x="2521" y="2521"/>
                  </a:lnTo>
                  <a:lnTo>
                    <a:pt x="2544" y="2496"/>
                  </a:lnTo>
                  <a:lnTo>
                    <a:pt x="2563" y="2469"/>
                  </a:lnTo>
                  <a:lnTo>
                    <a:pt x="2582" y="2440"/>
                  </a:lnTo>
                  <a:lnTo>
                    <a:pt x="2595" y="2410"/>
                  </a:lnTo>
                  <a:lnTo>
                    <a:pt x="2608" y="2377"/>
                  </a:lnTo>
                  <a:lnTo>
                    <a:pt x="2616" y="2345"/>
                  </a:lnTo>
                  <a:lnTo>
                    <a:pt x="2622" y="2309"/>
                  </a:lnTo>
                  <a:lnTo>
                    <a:pt x="2624" y="2274"/>
                  </a:lnTo>
                  <a:lnTo>
                    <a:pt x="2624" y="2274"/>
                  </a:lnTo>
                  <a:lnTo>
                    <a:pt x="2622" y="2265"/>
                  </a:lnTo>
                  <a:lnTo>
                    <a:pt x="2620" y="2255"/>
                  </a:lnTo>
                  <a:lnTo>
                    <a:pt x="2616" y="2248"/>
                  </a:lnTo>
                  <a:lnTo>
                    <a:pt x="2610" y="2242"/>
                  </a:lnTo>
                  <a:lnTo>
                    <a:pt x="2603" y="2236"/>
                  </a:lnTo>
                  <a:lnTo>
                    <a:pt x="2595" y="2232"/>
                  </a:lnTo>
                  <a:lnTo>
                    <a:pt x="2587" y="2228"/>
                  </a:lnTo>
                  <a:lnTo>
                    <a:pt x="2578" y="2228"/>
                  </a:lnTo>
                  <a:lnTo>
                    <a:pt x="2578" y="2228"/>
                  </a:lnTo>
                  <a:lnTo>
                    <a:pt x="2568" y="2228"/>
                  </a:lnTo>
                  <a:lnTo>
                    <a:pt x="2559" y="2232"/>
                  </a:lnTo>
                  <a:lnTo>
                    <a:pt x="2551" y="2236"/>
                  </a:lnTo>
                  <a:lnTo>
                    <a:pt x="2545" y="2242"/>
                  </a:lnTo>
                  <a:lnTo>
                    <a:pt x="2540" y="2248"/>
                  </a:lnTo>
                  <a:lnTo>
                    <a:pt x="2536" y="2255"/>
                  </a:lnTo>
                  <a:lnTo>
                    <a:pt x="2532" y="2265"/>
                  </a:lnTo>
                  <a:lnTo>
                    <a:pt x="2532" y="2274"/>
                  </a:lnTo>
                  <a:lnTo>
                    <a:pt x="2532" y="2274"/>
                  </a:lnTo>
                  <a:lnTo>
                    <a:pt x="2530" y="2301"/>
                  </a:lnTo>
                  <a:lnTo>
                    <a:pt x="2526" y="2326"/>
                  </a:lnTo>
                  <a:lnTo>
                    <a:pt x="2521" y="2351"/>
                  </a:lnTo>
                  <a:lnTo>
                    <a:pt x="2511" y="2374"/>
                  </a:lnTo>
                  <a:lnTo>
                    <a:pt x="2500" y="2396"/>
                  </a:lnTo>
                  <a:lnTo>
                    <a:pt x="2488" y="2417"/>
                  </a:lnTo>
                  <a:lnTo>
                    <a:pt x="2473" y="2438"/>
                  </a:lnTo>
                  <a:lnTo>
                    <a:pt x="2456" y="2456"/>
                  </a:lnTo>
                  <a:lnTo>
                    <a:pt x="2437" y="2473"/>
                  </a:lnTo>
                  <a:lnTo>
                    <a:pt x="2418" y="2488"/>
                  </a:lnTo>
                  <a:lnTo>
                    <a:pt x="2397" y="2501"/>
                  </a:lnTo>
                  <a:lnTo>
                    <a:pt x="2374" y="2511"/>
                  </a:lnTo>
                  <a:lnTo>
                    <a:pt x="2351" y="2521"/>
                  </a:lnTo>
                  <a:lnTo>
                    <a:pt x="2326" y="2526"/>
                  </a:lnTo>
                  <a:lnTo>
                    <a:pt x="2299" y="2530"/>
                  </a:lnTo>
                  <a:lnTo>
                    <a:pt x="2272" y="2532"/>
                  </a:lnTo>
                  <a:lnTo>
                    <a:pt x="2272" y="2532"/>
                  </a:lnTo>
                  <a:lnTo>
                    <a:pt x="2265" y="2534"/>
                  </a:lnTo>
                  <a:lnTo>
                    <a:pt x="2255" y="2536"/>
                  </a:lnTo>
                  <a:lnTo>
                    <a:pt x="2248" y="2540"/>
                  </a:lnTo>
                  <a:lnTo>
                    <a:pt x="2240" y="2545"/>
                  </a:lnTo>
                  <a:lnTo>
                    <a:pt x="2236" y="2553"/>
                  </a:lnTo>
                  <a:lnTo>
                    <a:pt x="2230" y="2561"/>
                  </a:lnTo>
                  <a:lnTo>
                    <a:pt x="2228" y="2568"/>
                  </a:lnTo>
                  <a:lnTo>
                    <a:pt x="2227" y="2578"/>
                  </a:lnTo>
                  <a:lnTo>
                    <a:pt x="2227" y="2578"/>
                  </a:lnTo>
                  <a:lnTo>
                    <a:pt x="2228" y="2587"/>
                  </a:lnTo>
                  <a:lnTo>
                    <a:pt x="2230" y="2595"/>
                  </a:lnTo>
                  <a:lnTo>
                    <a:pt x="2236" y="2603"/>
                  </a:lnTo>
                  <a:lnTo>
                    <a:pt x="2240" y="2610"/>
                  </a:lnTo>
                  <a:lnTo>
                    <a:pt x="2248" y="2616"/>
                  </a:lnTo>
                  <a:lnTo>
                    <a:pt x="2255" y="2620"/>
                  </a:lnTo>
                  <a:lnTo>
                    <a:pt x="2265" y="2624"/>
                  </a:lnTo>
                  <a:lnTo>
                    <a:pt x="2272" y="2624"/>
                  </a:lnTo>
                  <a:lnTo>
                    <a:pt x="2272" y="2624"/>
                  </a:lnTo>
                  <a:close/>
                  <a:moveTo>
                    <a:pt x="449" y="199"/>
                  </a:moveTo>
                  <a:lnTo>
                    <a:pt x="449" y="199"/>
                  </a:lnTo>
                  <a:lnTo>
                    <a:pt x="422" y="199"/>
                  </a:lnTo>
                  <a:lnTo>
                    <a:pt x="397" y="202"/>
                  </a:lnTo>
                  <a:lnTo>
                    <a:pt x="374" y="210"/>
                  </a:lnTo>
                  <a:lnTo>
                    <a:pt x="351" y="218"/>
                  </a:lnTo>
                  <a:lnTo>
                    <a:pt x="328" y="229"/>
                  </a:lnTo>
                  <a:lnTo>
                    <a:pt x="307" y="241"/>
                  </a:lnTo>
                  <a:lnTo>
                    <a:pt x="288" y="256"/>
                  </a:lnTo>
                  <a:lnTo>
                    <a:pt x="271" y="271"/>
                  </a:lnTo>
                  <a:lnTo>
                    <a:pt x="254" y="290"/>
                  </a:lnTo>
                  <a:lnTo>
                    <a:pt x="241" y="309"/>
                  </a:lnTo>
                  <a:lnTo>
                    <a:pt x="227" y="330"/>
                  </a:lnTo>
                  <a:lnTo>
                    <a:pt x="218" y="351"/>
                  </a:lnTo>
                  <a:lnTo>
                    <a:pt x="208" y="374"/>
                  </a:lnTo>
                  <a:lnTo>
                    <a:pt x="202" y="399"/>
                  </a:lnTo>
                  <a:lnTo>
                    <a:pt x="199" y="424"/>
                  </a:lnTo>
                  <a:lnTo>
                    <a:pt x="197" y="449"/>
                  </a:lnTo>
                  <a:lnTo>
                    <a:pt x="197" y="449"/>
                  </a:lnTo>
                  <a:lnTo>
                    <a:pt x="199" y="458"/>
                  </a:lnTo>
                  <a:lnTo>
                    <a:pt x="201" y="466"/>
                  </a:lnTo>
                  <a:lnTo>
                    <a:pt x="204" y="475"/>
                  </a:lnTo>
                  <a:lnTo>
                    <a:pt x="210" y="481"/>
                  </a:lnTo>
                  <a:lnTo>
                    <a:pt x="218" y="487"/>
                  </a:lnTo>
                  <a:lnTo>
                    <a:pt x="225" y="491"/>
                  </a:lnTo>
                  <a:lnTo>
                    <a:pt x="235" y="495"/>
                  </a:lnTo>
                  <a:lnTo>
                    <a:pt x="243" y="495"/>
                  </a:lnTo>
                  <a:lnTo>
                    <a:pt x="243" y="495"/>
                  </a:lnTo>
                  <a:lnTo>
                    <a:pt x="252" y="495"/>
                  </a:lnTo>
                  <a:lnTo>
                    <a:pt x="262" y="491"/>
                  </a:lnTo>
                  <a:lnTo>
                    <a:pt x="269" y="487"/>
                  </a:lnTo>
                  <a:lnTo>
                    <a:pt x="275" y="481"/>
                  </a:lnTo>
                  <a:lnTo>
                    <a:pt x="281" y="475"/>
                  </a:lnTo>
                  <a:lnTo>
                    <a:pt x="285" y="466"/>
                  </a:lnTo>
                  <a:lnTo>
                    <a:pt x="288" y="458"/>
                  </a:lnTo>
                  <a:lnTo>
                    <a:pt x="288" y="449"/>
                  </a:lnTo>
                  <a:lnTo>
                    <a:pt x="288" y="449"/>
                  </a:lnTo>
                  <a:lnTo>
                    <a:pt x="290" y="433"/>
                  </a:lnTo>
                  <a:lnTo>
                    <a:pt x="292" y="416"/>
                  </a:lnTo>
                  <a:lnTo>
                    <a:pt x="296" y="401"/>
                  </a:lnTo>
                  <a:lnTo>
                    <a:pt x="302" y="386"/>
                  </a:lnTo>
                  <a:lnTo>
                    <a:pt x="307" y="372"/>
                  </a:lnTo>
                  <a:lnTo>
                    <a:pt x="315" y="359"/>
                  </a:lnTo>
                  <a:lnTo>
                    <a:pt x="325" y="348"/>
                  </a:lnTo>
                  <a:lnTo>
                    <a:pt x="336" y="336"/>
                  </a:lnTo>
                  <a:lnTo>
                    <a:pt x="348" y="327"/>
                  </a:lnTo>
                  <a:lnTo>
                    <a:pt x="359" y="317"/>
                  </a:lnTo>
                  <a:lnTo>
                    <a:pt x="372" y="309"/>
                  </a:lnTo>
                  <a:lnTo>
                    <a:pt x="386" y="302"/>
                  </a:lnTo>
                  <a:lnTo>
                    <a:pt x="401" y="296"/>
                  </a:lnTo>
                  <a:lnTo>
                    <a:pt x="416" y="292"/>
                  </a:lnTo>
                  <a:lnTo>
                    <a:pt x="432" y="290"/>
                  </a:lnTo>
                  <a:lnTo>
                    <a:pt x="449" y="290"/>
                  </a:lnTo>
                  <a:lnTo>
                    <a:pt x="449" y="290"/>
                  </a:lnTo>
                  <a:lnTo>
                    <a:pt x="458" y="288"/>
                  </a:lnTo>
                  <a:lnTo>
                    <a:pt x="466" y="286"/>
                  </a:lnTo>
                  <a:lnTo>
                    <a:pt x="474" y="283"/>
                  </a:lnTo>
                  <a:lnTo>
                    <a:pt x="481" y="277"/>
                  </a:lnTo>
                  <a:lnTo>
                    <a:pt x="487" y="269"/>
                  </a:lnTo>
                  <a:lnTo>
                    <a:pt x="491" y="262"/>
                  </a:lnTo>
                  <a:lnTo>
                    <a:pt x="493" y="252"/>
                  </a:lnTo>
                  <a:lnTo>
                    <a:pt x="495" y="244"/>
                  </a:lnTo>
                  <a:lnTo>
                    <a:pt x="495" y="244"/>
                  </a:lnTo>
                  <a:lnTo>
                    <a:pt x="493" y="235"/>
                  </a:lnTo>
                  <a:lnTo>
                    <a:pt x="491" y="225"/>
                  </a:lnTo>
                  <a:lnTo>
                    <a:pt x="487" y="218"/>
                  </a:lnTo>
                  <a:lnTo>
                    <a:pt x="481" y="212"/>
                  </a:lnTo>
                  <a:lnTo>
                    <a:pt x="474" y="206"/>
                  </a:lnTo>
                  <a:lnTo>
                    <a:pt x="466" y="202"/>
                  </a:lnTo>
                  <a:lnTo>
                    <a:pt x="458" y="199"/>
                  </a:lnTo>
                  <a:lnTo>
                    <a:pt x="449" y="199"/>
                  </a:lnTo>
                  <a:lnTo>
                    <a:pt x="449" y="19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7" name="Group 105"/>
          <p:cNvGrpSpPr/>
          <p:nvPr/>
        </p:nvGrpSpPr>
        <p:grpSpPr>
          <a:xfrm>
            <a:off x="1403350" y="4248150"/>
            <a:ext cx="457200" cy="415694"/>
            <a:chOff x="1403350" y="4248150"/>
            <a:chExt cx="457200" cy="415694"/>
          </a:xfrm>
        </p:grpSpPr>
        <p:sp>
          <p:nvSpPr>
            <p:cNvPr id="92" name="Rectangle 91"/>
            <p:cNvSpPr/>
            <p:nvPr/>
          </p:nvSpPr>
          <p:spPr>
            <a:xfrm>
              <a:off x="1403350" y="4248150"/>
              <a:ext cx="457200" cy="41569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5321" name="Freeform 25"/>
            <p:cNvSpPr>
              <a:spLocks noChangeAspect="1" noEditPoints="1"/>
            </p:cNvSpPr>
            <p:nvPr/>
          </p:nvSpPr>
          <p:spPr bwMode="auto">
            <a:xfrm>
              <a:off x="1456980" y="4357749"/>
              <a:ext cx="349940" cy="196496"/>
            </a:xfrm>
            <a:custGeom>
              <a:avLst/>
              <a:gdLst/>
              <a:ahLst/>
              <a:cxnLst>
                <a:cxn ang="0">
                  <a:pos x="1802" y="96"/>
                </a:cxn>
                <a:cxn ang="0">
                  <a:pos x="2084" y="142"/>
                </a:cxn>
                <a:cxn ang="0">
                  <a:pos x="1978" y="190"/>
                </a:cxn>
                <a:cxn ang="0">
                  <a:pos x="1948" y="264"/>
                </a:cxn>
                <a:cxn ang="0">
                  <a:pos x="2094" y="274"/>
                </a:cxn>
                <a:cxn ang="0">
                  <a:pos x="2180" y="156"/>
                </a:cxn>
                <a:cxn ang="0">
                  <a:pos x="2128" y="32"/>
                </a:cxn>
                <a:cxn ang="0">
                  <a:pos x="1700" y="6"/>
                </a:cxn>
                <a:cxn ang="0">
                  <a:pos x="1112" y="96"/>
                </a:cxn>
                <a:cxn ang="0">
                  <a:pos x="1160" y="38"/>
                </a:cxn>
                <a:cxn ang="0">
                  <a:pos x="778" y="4"/>
                </a:cxn>
                <a:cxn ang="0">
                  <a:pos x="764" y="82"/>
                </a:cxn>
                <a:cxn ang="0">
                  <a:pos x="778" y="406"/>
                </a:cxn>
                <a:cxn ang="0">
                  <a:pos x="448" y="396"/>
                </a:cxn>
                <a:cxn ang="0">
                  <a:pos x="174" y="552"/>
                </a:cxn>
                <a:cxn ang="0">
                  <a:pos x="18" y="824"/>
                </a:cxn>
                <a:cxn ang="0">
                  <a:pos x="18" y="1122"/>
                </a:cxn>
                <a:cxn ang="0">
                  <a:pos x="174" y="1394"/>
                </a:cxn>
                <a:cxn ang="0">
                  <a:pos x="448" y="1550"/>
                </a:cxn>
                <a:cxn ang="0">
                  <a:pos x="738" y="1552"/>
                </a:cxn>
                <a:cxn ang="0">
                  <a:pos x="1000" y="1410"/>
                </a:cxn>
                <a:cxn ang="0">
                  <a:pos x="1162" y="1160"/>
                </a:cxn>
                <a:cxn ang="0">
                  <a:pos x="1226" y="1204"/>
                </a:cxn>
                <a:cxn ang="0">
                  <a:pos x="1210" y="1282"/>
                </a:cxn>
                <a:cxn ang="0">
                  <a:pos x="1456" y="1274"/>
                </a:cxn>
                <a:cxn ang="0">
                  <a:pos x="1426" y="1200"/>
                </a:cxn>
                <a:cxn ang="0">
                  <a:pos x="1746" y="588"/>
                </a:cxn>
                <a:cxn ang="0">
                  <a:pos x="1604" y="974"/>
                </a:cxn>
                <a:cxn ang="0">
                  <a:pos x="1676" y="1258"/>
                </a:cxn>
                <a:cxn ang="0">
                  <a:pos x="1892" y="1484"/>
                </a:cxn>
                <a:cxn ang="0">
                  <a:pos x="2200" y="1570"/>
                </a:cxn>
                <a:cxn ang="0">
                  <a:pos x="2484" y="1498"/>
                </a:cxn>
                <a:cxn ang="0">
                  <a:pos x="2710" y="1282"/>
                </a:cxn>
                <a:cxn ang="0">
                  <a:pos x="2796" y="974"/>
                </a:cxn>
                <a:cxn ang="0">
                  <a:pos x="2724" y="690"/>
                </a:cxn>
                <a:cxn ang="0">
                  <a:pos x="2508" y="464"/>
                </a:cxn>
                <a:cxn ang="0">
                  <a:pos x="2200" y="378"/>
                </a:cxn>
                <a:cxn ang="0">
                  <a:pos x="402" y="1434"/>
                </a:cxn>
                <a:cxn ang="0">
                  <a:pos x="112" y="1098"/>
                </a:cxn>
                <a:cxn ang="0">
                  <a:pos x="112" y="848"/>
                </a:cxn>
                <a:cxn ang="0">
                  <a:pos x="402" y="514"/>
                </a:cxn>
                <a:cxn ang="0">
                  <a:pos x="656" y="478"/>
                </a:cxn>
                <a:cxn ang="0">
                  <a:pos x="550" y="984"/>
                </a:cxn>
                <a:cxn ang="0">
                  <a:pos x="1060" y="1158"/>
                </a:cxn>
                <a:cxn ang="0">
                  <a:pos x="690" y="1464"/>
                </a:cxn>
                <a:cxn ang="0">
                  <a:pos x="992" y="670"/>
                </a:cxn>
                <a:cxn ang="0">
                  <a:pos x="1094" y="926"/>
                </a:cxn>
                <a:cxn ang="0">
                  <a:pos x="1118" y="686"/>
                </a:cxn>
                <a:cxn ang="0">
                  <a:pos x="1190" y="926"/>
                </a:cxn>
                <a:cxn ang="0">
                  <a:pos x="2076" y="1458"/>
                </a:cxn>
                <a:cxn ang="0">
                  <a:pos x="1740" y="1168"/>
                </a:cxn>
                <a:cxn ang="0">
                  <a:pos x="1704" y="908"/>
                </a:cxn>
                <a:cxn ang="0">
                  <a:pos x="1858" y="610"/>
                </a:cxn>
                <a:cxn ang="0">
                  <a:pos x="2212" y="1020"/>
                </a:cxn>
                <a:cxn ang="0">
                  <a:pos x="2014" y="510"/>
                </a:cxn>
                <a:cxn ang="0">
                  <a:pos x="2324" y="490"/>
                </a:cxn>
                <a:cxn ang="0">
                  <a:pos x="2660" y="780"/>
                </a:cxn>
                <a:cxn ang="0">
                  <a:pos x="2698" y="1024"/>
                </a:cxn>
                <a:cxn ang="0">
                  <a:pos x="2518" y="1360"/>
                </a:cxn>
                <a:cxn ang="0">
                  <a:pos x="2200" y="1474"/>
                </a:cxn>
              </a:cxnLst>
              <a:rect l="0" t="0" r="r" b="b"/>
              <a:pathLst>
                <a:path w="2796" h="1570">
                  <a:moveTo>
                    <a:pt x="2200" y="378"/>
                  </a:moveTo>
                  <a:lnTo>
                    <a:pt x="2200" y="378"/>
                  </a:lnTo>
                  <a:lnTo>
                    <a:pt x="2170" y="378"/>
                  </a:lnTo>
                  <a:lnTo>
                    <a:pt x="2140" y="380"/>
                  </a:lnTo>
                  <a:lnTo>
                    <a:pt x="2110" y="384"/>
                  </a:lnTo>
                  <a:lnTo>
                    <a:pt x="2082" y="390"/>
                  </a:lnTo>
                  <a:lnTo>
                    <a:pt x="2052" y="396"/>
                  </a:lnTo>
                  <a:lnTo>
                    <a:pt x="2024" y="404"/>
                  </a:lnTo>
                  <a:lnTo>
                    <a:pt x="1998" y="414"/>
                  </a:lnTo>
                  <a:lnTo>
                    <a:pt x="1970" y="424"/>
                  </a:lnTo>
                  <a:lnTo>
                    <a:pt x="1802" y="96"/>
                  </a:lnTo>
                  <a:lnTo>
                    <a:pt x="2038" y="96"/>
                  </a:lnTo>
                  <a:lnTo>
                    <a:pt x="2038" y="96"/>
                  </a:lnTo>
                  <a:lnTo>
                    <a:pt x="2048" y="96"/>
                  </a:lnTo>
                  <a:lnTo>
                    <a:pt x="2056" y="100"/>
                  </a:lnTo>
                  <a:lnTo>
                    <a:pt x="2064" y="104"/>
                  </a:lnTo>
                  <a:lnTo>
                    <a:pt x="2070" y="110"/>
                  </a:lnTo>
                  <a:lnTo>
                    <a:pt x="2076" y="116"/>
                  </a:lnTo>
                  <a:lnTo>
                    <a:pt x="2080" y="124"/>
                  </a:lnTo>
                  <a:lnTo>
                    <a:pt x="2084" y="134"/>
                  </a:lnTo>
                  <a:lnTo>
                    <a:pt x="2084" y="142"/>
                  </a:lnTo>
                  <a:lnTo>
                    <a:pt x="2084" y="142"/>
                  </a:lnTo>
                  <a:lnTo>
                    <a:pt x="2084" y="152"/>
                  </a:lnTo>
                  <a:lnTo>
                    <a:pt x="2080" y="160"/>
                  </a:lnTo>
                  <a:lnTo>
                    <a:pt x="2076" y="168"/>
                  </a:lnTo>
                  <a:lnTo>
                    <a:pt x="2070" y="176"/>
                  </a:lnTo>
                  <a:lnTo>
                    <a:pt x="2064" y="180"/>
                  </a:lnTo>
                  <a:lnTo>
                    <a:pt x="2056" y="186"/>
                  </a:lnTo>
                  <a:lnTo>
                    <a:pt x="2048" y="188"/>
                  </a:lnTo>
                  <a:lnTo>
                    <a:pt x="2038" y="188"/>
                  </a:lnTo>
                  <a:lnTo>
                    <a:pt x="1988" y="188"/>
                  </a:lnTo>
                  <a:lnTo>
                    <a:pt x="1988" y="188"/>
                  </a:lnTo>
                  <a:lnTo>
                    <a:pt x="1978" y="190"/>
                  </a:lnTo>
                  <a:lnTo>
                    <a:pt x="1968" y="192"/>
                  </a:lnTo>
                  <a:lnTo>
                    <a:pt x="1960" y="198"/>
                  </a:lnTo>
                  <a:lnTo>
                    <a:pt x="1954" y="202"/>
                  </a:lnTo>
                  <a:lnTo>
                    <a:pt x="1948" y="210"/>
                  </a:lnTo>
                  <a:lnTo>
                    <a:pt x="1944" y="218"/>
                  </a:lnTo>
                  <a:lnTo>
                    <a:pt x="1940" y="228"/>
                  </a:lnTo>
                  <a:lnTo>
                    <a:pt x="1940" y="236"/>
                  </a:lnTo>
                  <a:lnTo>
                    <a:pt x="1940" y="236"/>
                  </a:lnTo>
                  <a:lnTo>
                    <a:pt x="1940" y="246"/>
                  </a:lnTo>
                  <a:lnTo>
                    <a:pt x="1944" y="256"/>
                  </a:lnTo>
                  <a:lnTo>
                    <a:pt x="1948" y="264"/>
                  </a:lnTo>
                  <a:lnTo>
                    <a:pt x="1954" y="270"/>
                  </a:lnTo>
                  <a:lnTo>
                    <a:pt x="1960" y="276"/>
                  </a:lnTo>
                  <a:lnTo>
                    <a:pt x="1968" y="282"/>
                  </a:lnTo>
                  <a:lnTo>
                    <a:pt x="1978" y="284"/>
                  </a:lnTo>
                  <a:lnTo>
                    <a:pt x="1988" y="284"/>
                  </a:lnTo>
                  <a:lnTo>
                    <a:pt x="2038" y="284"/>
                  </a:lnTo>
                  <a:lnTo>
                    <a:pt x="2038" y="284"/>
                  </a:lnTo>
                  <a:lnTo>
                    <a:pt x="2052" y="284"/>
                  </a:lnTo>
                  <a:lnTo>
                    <a:pt x="2066" y="282"/>
                  </a:lnTo>
                  <a:lnTo>
                    <a:pt x="2080" y="278"/>
                  </a:lnTo>
                  <a:lnTo>
                    <a:pt x="2094" y="274"/>
                  </a:lnTo>
                  <a:lnTo>
                    <a:pt x="2106" y="268"/>
                  </a:lnTo>
                  <a:lnTo>
                    <a:pt x="2118" y="260"/>
                  </a:lnTo>
                  <a:lnTo>
                    <a:pt x="2128" y="252"/>
                  </a:lnTo>
                  <a:lnTo>
                    <a:pt x="2138" y="244"/>
                  </a:lnTo>
                  <a:lnTo>
                    <a:pt x="2148" y="234"/>
                  </a:lnTo>
                  <a:lnTo>
                    <a:pt x="2156" y="222"/>
                  </a:lnTo>
                  <a:lnTo>
                    <a:pt x="2162" y="210"/>
                  </a:lnTo>
                  <a:lnTo>
                    <a:pt x="2170" y="198"/>
                  </a:lnTo>
                  <a:lnTo>
                    <a:pt x="2174" y="184"/>
                  </a:lnTo>
                  <a:lnTo>
                    <a:pt x="2178" y="172"/>
                  </a:lnTo>
                  <a:lnTo>
                    <a:pt x="2180" y="156"/>
                  </a:lnTo>
                  <a:lnTo>
                    <a:pt x="2180" y="142"/>
                  </a:lnTo>
                  <a:lnTo>
                    <a:pt x="2180" y="142"/>
                  </a:lnTo>
                  <a:lnTo>
                    <a:pt x="2180" y="128"/>
                  </a:lnTo>
                  <a:lnTo>
                    <a:pt x="2178" y="114"/>
                  </a:lnTo>
                  <a:lnTo>
                    <a:pt x="2174" y="100"/>
                  </a:lnTo>
                  <a:lnTo>
                    <a:pt x="2170" y="88"/>
                  </a:lnTo>
                  <a:lnTo>
                    <a:pt x="2162" y="74"/>
                  </a:lnTo>
                  <a:lnTo>
                    <a:pt x="2156" y="62"/>
                  </a:lnTo>
                  <a:lnTo>
                    <a:pt x="2148" y="52"/>
                  </a:lnTo>
                  <a:lnTo>
                    <a:pt x="2138" y="42"/>
                  </a:lnTo>
                  <a:lnTo>
                    <a:pt x="2128" y="32"/>
                  </a:lnTo>
                  <a:lnTo>
                    <a:pt x="2118" y="24"/>
                  </a:lnTo>
                  <a:lnTo>
                    <a:pt x="2106" y="18"/>
                  </a:lnTo>
                  <a:lnTo>
                    <a:pt x="2094" y="12"/>
                  </a:lnTo>
                  <a:lnTo>
                    <a:pt x="2080" y="6"/>
                  </a:lnTo>
                  <a:lnTo>
                    <a:pt x="2066" y="2"/>
                  </a:lnTo>
                  <a:lnTo>
                    <a:pt x="2052" y="0"/>
                  </a:lnTo>
                  <a:lnTo>
                    <a:pt x="2038" y="0"/>
                  </a:lnTo>
                  <a:lnTo>
                    <a:pt x="1722" y="0"/>
                  </a:lnTo>
                  <a:lnTo>
                    <a:pt x="1722" y="0"/>
                  </a:lnTo>
                  <a:lnTo>
                    <a:pt x="1710" y="2"/>
                  </a:lnTo>
                  <a:lnTo>
                    <a:pt x="1700" y="6"/>
                  </a:lnTo>
                  <a:lnTo>
                    <a:pt x="1690" y="14"/>
                  </a:lnTo>
                  <a:lnTo>
                    <a:pt x="1682" y="22"/>
                  </a:lnTo>
                  <a:lnTo>
                    <a:pt x="1682" y="22"/>
                  </a:lnTo>
                  <a:lnTo>
                    <a:pt x="1676" y="34"/>
                  </a:lnTo>
                  <a:lnTo>
                    <a:pt x="1674" y="46"/>
                  </a:lnTo>
                  <a:lnTo>
                    <a:pt x="1676" y="58"/>
                  </a:lnTo>
                  <a:lnTo>
                    <a:pt x="1680" y="70"/>
                  </a:lnTo>
                  <a:lnTo>
                    <a:pt x="1764" y="232"/>
                  </a:lnTo>
                  <a:lnTo>
                    <a:pt x="1072" y="232"/>
                  </a:lnTo>
                  <a:lnTo>
                    <a:pt x="1002" y="96"/>
                  </a:lnTo>
                  <a:lnTo>
                    <a:pt x="1112" y="96"/>
                  </a:lnTo>
                  <a:lnTo>
                    <a:pt x="1112" y="96"/>
                  </a:lnTo>
                  <a:lnTo>
                    <a:pt x="1122" y="96"/>
                  </a:lnTo>
                  <a:lnTo>
                    <a:pt x="1130" y="92"/>
                  </a:lnTo>
                  <a:lnTo>
                    <a:pt x="1138" y="88"/>
                  </a:lnTo>
                  <a:lnTo>
                    <a:pt x="1146" y="82"/>
                  </a:lnTo>
                  <a:lnTo>
                    <a:pt x="1152" y="74"/>
                  </a:lnTo>
                  <a:lnTo>
                    <a:pt x="1156" y="66"/>
                  </a:lnTo>
                  <a:lnTo>
                    <a:pt x="1160" y="58"/>
                  </a:lnTo>
                  <a:lnTo>
                    <a:pt x="1160" y="48"/>
                  </a:lnTo>
                  <a:lnTo>
                    <a:pt x="1160" y="48"/>
                  </a:lnTo>
                  <a:lnTo>
                    <a:pt x="1160" y="38"/>
                  </a:lnTo>
                  <a:lnTo>
                    <a:pt x="1156" y="30"/>
                  </a:lnTo>
                  <a:lnTo>
                    <a:pt x="1152" y="22"/>
                  </a:lnTo>
                  <a:lnTo>
                    <a:pt x="1146" y="14"/>
                  </a:lnTo>
                  <a:lnTo>
                    <a:pt x="1138" y="8"/>
                  </a:lnTo>
                  <a:lnTo>
                    <a:pt x="1130" y="4"/>
                  </a:lnTo>
                  <a:lnTo>
                    <a:pt x="1122" y="0"/>
                  </a:lnTo>
                  <a:lnTo>
                    <a:pt x="1112" y="0"/>
                  </a:lnTo>
                  <a:lnTo>
                    <a:pt x="798" y="0"/>
                  </a:lnTo>
                  <a:lnTo>
                    <a:pt x="798" y="0"/>
                  </a:lnTo>
                  <a:lnTo>
                    <a:pt x="788" y="0"/>
                  </a:lnTo>
                  <a:lnTo>
                    <a:pt x="778" y="4"/>
                  </a:lnTo>
                  <a:lnTo>
                    <a:pt x="770" y="8"/>
                  </a:lnTo>
                  <a:lnTo>
                    <a:pt x="764" y="14"/>
                  </a:lnTo>
                  <a:lnTo>
                    <a:pt x="758" y="22"/>
                  </a:lnTo>
                  <a:lnTo>
                    <a:pt x="754" y="30"/>
                  </a:lnTo>
                  <a:lnTo>
                    <a:pt x="750" y="38"/>
                  </a:lnTo>
                  <a:lnTo>
                    <a:pt x="750" y="48"/>
                  </a:lnTo>
                  <a:lnTo>
                    <a:pt x="750" y="48"/>
                  </a:lnTo>
                  <a:lnTo>
                    <a:pt x="750" y="58"/>
                  </a:lnTo>
                  <a:lnTo>
                    <a:pt x="754" y="66"/>
                  </a:lnTo>
                  <a:lnTo>
                    <a:pt x="758" y="74"/>
                  </a:lnTo>
                  <a:lnTo>
                    <a:pt x="764" y="82"/>
                  </a:lnTo>
                  <a:lnTo>
                    <a:pt x="770" y="88"/>
                  </a:lnTo>
                  <a:lnTo>
                    <a:pt x="778" y="92"/>
                  </a:lnTo>
                  <a:lnTo>
                    <a:pt x="788" y="96"/>
                  </a:lnTo>
                  <a:lnTo>
                    <a:pt x="798" y="96"/>
                  </a:lnTo>
                  <a:lnTo>
                    <a:pt x="894" y="96"/>
                  </a:lnTo>
                  <a:lnTo>
                    <a:pt x="988" y="278"/>
                  </a:lnTo>
                  <a:lnTo>
                    <a:pt x="878" y="448"/>
                  </a:lnTo>
                  <a:lnTo>
                    <a:pt x="878" y="448"/>
                  </a:lnTo>
                  <a:lnTo>
                    <a:pt x="846" y="432"/>
                  </a:lnTo>
                  <a:lnTo>
                    <a:pt x="812" y="418"/>
                  </a:lnTo>
                  <a:lnTo>
                    <a:pt x="778" y="406"/>
                  </a:lnTo>
                  <a:lnTo>
                    <a:pt x="744" y="396"/>
                  </a:lnTo>
                  <a:lnTo>
                    <a:pt x="708" y="388"/>
                  </a:lnTo>
                  <a:lnTo>
                    <a:pt x="670" y="382"/>
                  </a:lnTo>
                  <a:lnTo>
                    <a:pt x="634" y="380"/>
                  </a:lnTo>
                  <a:lnTo>
                    <a:pt x="596" y="378"/>
                  </a:lnTo>
                  <a:lnTo>
                    <a:pt x="596" y="378"/>
                  </a:lnTo>
                  <a:lnTo>
                    <a:pt x="566" y="378"/>
                  </a:lnTo>
                  <a:lnTo>
                    <a:pt x="534" y="380"/>
                  </a:lnTo>
                  <a:lnTo>
                    <a:pt x="506" y="384"/>
                  </a:lnTo>
                  <a:lnTo>
                    <a:pt x="476" y="390"/>
                  </a:lnTo>
                  <a:lnTo>
                    <a:pt x="448" y="396"/>
                  </a:lnTo>
                  <a:lnTo>
                    <a:pt x="418" y="404"/>
                  </a:lnTo>
                  <a:lnTo>
                    <a:pt x="392" y="414"/>
                  </a:lnTo>
                  <a:lnTo>
                    <a:pt x="364" y="424"/>
                  </a:lnTo>
                  <a:lnTo>
                    <a:pt x="338" y="436"/>
                  </a:lnTo>
                  <a:lnTo>
                    <a:pt x="312" y="450"/>
                  </a:lnTo>
                  <a:lnTo>
                    <a:pt x="288" y="464"/>
                  </a:lnTo>
                  <a:lnTo>
                    <a:pt x="262" y="480"/>
                  </a:lnTo>
                  <a:lnTo>
                    <a:pt x="240" y="496"/>
                  </a:lnTo>
                  <a:lnTo>
                    <a:pt x="218" y="514"/>
                  </a:lnTo>
                  <a:lnTo>
                    <a:pt x="196" y="532"/>
                  </a:lnTo>
                  <a:lnTo>
                    <a:pt x="174" y="552"/>
                  </a:lnTo>
                  <a:lnTo>
                    <a:pt x="154" y="574"/>
                  </a:lnTo>
                  <a:lnTo>
                    <a:pt x="136" y="594"/>
                  </a:lnTo>
                  <a:lnTo>
                    <a:pt x="118" y="618"/>
                  </a:lnTo>
                  <a:lnTo>
                    <a:pt x="102" y="640"/>
                  </a:lnTo>
                  <a:lnTo>
                    <a:pt x="86" y="664"/>
                  </a:lnTo>
                  <a:lnTo>
                    <a:pt x="72" y="690"/>
                  </a:lnTo>
                  <a:lnTo>
                    <a:pt x="58" y="716"/>
                  </a:lnTo>
                  <a:lnTo>
                    <a:pt x="46" y="742"/>
                  </a:lnTo>
                  <a:lnTo>
                    <a:pt x="36" y="768"/>
                  </a:lnTo>
                  <a:lnTo>
                    <a:pt x="26" y="796"/>
                  </a:lnTo>
                  <a:lnTo>
                    <a:pt x="18" y="824"/>
                  </a:lnTo>
                  <a:lnTo>
                    <a:pt x="12" y="854"/>
                  </a:lnTo>
                  <a:lnTo>
                    <a:pt x="6" y="882"/>
                  </a:lnTo>
                  <a:lnTo>
                    <a:pt x="4" y="912"/>
                  </a:lnTo>
                  <a:lnTo>
                    <a:pt x="0" y="942"/>
                  </a:lnTo>
                  <a:lnTo>
                    <a:pt x="0" y="974"/>
                  </a:lnTo>
                  <a:lnTo>
                    <a:pt x="0" y="974"/>
                  </a:lnTo>
                  <a:lnTo>
                    <a:pt x="0" y="1004"/>
                  </a:lnTo>
                  <a:lnTo>
                    <a:pt x="4" y="1034"/>
                  </a:lnTo>
                  <a:lnTo>
                    <a:pt x="6" y="1064"/>
                  </a:lnTo>
                  <a:lnTo>
                    <a:pt x="12" y="1094"/>
                  </a:lnTo>
                  <a:lnTo>
                    <a:pt x="18" y="1122"/>
                  </a:lnTo>
                  <a:lnTo>
                    <a:pt x="26" y="1150"/>
                  </a:lnTo>
                  <a:lnTo>
                    <a:pt x="36" y="1178"/>
                  </a:lnTo>
                  <a:lnTo>
                    <a:pt x="46" y="1206"/>
                  </a:lnTo>
                  <a:lnTo>
                    <a:pt x="58" y="1232"/>
                  </a:lnTo>
                  <a:lnTo>
                    <a:pt x="72" y="1258"/>
                  </a:lnTo>
                  <a:lnTo>
                    <a:pt x="86" y="1282"/>
                  </a:lnTo>
                  <a:lnTo>
                    <a:pt x="102" y="1306"/>
                  </a:lnTo>
                  <a:lnTo>
                    <a:pt x="118" y="1330"/>
                  </a:lnTo>
                  <a:lnTo>
                    <a:pt x="136" y="1352"/>
                  </a:lnTo>
                  <a:lnTo>
                    <a:pt x="154" y="1374"/>
                  </a:lnTo>
                  <a:lnTo>
                    <a:pt x="174" y="1394"/>
                  </a:lnTo>
                  <a:lnTo>
                    <a:pt x="196" y="1414"/>
                  </a:lnTo>
                  <a:lnTo>
                    <a:pt x="218" y="1434"/>
                  </a:lnTo>
                  <a:lnTo>
                    <a:pt x="240" y="1450"/>
                  </a:lnTo>
                  <a:lnTo>
                    <a:pt x="262" y="1468"/>
                  </a:lnTo>
                  <a:lnTo>
                    <a:pt x="288" y="1484"/>
                  </a:lnTo>
                  <a:lnTo>
                    <a:pt x="312" y="1498"/>
                  </a:lnTo>
                  <a:lnTo>
                    <a:pt x="338" y="1510"/>
                  </a:lnTo>
                  <a:lnTo>
                    <a:pt x="364" y="1522"/>
                  </a:lnTo>
                  <a:lnTo>
                    <a:pt x="392" y="1534"/>
                  </a:lnTo>
                  <a:lnTo>
                    <a:pt x="418" y="1542"/>
                  </a:lnTo>
                  <a:lnTo>
                    <a:pt x="448" y="1550"/>
                  </a:lnTo>
                  <a:lnTo>
                    <a:pt x="476" y="1558"/>
                  </a:lnTo>
                  <a:lnTo>
                    <a:pt x="506" y="1562"/>
                  </a:lnTo>
                  <a:lnTo>
                    <a:pt x="534" y="1566"/>
                  </a:lnTo>
                  <a:lnTo>
                    <a:pt x="566" y="1568"/>
                  </a:lnTo>
                  <a:lnTo>
                    <a:pt x="596" y="1570"/>
                  </a:lnTo>
                  <a:lnTo>
                    <a:pt x="596" y="1570"/>
                  </a:lnTo>
                  <a:lnTo>
                    <a:pt x="624" y="1568"/>
                  </a:lnTo>
                  <a:lnTo>
                    <a:pt x="654" y="1566"/>
                  </a:lnTo>
                  <a:lnTo>
                    <a:pt x="682" y="1564"/>
                  </a:lnTo>
                  <a:lnTo>
                    <a:pt x="710" y="1558"/>
                  </a:lnTo>
                  <a:lnTo>
                    <a:pt x="738" y="1552"/>
                  </a:lnTo>
                  <a:lnTo>
                    <a:pt x="764" y="1546"/>
                  </a:lnTo>
                  <a:lnTo>
                    <a:pt x="792" y="1536"/>
                  </a:lnTo>
                  <a:lnTo>
                    <a:pt x="816" y="1526"/>
                  </a:lnTo>
                  <a:lnTo>
                    <a:pt x="842" y="1516"/>
                  </a:lnTo>
                  <a:lnTo>
                    <a:pt x="868" y="1504"/>
                  </a:lnTo>
                  <a:lnTo>
                    <a:pt x="892" y="1490"/>
                  </a:lnTo>
                  <a:lnTo>
                    <a:pt x="914" y="1476"/>
                  </a:lnTo>
                  <a:lnTo>
                    <a:pt x="938" y="1462"/>
                  </a:lnTo>
                  <a:lnTo>
                    <a:pt x="960" y="1446"/>
                  </a:lnTo>
                  <a:lnTo>
                    <a:pt x="980" y="1428"/>
                  </a:lnTo>
                  <a:lnTo>
                    <a:pt x="1000" y="1410"/>
                  </a:lnTo>
                  <a:lnTo>
                    <a:pt x="1020" y="1392"/>
                  </a:lnTo>
                  <a:lnTo>
                    <a:pt x="1038" y="1372"/>
                  </a:lnTo>
                  <a:lnTo>
                    <a:pt x="1056" y="1350"/>
                  </a:lnTo>
                  <a:lnTo>
                    <a:pt x="1074" y="1330"/>
                  </a:lnTo>
                  <a:lnTo>
                    <a:pt x="1090" y="1308"/>
                  </a:lnTo>
                  <a:lnTo>
                    <a:pt x="1104" y="1284"/>
                  </a:lnTo>
                  <a:lnTo>
                    <a:pt x="1118" y="1260"/>
                  </a:lnTo>
                  <a:lnTo>
                    <a:pt x="1130" y="1236"/>
                  </a:lnTo>
                  <a:lnTo>
                    <a:pt x="1142" y="1212"/>
                  </a:lnTo>
                  <a:lnTo>
                    <a:pt x="1152" y="1186"/>
                  </a:lnTo>
                  <a:lnTo>
                    <a:pt x="1162" y="1160"/>
                  </a:lnTo>
                  <a:lnTo>
                    <a:pt x="1170" y="1134"/>
                  </a:lnTo>
                  <a:lnTo>
                    <a:pt x="1176" y="1106"/>
                  </a:lnTo>
                  <a:lnTo>
                    <a:pt x="1182" y="1078"/>
                  </a:lnTo>
                  <a:lnTo>
                    <a:pt x="1186" y="1050"/>
                  </a:lnTo>
                  <a:lnTo>
                    <a:pt x="1190" y="1022"/>
                  </a:lnTo>
                  <a:lnTo>
                    <a:pt x="1330" y="1022"/>
                  </a:lnTo>
                  <a:lnTo>
                    <a:pt x="1276" y="1200"/>
                  </a:lnTo>
                  <a:lnTo>
                    <a:pt x="1244" y="1200"/>
                  </a:lnTo>
                  <a:lnTo>
                    <a:pt x="1244" y="1200"/>
                  </a:lnTo>
                  <a:lnTo>
                    <a:pt x="1234" y="1200"/>
                  </a:lnTo>
                  <a:lnTo>
                    <a:pt x="1226" y="1204"/>
                  </a:lnTo>
                  <a:lnTo>
                    <a:pt x="1218" y="1208"/>
                  </a:lnTo>
                  <a:lnTo>
                    <a:pt x="1210" y="1214"/>
                  </a:lnTo>
                  <a:lnTo>
                    <a:pt x="1204" y="1220"/>
                  </a:lnTo>
                  <a:lnTo>
                    <a:pt x="1200" y="1228"/>
                  </a:lnTo>
                  <a:lnTo>
                    <a:pt x="1198" y="1238"/>
                  </a:lnTo>
                  <a:lnTo>
                    <a:pt x="1196" y="1248"/>
                  </a:lnTo>
                  <a:lnTo>
                    <a:pt x="1196" y="1248"/>
                  </a:lnTo>
                  <a:lnTo>
                    <a:pt x="1198" y="1258"/>
                  </a:lnTo>
                  <a:lnTo>
                    <a:pt x="1200" y="1266"/>
                  </a:lnTo>
                  <a:lnTo>
                    <a:pt x="1204" y="1274"/>
                  </a:lnTo>
                  <a:lnTo>
                    <a:pt x="1210" y="1282"/>
                  </a:lnTo>
                  <a:lnTo>
                    <a:pt x="1218" y="1288"/>
                  </a:lnTo>
                  <a:lnTo>
                    <a:pt x="1226" y="1292"/>
                  </a:lnTo>
                  <a:lnTo>
                    <a:pt x="1234" y="1294"/>
                  </a:lnTo>
                  <a:lnTo>
                    <a:pt x="1244" y="1296"/>
                  </a:lnTo>
                  <a:lnTo>
                    <a:pt x="1418" y="1296"/>
                  </a:lnTo>
                  <a:lnTo>
                    <a:pt x="1418" y="1296"/>
                  </a:lnTo>
                  <a:lnTo>
                    <a:pt x="1426" y="1294"/>
                  </a:lnTo>
                  <a:lnTo>
                    <a:pt x="1436" y="1292"/>
                  </a:lnTo>
                  <a:lnTo>
                    <a:pt x="1444" y="1288"/>
                  </a:lnTo>
                  <a:lnTo>
                    <a:pt x="1452" y="1282"/>
                  </a:lnTo>
                  <a:lnTo>
                    <a:pt x="1456" y="1274"/>
                  </a:lnTo>
                  <a:lnTo>
                    <a:pt x="1462" y="1266"/>
                  </a:lnTo>
                  <a:lnTo>
                    <a:pt x="1464" y="1258"/>
                  </a:lnTo>
                  <a:lnTo>
                    <a:pt x="1466" y="1248"/>
                  </a:lnTo>
                  <a:lnTo>
                    <a:pt x="1466" y="1248"/>
                  </a:lnTo>
                  <a:lnTo>
                    <a:pt x="1464" y="1238"/>
                  </a:lnTo>
                  <a:lnTo>
                    <a:pt x="1462" y="1228"/>
                  </a:lnTo>
                  <a:lnTo>
                    <a:pt x="1456" y="1220"/>
                  </a:lnTo>
                  <a:lnTo>
                    <a:pt x="1452" y="1214"/>
                  </a:lnTo>
                  <a:lnTo>
                    <a:pt x="1444" y="1208"/>
                  </a:lnTo>
                  <a:lnTo>
                    <a:pt x="1436" y="1204"/>
                  </a:lnTo>
                  <a:lnTo>
                    <a:pt x="1426" y="1200"/>
                  </a:lnTo>
                  <a:lnTo>
                    <a:pt x="1418" y="1200"/>
                  </a:lnTo>
                  <a:lnTo>
                    <a:pt x="1376" y="1200"/>
                  </a:lnTo>
                  <a:lnTo>
                    <a:pt x="1440" y="994"/>
                  </a:lnTo>
                  <a:lnTo>
                    <a:pt x="1838" y="378"/>
                  </a:lnTo>
                  <a:lnTo>
                    <a:pt x="1886" y="468"/>
                  </a:lnTo>
                  <a:lnTo>
                    <a:pt x="1886" y="468"/>
                  </a:lnTo>
                  <a:lnTo>
                    <a:pt x="1854" y="488"/>
                  </a:lnTo>
                  <a:lnTo>
                    <a:pt x="1824" y="512"/>
                  </a:lnTo>
                  <a:lnTo>
                    <a:pt x="1796" y="536"/>
                  </a:lnTo>
                  <a:lnTo>
                    <a:pt x="1770" y="562"/>
                  </a:lnTo>
                  <a:lnTo>
                    <a:pt x="1746" y="588"/>
                  </a:lnTo>
                  <a:lnTo>
                    <a:pt x="1722" y="618"/>
                  </a:lnTo>
                  <a:lnTo>
                    <a:pt x="1700" y="648"/>
                  </a:lnTo>
                  <a:lnTo>
                    <a:pt x="1682" y="680"/>
                  </a:lnTo>
                  <a:lnTo>
                    <a:pt x="1664" y="714"/>
                  </a:lnTo>
                  <a:lnTo>
                    <a:pt x="1648" y="748"/>
                  </a:lnTo>
                  <a:lnTo>
                    <a:pt x="1636" y="784"/>
                  </a:lnTo>
                  <a:lnTo>
                    <a:pt x="1624" y="820"/>
                  </a:lnTo>
                  <a:lnTo>
                    <a:pt x="1616" y="856"/>
                  </a:lnTo>
                  <a:lnTo>
                    <a:pt x="1610" y="896"/>
                  </a:lnTo>
                  <a:lnTo>
                    <a:pt x="1606" y="934"/>
                  </a:lnTo>
                  <a:lnTo>
                    <a:pt x="1604" y="974"/>
                  </a:lnTo>
                  <a:lnTo>
                    <a:pt x="1604" y="974"/>
                  </a:lnTo>
                  <a:lnTo>
                    <a:pt x="1604" y="1004"/>
                  </a:lnTo>
                  <a:lnTo>
                    <a:pt x="1608" y="1034"/>
                  </a:lnTo>
                  <a:lnTo>
                    <a:pt x="1612" y="1064"/>
                  </a:lnTo>
                  <a:lnTo>
                    <a:pt x="1616" y="1094"/>
                  </a:lnTo>
                  <a:lnTo>
                    <a:pt x="1622" y="1122"/>
                  </a:lnTo>
                  <a:lnTo>
                    <a:pt x="1630" y="1150"/>
                  </a:lnTo>
                  <a:lnTo>
                    <a:pt x="1640" y="1178"/>
                  </a:lnTo>
                  <a:lnTo>
                    <a:pt x="1652" y="1206"/>
                  </a:lnTo>
                  <a:lnTo>
                    <a:pt x="1664" y="1232"/>
                  </a:lnTo>
                  <a:lnTo>
                    <a:pt x="1676" y="1258"/>
                  </a:lnTo>
                  <a:lnTo>
                    <a:pt x="1690" y="1282"/>
                  </a:lnTo>
                  <a:lnTo>
                    <a:pt x="1706" y="1306"/>
                  </a:lnTo>
                  <a:lnTo>
                    <a:pt x="1722" y="1330"/>
                  </a:lnTo>
                  <a:lnTo>
                    <a:pt x="1740" y="1352"/>
                  </a:lnTo>
                  <a:lnTo>
                    <a:pt x="1760" y="1374"/>
                  </a:lnTo>
                  <a:lnTo>
                    <a:pt x="1778" y="1394"/>
                  </a:lnTo>
                  <a:lnTo>
                    <a:pt x="1800" y="1414"/>
                  </a:lnTo>
                  <a:lnTo>
                    <a:pt x="1822" y="1434"/>
                  </a:lnTo>
                  <a:lnTo>
                    <a:pt x="1844" y="1450"/>
                  </a:lnTo>
                  <a:lnTo>
                    <a:pt x="1868" y="1468"/>
                  </a:lnTo>
                  <a:lnTo>
                    <a:pt x="1892" y="1484"/>
                  </a:lnTo>
                  <a:lnTo>
                    <a:pt x="1916" y="1498"/>
                  </a:lnTo>
                  <a:lnTo>
                    <a:pt x="1942" y="1510"/>
                  </a:lnTo>
                  <a:lnTo>
                    <a:pt x="1968" y="1522"/>
                  </a:lnTo>
                  <a:lnTo>
                    <a:pt x="1996" y="1534"/>
                  </a:lnTo>
                  <a:lnTo>
                    <a:pt x="2022" y="1542"/>
                  </a:lnTo>
                  <a:lnTo>
                    <a:pt x="2052" y="1550"/>
                  </a:lnTo>
                  <a:lnTo>
                    <a:pt x="2080" y="1558"/>
                  </a:lnTo>
                  <a:lnTo>
                    <a:pt x="2110" y="1562"/>
                  </a:lnTo>
                  <a:lnTo>
                    <a:pt x="2140" y="1566"/>
                  </a:lnTo>
                  <a:lnTo>
                    <a:pt x="2170" y="1568"/>
                  </a:lnTo>
                  <a:lnTo>
                    <a:pt x="2200" y="1570"/>
                  </a:lnTo>
                  <a:lnTo>
                    <a:pt x="2200" y="1570"/>
                  </a:lnTo>
                  <a:lnTo>
                    <a:pt x="2230" y="1568"/>
                  </a:lnTo>
                  <a:lnTo>
                    <a:pt x="2260" y="1566"/>
                  </a:lnTo>
                  <a:lnTo>
                    <a:pt x="2290" y="1562"/>
                  </a:lnTo>
                  <a:lnTo>
                    <a:pt x="2320" y="1558"/>
                  </a:lnTo>
                  <a:lnTo>
                    <a:pt x="2348" y="1550"/>
                  </a:lnTo>
                  <a:lnTo>
                    <a:pt x="2376" y="1542"/>
                  </a:lnTo>
                  <a:lnTo>
                    <a:pt x="2404" y="1534"/>
                  </a:lnTo>
                  <a:lnTo>
                    <a:pt x="2432" y="1522"/>
                  </a:lnTo>
                  <a:lnTo>
                    <a:pt x="2458" y="1510"/>
                  </a:lnTo>
                  <a:lnTo>
                    <a:pt x="2484" y="1498"/>
                  </a:lnTo>
                  <a:lnTo>
                    <a:pt x="2508" y="1484"/>
                  </a:lnTo>
                  <a:lnTo>
                    <a:pt x="2532" y="1468"/>
                  </a:lnTo>
                  <a:lnTo>
                    <a:pt x="2556" y="1450"/>
                  </a:lnTo>
                  <a:lnTo>
                    <a:pt x="2578" y="1434"/>
                  </a:lnTo>
                  <a:lnTo>
                    <a:pt x="2600" y="1414"/>
                  </a:lnTo>
                  <a:lnTo>
                    <a:pt x="2622" y="1394"/>
                  </a:lnTo>
                  <a:lnTo>
                    <a:pt x="2640" y="1374"/>
                  </a:lnTo>
                  <a:lnTo>
                    <a:pt x="2660" y="1352"/>
                  </a:lnTo>
                  <a:lnTo>
                    <a:pt x="2678" y="1330"/>
                  </a:lnTo>
                  <a:lnTo>
                    <a:pt x="2694" y="1306"/>
                  </a:lnTo>
                  <a:lnTo>
                    <a:pt x="2710" y="1282"/>
                  </a:lnTo>
                  <a:lnTo>
                    <a:pt x="2724" y="1258"/>
                  </a:lnTo>
                  <a:lnTo>
                    <a:pt x="2736" y="1232"/>
                  </a:lnTo>
                  <a:lnTo>
                    <a:pt x="2748" y="1206"/>
                  </a:lnTo>
                  <a:lnTo>
                    <a:pt x="2760" y="1178"/>
                  </a:lnTo>
                  <a:lnTo>
                    <a:pt x="2768" y="1150"/>
                  </a:lnTo>
                  <a:lnTo>
                    <a:pt x="2776" y="1122"/>
                  </a:lnTo>
                  <a:lnTo>
                    <a:pt x="2784" y="1094"/>
                  </a:lnTo>
                  <a:lnTo>
                    <a:pt x="2788" y="1064"/>
                  </a:lnTo>
                  <a:lnTo>
                    <a:pt x="2792" y="1034"/>
                  </a:lnTo>
                  <a:lnTo>
                    <a:pt x="2796" y="1004"/>
                  </a:lnTo>
                  <a:lnTo>
                    <a:pt x="2796" y="974"/>
                  </a:lnTo>
                  <a:lnTo>
                    <a:pt x="2796" y="974"/>
                  </a:lnTo>
                  <a:lnTo>
                    <a:pt x="2796" y="942"/>
                  </a:lnTo>
                  <a:lnTo>
                    <a:pt x="2792" y="912"/>
                  </a:lnTo>
                  <a:lnTo>
                    <a:pt x="2788" y="882"/>
                  </a:lnTo>
                  <a:lnTo>
                    <a:pt x="2784" y="854"/>
                  </a:lnTo>
                  <a:lnTo>
                    <a:pt x="2776" y="824"/>
                  </a:lnTo>
                  <a:lnTo>
                    <a:pt x="2768" y="796"/>
                  </a:lnTo>
                  <a:lnTo>
                    <a:pt x="2760" y="768"/>
                  </a:lnTo>
                  <a:lnTo>
                    <a:pt x="2748" y="742"/>
                  </a:lnTo>
                  <a:lnTo>
                    <a:pt x="2736" y="716"/>
                  </a:lnTo>
                  <a:lnTo>
                    <a:pt x="2724" y="690"/>
                  </a:lnTo>
                  <a:lnTo>
                    <a:pt x="2710" y="664"/>
                  </a:lnTo>
                  <a:lnTo>
                    <a:pt x="2694" y="640"/>
                  </a:lnTo>
                  <a:lnTo>
                    <a:pt x="2678" y="618"/>
                  </a:lnTo>
                  <a:lnTo>
                    <a:pt x="2660" y="594"/>
                  </a:lnTo>
                  <a:lnTo>
                    <a:pt x="2640" y="574"/>
                  </a:lnTo>
                  <a:lnTo>
                    <a:pt x="2622" y="552"/>
                  </a:lnTo>
                  <a:lnTo>
                    <a:pt x="2600" y="532"/>
                  </a:lnTo>
                  <a:lnTo>
                    <a:pt x="2578" y="514"/>
                  </a:lnTo>
                  <a:lnTo>
                    <a:pt x="2556" y="496"/>
                  </a:lnTo>
                  <a:lnTo>
                    <a:pt x="2532" y="480"/>
                  </a:lnTo>
                  <a:lnTo>
                    <a:pt x="2508" y="464"/>
                  </a:lnTo>
                  <a:lnTo>
                    <a:pt x="2484" y="450"/>
                  </a:lnTo>
                  <a:lnTo>
                    <a:pt x="2458" y="436"/>
                  </a:lnTo>
                  <a:lnTo>
                    <a:pt x="2432" y="424"/>
                  </a:lnTo>
                  <a:lnTo>
                    <a:pt x="2404" y="414"/>
                  </a:lnTo>
                  <a:lnTo>
                    <a:pt x="2376" y="404"/>
                  </a:lnTo>
                  <a:lnTo>
                    <a:pt x="2348" y="396"/>
                  </a:lnTo>
                  <a:lnTo>
                    <a:pt x="2320" y="390"/>
                  </a:lnTo>
                  <a:lnTo>
                    <a:pt x="2290" y="384"/>
                  </a:lnTo>
                  <a:lnTo>
                    <a:pt x="2260" y="380"/>
                  </a:lnTo>
                  <a:lnTo>
                    <a:pt x="2230" y="378"/>
                  </a:lnTo>
                  <a:lnTo>
                    <a:pt x="2200" y="378"/>
                  </a:lnTo>
                  <a:lnTo>
                    <a:pt x="2200" y="378"/>
                  </a:lnTo>
                  <a:close/>
                  <a:moveTo>
                    <a:pt x="596" y="1474"/>
                  </a:moveTo>
                  <a:lnTo>
                    <a:pt x="596" y="1474"/>
                  </a:lnTo>
                  <a:lnTo>
                    <a:pt x="570" y="1472"/>
                  </a:lnTo>
                  <a:lnTo>
                    <a:pt x="544" y="1470"/>
                  </a:lnTo>
                  <a:lnTo>
                    <a:pt x="520" y="1468"/>
                  </a:lnTo>
                  <a:lnTo>
                    <a:pt x="496" y="1464"/>
                  </a:lnTo>
                  <a:lnTo>
                    <a:pt x="472" y="1458"/>
                  </a:lnTo>
                  <a:lnTo>
                    <a:pt x="448" y="1450"/>
                  </a:lnTo>
                  <a:lnTo>
                    <a:pt x="424" y="1444"/>
                  </a:lnTo>
                  <a:lnTo>
                    <a:pt x="402" y="1434"/>
                  </a:lnTo>
                  <a:lnTo>
                    <a:pt x="358" y="1412"/>
                  </a:lnTo>
                  <a:lnTo>
                    <a:pt x="316" y="1388"/>
                  </a:lnTo>
                  <a:lnTo>
                    <a:pt x="278" y="1360"/>
                  </a:lnTo>
                  <a:lnTo>
                    <a:pt x="242" y="1326"/>
                  </a:lnTo>
                  <a:lnTo>
                    <a:pt x="210" y="1292"/>
                  </a:lnTo>
                  <a:lnTo>
                    <a:pt x="182" y="1252"/>
                  </a:lnTo>
                  <a:lnTo>
                    <a:pt x="156" y="1212"/>
                  </a:lnTo>
                  <a:lnTo>
                    <a:pt x="136" y="1168"/>
                  </a:lnTo>
                  <a:lnTo>
                    <a:pt x="126" y="1146"/>
                  </a:lnTo>
                  <a:lnTo>
                    <a:pt x="118" y="1122"/>
                  </a:lnTo>
                  <a:lnTo>
                    <a:pt x="112" y="1098"/>
                  </a:lnTo>
                  <a:lnTo>
                    <a:pt x="106" y="1074"/>
                  </a:lnTo>
                  <a:lnTo>
                    <a:pt x="102" y="1050"/>
                  </a:lnTo>
                  <a:lnTo>
                    <a:pt x="98" y="1024"/>
                  </a:lnTo>
                  <a:lnTo>
                    <a:pt x="96" y="1000"/>
                  </a:lnTo>
                  <a:lnTo>
                    <a:pt x="96" y="974"/>
                  </a:lnTo>
                  <a:lnTo>
                    <a:pt x="96" y="974"/>
                  </a:lnTo>
                  <a:lnTo>
                    <a:pt x="96" y="948"/>
                  </a:lnTo>
                  <a:lnTo>
                    <a:pt x="98" y="922"/>
                  </a:lnTo>
                  <a:lnTo>
                    <a:pt x="102" y="898"/>
                  </a:lnTo>
                  <a:lnTo>
                    <a:pt x="106" y="874"/>
                  </a:lnTo>
                  <a:lnTo>
                    <a:pt x="112" y="848"/>
                  </a:lnTo>
                  <a:lnTo>
                    <a:pt x="118" y="826"/>
                  </a:lnTo>
                  <a:lnTo>
                    <a:pt x="126" y="802"/>
                  </a:lnTo>
                  <a:lnTo>
                    <a:pt x="136" y="780"/>
                  </a:lnTo>
                  <a:lnTo>
                    <a:pt x="156" y="736"/>
                  </a:lnTo>
                  <a:lnTo>
                    <a:pt x="182" y="694"/>
                  </a:lnTo>
                  <a:lnTo>
                    <a:pt x="210" y="656"/>
                  </a:lnTo>
                  <a:lnTo>
                    <a:pt x="242" y="620"/>
                  </a:lnTo>
                  <a:lnTo>
                    <a:pt x="278" y="588"/>
                  </a:lnTo>
                  <a:lnTo>
                    <a:pt x="316" y="560"/>
                  </a:lnTo>
                  <a:lnTo>
                    <a:pt x="358" y="534"/>
                  </a:lnTo>
                  <a:lnTo>
                    <a:pt x="402" y="514"/>
                  </a:lnTo>
                  <a:lnTo>
                    <a:pt x="424" y="504"/>
                  </a:lnTo>
                  <a:lnTo>
                    <a:pt x="448" y="496"/>
                  </a:lnTo>
                  <a:lnTo>
                    <a:pt x="472" y="490"/>
                  </a:lnTo>
                  <a:lnTo>
                    <a:pt x="496" y="484"/>
                  </a:lnTo>
                  <a:lnTo>
                    <a:pt x="520" y="480"/>
                  </a:lnTo>
                  <a:lnTo>
                    <a:pt x="544" y="476"/>
                  </a:lnTo>
                  <a:lnTo>
                    <a:pt x="570" y="474"/>
                  </a:lnTo>
                  <a:lnTo>
                    <a:pt x="596" y="474"/>
                  </a:lnTo>
                  <a:lnTo>
                    <a:pt x="596" y="474"/>
                  </a:lnTo>
                  <a:lnTo>
                    <a:pt x="626" y="474"/>
                  </a:lnTo>
                  <a:lnTo>
                    <a:pt x="656" y="478"/>
                  </a:lnTo>
                  <a:lnTo>
                    <a:pt x="686" y="482"/>
                  </a:lnTo>
                  <a:lnTo>
                    <a:pt x="716" y="488"/>
                  </a:lnTo>
                  <a:lnTo>
                    <a:pt x="744" y="496"/>
                  </a:lnTo>
                  <a:lnTo>
                    <a:pt x="772" y="506"/>
                  </a:lnTo>
                  <a:lnTo>
                    <a:pt x="798" y="518"/>
                  </a:lnTo>
                  <a:lnTo>
                    <a:pt x="826" y="530"/>
                  </a:lnTo>
                  <a:lnTo>
                    <a:pt x="556" y="948"/>
                  </a:lnTo>
                  <a:lnTo>
                    <a:pt x="556" y="948"/>
                  </a:lnTo>
                  <a:lnTo>
                    <a:pt x="550" y="960"/>
                  </a:lnTo>
                  <a:lnTo>
                    <a:pt x="548" y="972"/>
                  </a:lnTo>
                  <a:lnTo>
                    <a:pt x="550" y="984"/>
                  </a:lnTo>
                  <a:lnTo>
                    <a:pt x="554" y="996"/>
                  </a:lnTo>
                  <a:lnTo>
                    <a:pt x="554" y="996"/>
                  </a:lnTo>
                  <a:lnTo>
                    <a:pt x="562" y="1006"/>
                  </a:lnTo>
                  <a:lnTo>
                    <a:pt x="572" y="1014"/>
                  </a:lnTo>
                  <a:lnTo>
                    <a:pt x="582" y="1020"/>
                  </a:lnTo>
                  <a:lnTo>
                    <a:pt x="596" y="1022"/>
                  </a:lnTo>
                  <a:lnTo>
                    <a:pt x="1094" y="1022"/>
                  </a:lnTo>
                  <a:lnTo>
                    <a:pt x="1094" y="1022"/>
                  </a:lnTo>
                  <a:lnTo>
                    <a:pt x="1086" y="1068"/>
                  </a:lnTo>
                  <a:lnTo>
                    <a:pt x="1076" y="1114"/>
                  </a:lnTo>
                  <a:lnTo>
                    <a:pt x="1060" y="1158"/>
                  </a:lnTo>
                  <a:lnTo>
                    <a:pt x="1042" y="1198"/>
                  </a:lnTo>
                  <a:lnTo>
                    <a:pt x="1020" y="1238"/>
                  </a:lnTo>
                  <a:lnTo>
                    <a:pt x="994" y="1276"/>
                  </a:lnTo>
                  <a:lnTo>
                    <a:pt x="964" y="1310"/>
                  </a:lnTo>
                  <a:lnTo>
                    <a:pt x="932" y="1342"/>
                  </a:lnTo>
                  <a:lnTo>
                    <a:pt x="898" y="1372"/>
                  </a:lnTo>
                  <a:lnTo>
                    <a:pt x="860" y="1398"/>
                  </a:lnTo>
                  <a:lnTo>
                    <a:pt x="822" y="1420"/>
                  </a:lnTo>
                  <a:lnTo>
                    <a:pt x="780" y="1438"/>
                  </a:lnTo>
                  <a:lnTo>
                    <a:pt x="736" y="1454"/>
                  </a:lnTo>
                  <a:lnTo>
                    <a:pt x="690" y="1464"/>
                  </a:lnTo>
                  <a:lnTo>
                    <a:pt x="644" y="1472"/>
                  </a:lnTo>
                  <a:lnTo>
                    <a:pt x="596" y="1474"/>
                  </a:lnTo>
                  <a:lnTo>
                    <a:pt x="596" y="1474"/>
                  </a:lnTo>
                  <a:close/>
                  <a:moveTo>
                    <a:pt x="684" y="926"/>
                  </a:moveTo>
                  <a:lnTo>
                    <a:pt x="906" y="582"/>
                  </a:lnTo>
                  <a:lnTo>
                    <a:pt x="906" y="582"/>
                  </a:lnTo>
                  <a:lnTo>
                    <a:pt x="924" y="598"/>
                  </a:lnTo>
                  <a:lnTo>
                    <a:pt x="944" y="614"/>
                  </a:lnTo>
                  <a:lnTo>
                    <a:pt x="960" y="632"/>
                  </a:lnTo>
                  <a:lnTo>
                    <a:pt x="976" y="650"/>
                  </a:lnTo>
                  <a:lnTo>
                    <a:pt x="992" y="670"/>
                  </a:lnTo>
                  <a:lnTo>
                    <a:pt x="1008" y="690"/>
                  </a:lnTo>
                  <a:lnTo>
                    <a:pt x="1020" y="712"/>
                  </a:lnTo>
                  <a:lnTo>
                    <a:pt x="1034" y="732"/>
                  </a:lnTo>
                  <a:lnTo>
                    <a:pt x="1044" y="754"/>
                  </a:lnTo>
                  <a:lnTo>
                    <a:pt x="1056" y="778"/>
                  </a:lnTo>
                  <a:lnTo>
                    <a:pt x="1064" y="800"/>
                  </a:lnTo>
                  <a:lnTo>
                    <a:pt x="1072" y="824"/>
                  </a:lnTo>
                  <a:lnTo>
                    <a:pt x="1080" y="850"/>
                  </a:lnTo>
                  <a:lnTo>
                    <a:pt x="1086" y="874"/>
                  </a:lnTo>
                  <a:lnTo>
                    <a:pt x="1090" y="900"/>
                  </a:lnTo>
                  <a:lnTo>
                    <a:pt x="1094" y="926"/>
                  </a:lnTo>
                  <a:lnTo>
                    <a:pt x="684" y="926"/>
                  </a:lnTo>
                  <a:close/>
                  <a:moveTo>
                    <a:pt x="1190" y="926"/>
                  </a:moveTo>
                  <a:lnTo>
                    <a:pt x="1190" y="926"/>
                  </a:lnTo>
                  <a:lnTo>
                    <a:pt x="1186" y="894"/>
                  </a:lnTo>
                  <a:lnTo>
                    <a:pt x="1182" y="862"/>
                  </a:lnTo>
                  <a:lnTo>
                    <a:pt x="1174" y="830"/>
                  </a:lnTo>
                  <a:lnTo>
                    <a:pt x="1166" y="800"/>
                  </a:lnTo>
                  <a:lnTo>
                    <a:pt x="1156" y="770"/>
                  </a:lnTo>
                  <a:lnTo>
                    <a:pt x="1144" y="742"/>
                  </a:lnTo>
                  <a:lnTo>
                    <a:pt x="1132" y="714"/>
                  </a:lnTo>
                  <a:lnTo>
                    <a:pt x="1118" y="686"/>
                  </a:lnTo>
                  <a:lnTo>
                    <a:pt x="1102" y="660"/>
                  </a:lnTo>
                  <a:lnTo>
                    <a:pt x="1084" y="634"/>
                  </a:lnTo>
                  <a:lnTo>
                    <a:pt x="1066" y="608"/>
                  </a:lnTo>
                  <a:lnTo>
                    <a:pt x="1048" y="586"/>
                  </a:lnTo>
                  <a:lnTo>
                    <a:pt x="1026" y="562"/>
                  </a:lnTo>
                  <a:lnTo>
                    <a:pt x="1004" y="540"/>
                  </a:lnTo>
                  <a:lnTo>
                    <a:pt x="982" y="520"/>
                  </a:lnTo>
                  <a:lnTo>
                    <a:pt x="958" y="500"/>
                  </a:lnTo>
                  <a:lnTo>
                    <a:pt x="1038" y="378"/>
                  </a:lnTo>
                  <a:lnTo>
                    <a:pt x="1318" y="926"/>
                  </a:lnTo>
                  <a:lnTo>
                    <a:pt x="1190" y="926"/>
                  </a:lnTo>
                  <a:close/>
                  <a:moveTo>
                    <a:pt x="1400" y="878"/>
                  </a:moveTo>
                  <a:lnTo>
                    <a:pt x="1120" y="328"/>
                  </a:lnTo>
                  <a:lnTo>
                    <a:pt x="1756" y="328"/>
                  </a:lnTo>
                  <a:lnTo>
                    <a:pt x="1400" y="878"/>
                  </a:lnTo>
                  <a:close/>
                  <a:moveTo>
                    <a:pt x="2200" y="1474"/>
                  </a:moveTo>
                  <a:lnTo>
                    <a:pt x="2200" y="1474"/>
                  </a:lnTo>
                  <a:lnTo>
                    <a:pt x="2174" y="1472"/>
                  </a:lnTo>
                  <a:lnTo>
                    <a:pt x="2148" y="1470"/>
                  </a:lnTo>
                  <a:lnTo>
                    <a:pt x="2124" y="1468"/>
                  </a:lnTo>
                  <a:lnTo>
                    <a:pt x="2100" y="1464"/>
                  </a:lnTo>
                  <a:lnTo>
                    <a:pt x="2076" y="1458"/>
                  </a:lnTo>
                  <a:lnTo>
                    <a:pt x="2052" y="1450"/>
                  </a:lnTo>
                  <a:lnTo>
                    <a:pt x="2028" y="1444"/>
                  </a:lnTo>
                  <a:lnTo>
                    <a:pt x="2006" y="1434"/>
                  </a:lnTo>
                  <a:lnTo>
                    <a:pt x="1962" y="1412"/>
                  </a:lnTo>
                  <a:lnTo>
                    <a:pt x="1920" y="1388"/>
                  </a:lnTo>
                  <a:lnTo>
                    <a:pt x="1882" y="1360"/>
                  </a:lnTo>
                  <a:lnTo>
                    <a:pt x="1846" y="1326"/>
                  </a:lnTo>
                  <a:lnTo>
                    <a:pt x="1814" y="1292"/>
                  </a:lnTo>
                  <a:lnTo>
                    <a:pt x="1786" y="1252"/>
                  </a:lnTo>
                  <a:lnTo>
                    <a:pt x="1760" y="1212"/>
                  </a:lnTo>
                  <a:lnTo>
                    <a:pt x="1740" y="1168"/>
                  </a:lnTo>
                  <a:lnTo>
                    <a:pt x="1730" y="1146"/>
                  </a:lnTo>
                  <a:lnTo>
                    <a:pt x="1722" y="1122"/>
                  </a:lnTo>
                  <a:lnTo>
                    <a:pt x="1716" y="1098"/>
                  </a:lnTo>
                  <a:lnTo>
                    <a:pt x="1710" y="1074"/>
                  </a:lnTo>
                  <a:lnTo>
                    <a:pt x="1706" y="1050"/>
                  </a:lnTo>
                  <a:lnTo>
                    <a:pt x="1702" y="1024"/>
                  </a:lnTo>
                  <a:lnTo>
                    <a:pt x="1700" y="1000"/>
                  </a:lnTo>
                  <a:lnTo>
                    <a:pt x="1700" y="974"/>
                  </a:lnTo>
                  <a:lnTo>
                    <a:pt x="1700" y="974"/>
                  </a:lnTo>
                  <a:lnTo>
                    <a:pt x="1702" y="940"/>
                  </a:lnTo>
                  <a:lnTo>
                    <a:pt x="1704" y="908"/>
                  </a:lnTo>
                  <a:lnTo>
                    <a:pt x="1710" y="878"/>
                  </a:lnTo>
                  <a:lnTo>
                    <a:pt x="1716" y="846"/>
                  </a:lnTo>
                  <a:lnTo>
                    <a:pt x="1726" y="816"/>
                  </a:lnTo>
                  <a:lnTo>
                    <a:pt x="1736" y="786"/>
                  </a:lnTo>
                  <a:lnTo>
                    <a:pt x="1748" y="758"/>
                  </a:lnTo>
                  <a:lnTo>
                    <a:pt x="1764" y="732"/>
                  </a:lnTo>
                  <a:lnTo>
                    <a:pt x="1778" y="704"/>
                  </a:lnTo>
                  <a:lnTo>
                    <a:pt x="1796" y="680"/>
                  </a:lnTo>
                  <a:lnTo>
                    <a:pt x="1816" y="656"/>
                  </a:lnTo>
                  <a:lnTo>
                    <a:pt x="1836" y="632"/>
                  </a:lnTo>
                  <a:lnTo>
                    <a:pt x="1858" y="610"/>
                  </a:lnTo>
                  <a:lnTo>
                    <a:pt x="1880" y="590"/>
                  </a:lnTo>
                  <a:lnTo>
                    <a:pt x="1904" y="572"/>
                  </a:lnTo>
                  <a:lnTo>
                    <a:pt x="1930" y="554"/>
                  </a:lnTo>
                  <a:lnTo>
                    <a:pt x="2158" y="996"/>
                  </a:lnTo>
                  <a:lnTo>
                    <a:pt x="2158" y="996"/>
                  </a:lnTo>
                  <a:lnTo>
                    <a:pt x="2166" y="1006"/>
                  </a:lnTo>
                  <a:lnTo>
                    <a:pt x="2176" y="1014"/>
                  </a:lnTo>
                  <a:lnTo>
                    <a:pt x="2188" y="1020"/>
                  </a:lnTo>
                  <a:lnTo>
                    <a:pt x="2200" y="1022"/>
                  </a:lnTo>
                  <a:lnTo>
                    <a:pt x="2200" y="1022"/>
                  </a:lnTo>
                  <a:lnTo>
                    <a:pt x="2212" y="1020"/>
                  </a:lnTo>
                  <a:lnTo>
                    <a:pt x="2222" y="1016"/>
                  </a:lnTo>
                  <a:lnTo>
                    <a:pt x="2222" y="1016"/>
                  </a:lnTo>
                  <a:lnTo>
                    <a:pt x="2230" y="1010"/>
                  </a:lnTo>
                  <a:lnTo>
                    <a:pt x="2236" y="1004"/>
                  </a:lnTo>
                  <a:lnTo>
                    <a:pt x="2242" y="996"/>
                  </a:lnTo>
                  <a:lnTo>
                    <a:pt x="2246" y="988"/>
                  </a:lnTo>
                  <a:lnTo>
                    <a:pt x="2248" y="980"/>
                  </a:lnTo>
                  <a:lnTo>
                    <a:pt x="2248" y="970"/>
                  </a:lnTo>
                  <a:lnTo>
                    <a:pt x="2246" y="960"/>
                  </a:lnTo>
                  <a:lnTo>
                    <a:pt x="2242" y="952"/>
                  </a:lnTo>
                  <a:lnTo>
                    <a:pt x="2014" y="510"/>
                  </a:lnTo>
                  <a:lnTo>
                    <a:pt x="2014" y="510"/>
                  </a:lnTo>
                  <a:lnTo>
                    <a:pt x="2058" y="494"/>
                  </a:lnTo>
                  <a:lnTo>
                    <a:pt x="2104" y="484"/>
                  </a:lnTo>
                  <a:lnTo>
                    <a:pt x="2152" y="476"/>
                  </a:lnTo>
                  <a:lnTo>
                    <a:pt x="2200" y="474"/>
                  </a:lnTo>
                  <a:lnTo>
                    <a:pt x="2200" y="474"/>
                  </a:lnTo>
                  <a:lnTo>
                    <a:pt x="2226" y="474"/>
                  </a:lnTo>
                  <a:lnTo>
                    <a:pt x="2250" y="476"/>
                  </a:lnTo>
                  <a:lnTo>
                    <a:pt x="2276" y="480"/>
                  </a:lnTo>
                  <a:lnTo>
                    <a:pt x="2300" y="484"/>
                  </a:lnTo>
                  <a:lnTo>
                    <a:pt x="2324" y="490"/>
                  </a:lnTo>
                  <a:lnTo>
                    <a:pt x="2348" y="496"/>
                  </a:lnTo>
                  <a:lnTo>
                    <a:pt x="2372" y="504"/>
                  </a:lnTo>
                  <a:lnTo>
                    <a:pt x="2394" y="514"/>
                  </a:lnTo>
                  <a:lnTo>
                    <a:pt x="2438" y="534"/>
                  </a:lnTo>
                  <a:lnTo>
                    <a:pt x="2480" y="560"/>
                  </a:lnTo>
                  <a:lnTo>
                    <a:pt x="2518" y="588"/>
                  </a:lnTo>
                  <a:lnTo>
                    <a:pt x="2554" y="620"/>
                  </a:lnTo>
                  <a:lnTo>
                    <a:pt x="2586" y="656"/>
                  </a:lnTo>
                  <a:lnTo>
                    <a:pt x="2614" y="694"/>
                  </a:lnTo>
                  <a:lnTo>
                    <a:pt x="2640" y="736"/>
                  </a:lnTo>
                  <a:lnTo>
                    <a:pt x="2660" y="780"/>
                  </a:lnTo>
                  <a:lnTo>
                    <a:pt x="2670" y="802"/>
                  </a:lnTo>
                  <a:lnTo>
                    <a:pt x="2678" y="826"/>
                  </a:lnTo>
                  <a:lnTo>
                    <a:pt x="2684" y="848"/>
                  </a:lnTo>
                  <a:lnTo>
                    <a:pt x="2690" y="874"/>
                  </a:lnTo>
                  <a:lnTo>
                    <a:pt x="2694" y="898"/>
                  </a:lnTo>
                  <a:lnTo>
                    <a:pt x="2698" y="922"/>
                  </a:lnTo>
                  <a:lnTo>
                    <a:pt x="2700" y="948"/>
                  </a:lnTo>
                  <a:lnTo>
                    <a:pt x="2700" y="974"/>
                  </a:lnTo>
                  <a:lnTo>
                    <a:pt x="2700" y="974"/>
                  </a:lnTo>
                  <a:lnTo>
                    <a:pt x="2700" y="1000"/>
                  </a:lnTo>
                  <a:lnTo>
                    <a:pt x="2698" y="1024"/>
                  </a:lnTo>
                  <a:lnTo>
                    <a:pt x="2694" y="1050"/>
                  </a:lnTo>
                  <a:lnTo>
                    <a:pt x="2690" y="1074"/>
                  </a:lnTo>
                  <a:lnTo>
                    <a:pt x="2684" y="1098"/>
                  </a:lnTo>
                  <a:lnTo>
                    <a:pt x="2678" y="1122"/>
                  </a:lnTo>
                  <a:lnTo>
                    <a:pt x="2670" y="1146"/>
                  </a:lnTo>
                  <a:lnTo>
                    <a:pt x="2660" y="1168"/>
                  </a:lnTo>
                  <a:lnTo>
                    <a:pt x="2640" y="1212"/>
                  </a:lnTo>
                  <a:lnTo>
                    <a:pt x="2614" y="1252"/>
                  </a:lnTo>
                  <a:lnTo>
                    <a:pt x="2586" y="1292"/>
                  </a:lnTo>
                  <a:lnTo>
                    <a:pt x="2554" y="1326"/>
                  </a:lnTo>
                  <a:lnTo>
                    <a:pt x="2518" y="1360"/>
                  </a:lnTo>
                  <a:lnTo>
                    <a:pt x="2480" y="1388"/>
                  </a:lnTo>
                  <a:lnTo>
                    <a:pt x="2438" y="1412"/>
                  </a:lnTo>
                  <a:lnTo>
                    <a:pt x="2394" y="1434"/>
                  </a:lnTo>
                  <a:lnTo>
                    <a:pt x="2372" y="1444"/>
                  </a:lnTo>
                  <a:lnTo>
                    <a:pt x="2348" y="1450"/>
                  </a:lnTo>
                  <a:lnTo>
                    <a:pt x="2324" y="1458"/>
                  </a:lnTo>
                  <a:lnTo>
                    <a:pt x="2300" y="1464"/>
                  </a:lnTo>
                  <a:lnTo>
                    <a:pt x="2276" y="1468"/>
                  </a:lnTo>
                  <a:lnTo>
                    <a:pt x="2250" y="1470"/>
                  </a:lnTo>
                  <a:lnTo>
                    <a:pt x="2226" y="1472"/>
                  </a:lnTo>
                  <a:lnTo>
                    <a:pt x="2200" y="1474"/>
                  </a:lnTo>
                  <a:lnTo>
                    <a:pt x="2200" y="147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78" name="Rectangle 77"/>
          <p:cNvSpPr/>
          <p:nvPr/>
        </p:nvSpPr>
        <p:spPr>
          <a:xfrm>
            <a:off x="1403350" y="3261596"/>
            <a:ext cx="457200" cy="41569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8" name="Group 145"/>
          <p:cNvGrpSpPr/>
          <p:nvPr/>
        </p:nvGrpSpPr>
        <p:grpSpPr>
          <a:xfrm>
            <a:off x="6917844" y="2558430"/>
            <a:ext cx="1949931" cy="1477325"/>
            <a:chOff x="6917843" y="2346763"/>
            <a:chExt cx="1949931" cy="1477325"/>
          </a:xfrm>
        </p:grpSpPr>
        <p:pic>
          <p:nvPicPr>
            <p:cNvPr id="57" name="Picture 56"/>
            <p:cNvPicPr>
              <a:picLocks noChangeAspect="1"/>
            </p:cNvPicPr>
            <p:nvPr/>
          </p:nvPicPr>
          <p:blipFill>
            <a:blip r:embed="rId7" cstate="print"/>
            <a:stretch>
              <a:fillRect/>
            </a:stretch>
          </p:blipFill>
          <p:spPr>
            <a:xfrm>
              <a:off x="6917843" y="2346763"/>
              <a:ext cx="1949931" cy="1477325"/>
            </a:xfrm>
            <a:prstGeom prst="rect">
              <a:avLst/>
            </a:prstGeom>
            <a:ln>
              <a:solidFill>
                <a:schemeClr val="bg1">
                  <a:lumMod val="85000"/>
                </a:schemeClr>
              </a:solidFill>
            </a:ln>
          </p:spPr>
        </p:pic>
        <p:pic>
          <p:nvPicPr>
            <p:cNvPr id="55344" name="Picture 48" descr="Y:\Training\Cisco Templates\2010_Updated Templates\New Cisco Brand\Kubrik Icons\256 Pixel Size\Smartphone_256.png"/>
            <p:cNvPicPr>
              <a:picLocks noChangeAspect="1" noChangeArrowheads="1"/>
            </p:cNvPicPr>
            <p:nvPr/>
          </p:nvPicPr>
          <p:blipFill>
            <a:blip r:embed="rId8" cstate="print"/>
            <a:srcRect l="22721" r="23633"/>
            <a:stretch>
              <a:fillRect/>
            </a:stretch>
          </p:blipFill>
          <p:spPr bwMode="auto">
            <a:xfrm>
              <a:off x="7704602" y="2416175"/>
              <a:ext cx="634038" cy="1189037"/>
            </a:xfrm>
            <a:prstGeom prst="rect">
              <a:avLst/>
            </a:prstGeom>
            <a:noFill/>
            <a:ln>
              <a:noFill/>
            </a:ln>
          </p:spPr>
        </p:pic>
        <p:pic>
          <p:nvPicPr>
            <p:cNvPr id="143" name="Picture 142"/>
            <p:cNvPicPr>
              <a:picLocks noChangeAspect="1"/>
            </p:cNvPicPr>
            <p:nvPr/>
          </p:nvPicPr>
          <p:blipFill>
            <a:blip r:embed="rId9" cstate="print"/>
            <a:srcRect l="43475" t="14937" r="32101" b="23812"/>
            <a:stretch>
              <a:fillRect/>
            </a:stretch>
          </p:blipFill>
          <p:spPr>
            <a:xfrm>
              <a:off x="7760495" y="2607470"/>
              <a:ext cx="535781" cy="840581"/>
            </a:xfrm>
            <a:prstGeom prst="rect">
              <a:avLst/>
            </a:prstGeom>
          </p:spPr>
        </p:pic>
        <p:pic>
          <p:nvPicPr>
            <p:cNvPr id="144" name="Picture 48" descr="Y:\Training\Cisco Templates\2010_Updated Templates\New Cisco Brand\Kubrik Icons\256 Pixel Size\Smartphone_256.png"/>
            <p:cNvPicPr>
              <a:picLocks noChangeAspect="1" noChangeArrowheads="1"/>
            </p:cNvPicPr>
            <p:nvPr/>
          </p:nvPicPr>
          <p:blipFill>
            <a:blip r:embed="rId8" cstate="print"/>
            <a:srcRect l="22721" r="23633"/>
            <a:stretch>
              <a:fillRect/>
            </a:stretch>
          </p:blipFill>
          <p:spPr bwMode="auto">
            <a:xfrm>
              <a:off x="8092743" y="2470943"/>
              <a:ext cx="648089" cy="1208087"/>
            </a:xfrm>
            <a:prstGeom prst="rect">
              <a:avLst/>
            </a:prstGeom>
            <a:noFill/>
            <a:ln>
              <a:noFill/>
            </a:ln>
          </p:spPr>
        </p:pic>
        <p:pic>
          <p:nvPicPr>
            <p:cNvPr id="145" name="Picture 144"/>
            <p:cNvPicPr>
              <a:picLocks noChangeAspect="1"/>
            </p:cNvPicPr>
            <p:nvPr/>
          </p:nvPicPr>
          <p:blipFill>
            <a:blip r:embed="rId10" cstate="print"/>
            <a:srcRect l="64316" t="19450" r="9550" b="19622"/>
            <a:stretch>
              <a:fillRect/>
            </a:stretch>
          </p:blipFill>
          <p:spPr>
            <a:xfrm>
              <a:off x="8148639" y="2656673"/>
              <a:ext cx="554830" cy="829477"/>
            </a:xfrm>
            <a:prstGeom prst="rect">
              <a:avLst/>
            </a:prstGeom>
          </p:spPr>
        </p:pic>
      </p:grpSp>
      <p:sp>
        <p:nvSpPr>
          <p:cNvPr id="75" name="Freeform 6"/>
          <p:cNvSpPr>
            <a:spLocks/>
          </p:cNvSpPr>
          <p:nvPr/>
        </p:nvSpPr>
        <p:spPr bwMode="auto">
          <a:xfrm>
            <a:off x="2488392" y="2248721"/>
            <a:ext cx="4273748" cy="2445884"/>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en-US">
              <a:latin typeface="+mj-lt"/>
            </a:endParaRPr>
          </a:p>
        </p:txBody>
      </p:sp>
      <p:grpSp>
        <p:nvGrpSpPr>
          <p:cNvPr id="9" name="Group 76"/>
          <p:cNvGrpSpPr/>
          <p:nvPr/>
        </p:nvGrpSpPr>
        <p:grpSpPr>
          <a:xfrm>
            <a:off x="2901636" y="3490101"/>
            <a:ext cx="3447261" cy="988765"/>
            <a:chOff x="2813838" y="2999034"/>
            <a:chExt cx="3447261" cy="988765"/>
          </a:xfrm>
        </p:grpSpPr>
        <p:sp>
          <p:nvSpPr>
            <p:cNvPr id="79" name="Rounded Rectangle 78"/>
            <p:cNvSpPr/>
            <p:nvPr/>
          </p:nvSpPr>
          <p:spPr>
            <a:xfrm>
              <a:off x="2867459"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acket Core</a:t>
              </a:r>
            </a:p>
          </p:txBody>
        </p:sp>
        <p:sp>
          <p:nvSpPr>
            <p:cNvPr id="80" name="Rounded Rectangle 79"/>
            <p:cNvSpPr/>
            <p:nvPr/>
          </p:nvSpPr>
          <p:spPr>
            <a:xfrm>
              <a:off x="400404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228600" rtlCol="0" anchor="ctr"/>
            <a:lstStyle/>
            <a:p>
              <a:pPr algn="ctr"/>
              <a:r>
                <a:rPr lang="en-US" sz="900" b="1" dirty="0" smtClean="0">
                  <a:latin typeface="+mj-lt"/>
                </a:rPr>
                <a:t>Ultra Policy Platform</a:t>
              </a:r>
            </a:p>
          </p:txBody>
        </p:sp>
        <p:sp>
          <p:nvSpPr>
            <p:cNvPr id="81" name="Rounded Rectangle 80"/>
            <p:cNvSpPr/>
            <p:nvPr/>
          </p:nvSpPr>
          <p:spPr>
            <a:xfrm>
              <a:off x="5140620" y="3347981"/>
              <a:ext cx="1067639" cy="568158"/>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smtClean="0">
                  <a:latin typeface="+mj-lt"/>
                </a:rPr>
                <a:t>Ultra Services Framework</a:t>
              </a:r>
            </a:p>
          </p:txBody>
        </p:sp>
        <p:sp>
          <p:nvSpPr>
            <p:cNvPr id="82" name="Rounded Rectangle 81"/>
            <p:cNvSpPr/>
            <p:nvPr/>
          </p:nvSpPr>
          <p:spPr>
            <a:xfrm>
              <a:off x="2813838" y="2999034"/>
              <a:ext cx="3447261" cy="988765"/>
            </a:xfrm>
            <a:prstGeom prst="roundRect">
              <a:avLst/>
            </a:prstGeom>
            <a:no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3" name="Rectangle 82"/>
            <p:cNvSpPr/>
            <p:nvPr/>
          </p:nvSpPr>
          <p:spPr>
            <a:xfrm>
              <a:off x="3763219" y="3082015"/>
              <a:ext cx="1548501" cy="169277"/>
            </a:xfrm>
            <a:prstGeom prst="rect">
              <a:avLst/>
            </a:prstGeom>
          </p:spPr>
          <p:txBody>
            <a:bodyPr wrap="none" lIns="0" tIns="0" rIns="0" bIns="0">
              <a:spAutoFit/>
            </a:bodyPr>
            <a:lstStyle/>
            <a:p>
              <a:pPr algn="ctr"/>
              <a:r>
                <a:rPr lang="en-GB" sz="1100" b="1" dirty="0" smtClean="0">
                  <a:solidFill>
                    <a:schemeClr val="bg2"/>
                  </a:solidFill>
                  <a:latin typeface="+mj-lt"/>
                </a:rPr>
                <a:t>Ultra Services Platform</a:t>
              </a:r>
              <a:endParaRPr lang="en-GB" sz="1100" b="1" dirty="0">
                <a:solidFill>
                  <a:schemeClr val="bg2"/>
                </a:solidFill>
                <a:latin typeface="+mj-lt"/>
              </a:endParaRPr>
            </a:p>
          </p:txBody>
        </p:sp>
      </p:grpSp>
      <p:sp>
        <p:nvSpPr>
          <p:cNvPr id="69" name="Rectangle 68"/>
          <p:cNvSpPr/>
          <p:nvPr/>
        </p:nvSpPr>
        <p:spPr>
          <a:xfrm>
            <a:off x="5096051"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Insurance</a:t>
            </a:r>
            <a:br>
              <a:rPr lang="en-US" sz="1100" dirty="0" smtClean="0">
                <a:solidFill>
                  <a:srgbClr val="FFFFFF"/>
                </a:solidFill>
                <a:latin typeface="+mj-lt"/>
              </a:rPr>
            </a:br>
            <a:r>
              <a:rPr lang="en-US" sz="1100" dirty="0" smtClean="0">
                <a:solidFill>
                  <a:srgbClr val="FFFFFF"/>
                </a:solidFill>
                <a:latin typeface="+mj-lt"/>
              </a:rPr>
              <a:t>Company</a:t>
            </a:r>
          </a:p>
        </p:txBody>
      </p:sp>
      <p:cxnSp>
        <p:nvCxnSpPr>
          <p:cNvPr id="70" name="Straight Connector 69"/>
          <p:cNvCxnSpPr/>
          <p:nvPr/>
        </p:nvCxnSpPr>
        <p:spPr>
          <a:xfrm flipH="1">
            <a:off x="3548405" y="2123186"/>
            <a:ext cx="4324579" cy="0"/>
          </a:xfrm>
          <a:prstGeom prst="line">
            <a:avLst/>
          </a:prstGeom>
          <a:noFill/>
          <a:ln w="19050" cap="rnd" cmpd="sng" algn="ctr">
            <a:solidFill>
              <a:schemeClr val="tx2"/>
            </a:solidFill>
            <a:prstDash val="dash"/>
            <a:headEnd type="none" w="med" len="med"/>
            <a:tailEnd type="none" w="med" len="med"/>
          </a:ln>
          <a:effectLst/>
        </p:spPr>
      </p:cxnSp>
      <p:sp>
        <p:nvSpPr>
          <p:cNvPr id="71" name="TextBox 70"/>
          <p:cNvSpPr txBox="1"/>
          <p:nvPr/>
        </p:nvSpPr>
        <p:spPr>
          <a:xfrm>
            <a:off x="4222623" y="1894983"/>
            <a:ext cx="805287" cy="246237"/>
          </a:xfrm>
          <a:prstGeom prst="rect">
            <a:avLst/>
          </a:prstGeom>
          <a:noFill/>
          <a:ln>
            <a:noFill/>
          </a:ln>
        </p:spPr>
        <p:txBody>
          <a:bodyPr wrap="square" lIns="91416" tIns="45708" rIns="91416" bIns="45708" rtlCol="0">
            <a:noAutofit/>
          </a:bodyPr>
          <a:lstStyle/>
          <a:p>
            <a:r>
              <a:rPr lang="en-US" sz="900" b="1" dirty="0">
                <a:latin typeface="+mj-lt"/>
              </a:rPr>
              <a:t>Rest APIs</a:t>
            </a:r>
          </a:p>
        </p:txBody>
      </p:sp>
      <p:cxnSp>
        <p:nvCxnSpPr>
          <p:cNvPr id="72" name="Straight Connector 71"/>
          <p:cNvCxnSpPr/>
          <p:nvPr/>
        </p:nvCxnSpPr>
        <p:spPr>
          <a:xfrm>
            <a:off x="5608115" y="1916840"/>
            <a:ext cx="0" cy="210312"/>
          </a:xfrm>
          <a:prstGeom prst="line">
            <a:avLst/>
          </a:prstGeom>
          <a:noFill/>
          <a:ln w="19050" cap="rnd" cmpd="sng" algn="ctr">
            <a:solidFill>
              <a:schemeClr val="tx2"/>
            </a:solidFill>
            <a:prstDash val="solid"/>
            <a:headEnd type="triangle" w="med" len="med"/>
            <a:tailEnd type="triangle" w="med" len="med"/>
          </a:ln>
          <a:effectLst/>
        </p:spPr>
      </p:cxnSp>
      <p:sp>
        <p:nvSpPr>
          <p:cNvPr id="73" name="Rectangle 72"/>
          <p:cNvSpPr/>
          <p:nvPr/>
        </p:nvSpPr>
        <p:spPr>
          <a:xfrm>
            <a:off x="393394" y="1432532"/>
            <a:ext cx="2029147" cy="523220"/>
          </a:xfrm>
          <a:prstGeom prst="rect">
            <a:avLst/>
          </a:prstGeom>
          <a:solidFill>
            <a:schemeClr val="accent2"/>
          </a:solidFill>
          <a:ln cap="rnd">
            <a:noFill/>
          </a:ln>
        </p:spPr>
        <p:style>
          <a:lnRef idx="2">
            <a:schemeClr val="accent1">
              <a:shade val="50000"/>
            </a:schemeClr>
          </a:lnRef>
          <a:fillRef idx="1">
            <a:schemeClr val="accent1"/>
          </a:fillRef>
          <a:effectRef idx="0">
            <a:schemeClr val="accent1"/>
          </a:effectRef>
          <a:fontRef idx="minor">
            <a:schemeClr val="lt1"/>
          </a:fontRef>
        </p:style>
        <p:txBody>
          <a:bodyPr wrap="square" tIns="45720" bIns="45720" rtlCol="0" anchor="t" anchorCtr="0">
            <a:spAutoFit/>
          </a:bodyPr>
          <a:lstStyle/>
          <a:p>
            <a:pPr algn="ctr"/>
            <a:r>
              <a:rPr lang="en-US" sz="1400" dirty="0" smtClean="0">
                <a:solidFill>
                  <a:srgbClr val="FFFFFF"/>
                </a:solidFill>
                <a:latin typeface="+mj-lt"/>
              </a:rPr>
              <a:t>API for Application </a:t>
            </a:r>
            <a:br>
              <a:rPr lang="en-US" sz="1400" dirty="0" smtClean="0">
                <a:solidFill>
                  <a:srgbClr val="FFFFFF"/>
                </a:solidFill>
                <a:latin typeface="+mj-lt"/>
              </a:rPr>
            </a:br>
            <a:r>
              <a:rPr lang="en-US" sz="1400" dirty="0" smtClean="0">
                <a:solidFill>
                  <a:srgbClr val="FFFFFF"/>
                </a:solidFill>
                <a:latin typeface="+mj-lt"/>
              </a:rPr>
              <a:t>and Data Monetization</a:t>
            </a:r>
            <a:endParaRPr lang="en-US" sz="1400" dirty="0">
              <a:solidFill>
                <a:srgbClr val="FFFFFF"/>
              </a:solidFill>
              <a:latin typeface="+mj-lt"/>
            </a:endParaRPr>
          </a:p>
        </p:txBody>
      </p:sp>
      <p:cxnSp>
        <p:nvCxnSpPr>
          <p:cNvPr id="74" name="Straight Connector 73"/>
          <p:cNvCxnSpPr/>
          <p:nvPr/>
        </p:nvCxnSpPr>
        <p:spPr>
          <a:xfrm>
            <a:off x="6739207" y="1916840"/>
            <a:ext cx="0" cy="210312"/>
          </a:xfrm>
          <a:prstGeom prst="line">
            <a:avLst/>
          </a:prstGeom>
          <a:noFill/>
          <a:ln w="19050" cap="rnd" cmpd="sng" algn="ctr">
            <a:solidFill>
              <a:schemeClr val="tx2"/>
            </a:solidFill>
            <a:prstDash val="solid"/>
            <a:headEnd type="triangle" w="med" len="med"/>
            <a:tailEnd type="triangle" w="med" len="med"/>
          </a:ln>
          <a:effectLst/>
        </p:spPr>
      </p:cxnSp>
      <p:cxnSp>
        <p:nvCxnSpPr>
          <p:cNvPr id="77" name="Straight Connector 76"/>
          <p:cNvCxnSpPr/>
          <p:nvPr/>
        </p:nvCxnSpPr>
        <p:spPr>
          <a:xfrm>
            <a:off x="7870298" y="1916840"/>
            <a:ext cx="0" cy="210312"/>
          </a:xfrm>
          <a:prstGeom prst="line">
            <a:avLst/>
          </a:prstGeom>
          <a:noFill/>
          <a:ln w="19050" cap="rnd" cmpd="sng" algn="ctr">
            <a:solidFill>
              <a:schemeClr val="tx2"/>
            </a:solidFill>
            <a:prstDash val="solid"/>
            <a:headEnd type="triangle" w="med" len="med"/>
            <a:tailEnd type="triangle" w="med" len="med"/>
          </a:ln>
          <a:effectLst/>
        </p:spPr>
      </p:cxnSp>
      <p:sp>
        <p:nvSpPr>
          <p:cNvPr id="84" name="Rectangle 83"/>
          <p:cNvSpPr/>
          <p:nvPr/>
        </p:nvSpPr>
        <p:spPr>
          <a:xfrm>
            <a:off x="6227143"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Wellness</a:t>
            </a:r>
            <a:br>
              <a:rPr lang="en-US" sz="1100" dirty="0" smtClean="0">
                <a:solidFill>
                  <a:srgbClr val="FFFFFF"/>
                </a:solidFill>
                <a:latin typeface="+mj-lt"/>
              </a:rPr>
            </a:br>
            <a:r>
              <a:rPr lang="en-US" sz="1100" dirty="0" smtClean="0">
                <a:solidFill>
                  <a:srgbClr val="FFFFFF"/>
                </a:solidFill>
                <a:latin typeface="+mj-lt"/>
              </a:rPr>
              <a:t>Aggregator</a:t>
            </a:r>
          </a:p>
        </p:txBody>
      </p:sp>
      <p:sp>
        <p:nvSpPr>
          <p:cNvPr id="86" name="Rectangle 85"/>
          <p:cNvSpPr/>
          <p:nvPr/>
        </p:nvSpPr>
        <p:spPr>
          <a:xfrm>
            <a:off x="7358234"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smtClean="0">
                <a:solidFill>
                  <a:srgbClr val="FFFFFF"/>
                </a:solidFill>
                <a:latin typeface="+mj-lt"/>
              </a:rPr>
              <a:t>Social</a:t>
            </a:r>
            <a:br>
              <a:rPr lang="en-US" sz="1100" dirty="0" smtClean="0">
                <a:solidFill>
                  <a:srgbClr val="FFFFFF"/>
                </a:solidFill>
                <a:latin typeface="+mj-lt"/>
              </a:rPr>
            </a:br>
            <a:r>
              <a:rPr lang="en-US" sz="1100" dirty="0" smtClean="0">
                <a:solidFill>
                  <a:srgbClr val="FFFFFF"/>
                </a:solidFill>
                <a:latin typeface="+mj-lt"/>
              </a:rPr>
              <a:t>Media</a:t>
            </a:r>
          </a:p>
        </p:txBody>
      </p:sp>
      <p:sp>
        <p:nvSpPr>
          <p:cNvPr id="93" name="TextBox 92"/>
          <p:cNvSpPr txBox="1"/>
          <p:nvPr/>
        </p:nvSpPr>
        <p:spPr>
          <a:xfrm>
            <a:off x="5156838" y="1079500"/>
            <a:ext cx="902556" cy="313932"/>
          </a:xfrm>
          <a:prstGeom prst="rect">
            <a:avLst/>
          </a:prstGeom>
          <a:noFill/>
        </p:spPr>
        <p:txBody>
          <a:bodyPr wrap="none" lIns="18288" tIns="18288" rIns="18288" bIns="18288" rtlCol="0">
            <a:spAutoFit/>
          </a:bodyPr>
          <a:lstStyle/>
          <a:p>
            <a:pPr algn="ctr"/>
            <a:r>
              <a:rPr lang="en-US" sz="900" b="1" dirty="0" smtClean="0">
                <a:latin typeface="+mj-lt"/>
              </a:rPr>
              <a:t>Corp. Wellness </a:t>
            </a:r>
            <a:br>
              <a:rPr lang="en-US" sz="900" b="1" dirty="0" smtClean="0">
                <a:latin typeface="+mj-lt"/>
              </a:rPr>
            </a:br>
            <a:r>
              <a:rPr lang="en-US" sz="900" b="1" dirty="0" smtClean="0">
                <a:latin typeface="+mj-lt"/>
              </a:rPr>
              <a:t>Program</a:t>
            </a:r>
          </a:p>
        </p:txBody>
      </p:sp>
      <p:sp>
        <p:nvSpPr>
          <p:cNvPr id="94" name="TextBox 93"/>
          <p:cNvSpPr txBox="1"/>
          <p:nvPr/>
        </p:nvSpPr>
        <p:spPr>
          <a:xfrm>
            <a:off x="6323196" y="1079500"/>
            <a:ext cx="832023" cy="313932"/>
          </a:xfrm>
          <a:prstGeom prst="rect">
            <a:avLst/>
          </a:prstGeom>
          <a:noFill/>
        </p:spPr>
        <p:txBody>
          <a:bodyPr wrap="none" lIns="18288" tIns="18288" rIns="18288" bIns="18288" rtlCol="0">
            <a:spAutoFit/>
          </a:bodyPr>
          <a:lstStyle/>
          <a:p>
            <a:pPr algn="ctr"/>
            <a:r>
              <a:rPr lang="en-US" sz="900" b="1" dirty="0" smtClean="0">
                <a:latin typeface="+mj-lt"/>
              </a:rPr>
              <a:t>“You are What</a:t>
            </a:r>
            <a:br>
              <a:rPr lang="en-US" sz="900" b="1" dirty="0" smtClean="0">
                <a:latin typeface="+mj-lt"/>
              </a:rPr>
            </a:br>
            <a:r>
              <a:rPr lang="en-US" sz="900" b="1" dirty="0" smtClean="0">
                <a:latin typeface="+mj-lt"/>
              </a:rPr>
              <a:t>You Do”</a:t>
            </a:r>
          </a:p>
        </p:txBody>
      </p:sp>
      <p:sp>
        <p:nvSpPr>
          <p:cNvPr id="95" name="TextBox 94"/>
          <p:cNvSpPr txBox="1"/>
          <p:nvPr/>
        </p:nvSpPr>
        <p:spPr>
          <a:xfrm>
            <a:off x="7454287" y="1079500"/>
            <a:ext cx="832023" cy="313932"/>
          </a:xfrm>
          <a:prstGeom prst="rect">
            <a:avLst/>
          </a:prstGeom>
          <a:noFill/>
        </p:spPr>
        <p:txBody>
          <a:bodyPr wrap="none" lIns="18288" tIns="18288" rIns="18288" bIns="18288" rtlCol="0">
            <a:spAutoFit/>
          </a:bodyPr>
          <a:lstStyle/>
          <a:p>
            <a:pPr algn="ctr"/>
            <a:r>
              <a:rPr lang="en-US" sz="900" b="1" dirty="0" smtClean="0">
                <a:latin typeface="+mj-lt"/>
              </a:rPr>
              <a:t>Location,</a:t>
            </a:r>
            <a:br>
              <a:rPr lang="en-US" sz="900" b="1" dirty="0" smtClean="0">
                <a:latin typeface="+mj-lt"/>
              </a:rPr>
            </a:br>
            <a:r>
              <a:rPr lang="en-US" sz="900" b="1" dirty="0" smtClean="0">
                <a:latin typeface="+mj-lt"/>
              </a:rPr>
              <a:t>Habits, Events</a:t>
            </a:r>
          </a:p>
        </p:txBody>
      </p:sp>
      <p:sp>
        <p:nvSpPr>
          <p:cNvPr id="96" name="Rectangle 95"/>
          <p:cNvSpPr/>
          <p:nvPr/>
        </p:nvSpPr>
        <p:spPr>
          <a:xfrm>
            <a:off x="3052708" y="1432532"/>
            <a:ext cx="1024128" cy="502920"/>
          </a:xfrm>
          <a:prstGeom prst="rect">
            <a:avLst/>
          </a:prstGeom>
          <a:solidFill>
            <a:schemeClr val="accent6"/>
          </a:solidFill>
          <a:ln w="19050" cap="flat" cmpd="sng" algn="ctr">
            <a:noFill/>
            <a:prstDash val="solid"/>
          </a:ln>
          <a:effectLst/>
        </p:spPr>
        <p:txBody>
          <a:bodyPr lIns="0" tIns="45708" rIns="0" bIns="45708" rtlCol="0" anchor="ctr"/>
          <a:lstStyle/>
          <a:p>
            <a:pPr algn="ctr"/>
            <a:r>
              <a:rPr lang="en-US" sz="1100" dirty="0">
                <a:solidFill>
                  <a:srgbClr val="FFFFFF"/>
                </a:solidFill>
                <a:latin typeface="+mj-lt"/>
              </a:rPr>
              <a:t>Connectivity Mgmt Platform</a:t>
            </a:r>
          </a:p>
        </p:txBody>
      </p:sp>
      <p:cxnSp>
        <p:nvCxnSpPr>
          <p:cNvPr id="97" name="Straight Connector 96"/>
          <p:cNvCxnSpPr/>
          <p:nvPr/>
        </p:nvCxnSpPr>
        <p:spPr>
          <a:xfrm>
            <a:off x="3543529" y="1916840"/>
            <a:ext cx="0" cy="210312"/>
          </a:xfrm>
          <a:prstGeom prst="line">
            <a:avLst/>
          </a:prstGeom>
          <a:noFill/>
          <a:ln w="19050" cap="rnd" cmpd="sng" algn="ctr">
            <a:solidFill>
              <a:schemeClr val="tx2"/>
            </a:solidFill>
            <a:prstDash val="solid"/>
            <a:headEnd type="triangle" w="med" len="med"/>
            <a:tailEnd type="triangle" w="med" len="med"/>
          </a:ln>
          <a:effectLst/>
        </p:spPr>
      </p:cxnSp>
      <p:cxnSp>
        <p:nvCxnSpPr>
          <p:cNvPr id="98" name="Straight Connector 97"/>
          <p:cNvCxnSpPr/>
          <p:nvPr/>
        </p:nvCxnSpPr>
        <p:spPr>
          <a:xfrm rot="16200000" flipH="1">
            <a:off x="3941118" y="2808682"/>
            <a:ext cx="1368296" cy="0"/>
          </a:xfrm>
          <a:prstGeom prst="line">
            <a:avLst/>
          </a:prstGeom>
          <a:noFill/>
          <a:ln w="19050" cap="rnd" cmpd="sng" algn="ctr">
            <a:solidFill>
              <a:schemeClr val="tx2"/>
            </a:solidFill>
            <a:prstDash val="dash"/>
            <a:headEnd type="triangle" w="med" len="med"/>
            <a:tailEnd type="triangle" w="med" len="med"/>
          </a:ln>
          <a:effectLst/>
        </p:spPr>
      </p:cxnSp>
      <p:sp>
        <p:nvSpPr>
          <p:cNvPr id="99" name="Rectangle 15"/>
          <p:cNvSpPr>
            <a:spLocks noChangeArrowheads="1"/>
          </p:cNvSpPr>
          <p:nvPr/>
        </p:nvSpPr>
        <p:spPr bwMode="auto">
          <a:xfrm>
            <a:off x="4218482" y="2687596"/>
            <a:ext cx="813569" cy="242172"/>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1100" dirty="0">
                <a:solidFill>
                  <a:schemeClr val="bg1"/>
                </a:solidFill>
                <a:latin typeface="+mj-lt"/>
                <a:ea typeface="ＭＳ Ｐゴシック" charset="0"/>
              </a:rPr>
              <a:t>API</a:t>
            </a:r>
          </a:p>
        </p:txBody>
      </p:sp>
      <p:sp>
        <p:nvSpPr>
          <p:cNvPr id="91" name="Freeform 32"/>
          <p:cNvSpPr>
            <a:spLocks noEditPoints="1"/>
          </p:cNvSpPr>
          <p:nvPr/>
        </p:nvSpPr>
        <p:spPr bwMode="auto">
          <a:xfrm>
            <a:off x="1562988" y="3352885"/>
            <a:ext cx="134938" cy="239713"/>
          </a:xfrm>
          <a:custGeom>
            <a:avLst/>
            <a:gdLst/>
            <a:ahLst/>
            <a:cxnLst>
              <a:cxn ang="0">
                <a:pos x="165" y="0"/>
              </a:cxn>
              <a:cxn ang="0">
                <a:pos x="42" y="14"/>
              </a:cxn>
              <a:cxn ang="0">
                <a:pos x="1" y="46"/>
              </a:cxn>
              <a:cxn ang="0">
                <a:pos x="1" y="555"/>
              </a:cxn>
              <a:cxn ang="0">
                <a:pos x="39" y="590"/>
              </a:cxn>
              <a:cxn ang="0">
                <a:pos x="181" y="604"/>
              </a:cxn>
              <a:cxn ang="0">
                <a:pos x="314" y="584"/>
              </a:cxn>
              <a:cxn ang="0">
                <a:pos x="340" y="57"/>
              </a:cxn>
              <a:cxn ang="0">
                <a:pos x="314" y="21"/>
              </a:cxn>
              <a:cxn ang="0">
                <a:pos x="307" y="567"/>
              </a:cxn>
              <a:cxn ang="0">
                <a:pos x="203" y="584"/>
              </a:cxn>
              <a:cxn ang="0">
                <a:pos x="43" y="572"/>
              </a:cxn>
              <a:cxn ang="0">
                <a:pos x="19" y="548"/>
              </a:cxn>
              <a:cxn ang="0">
                <a:pos x="22" y="44"/>
              </a:cxn>
              <a:cxn ang="0">
                <a:pos x="55" y="30"/>
              </a:cxn>
              <a:cxn ang="0">
                <a:pos x="200" y="20"/>
              </a:cxn>
              <a:cxn ang="0">
                <a:pos x="317" y="44"/>
              </a:cxn>
              <a:cxn ang="0">
                <a:pos x="156" y="485"/>
              </a:cxn>
              <a:cxn ang="0">
                <a:pos x="128" y="507"/>
              </a:cxn>
              <a:cxn ang="0">
                <a:pos x="136" y="537"/>
              </a:cxn>
              <a:cxn ang="0">
                <a:pos x="189" y="545"/>
              </a:cxn>
              <a:cxn ang="0">
                <a:pos x="211" y="517"/>
              </a:cxn>
              <a:cxn ang="0">
                <a:pos x="198" y="489"/>
              </a:cxn>
              <a:cxn ang="0">
                <a:pos x="191" y="521"/>
              </a:cxn>
              <a:cxn ang="0">
                <a:pos x="149" y="524"/>
              </a:cxn>
              <a:cxn ang="0">
                <a:pos x="152" y="505"/>
              </a:cxn>
              <a:cxn ang="0">
                <a:pos x="192" y="513"/>
              </a:cxn>
              <a:cxn ang="0">
                <a:pos x="64" y="123"/>
              </a:cxn>
              <a:cxn ang="0">
                <a:pos x="61" y="423"/>
              </a:cxn>
              <a:cxn ang="0">
                <a:pos x="266" y="434"/>
              </a:cxn>
              <a:cxn ang="0">
                <a:pos x="280" y="136"/>
              </a:cxn>
              <a:cxn ang="0">
                <a:pos x="261" y="117"/>
              </a:cxn>
              <a:cxn ang="0">
                <a:pos x="231" y="239"/>
              </a:cxn>
              <a:cxn ang="0">
                <a:pos x="204" y="231"/>
              </a:cxn>
              <a:cxn ang="0">
                <a:pos x="185" y="270"/>
              </a:cxn>
              <a:cxn ang="0">
                <a:pos x="197" y="307"/>
              </a:cxn>
              <a:cxn ang="0">
                <a:pos x="226" y="307"/>
              </a:cxn>
              <a:cxn ang="0">
                <a:pos x="238" y="270"/>
              </a:cxn>
              <a:cxn ang="0">
                <a:pos x="223" y="296"/>
              </a:cxn>
              <a:cxn ang="0">
                <a:pos x="209" y="303"/>
              </a:cxn>
              <a:cxn ang="0">
                <a:pos x="196" y="270"/>
              </a:cxn>
              <a:cxn ang="0">
                <a:pos x="203" y="240"/>
              </a:cxn>
              <a:cxn ang="0">
                <a:pos x="220" y="241"/>
              </a:cxn>
              <a:cxn ang="0">
                <a:pos x="226" y="287"/>
              </a:cxn>
              <a:cxn ang="0">
                <a:pos x="145" y="232"/>
              </a:cxn>
              <a:cxn ang="0">
                <a:pos x="120" y="234"/>
              </a:cxn>
              <a:cxn ang="0">
                <a:pos x="108" y="281"/>
              </a:cxn>
              <a:cxn ang="0">
                <a:pos x="128" y="311"/>
              </a:cxn>
              <a:cxn ang="0">
                <a:pos x="154" y="301"/>
              </a:cxn>
              <a:cxn ang="0">
                <a:pos x="158" y="250"/>
              </a:cxn>
              <a:cxn ang="0">
                <a:pos x="143" y="300"/>
              </a:cxn>
              <a:cxn ang="0">
                <a:pos x="124" y="300"/>
              </a:cxn>
              <a:cxn ang="0">
                <a:pos x="117" y="261"/>
              </a:cxn>
              <a:cxn ang="0">
                <a:pos x="130" y="238"/>
              </a:cxn>
              <a:cxn ang="0">
                <a:pos x="145" y="243"/>
              </a:cxn>
              <a:cxn ang="0">
                <a:pos x="145" y="296"/>
              </a:cxn>
            </a:cxnLst>
            <a:rect l="0" t="0" r="r" b="b"/>
            <a:pathLst>
              <a:path w="340" h="604">
                <a:moveTo>
                  <a:pt x="308" y="19"/>
                </a:moveTo>
                <a:lnTo>
                  <a:pt x="308" y="19"/>
                </a:lnTo>
                <a:lnTo>
                  <a:pt x="308" y="19"/>
                </a:lnTo>
                <a:lnTo>
                  <a:pt x="273" y="11"/>
                </a:lnTo>
                <a:lnTo>
                  <a:pt x="238" y="5"/>
                </a:lnTo>
                <a:lnTo>
                  <a:pt x="202" y="1"/>
                </a:lnTo>
                <a:lnTo>
                  <a:pt x="165" y="0"/>
                </a:lnTo>
                <a:lnTo>
                  <a:pt x="165" y="0"/>
                </a:lnTo>
                <a:lnTo>
                  <a:pt x="141" y="1"/>
                </a:lnTo>
                <a:lnTo>
                  <a:pt x="117" y="2"/>
                </a:lnTo>
                <a:lnTo>
                  <a:pt x="97" y="5"/>
                </a:lnTo>
                <a:lnTo>
                  <a:pt x="80" y="7"/>
                </a:lnTo>
                <a:lnTo>
                  <a:pt x="54" y="12"/>
                </a:lnTo>
                <a:lnTo>
                  <a:pt x="42" y="14"/>
                </a:lnTo>
                <a:lnTo>
                  <a:pt x="42" y="14"/>
                </a:lnTo>
                <a:lnTo>
                  <a:pt x="29" y="18"/>
                </a:lnTo>
                <a:lnTo>
                  <a:pt x="20" y="21"/>
                </a:lnTo>
                <a:lnTo>
                  <a:pt x="13" y="27"/>
                </a:lnTo>
                <a:lnTo>
                  <a:pt x="7" y="33"/>
                </a:lnTo>
                <a:lnTo>
                  <a:pt x="4" y="40"/>
                </a:lnTo>
                <a:lnTo>
                  <a:pt x="1" y="46"/>
                </a:lnTo>
                <a:lnTo>
                  <a:pt x="0" y="53"/>
                </a:lnTo>
                <a:lnTo>
                  <a:pt x="0" y="57"/>
                </a:lnTo>
                <a:lnTo>
                  <a:pt x="0" y="206"/>
                </a:lnTo>
                <a:lnTo>
                  <a:pt x="0" y="548"/>
                </a:lnTo>
                <a:lnTo>
                  <a:pt x="0" y="549"/>
                </a:lnTo>
                <a:lnTo>
                  <a:pt x="0" y="549"/>
                </a:lnTo>
                <a:lnTo>
                  <a:pt x="1" y="555"/>
                </a:lnTo>
                <a:lnTo>
                  <a:pt x="2" y="561"/>
                </a:lnTo>
                <a:lnTo>
                  <a:pt x="7" y="569"/>
                </a:lnTo>
                <a:lnTo>
                  <a:pt x="14" y="576"/>
                </a:lnTo>
                <a:lnTo>
                  <a:pt x="20" y="582"/>
                </a:lnTo>
                <a:lnTo>
                  <a:pt x="27" y="585"/>
                </a:lnTo>
                <a:lnTo>
                  <a:pt x="33" y="588"/>
                </a:lnTo>
                <a:lnTo>
                  <a:pt x="39" y="590"/>
                </a:lnTo>
                <a:lnTo>
                  <a:pt x="39" y="590"/>
                </a:lnTo>
                <a:lnTo>
                  <a:pt x="63" y="596"/>
                </a:lnTo>
                <a:lnTo>
                  <a:pt x="91" y="600"/>
                </a:lnTo>
                <a:lnTo>
                  <a:pt x="122" y="604"/>
                </a:lnTo>
                <a:lnTo>
                  <a:pt x="156" y="604"/>
                </a:lnTo>
                <a:lnTo>
                  <a:pt x="156" y="604"/>
                </a:lnTo>
                <a:lnTo>
                  <a:pt x="181" y="604"/>
                </a:lnTo>
                <a:lnTo>
                  <a:pt x="204" y="603"/>
                </a:lnTo>
                <a:lnTo>
                  <a:pt x="244" y="599"/>
                </a:lnTo>
                <a:lnTo>
                  <a:pt x="272" y="596"/>
                </a:lnTo>
                <a:lnTo>
                  <a:pt x="284" y="595"/>
                </a:lnTo>
                <a:lnTo>
                  <a:pt x="284" y="595"/>
                </a:lnTo>
                <a:lnTo>
                  <a:pt x="301" y="590"/>
                </a:lnTo>
                <a:lnTo>
                  <a:pt x="314" y="584"/>
                </a:lnTo>
                <a:lnTo>
                  <a:pt x="324" y="578"/>
                </a:lnTo>
                <a:lnTo>
                  <a:pt x="331" y="572"/>
                </a:lnTo>
                <a:lnTo>
                  <a:pt x="335" y="567"/>
                </a:lnTo>
                <a:lnTo>
                  <a:pt x="338" y="561"/>
                </a:lnTo>
                <a:lnTo>
                  <a:pt x="340" y="555"/>
                </a:lnTo>
                <a:lnTo>
                  <a:pt x="340" y="555"/>
                </a:lnTo>
                <a:lnTo>
                  <a:pt x="340" y="57"/>
                </a:lnTo>
                <a:lnTo>
                  <a:pt x="340" y="57"/>
                </a:lnTo>
                <a:lnTo>
                  <a:pt x="339" y="48"/>
                </a:lnTo>
                <a:lnTo>
                  <a:pt x="335" y="40"/>
                </a:lnTo>
                <a:lnTo>
                  <a:pt x="331" y="33"/>
                </a:lnTo>
                <a:lnTo>
                  <a:pt x="325" y="28"/>
                </a:lnTo>
                <a:lnTo>
                  <a:pt x="319" y="23"/>
                </a:lnTo>
                <a:lnTo>
                  <a:pt x="314" y="21"/>
                </a:lnTo>
                <a:lnTo>
                  <a:pt x="308" y="19"/>
                </a:lnTo>
                <a:lnTo>
                  <a:pt x="308" y="19"/>
                </a:lnTo>
                <a:close/>
                <a:moveTo>
                  <a:pt x="321" y="552"/>
                </a:moveTo>
                <a:lnTo>
                  <a:pt x="321" y="552"/>
                </a:lnTo>
                <a:lnTo>
                  <a:pt x="319" y="556"/>
                </a:lnTo>
                <a:lnTo>
                  <a:pt x="313" y="563"/>
                </a:lnTo>
                <a:lnTo>
                  <a:pt x="307" y="567"/>
                </a:lnTo>
                <a:lnTo>
                  <a:pt x="300" y="570"/>
                </a:lnTo>
                <a:lnTo>
                  <a:pt x="292" y="572"/>
                </a:lnTo>
                <a:lnTo>
                  <a:pt x="280" y="576"/>
                </a:lnTo>
                <a:lnTo>
                  <a:pt x="280" y="576"/>
                </a:lnTo>
                <a:lnTo>
                  <a:pt x="271" y="577"/>
                </a:lnTo>
                <a:lnTo>
                  <a:pt x="243" y="581"/>
                </a:lnTo>
                <a:lnTo>
                  <a:pt x="203" y="584"/>
                </a:lnTo>
                <a:lnTo>
                  <a:pt x="181" y="585"/>
                </a:lnTo>
                <a:lnTo>
                  <a:pt x="156" y="585"/>
                </a:lnTo>
                <a:lnTo>
                  <a:pt x="156" y="585"/>
                </a:lnTo>
                <a:lnTo>
                  <a:pt x="123" y="585"/>
                </a:lnTo>
                <a:lnTo>
                  <a:pt x="94" y="582"/>
                </a:lnTo>
                <a:lnTo>
                  <a:pt x="67" y="578"/>
                </a:lnTo>
                <a:lnTo>
                  <a:pt x="43" y="572"/>
                </a:lnTo>
                <a:lnTo>
                  <a:pt x="43" y="572"/>
                </a:lnTo>
                <a:lnTo>
                  <a:pt x="40" y="570"/>
                </a:lnTo>
                <a:lnTo>
                  <a:pt x="32" y="567"/>
                </a:lnTo>
                <a:lnTo>
                  <a:pt x="28" y="563"/>
                </a:lnTo>
                <a:lnTo>
                  <a:pt x="23" y="560"/>
                </a:lnTo>
                <a:lnTo>
                  <a:pt x="20" y="554"/>
                </a:lnTo>
                <a:lnTo>
                  <a:pt x="19" y="548"/>
                </a:lnTo>
                <a:lnTo>
                  <a:pt x="19" y="206"/>
                </a:lnTo>
                <a:lnTo>
                  <a:pt x="19" y="57"/>
                </a:lnTo>
                <a:lnTo>
                  <a:pt x="19" y="56"/>
                </a:lnTo>
                <a:lnTo>
                  <a:pt x="19" y="56"/>
                </a:lnTo>
                <a:lnTo>
                  <a:pt x="19" y="52"/>
                </a:lnTo>
                <a:lnTo>
                  <a:pt x="20" y="48"/>
                </a:lnTo>
                <a:lnTo>
                  <a:pt x="22" y="44"/>
                </a:lnTo>
                <a:lnTo>
                  <a:pt x="25" y="41"/>
                </a:lnTo>
                <a:lnTo>
                  <a:pt x="29" y="37"/>
                </a:lnTo>
                <a:lnTo>
                  <a:pt x="36" y="35"/>
                </a:lnTo>
                <a:lnTo>
                  <a:pt x="46" y="33"/>
                </a:lnTo>
                <a:lnTo>
                  <a:pt x="47" y="33"/>
                </a:lnTo>
                <a:lnTo>
                  <a:pt x="47" y="33"/>
                </a:lnTo>
                <a:lnTo>
                  <a:pt x="55" y="30"/>
                </a:lnTo>
                <a:lnTo>
                  <a:pt x="80" y="26"/>
                </a:lnTo>
                <a:lnTo>
                  <a:pt x="97" y="23"/>
                </a:lnTo>
                <a:lnTo>
                  <a:pt x="117" y="21"/>
                </a:lnTo>
                <a:lnTo>
                  <a:pt x="141" y="20"/>
                </a:lnTo>
                <a:lnTo>
                  <a:pt x="165" y="19"/>
                </a:lnTo>
                <a:lnTo>
                  <a:pt x="165" y="19"/>
                </a:lnTo>
                <a:lnTo>
                  <a:pt x="200" y="20"/>
                </a:lnTo>
                <a:lnTo>
                  <a:pt x="236" y="23"/>
                </a:lnTo>
                <a:lnTo>
                  <a:pt x="270" y="28"/>
                </a:lnTo>
                <a:lnTo>
                  <a:pt x="302" y="36"/>
                </a:lnTo>
                <a:lnTo>
                  <a:pt x="302" y="36"/>
                </a:lnTo>
                <a:lnTo>
                  <a:pt x="306" y="37"/>
                </a:lnTo>
                <a:lnTo>
                  <a:pt x="313" y="42"/>
                </a:lnTo>
                <a:lnTo>
                  <a:pt x="317" y="44"/>
                </a:lnTo>
                <a:lnTo>
                  <a:pt x="319" y="48"/>
                </a:lnTo>
                <a:lnTo>
                  <a:pt x="320" y="53"/>
                </a:lnTo>
                <a:lnTo>
                  <a:pt x="321" y="57"/>
                </a:lnTo>
                <a:lnTo>
                  <a:pt x="321" y="552"/>
                </a:lnTo>
                <a:close/>
                <a:moveTo>
                  <a:pt x="183" y="485"/>
                </a:moveTo>
                <a:lnTo>
                  <a:pt x="156" y="485"/>
                </a:lnTo>
                <a:lnTo>
                  <a:pt x="156" y="485"/>
                </a:lnTo>
                <a:lnTo>
                  <a:pt x="150" y="485"/>
                </a:lnTo>
                <a:lnTo>
                  <a:pt x="144" y="487"/>
                </a:lnTo>
                <a:lnTo>
                  <a:pt x="140" y="489"/>
                </a:lnTo>
                <a:lnTo>
                  <a:pt x="136" y="493"/>
                </a:lnTo>
                <a:lnTo>
                  <a:pt x="132" y="497"/>
                </a:lnTo>
                <a:lnTo>
                  <a:pt x="130" y="502"/>
                </a:lnTo>
                <a:lnTo>
                  <a:pt x="128" y="507"/>
                </a:lnTo>
                <a:lnTo>
                  <a:pt x="128" y="513"/>
                </a:lnTo>
                <a:lnTo>
                  <a:pt x="128" y="517"/>
                </a:lnTo>
                <a:lnTo>
                  <a:pt x="128" y="517"/>
                </a:lnTo>
                <a:lnTo>
                  <a:pt x="128" y="523"/>
                </a:lnTo>
                <a:lnTo>
                  <a:pt x="130" y="528"/>
                </a:lnTo>
                <a:lnTo>
                  <a:pt x="132" y="534"/>
                </a:lnTo>
                <a:lnTo>
                  <a:pt x="136" y="537"/>
                </a:lnTo>
                <a:lnTo>
                  <a:pt x="140" y="541"/>
                </a:lnTo>
                <a:lnTo>
                  <a:pt x="144" y="543"/>
                </a:lnTo>
                <a:lnTo>
                  <a:pt x="150" y="545"/>
                </a:lnTo>
                <a:lnTo>
                  <a:pt x="156" y="545"/>
                </a:lnTo>
                <a:lnTo>
                  <a:pt x="183" y="545"/>
                </a:lnTo>
                <a:lnTo>
                  <a:pt x="183" y="545"/>
                </a:lnTo>
                <a:lnTo>
                  <a:pt x="189" y="545"/>
                </a:lnTo>
                <a:lnTo>
                  <a:pt x="193" y="543"/>
                </a:lnTo>
                <a:lnTo>
                  <a:pt x="198" y="541"/>
                </a:lnTo>
                <a:lnTo>
                  <a:pt x="203" y="537"/>
                </a:lnTo>
                <a:lnTo>
                  <a:pt x="206" y="534"/>
                </a:lnTo>
                <a:lnTo>
                  <a:pt x="209" y="528"/>
                </a:lnTo>
                <a:lnTo>
                  <a:pt x="210" y="523"/>
                </a:lnTo>
                <a:lnTo>
                  <a:pt x="211" y="517"/>
                </a:lnTo>
                <a:lnTo>
                  <a:pt x="211" y="513"/>
                </a:lnTo>
                <a:lnTo>
                  <a:pt x="211" y="513"/>
                </a:lnTo>
                <a:lnTo>
                  <a:pt x="210" y="507"/>
                </a:lnTo>
                <a:lnTo>
                  <a:pt x="209" y="502"/>
                </a:lnTo>
                <a:lnTo>
                  <a:pt x="206" y="497"/>
                </a:lnTo>
                <a:lnTo>
                  <a:pt x="203" y="493"/>
                </a:lnTo>
                <a:lnTo>
                  <a:pt x="198" y="489"/>
                </a:lnTo>
                <a:lnTo>
                  <a:pt x="193" y="487"/>
                </a:lnTo>
                <a:lnTo>
                  <a:pt x="189" y="485"/>
                </a:lnTo>
                <a:lnTo>
                  <a:pt x="183" y="485"/>
                </a:lnTo>
                <a:lnTo>
                  <a:pt x="183" y="485"/>
                </a:lnTo>
                <a:close/>
                <a:moveTo>
                  <a:pt x="192" y="517"/>
                </a:moveTo>
                <a:lnTo>
                  <a:pt x="192" y="517"/>
                </a:lnTo>
                <a:lnTo>
                  <a:pt x="191" y="521"/>
                </a:lnTo>
                <a:lnTo>
                  <a:pt x="190" y="524"/>
                </a:lnTo>
                <a:lnTo>
                  <a:pt x="186" y="527"/>
                </a:lnTo>
                <a:lnTo>
                  <a:pt x="183" y="527"/>
                </a:lnTo>
                <a:lnTo>
                  <a:pt x="156" y="527"/>
                </a:lnTo>
                <a:lnTo>
                  <a:pt x="156" y="527"/>
                </a:lnTo>
                <a:lnTo>
                  <a:pt x="152" y="527"/>
                </a:lnTo>
                <a:lnTo>
                  <a:pt x="149" y="524"/>
                </a:lnTo>
                <a:lnTo>
                  <a:pt x="147" y="521"/>
                </a:lnTo>
                <a:lnTo>
                  <a:pt x="147" y="517"/>
                </a:lnTo>
                <a:lnTo>
                  <a:pt x="147" y="513"/>
                </a:lnTo>
                <a:lnTo>
                  <a:pt x="147" y="513"/>
                </a:lnTo>
                <a:lnTo>
                  <a:pt x="147" y="509"/>
                </a:lnTo>
                <a:lnTo>
                  <a:pt x="149" y="506"/>
                </a:lnTo>
                <a:lnTo>
                  <a:pt x="152" y="505"/>
                </a:lnTo>
                <a:lnTo>
                  <a:pt x="156" y="503"/>
                </a:lnTo>
                <a:lnTo>
                  <a:pt x="183" y="503"/>
                </a:lnTo>
                <a:lnTo>
                  <a:pt x="183" y="503"/>
                </a:lnTo>
                <a:lnTo>
                  <a:pt x="186" y="505"/>
                </a:lnTo>
                <a:lnTo>
                  <a:pt x="190" y="506"/>
                </a:lnTo>
                <a:lnTo>
                  <a:pt x="191" y="509"/>
                </a:lnTo>
                <a:lnTo>
                  <a:pt x="192" y="513"/>
                </a:lnTo>
                <a:lnTo>
                  <a:pt x="192" y="517"/>
                </a:lnTo>
                <a:close/>
                <a:moveTo>
                  <a:pt x="261" y="117"/>
                </a:moveTo>
                <a:lnTo>
                  <a:pt x="77" y="117"/>
                </a:lnTo>
                <a:lnTo>
                  <a:pt x="77" y="117"/>
                </a:lnTo>
                <a:lnTo>
                  <a:pt x="74" y="117"/>
                </a:lnTo>
                <a:lnTo>
                  <a:pt x="70" y="118"/>
                </a:lnTo>
                <a:lnTo>
                  <a:pt x="64" y="123"/>
                </a:lnTo>
                <a:lnTo>
                  <a:pt x="61" y="129"/>
                </a:lnTo>
                <a:lnTo>
                  <a:pt x="60" y="132"/>
                </a:lnTo>
                <a:lnTo>
                  <a:pt x="59" y="136"/>
                </a:lnTo>
                <a:lnTo>
                  <a:pt x="59" y="416"/>
                </a:lnTo>
                <a:lnTo>
                  <a:pt x="59" y="416"/>
                </a:lnTo>
                <a:lnTo>
                  <a:pt x="60" y="419"/>
                </a:lnTo>
                <a:lnTo>
                  <a:pt x="61" y="423"/>
                </a:lnTo>
                <a:lnTo>
                  <a:pt x="64" y="428"/>
                </a:lnTo>
                <a:lnTo>
                  <a:pt x="70" y="433"/>
                </a:lnTo>
                <a:lnTo>
                  <a:pt x="74" y="434"/>
                </a:lnTo>
                <a:lnTo>
                  <a:pt x="77" y="434"/>
                </a:lnTo>
                <a:lnTo>
                  <a:pt x="261" y="434"/>
                </a:lnTo>
                <a:lnTo>
                  <a:pt x="261" y="434"/>
                </a:lnTo>
                <a:lnTo>
                  <a:pt x="266" y="434"/>
                </a:lnTo>
                <a:lnTo>
                  <a:pt x="270" y="433"/>
                </a:lnTo>
                <a:lnTo>
                  <a:pt x="276" y="428"/>
                </a:lnTo>
                <a:lnTo>
                  <a:pt x="279" y="423"/>
                </a:lnTo>
                <a:lnTo>
                  <a:pt x="280" y="419"/>
                </a:lnTo>
                <a:lnTo>
                  <a:pt x="280" y="416"/>
                </a:lnTo>
                <a:lnTo>
                  <a:pt x="280" y="136"/>
                </a:lnTo>
                <a:lnTo>
                  <a:pt x="280" y="136"/>
                </a:lnTo>
                <a:lnTo>
                  <a:pt x="280" y="132"/>
                </a:lnTo>
                <a:lnTo>
                  <a:pt x="279" y="129"/>
                </a:lnTo>
                <a:lnTo>
                  <a:pt x="276" y="123"/>
                </a:lnTo>
                <a:lnTo>
                  <a:pt x="270" y="118"/>
                </a:lnTo>
                <a:lnTo>
                  <a:pt x="266" y="117"/>
                </a:lnTo>
                <a:lnTo>
                  <a:pt x="261" y="117"/>
                </a:lnTo>
                <a:lnTo>
                  <a:pt x="261" y="117"/>
                </a:lnTo>
                <a:close/>
                <a:moveTo>
                  <a:pt x="77" y="416"/>
                </a:moveTo>
                <a:lnTo>
                  <a:pt x="77" y="136"/>
                </a:lnTo>
                <a:lnTo>
                  <a:pt x="261" y="136"/>
                </a:lnTo>
                <a:lnTo>
                  <a:pt x="261" y="416"/>
                </a:lnTo>
                <a:lnTo>
                  <a:pt x="77" y="416"/>
                </a:lnTo>
                <a:close/>
                <a:moveTo>
                  <a:pt x="231" y="239"/>
                </a:moveTo>
                <a:lnTo>
                  <a:pt x="231" y="239"/>
                </a:lnTo>
                <a:lnTo>
                  <a:pt x="227" y="234"/>
                </a:lnTo>
                <a:lnTo>
                  <a:pt x="223" y="232"/>
                </a:lnTo>
                <a:lnTo>
                  <a:pt x="223" y="232"/>
                </a:lnTo>
                <a:lnTo>
                  <a:pt x="218" y="229"/>
                </a:lnTo>
                <a:lnTo>
                  <a:pt x="211" y="229"/>
                </a:lnTo>
                <a:lnTo>
                  <a:pt x="211" y="229"/>
                </a:lnTo>
                <a:lnTo>
                  <a:pt x="204" y="231"/>
                </a:lnTo>
                <a:lnTo>
                  <a:pt x="197" y="234"/>
                </a:lnTo>
                <a:lnTo>
                  <a:pt x="197" y="234"/>
                </a:lnTo>
                <a:lnTo>
                  <a:pt x="192" y="239"/>
                </a:lnTo>
                <a:lnTo>
                  <a:pt x="188" y="247"/>
                </a:lnTo>
                <a:lnTo>
                  <a:pt x="188" y="247"/>
                </a:lnTo>
                <a:lnTo>
                  <a:pt x="186" y="258"/>
                </a:lnTo>
                <a:lnTo>
                  <a:pt x="185" y="270"/>
                </a:lnTo>
                <a:lnTo>
                  <a:pt x="185" y="270"/>
                </a:lnTo>
                <a:lnTo>
                  <a:pt x="185" y="281"/>
                </a:lnTo>
                <a:lnTo>
                  <a:pt x="188" y="290"/>
                </a:lnTo>
                <a:lnTo>
                  <a:pt x="190" y="297"/>
                </a:lnTo>
                <a:lnTo>
                  <a:pt x="193" y="303"/>
                </a:lnTo>
                <a:lnTo>
                  <a:pt x="193" y="303"/>
                </a:lnTo>
                <a:lnTo>
                  <a:pt x="197" y="307"/>
                </a:lnTo>
                <a:lnTo>
                  <a:pt x="202" y="309"/>
                </a:lnTo>
                <a:lnTo>
                  <a:pt x="206" y="311"/>
                </a:lnTo>
                <a:lnTo>
                  <a:pt x="211" y="311"/>
                </a:lnTo>
                <a:lnTo>
                  <a:pt x="211" y="311"/>
                </a:lnTo>
                <a:lnTo>
                  <a:pt x="219" y="310"/>
                </a:lnTo>
                <a:lnTo>
                  <a:pt x="223" y="309"/>
                </a:lnTo>
                <a:lnTo>
                  <a:pt x="226" y="307"/>
                </a:lnTo>
                <a:lnTo>
                  <a:pt x="226" y="307"/>
                </a:lnTo>
                <a:lnTo>
                  <a:pt x="231" y="301"/>
                </a:lnTo>
                <a:lnTo>
                  <a:pt x="234" y="293"/>
                </a:lnTo>
                <a:lnTo>
                  <a:pt x="234" y="293"/>
                </a:lnTo>
                <a:lnTo>
                  <a:pt x="237" y="283"/>
                </a:lnTo>
                <a:lnTo>
                  <a:pt x="238" y="270"/>
                </a:lnTo>
                <a:lnTo>
                  <a:pt x="238" y="270"/>
                </a:lnTo>
                <a:lnTo>
                  <a:pt x="238" y="260"/>
                </a:lnTo>
                <a:lnTo>
                  <a:pt x="236" y="250"/>
                </a:lnTo>
                <a:lnTo>
                  <a:pt x="236" y="250"/>
                </a:lnTo>
                <a:lnTo>
                  <a:pt x="234" y="245"/>
                </a:lnTo>
                <a:lnTo>
                  <a:pt x="231" y="239"/>
                </a:lnTo>
                <a:lnTo>
                  <a:pt x="231" y="239"/>
                </a:lnTo>
                <a:close/>
                <a:moveTo>
                  <a:pt x="223" y="296"/>
                </a:moveTo>
                <a:lnTo>
                  <a:pt x="223" y="296"/>
                </a:lnTo>
                <a:lnTo>
                  <a:pt x="220" y="300"/>
                </a:lnTo>
                <a:lnTo>
                  <a:pt x="218" y="302"/>
                </a:lnTo>
                <a:lnTo>
                  <a:pt x="215" y="303"/>
                </a:lnTo>
                <a:lnTo>
                  <a:pt x="211" y="303"/>
                </a:lnTo>
                <a:lnTo>
                  <a:pt x="211" y="303"/>
                </a:lnTo>
                <a:lnTo>
                  <a:pt x="209" y="303"/>
                </a:lnTo>
                <a:lnTo>
                  <a:pt x="205" y="302"/>
                </a:lnTo>
                <a:lnTo>
                  <a:pt x="203" y="300"/>
                </a:lnTo>
                <a:lnTo>
                  <a:pt x="200" y="296"/>
                </a:lnTo>
                <a:lnTo>
                  <a:pt x="200" y="296"/>
                </a:lnTo>
                <a:lnTo>
                  <a:pt x="198" y="293"/>
                </a:lnTo>
                <a:lnTo>
                  <a:pt x="197" y="287"/>
                </a:lnTo>
                <a:lnTo>
                  <a:pt x="196" y="270"/>
                </a:lnTo>
                <a:lnTo>
                  <a:pt x="196" y="270"/>
                </a:lnTo>
                <a:lnTo>
                  <a:pt x="196" y="261"/>
                </a:lnTo>
                <a:lnTo>
                  <a:pt x="197" y="253"/>
                </a:lnTo>
                <a:lnTo>
                  <a:pt x="198" y="247"/>
                </a:lnTo>
                <a:lnTo>
                  <a:pt x="200" y="242"/>
                </a:lnTo>
                <a:lnTo>
                  <a:pt x="200" y="242"/>
                </a:lnTo>
                <a:lnTo>
                  <a:pt x="203" y="240"/>
                </a:lnTo>
                <a:lnTo>
                  <a:pt x="205" y="239"/>
                </a:lnTo>
                <a:lnTo>
                  <a:pt x="209" y="238"/>
                </a:lnTo>
                <a:lnTo>
                  <a:pt x="211" y="238"/>
                </a:lnTo>
                <a:lnTo>
                  <a:pt x="211" y="238"/>
                </a:lnTo>
                <a:lnTo>
                  <a:pt x="215" y="238"/>
                </a:lnTo>
                <a:lnTo>
                  <a:pt x="218" y="239"/>
                </a:lnTo>
                <a:lnTo>
                  <a:pt x="220" y="241"/>
                </a:lnTo>
                <a:lnTo>
                  <a:pt x="223" y="243"/>
                </a:lnTo>
                <a:lnTo>
                  <a:pt x="223" y="243"/>
                </a:lnTo>
                <a:lnTo>
                  <a:pt x="225" y="248"/>
                </a:lnTo>
                <a:lnTo>
                  <a:pt x="226" y="254"/>
                </a:lnTo>
                <a:lnTo>
                  <a:pt x="227" y="270"/>
                </a:lnTo>
                <a:lnTo>
                  <a:pt x="227" y="270"/>
                </a:lnTo>
                <a:lnTo>
                  <a:pt x="226" y="287"/>
                </a:lnTo>
                <a:lnTo>
                  <a:pt x="225" y="293"/>
                </a:lnTo>
                <a:lnTo>
                  <a:pt x="223" y="296"/>
                </a:lnTo>
                <a:lnTo>
                  <a:pt x="223" y="296"/>
                </a:lnTo>
                <a:close/>
                <a:moveTo>
                  <a:pt x="154" y="239"/>
                </a:moveTo>
                <a:lnTo>
                  <a:pt x="154" y="239"/>
                </a:lnTo>
                <a:lnTo>
                  <a:pt x="150" y="234"/>
                </a:lnTo>
                <a:lnTo>
                  <a:pt x="145" y="232"/>
                </a:lnTo>
                <a:lnTo>
                  <a:pt x="145" y="232"/>
                </a:lnTo>
                <a:lnTo>
                  <a:pt x="140" y="229"/>
                </a:lnTo>
                <a:lnTo>
                  <a:pt x="134" y="229"/>
                </a:lnTo>
                <a:lnTo>
                  <a:pt x="134" y="229"/>
                </a:lnTo>
                <a:lnTo>
                  <a:pt x="125" y="231"/>
                </a:lnTo>
                <a:lnTo>
                  <a:pt x="120" y="234"/>
                </a:lnTo>
                <a:lnTo>
                  <a:pt x="120" y="234"/>
                </a:lnTo>
                <a:lnTo>
                  <a:pt x="114" y="239"/>
                </a:lnTo>
                <a:lnTo>
                  <a:pt x="110" y="247"/>
                </a:lnTo>
                <a:lnTo>
                  <a:pt x="110" y="247"/>
                </a:lnTo>
                <a:lnTo>
                  <a:pt x="108" y="258"/>
                </a:lnTo>
                <a:lnTo>
                  <a:pt x="107" y="270"/>
                </a:lnTo>
                <a:lnTo>
                  <a:pt x="107" y="270"/>
                </a:lnTo>
                <a:lnTo>
                  <a:pt x="108" y="281"/>
                </a:lnTo>
                <a:lnTo>
                  <a:pt x="109" y="290"/>
                </a:lnTo>
                <a:lnTo>
                  <a:pt x="111" y="297"/>
                </a:lnTo>
                <a:lnTo>
                  <a:pt x="115" y="303"/>
                </a:lnTo>
                <a:lnTo>
                  <a:pt x="115" y="303"/>
                </a:lnTo>
                <a:lnTo>
                  <a:pt x="118" y="307"/>
                </a:lnTo>
                <a:lnTo>
                  <a:pt x="123" y="309"/>
                </a:lnTo>
                <a:lnTo>
                  <a:pt x="128" y="311"/>
                </a:lnTo>
                <a:lnTo>
                  <a:pt x="134" y="311"/>
                </a:lnTo>
                <a:lnTo>
                  <a:pt x="134" y="311"/>
                </a:lnTo>
                <a:lnTo>
                  <a:pt x="142" y="310"/>
                </a:lnTo>
                <a:lnTo>
                  <a:pt x="145" y="309"/>
                </a:lnTo>
                <a:lnTo>
                  <a:pt x="149" y="307"/>
                </a:lnTo>
                <a:lnTo>
                  <a:pt x="149" y="307"/>
                </a:lnTo>
                <a:lnTo>
                  <a:pt x="154" y="301"/>
                </a:lnTo>
                <a:lnTo>
                  <a:pt x="157" y="293"/>
                </a:lnTo>
                <a:lnTo>
                  <a:pt x="157" y="293"/>
                </a:lnTo>
                <a:lnTo>
                  <a:pt x="159" y="283"/>
                </a:lnTo>
                <a:lnTo>
                  <a:pt x="161" y="270"/>
                </a:lnTo>
                <a:lnTo>
                  <a:pt x="161" y="270"/>
                </a:lnTo>
                <a:lnTo>
                  <a:pt x="159" y="260"/>
                </a:lnTo>
                <a:lnTo>
                  <a:pt x="158" y="250"/>
                </a:lnTo>
                <a:lnTo>
                  <a:pt x="158" y="250"/>
                </a:lnTo>
                <a:lnTo>
                  <a:pt x="156" y="245"/>
                </a:lnTo>
                <a:lnTo>
                  <a:pt x="154" y="239"/>
                </a:lnTo>
                <a:lnTo>
                  <a:pt x="154" y="239"/>
                </a:lnTo>
                <a:close/>
                <a:moveTo>
                  <a:pt x="145" y="296"/>
                </a:moveTo>
                <a:lnTo>
                  <a:pt x="145" y="296"/>
                </a:lnTo>
                <a:lnTo>
                  <a:pt x="143" y="300"/>
                </a:lnTo>
                <a:lnTo>
                  <a:pt x="140" y="302"/>
                </a:lnTo>
                <a:lnTo>
                  <a:pt x="137" y="303"/>
                </a:lnTo>
                <a:lnTo>
                  <a:pt x="134" y="303"/>
                </a:lnTo>
                <a:lnTo>
                  <a:pt x="134" y="303"/>
                </a:lnTo>
                <a:lnTo>
                  <a:pt x="130" y="303"/>
                </a:lnTo>
                <a:lnTo>
                  <a:pt x="128" y="302"/>
                </a:lnTo>
                <a:lnTo>
                  <a:pt x="124" y="300"/>
                </a:lnTo>
                <a:lnTo>
                  <a:pt x="122" y="296"/>
                </a:lnTo>
                <a:lnTo>
                  <a:pt x="122" y="296"/>
                </a:lnTo>
                <a:lnTo>
                  <a:pt x="120" y="293"/>
                </a:lnTo>
                <a:lnTo>
                  <a:pt x="118" y="287"/>
                </a:lnTo>
                <a:lnTo>
                  <a:pt x="117" y="270"/>
                </a:lnTo>
                <a:lnTo>
                  <a:pt x="117" y="270"/>
                </a:lnTo>
                <a:lnTo>
                  <a:pt x="117" y="261"/>
                </a:lnTo>
                <a:lnTo>
                  <a:pt x="118" y="253"/>
                </a:lnTo>
                <a:lnTo>
                  <a:pt x="121" y="247"/>
                </a:lnTo>
                <a:lnTo>
                  <a:pt x="123" y="242"/>
                </a:lnTo>
                <a:lnTo>
                  <a:pt x="123" y="242"/>
                </a:lnTo>
                <a:lnTo>
                  <a:pt x="124" y="240"/>
                </a:lnTo>
                <a:lnTo>
                  <a:pt x="128" y="239"/>
                </a:lnTo>
                <a:lnTo>
                  <a:pt x="130" y="238"/>
                </a:lnTo>
                <a:lnTo>
                  <a:pt x="134" y="238"/>
                </a:lnTo>
                <a:lnTo>
                  <a:pt x="134" y="238"/>
                </a:lnTo>
                <a:lnTo>
                  <a:pt x="137" y="238"/>
                </a:lnTo>
                <a:lnTo>
                  <a:pt x="140" y="239"/>
                </a:lnTo>
                <a:lnTo>
                  <a:pt x="143" y="241"/>
                </a:lnTo>
                <a:lnTo>
                  <a:pt x="145" y="243"/>
                </a:lnTo>
                <a:lnTo>
                  <a:pt x="145" y="243"/>
                </a:lnTo>
                <a:lnTo>
                  <a:pt x="148" y="248"/>
                </a:lnTo>
                <a:lnTo>
                  <a:pt x="149" y="254"/>
                </a:lnTo>
                <a:lnTo>
                  <a:pt x="150" y="270"/>
                </a:lnTo>
                <a:lnTo>
                  <a:pt x="150" y="270"/>
                </a:lnTo>
                <a:lnTo>
                  <a:pt x="149" y="287"/>
                </a:lnTo>
                <a:lnTo>
                  <a:pt x="148" y="293"/>
                </a:lnTo>
                <a:lnTo>
                  <a:pt x="145" y="296"/>
                </a:lnTo>
                <a:lnTo>
                  <a:pt x="145" y="296"/>
                </a:lnTo>
                <a:close/>
              </a:path>
            </a:pathLst>
          </a:custGeom>
          <a:solidFill>
            <a:schemeClr val="bg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61" name="Rounded Rectangle 60"/>
          <p:cNvSpPr/>
          <p:nvPr/>
        </p:nvSpPr>
        <p:spPr>
          <a:xfrm>
            <a:off x="3240022" y="4169455"/>
            <a:ext cx="556685" cy="208887"/>
          </a:xfrm>
          <a:prstGeom prst="round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1"/>
                </a:solidFill>
                <a:latin typeface="+mj-lt"/>
              </a:rPr>
              <a:t>CSGN</a:t>
            </a:r>
          </a:p>
        </p:txBody>
      </p:sp>
      <p:sp>
        <p:nvSpPr>
          <p:cNvPr id="62" name="Rounded Rectangle 61"/>
          <p:cNvSpPr/>
          <p:nvPr/>
        </p:nvSpPr>
        <p:spPr>
          <a:xfrm>
            <a:off x="4338195" y="4169918"/>
            <a:ext cx="556685" cy="208887"/>
          </a:xfrm>
          <a:prstGeom prst="roundRect">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b="1" dirty="0" smtClean="0">
                <a:solidFill>
                  <a:schemeClr val="tx1"/>
                </a:solidFill>
                <a:latin typeface="+mj-lt"/>
              </a:rPr>
              <a:t>eSCEF</a:t>
            </a:r>
          </a:p>
        </p:txBody>
      </p:sp>
    </p:spTree>
    <p:extLst>
      <p:ext uri="{BB962C8B-B14F-4D97-AF65-F5344CB8AC3E}">
        <p14:creationId xmlns:p14="http://schemas.microsoft.com/office/powerpoint/2010/main" val="907992940"/>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63"/>
          <p:cNvSpPr>
            <a:spLocks noGrp="1"/>
          </p:cNvSpPr>
          <p:nvPr>
            <p:ph type="title"/>
          </p:nvPr>
        </p:nvSpPr>
        <p:spPr/>
        <p:txBody>
          <a:bodyPr/>
          <a:lstStyle/>
          <a:p>
            <a:r>
              <a:rPr lang="en-US" dirty="0" smtClean="0"/>
              <a:t>Cisco Ultra </a:t>
            </a:r>
            <a:r>
              <a:rPr lang="en-US" dirty="0" err="1" smtClean="0"/>
              <a:t>IoT</a:t>
            </a:r>
            <a:r>
              <a:rPr lang="en-US" dirty="0" smtClean="0"/>
              <a:t> Opens New Opportunities</a:t>
            </a:r>
            <a:br>
              <a:rPr lang="en-US" dirty="0" smtClean="0"/>
            </a:br>
            <a:r>
              <a:rPr lang="en-US" dirty="0" smtClean="0"/>
              <a:t>for Operators</a:t>
            </a:r>
            <a:endParaRPr lang="en-US" dirty="0"/>
          </a:p>
        </p:txBody>
      </p:sp>
      <p:sp>
        <p:nvSpPr>
          <p:cNvPr id="109" name="Rectangle 11"/>
          <p:cNvSpPr>
            <a:spLocks noChangeArrowheads="1"/>
          </p:cNvSpPr>
          <p:nvPr/>
        </p:nvSpPr>
        <p:spPr bwMode="auto">
          <a:xfrm>
            <a:off x="273050" y="4441825"/>
            <a:ext cx="8594723" cy="279400"/>
          </a:xfrm>
          <a:prstGeom prst="rect">
            <a:avLst/>
          </a:prstGeom>
          <a:solidFill>
            <a:schemeClr val="bg1"/>
          </a:solidFill>
          <a:ln w="9525">
            <a:noFill/>
            <a:miter lim="800000"/>
            <a:headEnd/>
            <a:tailEnd/>
          </a:ln>
        </p:spPr>
        <p:txBody>
          <a:bodyPr vert="horz" wrap="square" lIns="91440" tIns="45720" rIns="91440" bIns="45720" numCol="2" anchor="t" anchorCtr="0" compatLnSpc="1">
            <a:prstTxWarp prst="textNoShape">
              <a:avLst/>
            </a:prstTxWarp>
          </a:bodyPr>
          <a:lstStyle/>
          <a:p>
            <a:pPr marL="173736" indent="-173736">
              <a:lnSpc>
                <a:spcPct val="110000"/>
              </a:lnSpc>
              <a:spcBef>
                <a:spcPts val="200"/>
              </a:spcBef>
              <a:buFont typeface="Wingdings" panose="05000000000000000000" pitchFamily="2" charset="2"/>
              <a:buChar char="§"/>
            </a:pPr>
            <a:endParaRPr lang="en-US" sz="1400" dirty="0" smtClean="0">
              <a:solidFill>
                <a:schemeClr val="bg1"/>
              </a:solidFill>
              <a:latin typeface="+mj-lt"/>
            </a:endParaRPr>
          </a:p>
        </p:txBody>
      </p:sp>
      <p:sp>
        <p:nvSpPr>
          <p:cNvPr id="67" name="Freeform 6"/>
          <p:cNvSpPr>
            <a:spLocks noEditPoints="1"/>
          </p:cNvSpPr>
          <p:nvPr/>
        </p:nvSpPr>
        <p:spPr bwMode="auto">
          <a:xfrm>
            <a:off x="273049" y="2143740"/>
            <a:ext cx="8595360" cy="2589212"/>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2" name="Group 245"/>
          <p:cNvGrpSpPr/>
          <p:nvPr/>
        </p:nvGrpSpPr>
        <p:grpSpPr>
          <a:xfrm>
            <a:off x="451344" y="2913122"/>
            <a:ext cx="8416431" cy="1819830"/>
            <a:chOff x="451344" y="2731115"/>
            <a:chExt cx="8416431" cy="1819830"/>
          </a:xfrm>
        </p:grpSpPr>
        <p:sp>
          <p:nvSpPr>
            <p:cNvPr id="70" name="Rectangle 69"/>
            <p:cNvSpPr/>
            <p:nvPr/>
          </p:nvSpPr>
          <p:spPr>
            <a:xfrm>
              <a:off x="7858125" y="4446347"/>
              <a:ext cx="1009650" cy="104598"/>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71" name="Freeform 29"/>
            <p:cNvSpPr>
              <a:spLocks noEditPoints="1"/>
            </p:cNvSpPr>
            <p:nvPr/>
          </p:nvSpPr>
          <p:spPr bwMode="auto">
            <a:xfrm>
              <a:off x="1138724" y="3295279"/>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 name="Group 28"/>
            <p:cNvGrpSpPr/>
            <p:nvPr/>
          </p:nvGrpSpPr>
          <p:grpSpPr>
            <a:xfrm>
              <a:off x="907732" y="3834066"/>
              <a:ext cx="301657" cy="716879"/>
              <a:chOff x="1790700" y="2979738"/>
              <a:chExt cx="539750" cy="1282700"/>
            </a:xfrm>
          </p:grpSpPr>
          <p:sp>
            <p:nvSpPr>
              <p:cNvPr id="73"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 name="Group 58"/>
            <p:cNvGrpSpPr/>
            <p:nvPr/>
          </p:nvGrpSpPr>
          <p:grpSpPr>
            <a:xfrm>
              <a:off x="451344" y="3433051"/>
              <a:ext cx="502539" cy="1117894"/>
              <a:chOff x="50589" y="3098960"/>
              <a:chExt cx="550863" cy="1225389"/>
            </a:xfrm>
          </p:grpSpPr>
          <p:sp>
            <p:nvSpPr>
              <p:cNvPr id="82"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9"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 name="Group 56"/>
            <p:cNvGrpSpPr/>
            <p:nvPr/>
          </p:nvGrpSpPr>
          <p:grpSpPr>
            <a:xfrm>
              <a:off x="1436339" y="3816688"/>
              <a:ext cx="2870409" cy="734257"/>
              <a:chOff x="1130300" y="3522663"/>
              <a:chExt cx="3146425" cy="804862"/>
            </a:xfrm>
          </p:grpSpPr>
          <p:sp>
            <p:nvSpPr>
              <p:cNvPr id="91"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6" name="Group 55"/>
            <p:cNvGrpSpPr/>
            <p:nvPr/>
          </p:nvGrpSpPr>
          <p:grpSpPr>
            <a:xfrm>
              <a:off x="4213209" y="3847101"/>
              <a:ext cx="1135885" cy="703844"/>
              <a:chOff x="4127500" y="2292350"/>
              <a:chExt cx="889000" cy="550863"/>
            </a:xfrm>
          </p:grpSpPr>
          <p:sp>
            <p:nvSpPr>
              <p:cNvPr id="94"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5"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6"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7"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8" name="Freeform 70"/>
            <p:cNvSpPr>
              <a:spLocks noEditPoints="1"/>
            </p:cNvSpPr>
            <p:nvPr/>
          </p:nvSpPr>
          <p:spPr bwMode="auto">
            <a:xfrm>
              <a:off x="6846414" y="2999956"/>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7" name="Group 89"/>
            <p:cNvGrpSpPr/>
            <p:nvPr/>
          </p:nvGrpSpPr>
          <p:grpSpPr>
            <a:xfrm>
              <a:off x="5349095" y="3441920"/>
              <a:ext cx="1542753" cy="1109025"/>
              <a:chOff x="5820057" y="3111857"/>
              <a:chExt cx="1691103" cy="1215668"/>
            </a:xfrm>
          </p:grpSpPr>
          <p:grpSp>
            <p:nvGrpSpPr>
              <p:cNvPr id="8" name="Group 81"/>
              <p:cNvGrpSpPr/>
              <p:nvPr/>
            </p:nvGrpSpPr>
            <p:grpSpPr>
              <a:xfrm>
                <a:off x="5850148" y="3367629"/>
                <a:ext cx="1642959" cy="959896"/>
                <a:chOff x="9172575" y="1344613"/>
                <a:chExt cx="1733551" cy="1012825"/>
              </a:xfrm>
              <a:solidFill>
                <a:schemeClr val="bg1"/>
              </a:solidFill>
            </p:grpSpPr>
            <p:sp>
              <p:nvSpPr>
                <p:cNvPr id="102" name="Rectangle 101"/>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9" name="Group 79"/>
                <p:cNvGrpSpPr/>
                <p:nvPr/>
              </p:nvGrpSpPr>
              <p:grpSpPr>
                <a:xfrm>
                  <a:off x="9172575" y="1344613"/>
                  <a:ext cx="1733551" cy="1012825"/>
                  <a:chOff x="9172575" y="1344613"/>
                  <a:chExt cx="1733551" cy="1012825"/>
                </a:xfrm>
                <a:grpFill/>
              </p:grpSpPr>
              <p:sp>
                <p:nvSpPr>
                  <p:cNvPr id="104"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 name="Rectangle 104"/>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101"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0" name="Group 116"/>
            <p:cNvGrpSpPr/>
            <p:nvPr/>
          </p:nvGrpSpPr>
          <p:grpSpPr>
            <a:xfrm>
              <a:off x="7291388" y="2731115"/>
              <a:ext cx="655637" cy="1819275"/>
              <a:chOff x="7291388" y="2198688"/>
              <a:chExt cx="655637" cy="1819275"/>
            </a:xfrm>
          </p:grpSpPr>
          <p:sp>
            <p:nvSpPr>
              <p:cNvPr id="107"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1" name="Group 109"/>
            <p:cNvGrpSpPr/>
            <p:nvPr/>
          </p:nvGrpSpPr>
          <p:grpSpPr>
            <a:xfrm>
              <a:off x="451344" y="2731115"/>
              <a:ext cx="8416431" cy="1819830"/>
              <a:chOff x="603744" y="2351088"/>
              <a:chExt cx="8416431" cy="1819830"/>
            </a:xfrm>
            <a:solidFill>
              <a:schemeClr val="accent1">
                <a:lumMod val="20000"/>
                <a:lumOff val="80000"/>
                <a:alpha val="77000"/>
              </a:schemeClr>
            </a:solidFill>
          </p:grpSpPr>
          <p:sp>
            <p:nvSpPr>
              <p:cNvPr id="111" name="Rectangle 110"/>
              <p:cNvSpPr/>
              <p:nvPr/>
            </p:nvSpPr>
            <p:spPr>
              <a:xfrm>
                <a:off x="8010525" y="4066320"/>
                <a:ext cx="1009650" cy="10459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112" name="Freeform 29"/>
              <p:cNvSpPr>
                <a:spLocks noEditPoints="1"/>
              </p:cNvSpPr>
              <p:nvPr/>
            </p:nvSpPr>
            <p:spPr bwMode="auto">
              <a:xfrm>
                <a:off x="1291124" y="2915252"/>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2" name="Group 28"/>
              <p:cNvGrpSpPr/>
              <p:nvPr/>
            </p:nvGrpSpPr>
            <p:grpSpPr>
              <a:xfrm>
                <a:off x="1060132" y="3454039"/>
                <a:ext cx="301657" cy="716879"/>
                <a:chOff x="1790700" y="2979738"/>
                <a:chExt cx="539750" cy="1282700"/>
              </a:xfrm>
              <a:grpFill/>
            </p:grpSpPr>
            <p:sp>
              <p:nvSpPr>
                <p:cNvPr id="136" name="Rectangle 23"/>
                <p:cNvSpPr>
                  <a:spLocks noChangeArrowheads="1"/>
                </p:cNvSpPr>
                <p:nvPr/>
              </p:nvSpPr>
              <p:spPr bwMode="auto">
                <a:xfrm>
                  <a:off x="1790700" y="2986088"/>
                  <a:ext cx="525463" cy="12763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7"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3" name="Group 58"/>
              <p:cNvGrpSpPr/>
              <p:nvPr/>
            </p:nvGrpSpPr>
            <p:grpSpPr>
              <a:xfrm>
                <a:off x="603744" y="3053024"/>
                <a:ext cx="502539" cy="1117894"/>
                <a:chOff x="50589" y="3098960"/>
                <a:chExt cx="550863" cy="1225389"/>
              </a:xfrm>
              <a:grpFill/>
            </p:grpSpPr>
            <p:sp>
              <p:nvSpPr>
                <p:cNvPr id="134"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5"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4" name="Group 56"/>
              <p:cNvGrpSpPr/>
              <p:nvPr/>
            </p:nvGrpSpPr>
            <p:grpSpPr>
              <a:xfrm>
                <a:off x="1588739" y="3436661"/>
                <a:ext cx="2870409" cy="734257"/>
                <a:chOff x="1130300" y="3522663"/>
                <a:chExt cx="3146425" cy="804862"/>
              </a:xfrm>
              <a:grpFill/>
            </p:grpSpPr>
            <p:sp>
              <p:nvSpPr>
                <p:cNvPr id="132"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3"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5" name="Group 55"/>
              <p:cNvGrpSpPr/>
              <p:nvPr/>
            </p:nvGrpSpPr>
            <p:grpSpPr>
              <a:xfrm>
                <a:off x="4365609" y="3467074"/>
                <a:ext cx="1135885" cy="703844"/>
                <a:chOff x="4127500" y="2292350"/>
                <a:chExt cx="889000" cy="550863"/>
              </a:xfrm>
              <a:grpFill/>
            </p:grpSpPr>
            <p:sp>
              <p:nvSpPr>
                <p:cNvPr id="128"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9"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0"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1"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7" name="Freeform 70"/>
              <p:cNvSpPr>
                <a:spLocks noEditPoints="1"/>
              </p:cNvSpPr>
              <p:nvPr/>
            </p:nvSpPr>
            <p:spPr bwMode="auto">
              <a:xfrm>
                <a:off x="6998814" y="2619929"/>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6" name="Group 89"/>
              <p:cNvGrpSpPr/>
              <p:nvPr/>
            </p:nvGrpSpPr>
            <p:grpSpPr>
              <a:xfrm>
                <a:off x="5501495" y="3061893"/>
                <a:ext cx="1542753" cy="1109025"/>
                <a:chOff x="5820057" y="3111857"/>
                <a:chExt cx="1691103" cy="1215668"/>
              </a:xfrm>
              <a:grpFill/>
            </p:grpSpPr>
            <p:grpSp>
              <p:nvGrpSpPr>
                <p:cNvPr id="17" name="Group 81"/>
                <p:cNvGrpSpPr/>
                <p:nvPr/>
              </p:nvGrpSpPr>
              <p:grpSpPr>
                <a:xfrm>
                  <a:off x="5850148" y="3367629"/>
                  <a:ext cx="1642959" cy="959896"/>
                  <a:chOff x="9172575" y="1344613"/>
                  <a:chExt cx="1733551" cy="1012825"/>
                </a:xfrm>
                <a:grpFill/>
              </p:grpSpPr>
              <p:sp>
                <p:nvSpPr>
                  <p:cNvPr id="124" name="Rectangle 123"/>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8" name="Group 79"/>
                  <p:cNvGrpSpPr/>
                  <p:nvPr/>
                </p:nvGrpSpPr>
                <p:grpSpPr>
                  <a:xfrm>
                    <a:off x="9172575" y="1344613"/>
                    <a:ext cx="1733551" cy="1012825"/>
                    <a:chOff x="9172575" y="1344613"/>
                    <a:chExt cx="1733551" cy="1012825"/>
                  </a:xfrm>
                  <a:grpFill/>
                </p:grpSpPr>
                <p:sp>
                  <p:nvSpPr>
                    <p:cNvPr id="126"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7" name="Rectangle 126"/>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123"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9" name="Group 116"/>
              <p:cNvGrpSpPr/>
              <p:nvPr/>
            </p:nvGrpSpPr>
            <p:grpSpPr>
              <a:xfrm>
                <a:off x="7443788" y="2351088"/>
                <a:ext cx="655637" cy="1819275"/>
                <a:chOff x="7291388" y="2198688"/>
                <a:chExt cx="655637" cy="1819275"/>
              </a:xfrm>
              <a:grpFill/>
            </p:grpSpPr>
            <p:sp>
              <p:nvSpPr>
                <p:cNvPr id="120"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1"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sp>
        <p:nvSpPr>
          <p:cNvPr id="190" name="Rectangle 189"/>
          <p:cNvSpPr/>
          <p:nvPr/>
        </p:nvSpPr>
        <p:spPr>
          <a:xfrm>
            <a:off x="451345" y="2062578"/>
            <a:ext cx="845116" cy="169277"/>
          </a:xfrm>
          <a:prstGeom prst="rect">
            <a:avLst/>
          </a:prstGeom>
        </p:spPr>
        <p:txBody>
          <a:bodyPr wrap="square" lIns="0" tIns="0" rIns="0" bIns="0">
            <a:spAutoFit/>
          </a:bodyPr>
          <a:lstStyle/>
          <a:p>
            <a:pPr marL="7144" lvl="5" defTabSz="685193">
              <a:defRPr/>
            </a:pPr>
            <a:r>
              <a:rPr lang="en-US" sz="1100" b="1" kern="0" dirty="0">
                <a:solidFill>
                  <a:schemeClr val="accent1"/>
                </a:solidFill>
                <a:latin typeface="+mj-lt"/>
              </a:rPr>
              <a:t>Logistics </a:t>
            </a:r>
          </a:p>
        </p:txBody>
      </p:sp>
      <p:sp>
        <p:nvSpPr>
          <p:cNvPr id="191" name="Rectangle 190"/>
          <p:cNvSpPr/>
          <p:nvPr/>
        </p:nvSpPr>
        <p:spPr>
          <a:xfrm>
            <a:off x="2016764" y="1624438"/>
            <a:ext cx="608520" cy="338554"/>
          </a:xfrm>
          <a:prstGeom prst="rect">
            <a:avLst/>
          </a:prstGeom>
        </p:spPr>
        <p:txBody>
          <a:bodyPr wrap="square" lIns="0" tIns="0" rIns="0" bIns="0">
            <a:spAutoFit/>
          </a:bodyPr>
          <a:lstStyle/>
          <a:p>
            <a:pPr marL="7144" lvl="5" defTabSz="685193">
              <a:spcBef>
                <a:spcPts val="225"/>
              </a:spcBef>
              <a:defRPr/>
            </a:pPr>
            <a:r>
              <a:rPr lang="en-US" sz="1100" b="1" kern="0" dirty="0">
                <a:solidFill>
                  <a:schemeClr val="accent1"/>
                </a:solidFill>
                <a:latin typeface="+mj-lt"/>
              </a:rPr>
              <a:t>Smart </a:t>
            </a:r>
            <a:br>
              <a:rPr lang="en-US" sz="1100" b="1" kern="0" dirty="0">
                <a:solidFill>
                  <a:schemeClr val="accent1"/>
                </a:solidFill>
                <a:latin typeface="+mj-lt"/>
              </a:rPr>
            </a:br>
            <a:r>
              <a:rPr lang="en-US" sz="1100" b="1" kern="0" dirty="0">
                <a:solidFill>
                  <a:schemeClr val="accent1"/>
                </a:solidFill>
                <a:latin typeface="+mj-lt"/>
              </a:rPr>
              <a:t>Cities</a:t>
            </a:r>
          </a:p>
        </p:txBody>
      </p:sp>
      <p:sp>
        <p:nvSpPr>
          <p:cNvPr id="192" name="Rectangle 191"/>
          <p:cNvSpPr/>
          <p:nvPr/>
        </p:nvSpPr>
        <p:spPr>
          <a:xfrm>
            <a:off x="2932125" y="1135057"/>
            <a:ext cx="709168" cy="338554"/>
          </a:xfrm>
          <a:prstGeom prst="rect">
            <a:avLst/>
          </a:prstGeom>
        </p:spPr>
        <p:txBody>
          <a:bodyPr wrap="none" lIns="0" tIns="0" rIns="0" bIns="0">
            <a:spAutoFit/>
          </a:bodyPr>
          <a:lstStyle/>
          <a:p>
            <a:pPr marL="7144" lvl="5" defTabSz="685193">
              <a:spcBef>
                <a:spcPts val="225"/>
              </a:spcBef>
              <a:defRPr/>
            </a:pPr>
            <a:r>
              <a:rPr lang="en-US" sz="1100" b="1" kern="0" dirty="0" smtClean="0">
                <a:solidFill>
                  <a:schemeClr val="accent1"/>
                </a:solidFill>
                <a:latin typeface="+mj-lt"/>
              </a:rPr>
              <a:t>Intelligent </a:t>
            </a:r>
            <a:r>
              <a:rPr lang="en-US" sz="1100" b="1" kern="0" dirty="0">
                <a:solidFill>
                  <a:schemeClr val="accent1"/>
                </a:solidFill>
                <a:latin typeface="+mj-lt"/>
              </a:rPr>
              <a:t/>
            </a:r>
            <a:br>
              <a:rPr lang="en-US" sz="1100" b="1" kern="0" dirty="0">
                <a:solidFill>
                  <a:schemeClr val="accent1"/>
                </a:solidFill>
                <a:latin typeface="+mj-lt"/>
              </a:rPr>
            </a:br>
            <a:r>
              <a:rPr lang="en-US" sz="1100" b="1" kern="0" dirty="0">
                <a:solidFill>
                  <a:schemeClr val="accent1"/>
                </a:solidFill>
                <a:latin typeface="+mj-lt"/>
              </a:rPr>
              <a:t>Buildings</a:t>
            </a:r>
          </a:p>
        </p:txBody>
      </p:sp>
      <p:sp>
        <p:nvSpPr>
          <p:cNvPr id="193" name="Rectangle 192"/>
          <p:cNvSpPr/>
          <p:nvPr/>
        </p:nvSpPr>
        <p:spPr>
          <a:xfrm>
            <a:off x="5580520" y="1135057"/>
            <a:ext cx="1887080" cy="169277"/>
          </a:xfrm>
          <a:prstGeom prst="rect">
            <a:avLst/>
          </a:prstGeom>
        </p:spPr>
        <p:txBody>
          <a:bodyPr wrap="square" lIns="0" tIns="0" rIns="0" bIns="0">
            <a:spAutoFit/>
          </a:bodyPr>
          <a:lstStyle/>
          <a:p>
            <a:pPr marL="7144" lvl="5" defTabSz="685193">
              <a:spcBef>
                <a:spcPts val="225"/>
              </a:spcBef>
              <a:defRPr/>
            </a:pPr>
            <a:r>
              <a:rPr lang="en-US" sz="1100" b="1" kern="0" dirty="0" smtClean="0">
                <a:solidFill>
                  <a:schemeClr val="accent1"/>
                </a:solidFill>
                <a:latin typeface="+mj-lt"/>
              </a:rPr>
              <a:t>Utilities</a:t>
            </a:r>
            <a:endParaRPr lang="en-US" sz="1100" b="1" kern="0" dirty="0">
              <a:solidFill>
                <a:schemeClr val="accent1"/>
              </a:solidFill>
              <a:latin typeface="+mj-lt"/>
            </a:endParaRPr>
          </a:p>
        </p:txBody>
      </p:sp>
      <p:sp>
        <p:nvSpPr>
          <p:cNvPr id="194" name="Rectangle 193"/>
          <p:cNvSpPr/>
          <p:nvPr/>
        </p:nvSpPr>
        <p:spPr>
          <a:xfrm>
            <a:off x="6710694" y="1576203"/>
            <a:ext cx="1719618" cy="169277"/>
          </a:xfrm>
          <a:prstGeom prst="rect">
            <a:avLst/>
          </a:prstGeom>
        </p:spPr>
        <p:txBody>
          <a:bodyPr wrap="square" lIns="0" tIns="0" rIns="0" bIns="0">
            <a:spAutoFit/>
          </a:bodyPr>
          <a:lstStyle/>
          <a:p>
            <a:pPr marL="7144" lvl="5" defTabSz="685193">
              <a:spcBef>
                <a:spcPts val="225"/>
              </a:spcBef>
              <a:defRPr/>
            </a:pPr>
            <a:r>
              <a:rPr lang="en-US" sz="1100" b="1" kern="0" dirty="0" smtClean="0">
                <a:solidFill>
                  <a:schemeClr val="accent1"/>
                </a:solidFill>
                <a:latin typeface="+mj-lt"/>
              </a:rPr>
              <a:t>Agriculture</a:t>
            </a:r>
            <a:endParaRPr lang="en-US" sz="1100" b="1" kern="0" dirty="0">
              <a:solidFill>
                <a:schemeClr val="accent1"/>
              </a:solidFill>
              <a:latin typeface="+mj-lt"/>
            </a:endParaRPr>
          </a:p>
        </p:txBody>
      </p:sp>
      <p:sp>
        <p:nvSpPr>
          <p:cNvPr id="195" name="Rectangle 194"/>
          <p:cNvSpPr/>
          <p:nvPr/>
        </p:nvSpPr>
        <p:spPr>
          <a:xfrm>
            <a:off x="7858124" y="2062578"/>
            <a:ext cx="1009649" cy="169277"/>
          </a:xfrm>
          <a:prstGeom prst="rect">
            <a:avLst/>
          </a:prstGeom>
        </p:spPr>
        <p:txBody>
          <a:bodyPr wrap="square" lIns="0" tIns="0" rIns="0" bIns="0">
            <a:spAutoFit/>
          </a:bodyPr>
          <a:lstStyle/>
          <a:p>
            <a:pPr marL="7144" lvl="5" defTabSz="685193">
              <a:spcBef>
                <a:spcPts val="225"/>
              </a:spcBef>
              <a:defRPr/>
            </a:pPr>
            <a:r>
              <a:rPr lang="en-US" sz="1100" b="1" kern="0" dirty="0" smtClean="0">
                <a:solidFill>
                  <a:schemeClr val="accent1"/>
                </a:solidFill>
                <a:latin typeface="+mj-lt"/>
              </a:rPr>
              <a:t>Transportation</a:t>
            </a:r>
            <a:endParaRPr lang="en-US" sz="1100" b="1" kern="0" dirty="0">
              <a:solidFill>
                <a:schemeClr val="accent1"/>
              </a:solidFill>
              <a:latin typeface="+mj-lt"/>
            </a:endParaRPr>
          </a:p>
        </p:txBody>
      </p:sp>
      <p:sp>
        <p:nvSpPr>
          <p:cNvPr id="223" name="Freeform 6"/>
          <p:cNvSpPr>
            <a:spLocks/>
          </p:cNvSpPr>
          <p:nvPr/>
        </p:nvSpPr>
        <p:spPr bwMode="auto">
          <a:xfrm>
            <a:off x="3886201" y="1802864"/>
            <a:ext cx="1371600" cy="877888"/>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75" name="Oval 2"/>
          <p:cNvSpPr/>
          <p:nvPr/>
        </p:nvSpPr>
        <p:spPr>
          <a:xfrm>
            <a:off x="273050" y="4116819"/>
            <a:ext cx="1183410" cy="591706"/>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6" name="Oval 2"/>
          <p:cNvSpPr/>
          <p:nvPr/>
        </p:nvSpPr>
        <p:spPr>
          <a:xfrm>
            <a:off x="2836897" y="3214863"/>
            <a:ext cx="3473911" cy="1493662"/>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7" name="Oval 2"/>
          <p:cNvSpPr/>
          <p:nvPr/>
        </p:nvSpPr>
        <p:spPr>
          <a:xfrm>
            <a:off x="1250084" y="3811930"/>
            <a:ext cx="1793189" cy="896595"/>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18" name="Oval 2"/>
          <p:cNvSpPr/>
          <p:nvPr/>
        </p:nvSpPr>
        <p:spPr>
          <a:xfrm>
            <a:off x="6104432" y="3811930"/>
            <a:ext cx="1793189" cy="896595"/>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20" name="Oval 2"/>
          <p:cNvSpPr/>
          <p:nvPr/>
        </p:nvSpPr>
        <p:spPr>
          <a:xfrm>
            <a:off x="7691246" y="4116819"/>
            <a:ext cx="1183410" cy="591706"/>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0" name="Group 227"/>
          <p:cNvGrpSpPr/>
          <p:nvPr/>
        </p:nvGrpSpPr>
        <p:grpSpPr>
          <a:xfrm>
            <a:off x="1850960" y="3406968"/>
            <a:ext cx="591437" cy="591437"/>
            <a:chOff x="2209800" y="1885950"/>
            <a:chExt cx="679152" cy="679152"/>
          </a:xfrm>
        </p:grpSpPr>
        <p:sp>
          <p:nvSpPr>
            <p:cNvPr id="229" name="Teardrop 228"/>
            <p:cNvSpPr/>
            <p:nvPr/>
          </p:nvSpPr>
          <p:spPr>
            <a:xfrm rot="8100000">
              <a:off x="2209800" y="1885950"/>
              <a:ext cx="679152" cy="679152"/>
            </a:xfrm>
            <a:prstGeom prst="teardrop">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230" name="Rectangle 229"/>
            <p:cNvSpPr/>
            <p:nvPr/>
          </p:nvSpPr>
          <p:spPr>
            <a:xfrm>
              <a:off x="2260202" y="2150207"/>
              <a:ext cx="569106" cy="176711"/>
            </a:xfrm>
            <a:prstGeom prst="rect">
              <a:avLst/>
            </a:prstGeom>
          </p:spPr>
          <p:txBody>
            <a:bodyPr wrap="square" lIns="0" tIns="0" rIns="0" bIns="0">
              <a:spAutoFit/>
            </a:bodyPr>
            <a:lstStyle/>
            <a:p>
              <a:pPr algn="ctr"/>
              <a:r>
                <a:rPr lang="en-US" sz="1000" b="1" dirty="0" smtClean="0">
                  <a:solidFill>
                    <a:schemeClr val="bg1"/>
                  </a:solidFill>
                  <a:latin typeface="+mj-lt"/>
                </a:rPr>
                <a:t>Wi-Fi</a:t>
              </a:r>
            </a:p>
          </p:txBody>
        </p:sp>
      </p:grpSp>
      <p:grpSp>
        <p:nvGrpSpPr>
          <p:cNvPr id="21" name="Group 230"/>
          <p:cNvGrpSpPr/>
          <p:nvPr/>
        </p:nvGrpSpPr>
        <p:grpSpPr>
          <a:xfrm>
            <a:off x="4278134" y="2885849"/>
            <a:ext cx="591437" cy="591437"/>
            <a:chOff x="2209800" y="1885950"/>
            <a:chExt cx="679152" cy="679152"/>
          </a:xfrm>
        </p:grpSpPr>
        <p:sp>
          <p:nvSpPr>
            <p:cNvPr id="232" name="Teardrop 231"/>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233" name="Rectangle 232"/>
            <p:cNvSpPr/>
            <p:nvPr/>
          </p:nvSpPr>
          <p:spPr>
            <a:xfrm>
              <a:off x="2260202" y="2113217"/>
              <a:ext cx="569106" cy="353423"/>
            </a:xfrm>
            <a:prstGeom prst="rect">
              <a:avLst/>
            </a:prstGeom>
          </p:spPr>
          <p:txBody>
            <a:bodyPr wrap="square" lIns="0" tIns="0" rIns="0" bIns="0">
              <a:spAutoFit/>
            </a:bodyPr>
            <a:lstStyle/>
            <a:p>
              <a:pPr algn="ctr"/>
              <a:r>
                <a:rPr lang="en-US" sz="1000" b="1" dirty="0" smtClean="0">
                  <a:solidFill>
                    <a:schemeClr val="bg1"/>
                  </a:solidFill>
                  <a:latin typeface="+mj-lt"/>
                </a:rPr>
                <a:t>2G, 3G,</a:t>
              </a:r>
              <a:br>
                <a:rPr lang="en-US" sz="1000" b="1" dirty="0" smtClean="0">
                  <a:solidFill>
                    <a:schemeClr val="bg1"/>
                  </a:solidFill>
                  <a:latin typeface="+mj-lt"/>
                </a:rPr>
              </a:br>
              <a:r>
                <a:rPr lang="en-US" sz="1000" b="1" dirty="0" smtClean="0">
                  <a:solidFill>
                    <a:schemeClr val="bg1"/>
                  </a:solidFill>
                  <a:latin typeface="+mj-lt"/>
                </a:rPr>
                <a:t>LTE</a:t>
              </a:r>
            </a:p>
          </p:txBody>
        </p:sp>
      </p:grpSp>
      <p:grpSp>
        <p:nvGrpSpPr>
          <p:cNvPr id="22" name="Group 233"/>
          <p:cNvGrpSpPr/>
          <p:nvPr/>
        </p:nvGrpSpPr>
        <p:grpSpPr>
          <a:xfrm>
            <a:off x="6705308" y="3406968"/>
            <a:ext cx="591437" cy="591437"/>
            <a:chOff x="2209800" y="1885950"/>
            <a:chExt cx="679152" cy="679152"/>
          </a:xfrm>
        </p:grpSpPr>
        <p:sp>
          <p:nvSpPr>
            <p:cNvPr id="235" name="Teardrop 234"/>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236" name="Rectangle 235"/>
            <p:cNvSpPr/>
            <p:nvPr/>
          </p:nvSpPr>
          <p:spPr>
            <a:xfrm>
              <a:off x="2260202" y="2039234"/>
              <a:ext cx="569106" cy="353423"/>
            </a:xfrm>
            <a:prstGeom prst="rect">
              <a:avLst/>
            </a:prstGeom>
          </p:spPr>
          <p:txBody>
            <a:bodyPr wrap="square" lIns="0" tIns="0" rIns="0" bIns="0">
              <a:spAutoFit/>
            </a:bodyPr>
            <a:lstStyle/>
            <a:p>
              <a:pPr algn="ctr"/>
              <a:r>
                <a:rPr lang="en-US" sz="1000" b="1" dirty="0" smtClean="0">
                  <a:solidFill>
                    <a:schemeClr val="bg1"/>
                  </a:solidFill>
                  <a:latin typeface="+mj-lt"/>
                </a:rPr>
                <a:t>LTE/</a:t>
              </a:r>
              <a:br>
                <a:rPr lang="en-US" sz="1000" b="1" dirty="0" smtClean="0">
                  <a:solidFill>
                    <a:schemeClr val="bg1"/>
                  </a:solidFill>
                  <a:latin typeface="+mj-lt"/>
                </a:rPr>
              </a:br>
              <a:r>
                <a:rPr lang="en-US" sz="1000" b="1" dirty="0" smtClean="0">
                  <a:solidFill>
                    <a:schemeClr val="bg1"/>
                  </a:solidFill>
                  <a:latin typeface="+mj-lt"/>
                </a:rPr>
                <a:t>CAT-M1</a:t>
              </a:r>
            </a:p>
          </p:txBody>
        </p:sp>
      </p:grpSp>
      <p:grpSp>
        <p:nvGrpSpPr>
          <p:cNvPr id="23" name="Group 236"/>
          <p:cNvGrpSpPr/>
          <p:nvPr/>
        </p:nvGrpSpPr>
        <p:grpSpPr>
          <a:xfrm>
            <a:off x="7987233" y="3704800"/>
            <a:ext cx="591437" cy="591437"/>
            <a:chOff x="2209800" y="1885950"/>
            <a:chExt cx="679152" cy="679152"/>
          </a:xfrm>
        </p:grpSpPr>
        <p:sp>
          <p:nvSpPr>
            <p:cNvPr id="238" name="Teardrop 237"/>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239" name="Rectangle 238"/>
            <p:cNvSpPr/>
            <p:nvPr/>
          </p:nvSpPr>
          <p:spPr>
            <a:xfrm>
              <a:off x="2260202" y="2113217"/>
              <a:ext cx="569106" cy="353423"/>
            </a:xfrm>
            <a:prstGeom prst="rect">
              <a:avLst/>
            </a:prstGeom>
          </p:spPr>
          <p:txBody>
            <a:bodyPr wrap="square" lIns="0" tIns="0" rIns="0" bIns="0">
              <a:spAutoFit/>
            </a:bodyPr>
            <a:lstStyle/>
            <a:p>
              <a:pPr algn="ctr"/>
              <a:r>
                <a:rPr lang="en-US" sz="1000" b="1" dirty="0" smtClean="0">
                  <a:solidFill>
                    <a:schemeClr val="bg1"/>
                  </a:solidFill>
                  <a:latin typeface="+mj-lt"/>
                </a:rPr>
                <a:t>NB-</a:t>
              </a:r>
              <a:br>
                <a:rPr lang="en-US" sz="1000" b="1" dirty="0" smtClean="0">
                  <a:solidFill>
                    <a:schemeClr val="bg1"/>
                  </a:solidFill>
                  <a:latin typeface="+mj-lt"/>
                </a:rPr>
              </a:br>
              <a:r>
                <a:rPr lang="en-US" sz="1000" b="1" dirty="0" err="1" smtClean="0">
                  <a:solidFill>
                    <a:schemeClr val="bg1"/>
                  </a:solidFill>
                  <a:latin typeface="+mj-lt"/>
                </a:rPr>
                <a:t>IoT</a:t>
              </a:r>
              <a:endParaRPr lang="en-US" sz="1000" b="1" dirty="0" smtClean="0">
                <a:solidFill>
                  <a:schemeClr val="bg1"/>
                </a:solidFill>
                <a:latin typeface="+mj-lt"/>
              </a:endParaRPr>
            </a:p>
          </p:txBody>
        </p:sp>
      </p:grpSp>
      <p:sp>
        <p:nvSpPr>
          <p:cNvPr id="247" name="Rectangle 246"/>
          <p:cNvSpPr/>
          <p:nvPr/>
        </p:nvSpPr>
        <p:spPr>
          <a:xfrm>
            <a:off x="273049" y="4717712"/>
            <a:ext cx="8601607" cy="40896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pic>
        <p:nvPicPr>
          <p:cNvPr id="24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77679" y="4802382"/>
            <a:ext cx="424180" cy="26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9" name="Rectangle 7"/>
          <p:cNvSpPr>
            <a:spLocks noChangeArrowheads="1"/>
          </p:cNvSpPr>
          <p:nvPr/>
        </p:nvSpPr>
        <p:spPr bwMode="ltGray">
          <a:xfrm>
            <a:off x="8566466" y="4919453"/>
            <a:ext cx="167655"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j-lt"/>
                <a:ea typeface="+mn-ea"/>
                <a:cs typeface="CiscoSans Thin"/>
              </a:rPr>
              <a:pPr algn="r" defTabSz="610744" fontAlgn="auto">
                <a:spcBef>
                  <a:spcPts val="0"/>
                </a:spcBef>
                <a:spcAft>
                  <a:spcPts val="0"/>
                </a:spcAft>
                <a:defRPr/>
              </a:pPr>
              <a:t>26</a:t>
            </a:fld>
            <a:endParaRPr lang="en-US" sz="600" dirty="0">
              <a:solidFill>
                <a:srgbClr val="000000">
                  <a:alpha val="25000"/>
                </a:srgbClr>
              </a:solidFill>
              <a:latin typeface="+mj-lt"/>
              <a:ea typeface="+mn-ea"/>
              <a:cs typeface="CiscoSans Thin"/>
            </a:endParaRPr>
          </a:p>
        </p:txBody>
      </p:sp>
      <p:sp>
        <p:nvSpPr>
          <p:cNvPr id="250" name="Rectangle 4"/>
          <p:cNvSpPr>
            <a:spLocks noChangeArrowheads="1"/>
          </p:cNvSpPr>
          <p:nvPr/>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rtl="0" fontAlgn="auto">
              <a:spcBef>
                <a:spcPts val="0"/>
              </a:spcBef>
              <a:spcAft>
                <a:spcPts val="0"/>
              </a:spcAft>
              <a:defRPr/>
            </a:pPr>
            <a:r>
              <a:rPr lang="en-US" sz="600" kern="1200" dirty="0" smtClean="0">
                <a:solidFill>
                  <a:srgbClr val="000000">
                    <a:alpha val="25000"/>
                  </a:srgbClr>
                </a:solidFill>
                <a:latin typeface="+mj-lt"/>
                <a:ea typeface="+mn-ea"/>
                <a:cs typeface="CiscoSans Thin"/>
              </a:rPr>
              <a:t>C97-738596-01 © 2017  Cisco and/or its affiliates. All rights reserved.   </a:t>
            </a:r>
          </a:p>
        </p:txBody>
      </p:sp>
      <p:sp>
        <p:nvSpPr>
          <p:cNvPr id="251" name="Rectangle 250"/>
          <p:cNvSpPr/>
          <p:nvPr/>
        </p:nvSpPr>
        <p:spPr>
          <a:xfrm>
            <a:off x="4008956" y="2718485"/>
            <a:ext cx="1126089" cy="138499"/>
          </a:xfrm>
          <a:prstGeom prst="rect">
            <a:avLst/>
          </a:prstGeom>
          <a:noFill/>
          <a:ln w="9525" cap="rnd" cmpd="sng" algn="ctr">
            <a:noFill/>
            <a:prstDash val="solid"/>
          </a:ln>
          <a:effectLst/>
        </p:spPr>
        <p:txBody>
          <a:bodyPr wrap="square" lIns="0" tIns="0" rIns="0" bIns="0" rtlCol="0" anchor="t" anchorCtr="0">
            <a:spAutoFit/>
          </a:bodyPr>
          <a:lstStyle/>
          <a:p>
            <a:pPr lvl="0" algn="ctr"/>
            <a:r>
              <a:rPr lang="en-US" sz="900" kern="0" dirty="0" smtClean="0">
                <a:solidFill>
                  <a:schemeClr val="accent1"/>
                </a:solidFill>
                <a:latin typeface="+mj-lt"/>
              </a:rPr>
              <a:t>Service Provider</a:t>
            </a:r>
            <a:endParaRPr kumimoji="0" lang="en-US" sz="900" i="0" u="none" strike="noStrike" kern="0" cap="none" spc="0" normalizeH="0" baseline="0" noProof="0" dirty="0">
              <a:ln>
                <a:noFill/>
              </a:ln>
              <a:solidFill>
                <a:schemeClr val="accent1"/>
              </a:solidFill>
              <a:effectLst/>
              <a:uLnTx/>
              <a:uFillTx/>
              <a:latin typeface="+mj-lt"/>
            </a:endParaRPr>
          </a:p>
        </p:txBody>
      </p:sp>
      <p:sp>
        <p:nvSpPr>
          <p:cNvPr id="252" name="Rectangle 251"/>
          <p:cNvSpPr/>
          <p:nvPr/>
        </p:nvSpPr>
        <p:spPr>
          <a:xfrm>
            <a:off x="3783566" y="2126264"/>
            <a:ext cx="1576867" cy="553998"/>
          </a:xfrm>
          <a:prstGeom prst="rect">
            <a:avLst/>
          </a:prstGeom>
        </p:spPr>
        <p:txBody>
          <a:bodyPr wrap="square" lIns="0" tIns="0" rIns="0" bIns="0">
            <a:spAutoFit/>
          </a:bodyPr>
          <a:lstStyle/>
          <a:p>
            <a:pPr lvl="0" algn="ctr"/>
            <a:r>
              <a:rPr lang="en-US" sz="1200" b="1" kern="0" dirty="0" smtClean="0">
                <a:solidFill>
                  <a:schemeClr val="tx2"/>
                </a:solidFill>
                <a:latin typeface="+mj-lt"/>
              </a:rPr>
              <a:t>Cisco</a:t>
            </a:r>
            <a:br>
              <a:rPr lang="en-US" sz="1200" b="1" kern="0" dirty="0" smtClean="0">
                <a:solidFill>
                  <a:schemeClr val="tx2"/>
                </a:solidFill>
                <a:latin typeface="+mj-lt"/>
              </a:rPr>
            </a:br>
            <a:r>
              <a:rPr lang="en-US" sz="1200" b="1" kern="0" dirty="0" smtClean="0">
                <a:solidFill>
                  <a:schemeClr val="tx2"/>
                </a:solidFill>
                <a:latin typeface="+mj-lt"/>
              </a:rPr>
              <a:t>Ultra Services</a:t>
            </a:r>
            <a:br>
              <a:rPr lang="en-US" sz="1200" b="1" kern="0" dirty="0" smtClean="0">
                <a:solidFill>
                  <a:schemeClr val="tx2"/>
                </a:solidFill>
                <a:latin typeface="+mj-lt"/>
              </a:rPr>
            </a:br>
            <a:r>
              <a:rPr lang="en-US" sz="1200" b="1" kern="0" dirty="0" smtClean="0">
                <a:solidFill>
                  <a:schemeClr val="tx2"/>
                </a:solidFill>
                <a:latin typeface="+mj-lt"/>
              </a:rPr>
              <a:t>Platform</a:t>
            </a:r>
            <a:endParaRPr lang="en-US" sz="1200" b="1" kern="0" dirty="0">
              <a:solidFill>
                <a:schemeClr val="tx2"/>
              </a:solidFill>
              <a:latin typeface="+mj-lt"/>
            </a:endParaRPr>
          </a:p>
        </p:txBody>
      </p:sp>
      <p:cxnSp>
        <p:nvCxnSpPr>
          <p:cNvPr id="254" name="Straight Arrow Connector 253"/>
          <p:cNvCxnSpPr/>
          <p:nvPr/>
        </p:nvCxnSpPr>
        <p:spPr>
          <a:xfrm>
            <a:off x="4632111" y="1687620"/>
            <a:ext cx="0" cy="35306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55" name="Rectangle 15"/>
          <p:cNvSpPr>
            <a:spLocks noChangeArrowheads="1"/>
          </p:cNvSpPr>
          <p:nvPr/>
        </p:nvSpPr>
        <p:spPr bwMode="auto">
          <a:xfrm>
            <a:off x="4430501" y="1795890"/>
            <a:ext cx="403221" cy="136524"/>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none" lIns="91440" tIns="45720" rIns="91440" bIns="45720" numCol="1" anchor="ctr" anchorCtr="0" compatLnSpc="1">
            <a:prstTxWarp prst="textNoShape">
              <a:avLst/>
            </a:prstTxWarp>
          </a:bodyPr>
          <a:lstStyle/>
          <a:p>
            <a:pPr algn="ctr"/>
            <a:r>
              <a:rPr lang="en-US" sz="900" dirty="0" smtClean="0">
                <a:solidFill>
                  <a:schemeClr val="bg1"/>
                </a:solidFill>
                <a:latin typeface="+mj-lt"/>
              </a:rPr>
              <a:t>API</a:t>
            </a:r>
            <a:endParaRPr lang="en-US" sz="700" dirty="0">
              <a:solidFill>
                <a:schemeClr val="bg1"/>
              </a:solidFill>
              <a:latin typeface="+mj-lt"/>
            </a:endParaRPr>
          </a:p>
        </p:txBody>
      </p:sp>
      <p:grpSp>
        <p:nvGrpSpPr>
          <p:cNvPr id="24" name="Group 257"/>
          <p:cNvGrpSpPr/>
          <p:nvPr/>
        </p:nvGrpSpPr>
        <p:grpSpPr>
          <a:xfrm>
            <a:off x="1296460" y="1981200"/>
            <a:ext cx="634681" cy="634681"/>
            <a:chOff x="1296460" y="1981200"/>
            <a:chExt cx="634681" cy="634681"/>
          </a:xfrm>
        </p:grpSpPr>
        <p:sp>
          <p:nvSpPr>
            <p:cNvPr id="184" name="Oval 183"/>
            <p:cNvSpPr/>
            <p:nvPr/>
          </p:nvSpPr>
          <p:spPr>
            <a:xfrm>
              <a:off x="1296460" y="1981200"/>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8374" name="Freeform 6"/>
            <p:cNvSpPr>
              <a:spLocks noEditPoints="1"/>
            </p:cNvSpPr>
            <p:nvPr/>
          </p:nvSpPr>
          <p:spPr bwMode="auto">
            <a:xfrm>
              <a:off x="1363898" y="2129087"/>
              <a:ext cx="499804" cy="338906"/>
            </a:xfrm>
            <a:custGeom>
              <a:avLst/>
              <a:gdLst/>
              <a:ahLst/>
              <a:cxnLst>
                <a:cxn ang="0">
                  <a:pos x="1128" y="1544"/>
                </a:cxn>
                <a:cxn ang="0">
                  <a:pos x="785" y="1309"/>
                </a:cxn>
                <a:cxn ang="0">
                  <a:pos x="1257" y="355"/>
                </a:cxn>
                <a:cxn ang="0">
                  <a:pos x="1062" y="769"/>
                </a:cxn>
                <a:cxn ang="0">
                  <a:pos x="275" y="846"/>
                </a:cxn>
                <a:cxn ang="0">
                  <a:pos x="238" y="1514"/>
                </a:cxn>
                <a:cxn ang="0">
                  <a:pos x="1196" y="1761"/>
                </a:cxn>
                <a:cxn ang="0">
                  <a:pos x="1290" y="1769"/>
                </a:cxn>
                <a:cxn ang="0">
                  <a:pos x="1290" y="417"/>
                </a:cxn>
                <a:cxn ang="0">
                  <a:pos x="1246" y="1724"/>
                </a:cxn>
                <a:cxn ang="0">
                  <a:pos x="293" y="1526"/>
                </a:cxn>
                <a:cxn ang="0">
                  <a:pos x="266" y="904"/>
                </a:cxn>
                <a:cxn ang="0">
                  <a:pos x="1054" y="822"/>
                </a:cxn>
                <a:cxn ang="0">
                  <a:pos x="1246" y="436"/>
                </a:cxn>
                <a:cxn ang="0">
                  <a:pos x="1933" y="1015"/>
                </a:cxn>
                <a:cxn ang="0">
                  <a:pos x="1768" y="1165"/>
                </a:cxn>
                <a:cxn ang="0">
                  <a:pos x="1844" y="1198"/>
                </a:cxn>
                <a:cxn ang="0">
                  <a:pos x="1872" y="1499"/>
                </a:cxn>
                <a:cxn ang="0">
                  <a:pos x="1970" y="1464"/>
                </a:cxn>
                <a:cxn ang="0">
                  <a:pos x="2013" y="1193"/>
                </a:cxn>
                <a:cxn ang="0">
                  <a:pos x="1933" y="1015"/>
                </a:cxn>
                <a:cxn ang="0">
                  <a:pos x="2358" y="224"/>
                </a:cxn>
                <a:cxn ang="0">
                  <a:pos x="1333" y="11"/>
                </a:cxn>
                <a:cxn ang="0">
                  <a:pos x="1305" y="6"/>
                </a:cxn>
                <a:cxn ang="0">
                  <a:pos x="1276" y="11"/>
                </a:cxn>
                <a:cxn ang="0">
                  <a:pos x="251" y="224"/>
                </a:cxn>
                <a:cxn ang="0">
                  <a:pos x="12" y="800"/>
                </a:cxn>
                <a:cxn ang="0">
                  <a:pos x="67" y="827"/>
                </a:cxn>
                <a:cxn ang="0">
                  <a:pos x="1027" y="700"/>
                </a:cxn>
                <a:cxn ang="0">
                  <a:pos x="1582" y="700"/>
                </a:cxn>
                <a:cxn ang="0">
                  <a:pos x="2542" y="827"/>
                </a:cxn>
                <a:cxn ang="0">
                  <a:pos x="2597" y="800"/>
                </a:cxn>
                <a:cxn ang="0">
                  <a:pos x="987" y="682"/>
                </a:cxn>
                <a:cxn ang="0">
                  <a:pos x="62" y="783"/>
                </a:cxn>
                <a:cxn ang="0">
                  <a:pos x="49" y="776"/>
                </a:cxn>
                <a:cxn ang="0">
                  <a:pos x="291" y="243"/>
                </a:cxn>
                <a:cxn ang="0">
                  <a:pos x="1264" y="58"/>
                </a:cxn>
                <a:cxn ang="0">
                  <a:pos x="2560" y="776"/>
                </a:cxn>
                <a:cxn ang="0">
                  <a:pos x="1633" y="691"/>
                </a:cxn>
                <a:cxn ang="0">
                  <a:pos x="1345" y="58"/>
                </a:cxn>
                <a:cxn ang="0">
                  <a:pos x="2318" y="243"/>
                </a:cxn>
                <a:cxn ang="0">
                  <a:pos x="2560" y="776"/>
                </a:cxn>
                <a:cxn ang="0">
                  <a:pos x="1559" y="778"/>
                </a:cxn>
                <a:cxn ang="0">
                  <a:pos x="1396" y="401"/>
                </a:cxn>
                <a:cxn ang="0">
                  <a:pos x="1319" y="417"/>
                </a:cxn>
                <a:cxn ang="0">
                  <a:pos x="1319" y="1769"/>
                </a:cxn>
                <a:cxn ang="0">
                  <a:pos x="1413" y="1761"/>
                </a:cxn>
                <a:cxn ang="0">
                  <a:pos x="2371" y="1514"/>
                </a:cxn>
                <a:cxn ang="0">
                  <a:pos x="2334" y="846"/>
                </a:cxn>
                <a:cxn ang="0">
                  <a:pos x="2316" y="1526"/>
                </a:cxn>
                <a:cxn ang="0">
                  <a:pos x="1363" y="1724"/>
                </a:cxn>
                <a:cxn ang="0">
                  <a:pos x="1363" y="436"/>
                </a:cxn>
                <a:cxn ang="0">
                  <a:pos x="1555" y="822"/>
                </a:cxn>
                <a:cxn ang="0">
                  <a:pos x="2343" y="904"/>
                </a:cxn>
              </a:cxnLst>
              <a:rect l="0" t="0" r="r" b="b"/>
              <a:pathLst>
                <a:path w="2609" h="1769">
                  <a:moveTo>
                    <a:pt x="785" y="1489"/>
                  </a:moveTo>
                  <a:cubicBezTo>
                    <a:pt x="1128" y="1544"/>
                    <a:pt x="1128" y="1544"/>
                    <a:pt x="1128" y="1544"/>
                  </a:cubicBezTo>
                  <a:cubicBezTo>
                    <a:pt x="1128" y="1309"/>
                    <a:pt x="1128" y="1309"/>
                    <a:pt x="1128" y="1309"/>
                  </a:cubicBezTo>
                  <a:cubicBezTo>
                    <a:pt x="785" y="1309"/>
                    <a:pt x="785" y="1309"/>
                    <a:pt x="785" y="1309"/>
                  </a:cubicBezTo>
                  <a:lnTo>
                    <a:pt x="785" y="1489"/>
                  </a:lnTo>
                  <a:close/>
                  <a:moveTo>
                    <a:pt x="1257" y="355"/>
                  </a:moveTo>
                  <a:cubicBezTo>
                    <a:pt x="1235" y="355"/>
                    <a:pt x="1223" y="378"/>
                    <a:pt x="1213" y="401"/>
                  </a:cubicBezTo>
                  <a:cubicBezTo>
                    <a:pt x="1062" y="769"/>
                    <a:pt x="1062" y="769"/>
                    <a:pt x="1062" y="769"/>
                  </a:cubicBezTo>
                  <a:cubicBezTo>
                    <a:pt x="1060" y="774"/>
                    <a:pt x="1055" y="777"/>
                    <a:pt x="1050" y="778"/>
                  </a:cubicBezTo>
                  <a:cubicBezTo>
                    <a:pt x="275" y="846"/>
                    <a:pt x="275" y="846"/>
                    <a:pt x="275" y="846"/>
                  </a:cubicBezTo>
                  <a:cubicBezTo>
                    <a:pt x="244" y="849"/>
                    <a:pt x="221" y="875"/>
                    <a:pt x="222" y="905"/>
                  </a:cubicBezTo>
                  <a:cubicBezTo>
                    <a:pt x="238" y="1514"/>
                    <a:pt x="238" y="1514"/>
                    <a:pt x="238" y="1514"/>
                  </a:cubicBezTo>
                  <a:cubicBezTo>
                    <a:pt x="238" y="1541"/>
                    <a:pt x="257" y="1564"/>
                    <a:pt x="284" y="1569"/>
                  </a:cubicBezTo>
                  <a:cubicBezTo>
                    <a:pt x="1196" y="1761"/>
                    <a:pt x="1196" y="1761"/>
                    <a:pt x="1196" y="1761"/>
                  </a:cubicBezTo>
                  <a:cubicBezTo>
                    <a:pt x="1220" y="1766"/>
                    <a:pt x="1244" y="1769"/>
                    <a:pt x="1268" y="1769"/>
                  </a:cubicBezTo>
                  <a:cubicBezTo>
                    <a:pt x="1290" y="1769"/>
                    <a:pt x="1290" y="1769"/>
                    <a:pt x="1290" y="1769"/>
                  </a:cubicBezTo>
                  <a:cubicBezTo>
                    <a:pt x="1290" y="1566"/>
                    <a:pt x="1290" y="1566"/>
                    <a:pt x="1290" y="1566"/>
                  </a:cubicBezTo>
                  <a:cubicBezTo>
                    <a:pt x="1290" y="417"/>
                    <a:pt x="1290" y="417"/>
                    <a:pt x="1290" y="417"/>
                  </a:cubicBezTo>
                  <a:cubicBezTo>
                    <a:pt x="1290" y="401"/>
                    <a:pt x="1290" y="355"/>
                    <a:pt x="1257" y="355"/>
                  </a:cubicBezTo>
                  <a:close/>
                  <a:moveTo>
                    <a:pt x="1246" y="1724"/>
                  </a:moveTo>
                  <a:cubicBezTo>
                    <a:pt x="1233" y="1723"/>
                    <a:pt x="1219" y="1721"/>
                    <a:pt x="1205" y="1718"/>
                  </a:cubicBezTo>
                  <a:cubicBezTo>
                    <a:pt x="293" y="1526"/>
                    <a:pt x="293" y="1526"/>
                    <a:pt x="293" y="1526"/>
                  </a:cubicBezTo>
                  <a:cubicBezTo>
                    <a:pt x="286" y="1525"/>
                    <a:pt x="282" y="1519"/>
                    <a:pt x="282" y="1513"/>
                  </a:cubicBezTo>
                  <a:cubicBezTo>
                    <a:pt x="266" y="904"/>
                    <a:pt x="266" y="904"/>
                    <a:pt x="266" y="904"/>
                  </a:cubicBezTo>
                  <a:cubicBezTo>
                    <a:pt x="266" y="897"/>
                    <a:pt x="271" y="891"/>
                    <a:pt x="279" y="890"/>
                  </a:cubicBezTo>
                  <a:cubicBezTo>
                    <a:pt x="1054" y="822"/>
                    <a:pt x="1054" y="822"/>
                    <a:pt x="1054" y="822"/>
                  </a:cubicBezTo>
                  <a:cubicBezTo>
                    <a:pt x="1075" y="820"/>
                    <a:pt x="1094" y="806"/>
                    <a:pt x="1102" y="786"/>
                  </a:cubicBezTo>
                  <a:cubicBezTo>
                    <a:pt x="1246" y="436"/>
                    <a:pt x="1246" y="436"/>
                    <a:pt x="1246" y="436"/>
                  </a:cubicBezTo>
                  <a:lnTo>
                    <a:pt x="1246" y="1724"/>
                  </a:lnTo>
                  <a:close/>
                  <a:moveTo>
                    <a:pt x="1933" y="1015"/>
                  </a:moveTo>
                  <a:cubicBezTo>
                    <a:pt x="1923" y="1000"/>
                    <a:pt x="1896" y="999"/>
                    <a:pt x="1885" y="1013"/>
                  </a:cubicBezTo>
                  <a:cubicBezTo>
                    <a:pt x="1768" y="1165"/>
                    <a:pt x="1768" y="1165"/>
                    <a:pt x="1768" y="1165"/>
                  </a:cubicBezTo>
                  <a:cubicBezTo>
                    <a:pt x="1756" y="1181"/>
                    <a:pt x="1771" y="1200"/>
                    <a:pt x="1795" y="1199"/>
                  </a:cubicBezTo>
                  <a:cubicBezTo>
                    <a:pt x="1844" y="1198"/>
                    <a:pt x="1844" y="1198"/>
                    <a:pt x="1844" y="1198"/>
                  </a:cubicBezTo>
                  <a:cubicBezTo>
                    <a:pt x="1843" y="1481"/>
                    <a:pt x="1843" y="1481"/>
                    <a:pt x="1843" y="1481"/>
                  </a:cubicBezTo>
                  <a:cubicBezTo>
                    <a:pt x="1843" y="1493"/>
                    <a:pt x="1856" y="1501"/>
                    <a:pt x="1872" y="1499"/>
                  </a:cubicBezTo>
                  <a:cubicBezTo>
                    <a:pt x="1943" y="1489"/>
                    <a:pt x="1943" y="1489"/>
                    <a:pt x="1943" y="1489"/>
                  </a:cubicBezTo>
                  <a:cubicBezTo>
                    <a:pt x="1958" y="1487"/>
                    <a:pt x="1970" y="1475"/>
                    <a:pt x="1970" y="1464"/>
                  </a:cubicBezTo>
                  <a:cubicBezTo>
                    <a:pt x="1970" y="1194"/>
                    <a:pt x="1970" y="1194"/>
                    <a:pt x="1970" y="1194"/>
                  </a:cubicBezTo>
                  <a:cubicBezTo>
                    <a:pt x="2013" y="1193"/>
                    <a:pt x="2013" y="1193"/>
                    <a:pt x="2013" y="1193"/>
                  </a:cubicBezTo>
                  <a:cubicBezTo>
                    <a:pt x="2033" y="1192"/>
                    <a:pt x="2045" y="1175"/>
                    <a:pt x="2036" y="1161"/>
                  </a:cubicBezTo>
                  <a:lnTo>
                    <a:pt x="1933" y="1015"/>
                  </a:lnTo>
                  <a:close/>
                  <a:moveTo>
                    <a:pt x="2601" y="744"/>
                  </a:moveTo>
                  <a:cubicBezTo>
                    <a:pt x="2358" y="224"/>
                    <a:pt x="2358" y="224"/>
                    <a:pt x="2358" y="224"/>
                  </a:cubicBezTo>
                  <a:cubicBezTo>
                    <a:pt x="2350" y="207"/>
                    <a:pt x="2334" y="195"/>
                    <a:pt x="2316" y="192"/>
                  </a:cubicBezTo>
                  <a:cubicBezTo>
                    <a:pt x="1333" y="11"/>
                    <a:pt x="1333" y="11"/>
                    <a:pt x="1333" y="11"/>
                  </a:cubicBezTo>
                  <a:cubicBezTo>
                    <a:pt x="1338" y="0"/>
                    <a:pt x="1338" y="0"/>
                    <a:pt x="1338" y="0"/>
                  </a:cubicBezTo>
                  <a:cubicBezTo>
                    <a:pt x="1305" y="6"/>
                    <a:pt x="1305" y="6"/>
                    <a:pt x="1305" y="6"/>
                  </a:cubicBezTo>
                  <a:cubicBezTo>
                    <a:pt x="1271" y="0"/>
                    <a:pt x="1271" y="0"/>
                    <a:pt x="1271" y="0"/>
                  </a:cubicBezTo>
                  <a:cubicBezTo>
                    <a:pt x="1276" y="11"/>
                    <a:pt x="1276" y="11"/>
                    <a:pt x="1276" y="11"/>
                  </a:cubicBezTo>
                  <a:cubicBezTo>
                    <a:pt x="293" y="192"/>
                    <a:pt x="293" y="192"/>
                    <a:pt x="293" y="192"/>
                  </a:cubicBezTo>
                  <a:cubicBezTo>
                    <a:pt x="275" y="195"/>
                    <a:pt x="259" y="207"/>
                    <a:pt x="251" y="224"/>
                  </a:cubicBezTo>
                  <a:cubicBezTo>
                    <a:pt x="8" y="744"/>
                    <a:pt x="8" y="744"/>
                    <a:pt x="8" y="744"/>
                  </a:cubicBezTo>
                  <a:cubicBezTo>
                    <a:pt x="0" y="762"/>
                    <a:pt x="1" y="783"/>
                    <a:pt x="12" y="800"/>
                  </a:cubicBezTo>
                  <a:cubicBezTo>
                    <a:pt x="22" y="817"/>
                    <a:pt x="41" y="827"/>
                    <a:pt x="61" y="827"/>
                  </a:cubicBezTo>
                  <a:cubicBezTo>
                    <a:pt x="63" y="827"/>
                    <a:pt x="65" y="827"/>
                    <a:pt x="67" y="827"/>
                  </a:cubicBezTo>
                  <a:cubicBezTo>
                    <a:pt x="980" y="734"/>
                    <a:pt x="980" y="734"/>
                    <a:pt x="980" y="734"/>
                  </a:cubicBezTo>
                  <a:cubicBezTo>
                    <a:pt x="1001" y="732"/>
                    <a:pt x="1019" y="719"/>
                    <a:pt x="1027" y="700"/>
                  </a:cubicBezTo>
                  <a:cubicBezTo>
                    <a:pt x="1305" y="75"/>
                    <a:pt x="1305" y="75"/>
                    <a:pt x="1305" y="75"/>
                  </a:cubicBezTo>
                  <a:cubicBezTo>
                    <a:pt x="1582" y="700"/>
                    <a:pt x="1582" y="700"/>
                    <a:pt x="1582" y="700"/>
                  </a:cubicBezTo>
                  <a:cubicBezTo>
                    <a:pt x="1590" y="719"/>
                    <a:pt x="1608" y="732"/>
                    <a:pt x="1629" y="734"/>
                  </a:cubicBezTo>
                  <a:cubicBezTo>
                    <a:pt x="2542" y="827"/>
                    <a:pt x="2542" y="827"/>
                    <a:pt x="2542" y="827"/>
                  </a:cubicBezTo>
                  <a:cubicBezTo>
                    <a:pt x="2544" y="827"/>
                    <a:pt x="2547" y="827"/>
                    <a:pt x="2549" y="827"/>
                  </a:cubicBezTo>
                  <a:cubicBezTo>
                    <a:pt x="2568" y="827"/>
                    <a:pt x="2587" y="817"/>
                    <a:pt x="2597" y="800"/>
                  </a:cubicBezTo>
                  <a:cubicBezTo>
                    <a:pt x="2608" y="783"/>
                    <a:pt x="2609" y="762"/>
                    <a:pt x="2601" y="744"/>
                  </a:cubicBezTo>
                  <a:close/>
                  <a:moveTo>
                    <a:pt x="987" y="682"/>
                  </a:moveTo>
                  <a:cubicBezTo>
                    <a:pt x="985" y="687"/>
                    <a:pt x="981" y="690"/>
                    <a:pt x="976" y="691"/>
                  </a:cubicBezTo>
                  <a:cubicBezTo>
                    <a:pt x="62" y="783"/>
                    <a:pt x="62" y="783"/>
                    <a:pt x="62" y="783"/>
                  </a:cubicBezTo>
                  <a:cubicBezTo>
                    <a:pt x="62" y="783"/>
                    <a:pt x="61" y="783"/>
                    <a:pt x="61" y="783"/>
                  </a:cubicBezTo>
                  <a:cubicBezTo>
                    <a:pt x="54" y="783"/>
                    <a:pt x="50" y="778"/>
                    <a:pt x="49" y="776"/>
                  </a:cubicBezTo>
                  <a:cubicBezTo>
                    <a:pt x="47" y="774"/>
                    <a:pt x="45" y="769"/>
                    <a:pt x="48" y="763"/>
                  </a:cubicBezTo>
                  <a:cubicBezTo>
                    <a:pt x="291" y="243"/>
                    <a:pt x="291" y="243"/>
                    <a:pt x="291" y="243"/>
                  </a:cubicBezTo>
                  <a:cubicBezTo>
                    <a:pt x="293" y="239"/>
                    <a:pt x="297" y="236"/>
                    <a:pt x="301" y="235"/>
                  </a:cubicBezTo>
                  <a:cubicBezTo>
                    <a:pt x="1264" y="58"/>
                    <a:pt x="1264" y="58"/>
                    <a:pt x="1264" y="58"/>
                  </a:cubicBezTo>
                  <a:lnTo>
                    <a:pt x="987" y="682"/>
                  </a:lnTo>
                  <a:close/>
                  <a:moveTo>
                    <a:pt x="2560" y="776"/>
                  </a:moveTo>
                  <a:cubicBezTo>
                    <a:pt x="2559" y="778"/>
                    <a:pt x="2555" y="784"/>
                    <a:pt x="2547" y="783"/>
                  </a:cubicBezTo>
                  <a:cubicBezTo>
                    <a:pt x="1633" y="691"/>
                    <a:pt x="1633" y="691"/>
                    <a:pt x="1633" y="691"/>
                  </a:cubicBezTo>
                  <a:cubicBezTo>
                    <a:pt x="1628" y="690"/>
                    <a:pt x="1624" y="687"/>
                    <a:pt x="1622" y="682"/>
                  </a:cubicBezTo>
                  <a:cubicBezTo>
                    <a:pt x="1345" y="58"/>
                    <a:pt x="1345" y="58"/>
                    <a:pt x="1345" y="58"/>
                  </a:cubicBezTo>
                  <a:cubicBezTo>
                    <a:pt x="2308" y="235"/>
                    <a:pt x="2308" y="235"/>
                    <a:pt x="2308" y="235"/>
                  </a:cubicBezTo>
                  <a:cubicBezTo>
                    <a:pt x="2312" y="236"/>
                    <a:pt x="2316" y="239"/>
                    <a:pt x="2318" y="243"/>
                  </a:cubicBezTo>
                  <a:cubicBezTo>
                    <a:pt x="2561" y="763"/>
                    <a:pt x="2561" y="763"/>
                    <a:pt x="2561" y="763"/>
                  </a:cubicBezTo>
                  <a:cubicBezTo>
                    <a:pt x="2564" y="769"/>
                    <a:pt x="2562" y="774"/>
                    <a:pt x="2560" y="776"/>
                  </a:cubicBezTo>
                  <a:close/>
                  <a:moveTo>
                    <a:pt x="2334" y="846"/>
                  </a:moveTo>
                  <a:cubicBezTo>
                    <a:pt x="1559" y="778"/>
                    <a:pt x="1559" y="778"/>
                    <a:pt x="1559" y="778"/>
                  </a:cubicBezTo>
                  <a:cubicBezTo>
                    <a:pt x="1554" y="777"/>
                    <a:pt x="1549" y="774"/>
                    <a:pt x="1547" y="769"/>
                  </a:cubicBezTo>
                  <a:cubicBezTo>
                    <a:pt x="1396" y="401"/>
                    <a:pt x="1396" y="401"/>
                    <a:pt x="1396" y="401"/>
                  </a:cubicBezTo>
                  <a:cubicBezTo>
                    <a:pt x="1386" y="378"/>
                    <a:pt x="1374" y="355"/>
                    <a:pt x="1352" y="355"/>
                  </a:cubicBezTo>
                  <a:cubicBezTo>
                    <a:pt x="1319" y="355"/>
                    <a:pt x="1319" y="401"/>
                    <a:pt x="1319" y="417"/>
                  </a:cubicBezTo>
                  <a:cubicBezTo>
                    <a:pt x="1319" y="1566"/>
                    <a:pt x="1319" y="1566"/>
                    <a:pt x="1319" y="1566"/>
                  </a:cubicBezTo>
                  <a:cubicBezTo>
                    <a:pt x="1319" y="1769"/>
                    <a:pt x="1319" y="1769"/>
                    <a:pt x="1319" y="1769"/>
                  </a:cubicBezTo>
                  <a:cubicBezTo>
                    <a:pt x="1341" y="1769"/>
                    <a:pt x="1341" y="1769"/>
                    <a:pt x="1341" y="1769"/>
                  </a:cubicBezTo>
                  <a:cubicBezTo>
                    <a:pt x="1365" y="1769"/>
                    <a:pt x="1389" y="1766"/>
                    <a:pt x="1413" y="1761"/>
                  </a:cubicBezTo>
                  <a:cubicBezTo>
                    <a:pt x="2325" y="1569"/>
                    <a:pt x="2325" y="1569"/>
                    <a:pt x="2325" y="1569"/>
                  </a:cubicBezTo>
                  <a:cubicBezTo>
                    <a:pt x="2352" y="1564"/>
                    <a:pt x="2371" y="1541"/>
                    <a:pt x="2371" y="1514"/>
                  </a:cubicBezTo>
                  <a:cubicBezTo>
                    <a:pt x="2387" y="905"/>
                    <a:pt x="2387" y="905"/>
                    <a:pt x="2387" y="905"/>
                  </a:cubicBezTo>
                  <a:cubicBezTo>
                    <a:pt x="2388" y="875"/>
                    <a:pt x="2365" y="849"/>
                    <a:pt x="2334" y="846"/>
                  </a:cubicBezTo>
                  <a:close/>
                  <a:moveTo>
                    <a:pt x="2327" y="1513"/>
                  </a:moveTo>
                  <a:cubicBezTo>
                    <a:pt x="2327" y="1519"/>
                    <a:pt x="2323" y="1525"/>
                    <a:pt x="2316" y="1526"/>
                  </a:cubicBezTo>
                  <a:cubicBezTo>
                    <a:pt x="1404" y="1718"/>
                    <a:pt x="1404" y="1718"/>
                    <a:pt x="1404" y="1718"/>
                  </a:cubicBezTo>
                  <a:cubicBezTo>
                    <a:pt x="1390" y="1721"/>
                    <a:pt x="1376" y="1723"/>
                    <a:pt x="1363" y="1724"/>
                  </a:cubicBezTo>
                  <a:cubicBezTo>
                    <a:pt x="1363" y="1566"/>
                    <a:pt x="1363" y="1566"/>
                    <a:pt x="1363" y="1566"/>
                  </a:cubicBezTo>
                  <a:cubicBezTo>
                    <a:pt x="1363" y="436"/>
                    <a:pt x="1363" y="436"/>
                    <a:pt x="1363" y="436"/>
                  </a:cubicBezTo>
                  <a:cubicBezTo>
                    <a:pt x="1507" y="786"/>
                    <a:pt x="1507" y="786"/>
                    <a:pt x="1507" y="786"/>
                  </a:cubicBezTo>
                  <a:cubicBezTo>
                    <a:pt x="1515" y="806"/>
                    <a:pt x="1534" y="820"/>
                    <a:pt x="1555" y="822"/>
                  </a:cubicBezTo>
                  <a:cubicBezTo>
                    <a:pt x="2330" y="890"/>
                    <a:pt x="2330" y="890"/>
                    <a:pt x="2330" y="890"/>
                  </a:cubicBezTo>
                  <a:cubicBezTo>
                    <a:pt x="2338" y="891"/>
                    <a:pt x="2343" y="897"/>
                    <a:pt x="2343" y="904"/>
                  </a:cubicBezTo>
                  <a:lnTo>
                    <a:pt x="2327" y="151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5" name="Group 258"/>
          <p:cNvGrpSpPr/>
          <p:nvPr/>
        </p:nvGrpSpPr>
        <p:grpSpPr>
          <a:xfrm>
            <a:off x="2469346" y="1514475"/>
            <a:ext cx="634681" cy="634681"/>
            <a:chOff x="2469346" y="1514475"/>
            <a:chExt cx="634681" cy="634681"/>
          </a:xfrm>
        </p:grpSpPr>
        <p:sp>
          <p:nvSpPr>
            <p:cNvPr id="185" name="Oval 184"/>
            <p:cNvSpPr/>
            <p:nvPr/>
          </p:nvSpPr>
          <p:spPr>
            <a:xfrm>
              <a:off x="2469346" y="1514475"/>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8379" name="Freeform 11"/>
            <p:cNvSpPr>
              <a:spLocks noEditPoints="1"/>
            </p:cNvSpPr>
            <p:nvPr/>
          </p:nvSpPr>
          <p:spPr bwMode="auto">
            <a:xfrm>
              <a:off x="2603009" y="1630037"/>
              <a:ext cx="367355" cy="403557"/>
            </a:xfrm>
            <a:custGeom>
              <a:avLst/>
              <a:gdLst/>
              <a:ahLst/>
              <a:cxnLst>
                <a:cxn ang="0">
                  <a:pos x="276" y="1139"/>
                </a:cxn>
                <a:cxn ang="0">
                  <a:pos x="345" y="909"/>
                </a:cxn>
                <a:cxn ang="0">
                  <a:pos x="311" y="1450"/>
                </a:cxn>
                <a:cxn ang="0">
                  <a:pos x="276" y="1415"/>
                </a:cxn>
                <a:cxn ang="0">
                  <a:pos x="598" y="541"/>
                </a:cxn>
                <a:cxn ang="0">
                  <a:pos x="621" y="955"/>
                </a:cxn>
                <a:cxn ang="0">
                  <a:pos x="587" y="989"/>
                </a:cxn>
                <a:cxn ang="0">
                  <a:pos x="276" y="1599"/>
                </a:cxn>
                <a:cxn ang="0">
                  <a:pos x="483" y="909"/>
                </a:cxn>
                <a:cxn ang="0">
                  <a:pos x="449" y="1680"/>
                </a:cxn>
                <a:cxn ang="0">
                  <a:pos x="414" y="1645"/>
                </a:cxn>
                <a:cxn ang="0">
                  <a:pos x="587" y="1105"/>
                </a:cxn>
                <a:cxn ang="0">
                  <a:pos x="621" y="1415"/>
                </a:cxn>
                <a:cxn ang="0">
                  <a:pos x="587" y="1450"/>
                </a:cxn>
                <a:cxn ang="0">
                  <a:pos x="414" y="1369"/>
                </a:cxn>
                <a:cxn ang="0">
                  <a:pos x="483" y="1139"/>
                </a:cxn>
                <a:cxn ang="0">
                  <a:pos x="587" y="1680"/>
                </a:cxn>
                <a:cxn ang="0">
                  <a:pos x="552" y="1645"/>
                </a:cxn>
                <a:cxn ang="0">
                  <a:pos x="1415" y="782"/>
                </a:cxn>
                <a:cxn ang="0">
                  <a:pos x="1450" y="633"/>
                </a:cxn>
                <a:cxn ang="0">
                  <a:pos x="1415" y="667"/>
                </a:cxn>
                <a:cxn ang="0">
                  <a:pos x="1243" y="357"/>
                </a:cxn>
                <a:cxn ang="0">
                  <a:pos x="1588" y="1737"/>
                </a:cxn>
                <a:cxn ang="0">
                  <a:pos x="1415" y="437"/>
                </a:cxn>
                <a:cxn ang="0">
                  <a:pos x="1381" y="403"/>
                </a:cxn>
                <a:cxn ang="0">
                  <a:pos x="1277" y="552"/>
                </a:cxn>
                <a:cxn ang="0">
                  <a:pos x="1772" y="1979"/>
                </a:cxn>
                <a:cxn ang="0">
                  <a:pos x="1059" y="322"/>
                </a:cxn>
                <a:cxn ang="0">
                  <a:pos x="805" y="35"/>
                </a:cxn>
                <a:cxn ang="0">
                  <a:pos x="552" y="173"/>
                </a:cxn>
                <a:cxn ang="0">
                  <a:pos x="127" y="644"/>
                </a:cxn>
                <a:cxn ang="0">
                  <a:pos x="35" y="2048"/>
                </a:cxn>
                <a:cxn ang="0">
                  <a:pos x="920" y="207"/>
                </a:cxn>
                <a:cxn ang="0">
                  <a:pos x="483" y="1979"/>
                </a:cxn>
                <a:cxn ang="0">
                  <a:pos x="391" y="1979"/>
                </a:cxn>
                <a:cxn ang="0">
                  <a:pos x="575" y="1979"/>
                </a:cxn>
                <a:cxn ang="0">
                  <a:pos x="322" y="1979"/>
                </a:cxn>
                <a:cxn ang="0">
                  <a:pos x="771" y="644"/>
                </a:cxn>
                <a:cxn ang="0">
                  <a:pos x="805" y="1059"/>
                </a:cxn>
                <a:cxn ang="0">
                  <a:pos x="805" y="874"/>
                </a:cxn>
                <a:cxn ang="0">
                  <a:pos x="805" y="690"/>
                </a:cxn>
                <a:cxn ang="0">
                  <a:pos x="805" y="1128"/>
                </a:cxn>
                <a:cxn ang="0">
                  <a:pos x="1450" y="1047"/>
                </a:cxn>
                <a:cxn ang="0">
                  <a:pos x="1312" y="1047"/>
                </a:cxn>
                <a:cxn ang="0">
                  <a:pos x="1128" y="207"/>
                </a:cxn>
                <a:cxn ang="0">
                  <a:pos x="1312" y="817"/>
                </a:cxn>
                <a:cxn ang="0">
                  <a:pos x="1553" y="1358"/>
                </a:cxn>
                <a:cxn ang="0">
                  <a:pos x="1519" y="1323"/>
                </a:cxn>
                <a:cxn ang="0">
                  <a:pos x="1553" y="1473"/>
                </a:cxn>
                <a:cxn ang="0">
                  <a:pos x="990" y="1875"/>
                </a:cxn>
                <a:cxn ang="0">
                  <a:pos x="955" y="1910"/>
                </a:cxn>
                <a:cxn ang="0">
                  <a:pos x="1519" y="587"/>
                </a:cxn>
                <a:cxn ang="0">
                  <a:pos x="1128" y="1231"/>
                </a:cxn>
                <a:cxn ang="0">
                  <a:pos x="1553" y="437"/>
                </a:cxn>
                <a:cxn ang="0">
                  <a:pos x="1519" y="403"/>
                </a:cxn>
                <a:cxn ang="0">
                  <a:pos x="1553" y="782"/>
                </a:cxn>
                <a:cxn ang="0">
                  <a:pos x="1266" y="1875"/>
                </a:cxn>
                <a:cxn ang="0">
                  <a:pos x="1231" y="1910"/>
                </a:cxn>
                <a:cxn ang="0">
                  <a:pos x="1519" y="1047"/>
                </a:cxn>
              </a:cxnLst>
              <a:rect l="0" t="0" r="r" b="b"/>
              <a:pathLst>
                <a:path w="1864" h="2048">
                  <a:moveTo>
                    <a:pt x="311" y="1220"/>
                  </a:moveTo>
                  <a:cubicBezTo>
                    <a:pt x="330" y="1220"/>
                    <a:pt x="345" y="1204"/>
                    <a:pt x="345" y="1185"/>
                  </a:cubicBezTo>
                  <a:cubicBezTo>
                    <a:pt x="345" y="1139"/>
                    <a:pt x="345" y="1139"/>
                    <a:pt x="345" y="1139"/>
                  </a:cubicBezTo>
                  <a:cubicBezTo>
                    <a:pt x="345" y="1120"/>
                    <a:pt x="330" y="1105"/>
                    <a:pt x="311" y="1105"/>
                  </a:cubicBezTo>
                  <a:cubicBezTo>
                    <a:pt x="292" y="1105"/>
                    <a:pt x="276" y="1120"/>
                    <a:pt x="276" y="1139"/>
                  </a:cubicBezTo>
                  <a:cubicBezTo>
                    <a:pt x="276" y="1185"/>
                    <a:pt x="276" y="1185"/>
                    <a:pt x="276" y="1185"/>
                  </a:cubicBezTo>
                  <a:cubicBezTo>
                    <a:pt x="276" y="1204"/>
                    <a:pt x="292" y="1220"/>
                    <a:pt x="311" y="1220"/>
                  </a:cubicBezTo>
                  <a:close/>
                  <a:moveTo>
                    <a:pt x="311" y="989"/>
                  </a:moveTo>
                  <a:cubicBezTo>
                    <a:pt x="330" y="989"/>
                    <a:pt x="345" y="974"/>
                    <a:pt x="345" y="955"/>
                  </a:cubicBezTo>
                  <a:cubicBezTo>
                    <a:pt x="345" y="909"/>
                    <a:pt x="345" y="909"/>
                    <a:pt x="345" y="909"/>
                  </a:cubicBezTo>
                  <a:cubicBezTo>
                    <a:pt x="345" y="890"/>
                    <a:pt x="330" y="874"/>
                    <a:pt x="311" y="874"/>
                  </a:cubicBezTo>
                  <a:cubicBezTo>
                    <a:pt x="292" y="874"/>
                    <a:pt x="276" y="890"/>
                    <a:pt x="276" y="909"/>
                  </a:cubicBezTo>
                  <a:cubicBezTo>
                    <a:pt x="276" y="955"/>
                    <a:pt x="276" y="955"/>
                    <a:pt x="276" y="955"/>
                  </a:cubicBezTo>
                  <a:cubicBezTo>
                    <a:pt x="276" y="974"/>
                    <a:pt x="292" y="989"/>
                    <a:pt x="311" y="989"/>
                  </a:cubicBezTo>
                  <a:close/>
                  <a:moveTo>
                    <a:pt x="311" y="1450"/>
                  </a:moveTo>
                  <a:cubicBezTo>
                    <a:pt x="330" y="1450"/>
                    <a:pt x="345" y="1434"/>
                    <a:pt x="345" y="1415"/>
                  </a:cubicBezTo>
                  <a:cubicBezTo>
                    <a:pt x="345" y="1369"/>
                    <a:pt x="345" y="1369"/>
                    <a:pt x="345" y="1369"/>
                  </a:cubicBezTo>
                  <a:cubicBezTo>
                    <a:pt x="345" y="1350"/>
                    <a:pt x="330" y="1335"/>
                    <a:pt x="311" y="1335"/>
                  </a:cubicBezTo>
                  <a:cubicBezTo>
                    <a:pt x="292" y="1335"/>
                    <a:pt x="276" y="1350"/>
                    <a:pt x="276" y="1369"/>
                  </a:cubicBezTo>
                  <a:cubicBezTo>
                    <a:pt x="276" y="1415"/>
                    <a:pt x="276" y="1415"/>
                    <a:pt x="276" y="1415"/>
                  </a:cubicBezTo>
                  <a:cubicBezTo>
                    <a:pt x="276" y="1434"/>
                    <a:pt x="292" y="1450"/>
                    <a:pt x="311" y="1450"/>
                  </a:cubicBezTo>
                  <a:close/>
                  <a:moveTo>
                    <a:pt x="944" y="541"/>
                  </a:moveTo>
                  <a:cubicBezTo>
                    <a:pt x="944" y="522"/>
                    <a:pt x="928" y="506"/>
                    <a:pt x="909" y="506"/>
                  </a:cubicBezTo>
                  <a:cubicBezTo>
                    <a:pt x="633" y="506"/>
                    <a:pt x="633" y="506"/>
                    <a:pt x="633" y="506"/>
                  </a:cubicBezTo>
                  <a:cubicBezTo>
                    <a:pt x="614" y="506"/>
                    <a:pt x="598" y="522"/>
                    <a:pt x="598" y="541"/>
                  </a:cubicBezTo>
                  <a:cubicBezTo>
                    <a:pt x="598" y="560"/>
                    <a:pt x="614" y="575"/>
                    <a:pt x="633" y="575"/>
                  </a:cubicBezTo>
                  <a:cubicBezTo>
                    <a:pt x="909" y="575"/>
                    <a:pt x="909" y="575"/>
                    <a:pt x="909" y="575"/>
                  </a:cubicBezTo>
                  <a:cubicBezTo>
                    <a:pt x="928" y="575"/>
                    <a:pt x="944" y="560"/>
                    <a:pt x="944" y="541"/>
                  </a:cubicBezTo>
                  <a:close/>
                  <a:moveTo>
                    <a:pt x="587" y="989"/>
                  </a:moveTo>
                  <a:cubicBezTo>
                    <a:pt x="606" y="989"/>
                    <a:pt x="621" y="974"/>
                    <a:pt x="621" y="955"/>
                  </a:cubicBezTo>
                  <a:cubicBezTo>
                    <a:pt x="621" y="909"/>
                    <a:pt x="621" y="909"/>
                    <a:pt x="621" y="909"/>
                  </a:cubicBezTo>
                  <a:cubicBezTo>
                    <a:pt x="621" y="890"/>
                    <a:pt x="606" y="874"/>
                    <a:pt x="587" y="874"/>
                  </a:cubicBezTo>
                  <a:cubicBezTo>
                    <a:pt x="568" y="874"/>
                    <a:pt x="552" y="890"/>
                    <a:pt x="552" y="909"/>
                  </a:cubicBezTo>
                  <a:cubicBezTo>
                    <a:pt x="552" y="955"/>
                    <a:pt x="552" y="955"/>
                    <a:pt x="552" y="955"/>
                  </a:cubicBezTo>
                  <a:cubicBezTo>
                    <a:pt x="552" y="974"/>
                    <a:pt x="568" y="989"/>
                    <a:pt x="587" y="989"/>
                  </a:cubicBezTo>
                  <a:close/>
                  <a:moveTo>
                    <a:pt x="311" y="1680"/>
                  </a:moveTo>
                  <a:cubicBezTo>
                    <a:pt x="330" y="1680"/>
                    <a:pt x="345" y="1664"/>
                    <a:pt x="345" y="1645"/>
                  </a:cubicBezTo>
                  <a:cubicBezTo>
                    <a:pt x="345" y="1599"/>
                    <a:pt x="345" y="1599"/>
                    <a:pt x="345" y="1599"/>
                  </a:cubicBezTo>
                  <a:cubicBezTo>
                    <a:pt x="345" y="1580"/>
                    <a:pt x="330" y="1565"/>
                    <a:pt x="311" y="1565"/>
                  </a:cubicBezTo>
                  <a:cubicBezTo>
                    <a:pt x="292" y="1565"/>
                    <a:pt x="276" y="1580"/>
                    <a:pt x="276" y="1599"/>
                  </a:cubicBezTo>
                  <a:cubicBezTo>
                    <a:pt x="276" y="1645"/>
                    <a:pt x="276" y="1645"/>
                    <a:pt x="276" y="1645"/>
                  </a:cubicBezTo>
                  <a:cubicBezTo>
                    <a:pt x="276" y="1664"/>
                    <a:pt x="292" y="1680"/>
                    <a:pt x="311" y="1680"/>
                  </a:cubicBezTo>
                  <a:close/>
                  <a:moveTo>
                    <a:pt x="449" y="989"/>
                  </a:moveTo>
                  <a:cubicBezTo>
                    <a:pt x="468" y="989"/>
                    <a:pt x="483" y="974"/>
                    <a:pt x="483" y="955"/>
                  </a:cubicBezTo>
                  <a:cubicBezTo>
                    <a:pt x="483" y="909"/>
                    <a:pt x="483" y="909"/>
                    <a:pt x="483" y="909"/>
                  </a:cubicBezTo>
                  <a:cubicBezTo>
                    <a:pt x="483" y="890"/>
                    <a:pt x="468" y="874"/>
                    <a:pt x="449" y="874"/>
                  </a:cubicBezTo>
                  <a:cubicBezTo>
                    <a:pt x="430" y="874"/>
                    <a:pt x="414" y="890"/>
                    <a:pt x="414" y="909"/>
                  </a:cubicBezTo>
                  <a:cubicBezTo>
                    <a:pt x="414" y="955"/>
                    <a:pt x="414" y="955"/>
                    <a:pt x="414" y="955"/>
                  </a:cubicBezTo>
                  <a:cubicBezTo>
                    <a:pt x="414" y="974"/>
                    <a:pt x="430" y="989"/>
                    <a:pt x="449" y="989"/>
                  </a:cubicBezTo>
                  <a:close/>
                  <a:moveTo>
                    <a:pt x="449" y="1680"/>
                  </a:moveTo>
                  <a:cubicBezTo>
                    <a:pt x="468" y="1680"/>
                    <a:pt x="483" y="1664"/>
                    <a:pt x="483" y="1645"/>
                  </a:cubicBezTo>
                  <a:cubicBezTo>
                    <a:pt x="483" y="1599"/>
                    <a:pt x="483" y="1599"/>
                    <a:pt x="483" y="1599"/>
                  </a:cubicBezTo>
                  <a:cubicBezTo>
                    <a:pt x="483" y="1580"/>
                    <a:pt x="468" y="1565"/>
                    <a:pt x="449" y="1565"/>
                  </a:cubicBezTo>
                  <a:cubicBezTo>
                    <a:pt x="430" y="1565"/>
                    <a:pt x="414" y="1580"/>
                    <a:pt x="414" y="1599"/>
                  </a:cubicBezTo>
                  <a:cubicBezTo>
                    <a:pt x="414" y="1645"/>
                    <a:pt x="414" y="1645"/>
                    <a:pt x="414" y="1645"/>
                  </a:cubicBezTo>
                  <a:cubicBezTo>
                    <a:pt x="414" y="1664"/>
                    <a:pt x="430" y="1680"/>
                    <a:pt x="449" y="1680"/>
                  </a:cubicBezTo>
                  <a:close/>
                  <a:moveTo>
                    <a:pt x="587" y="1220"/>
                  </a:moveTo>
                  <a:cubicBezTo>
                    <a:pt x="606" y="1220"/>
                    <a:pt x="621" y="1204"/>
                    <a:pt x="621" y="1185"/>
                  </a:cubicBezTo>
                  <a:cubicBezTo>
                    <a:pt x="621" y="1139"/>
                    <a:pt x="621" y="1139"/>
                    <a:pt x="621" y="1139"/>
                  </a:cubicBezTo>
                  <a:cubicBezTo>
                    <a:pt x="621" y="1120"/>
                    <a:pt x="606" y="1105"/>
                    <a:pt x="587" y="1105"/>
                  </a:cubicBezTo>
                  <a:cubicBezTo>
                    <a:pt x="568" y="1105"/>
                    <a:pt x="552" y="1120"/>
                    <a:pt x="552" y="1139"/>
                  </a:cubicBezTo>
                  <a:cubicBezTo>
                    <a:pt x="552" y="1185"/>
                    <a:pt x="552" y="1185"/>
                    <a:pt x="552" y="1185"/>
                  </a:cubicBezTo>
                  <a:cubicBezTo>
                    <a:pt x="552" y="1204"/>
                    <a:pt x="568" y="1220"/>
                    <a:pt x="587" y="1220"/>
                  </a:cubicBezTo>
                  <a:close/>
                  <a:moveTo>
                    <a:pt x="587" y="1450"/>
                  </a:moveTo>
                  <a:cubicBezTo>
                    <a:pt x="606" y="1450"/>
                    <a:pt x="621" y="1434"/>
                    <a:pt x="621" y="1415"/>
                  </a:cubicBezTo>
                  <a:cubicBezTo>
                    <a:pt x="621" y="1369"/>
                    <a:pt x="621" y="1369"/>
                    <a:pt x="621" y="1369"/>
                  </a:cubicBezTo>
                  <a:cubicBezTo>
                    <a:pt x="621" y="1350"/>
                    <a:pt x="606" y="1335"/>
                    <a:pt x="587" y="1335"/>
                  </a:cubicBezTo>
                  <a:cubicBezTo>
                    <a:pt x="568" y="1335"/>
                    <a:pt x="552" y="1350"/>
                    <a:pt x="552" y="1369"/>
                  </a:cubicBezTo>
                  <a:cubicBezTo>
                    <a:pt x="552" y="1415"/>
                    <a:pt x="552" y="1415"/>
                    <a:pt x="552" y="1415"/>
                  </a:cubicBezTo>
                  <a:cubicBezTo>
                    <a:pt x="552" y="1434"/>
                    <a:pt x="568" y="1450"/>
                    <a:pt x="587" y="1450"/>
                  </a:cubicBezTo>
                  <a:close/>
                  <a:moveTo>
                    <a:pt x="449" y="1450"/>
                  </a:moveTo>
                  <a:cubicBezTo>
                    <a:pt x="468" y="1450"/>
                    <a:pt x="483" y="1434"/>
                    <a:pt x="483" y="1415"/>
                  </a:cubicBezTo>
                  <a:cubicBezTo>
                    <a:pt x="483" y="1369"/>
                    <a:pt x="483" y="1369"/>
                    <a:pt x="483" y="1369"/>
                  </a:cubicBezTo>
                  <a:cubicBezTo>
                    <a:pt x="483" y="1350"/>
                    <a:pt x="468" y="1335"/>
                    <a:pt x="449" y="1335"/>
                  </a:cubicBezTo>
                  <a:cubicBezTo>
                    <a:pt x="430" y="1335"/>
                    <a:pt x="414" y="1350"/>
                    <a:pt x="414" y="1369"/>
                  </a:cubicBezTo>
                  <a:cubicBezTo>
                    <a:pt x="414" y="1415"/>
                    <a:pt x="414" y="1415"/>
                    <a:pt x="414" y="1415"/>
                  </a:cubicBezTo>
                  <a:cubicBezTo>
                    <a:pt x="414" y="1434"/>
                    <a:pt x="430" y="1450"/>
                    <a:pt x="449" y="1450"/>
                  </a:cubicBezTo>
                  <a:close/>
                  <a:moveTo>
                    <a:pt x="449" y="1220"/>
                  </a:moveTo>
                  <a:cubicBezTo>
                    <a:pt x="468" y="1220"/>
                    <a:pt x="483" y="1204"/>
                    <a:pt x="483" y="1185"/>
                  </a:cubicBezTo>
                  <a:cubicBezTo>
                    <a:pt x="483" y="1139"/>
                    <a:pt x="483" y="1139"/>
                    <a:pt x="483" y="1139"/>
                  </a:cubicBezTo>
                  <a:cubicBezTo>
                    <a:pt x="483" y="1120"/>
                    <a:pt x="468" y="1105"/>
                    <a:pt x="449" y="1105"/>
                  </a:cubicBezTo>
                  <a:cubicBezTo>
                    <a:pt x="430" y="1105"/>
                    <a:pt x="414" y="1120"/>
                    <a:pt x="414" y="1139"/>
                  </a:cubicBezTo>
                  <a:cubicBezTo>
                    <a:pt x="414" y="1185"/>
                    <a:pt x="414" y="1185"/>
                    <a:pt x="414" y="1185"/>
                  </a:cubicBezTo>
                  <a:cubicBezTo>
                    <a:pt x="414" y="1204"/>
                    <a:pt x="430" y="1220"/>
                    <a:pt x="449" y="1220"/>
                  </a:cubicBezTo>
                  <a:close/>
                  <a:moveTo>
                    <a:pt x="587" y="1680"/>
                  </a:moveTo>
                  <a:cubicBezTo>
                    <a:pt x="606" y="1680"/>
                    <a:pt x="621" y="1664"/>
                    <a:pt x="621" y="1645"/>
                  </a:cubicBezTo>
                  <a:cubicBezTo>
                    <a:pt x="621" y="1599"/>
                    <a:pt x="621" y="1599"/>
                    <a:pt x="621" y="1599"/>
                  </a:cubicBezTo>
                  <a:cubicBezTo>
                    <a:pt x="621" y="1580"/>
                    <a:pt x="606" y="1565"/>
                    <a:pt x="587" y="1565"/>
                  </a:cubicBezTo>
                  <a:cubicBezTo>
                    <a:pt x="568" y="1565"/>
                    <a:pt x="552" y="1580"/>
                    <a:pt x="552" y="1599"/>
                  </a:cubicBezTo>
                  <a:cubicBezTo>
                    <a:pt x="552" y="1645"/>
                    <a:pt x="552" y="1645"/>
                    <a:pt x="552" y="1645"/>
                  </a:cubicBezTo>
                  <a:cubicBezTo>
                    <a:pt x="552" y="1664"/>
                    <a:pt x="568" y="1680"/>
                    <a:pt x="587" y="1680"/>
                  </a:cubicBezTo>
                  <a:close/>
                  <a:moveTo>
                    <a:pt x="1415" y="897"/>
                  </a:moveTo>
                  <a:cubicBezTo>
                    <a:pt x="1434" y="897"/>
                    <a:pt x="1450" y="882"/>
                    <a:pt x="1450" y="863"/>
                  </a:cubicBezTo>
                  <a:cubicBezTo>
                    <a:pt x="1450" y="817"/>
                    <a:pt x="1450" y="817"/>
                    <a:pt x="1450" y="817"/>
                  </a:cubicBezTo>
                  <a:cubicBezTo>
                    <a:pt x="1450" y="798"/>
                    <a:pt x="1434" y="782"/>
                    <a:pt x="1415" y="782"/>
                  </a:cubicBezTo>
                  <a:cubicBezTo>
                    <a:pt x="1396" y="782"/>
                    <a:pt x="1381" y="798"/>
                    <a:pt x="1381" y="817"/>
                  </a:cubicBezTo>
                  <a:cubicBezTo>
                    <a:pt x="1381" y="863"/>
                    <a:pt x="1381" y="863"/>
                    <a:pt x="1381" y="863"/>
                  </a:cubicBezTo>
                  <a:cubicBezTo>
                    <a:pt x="1381" y="882"/>
                    <a:pt x="1396" y="897"/>
                    <a:pt x="1415" y="897"/>
                  </a:cubicBezTo>
                  <a:close/>
                  <a:moveTo>
                    <a:pt x="1415" y="667"/>
                  </a:moveTo>
                  <a:cubicBezTo>
                    <a:pt x="1434" y="667"/>
                    <a:pt x="1450" y="652"/>
                    <a:pt x="1450" y="633"/>
                  </a:cubicBezTo>
                  <a:cubicBezTo>
                    <a:pt x="1450" y="587"/>
                    <a:pt x="1450" y="587"/>
                    <a:pt x="1450" y="587"/>
                  </a:cubicBezTo>
                  <a:cubicBezTo>
                    <a:pt x="1450" y="568"/>
                    <a:pt x="1434" y="552"/>
                    <a:pt x="1415" y="552"/>
                  </a:cubicBezTo>
                  <a:cubicBezTo>
                    <a:pt x="1396" y="552"/>
                    <a:pt x="1381" y="568"/>
                    <a:pt x="1381" y="587"/>
                  </a:cubicBezTo>
                  <a:cubicBezTo>
                    <a:pt x="1381" y="633"/>
                    <a:pt x="1381" y="633"/>
                    <a:pt x="1381" y="633"/>
                  </a:cubicBezTo>
                  <a:cubicBezTo>
                    <a:pt x="1381" y="652"/>
                    <a:pt x="1396" y="667"/>
                    <a:pt x="1415" y="667"/>
                  </a:cubicBezTo>
                  <a:close/>
                  <a:moveTo>
                    <a:pt x="1277" y="437"/>
                  </a:moveTo>
                  <a:cubicBezTo>
                    <a:pt x="1296" y="437"/>
                    <a:pt x="1312" y="422"/>
                    <a:pt x="1312" y="403"/>
                  </a:cubicBezTo>
                  <a:cubicBezTo>
                    <a:pt x="1312" y="357"/>
                    <a:pt x="1312" y="357"/>
                    <a:pt x="1312" y="357"/>
                  </a:cubicBezTo>
                  <a:cubicBezTo>
                    <a:pt x="1312" y="338"/>
                    <a:pt x="1296" y="322"/>
                    <a:pt x="1277" y="322"/>
                  </a:cubicBezTo>
                  <a:cubicBezTo>
                    <a:pt x="1258" y="322"/>
                    <a:pt x="1243" y="338"/>
                    <a:pt x="1243" y="357"/>
                  </a:cubicBezTo>
                  <a:cubicBezTo>
                    <a:pt x="1243" y="403"/>
                    <a:pt x="1243" y="403"/>
                    <a:pt x="1243" y="403"/>
                  </a:cubicBezTo>
                  <a:cubicBezTo>
                    <a:pt x="1243" y="422"/>
                    <a:pt x="1258" y="437"/>
                    <a:pt x="1277" y="437"/>
                  </a:cubicBezTo>
                  <a:close/>
                  <a:moveTo>
                    <a:pt x="1553" y="1818"/>
                  </a:moveTo>
                  <a:cubicBezTo>
                    <a:pt x="1572" y="1818"/>
                    <a:pt x="1588" y="1802"/>
                    <a:pt x="1588" y="1783"/>
                  </a:cubicBezTo>
                  <a:cubicBezTo>
                    <a:pt x="1588" y="1737"/>
                    <a:pt x="1588" y="1737"/>
                    <a:pt x="1588" y="1737"/>
                  </a:cubicBezTo>
                  <a:cubicBezTo>
                    <a:pt x="1588" y="1718"/>
                    <a:pt x="1572" y="1703"/>
                    <a:pt x="1553" y="1703"/>
                  </a:cubicBezTo>
                  <a:cubicBezTo>
                    <a:pt x="1534" y="1703"/>
                    <a:pt x="1519" y="1718"/>
                    <a:pt x="1519" y="1737"/>
                  </a:cubicBezTo>
                  <a:cubicBezTo>
                    <a:pt x="1519" y="1783"/>
                    <a:pt x="1519" y="1783"/>
                    <a:pt x="1519" y="1783"/>
                  </a:cubicBezTo>
                  <a:cubicBezTo>
                    <a:pt x="1519" y="1802"/>
                    <a:pt x="1534" y="1818"/>
                    <a:pt x="1553" y="1818"/>
                  </a:cubicBezTo>
                  <a:close/>
                  <a:moveTo>
                    <a:pt x="1415" y="437"/>
                  </a:moveTo>
                  <a:cubicBezTo>
                    <a:pt x="1434" y="437"/>
                    <a:pt x="1450" y="422"/>
                    <a:pt x="1450" y="403"/>
                  </a:cubicBezTo>
                  <a:cubicBezTo>
                    <a:pt x="1450" y="357"/>
                    <a:pt x="1450" y="357"/>
                    <a:pt x="1450" y="357"/>
                  </a:cubicBezTo>
                  <a:cubicBezTo>
                    <a:pt x="1450" y="338"/>
                    <a:pt x="1434" y="322"/>
                    <a:pt x="1415" y="322"/>
                  </a:cubicBezTo>
                  <a:cubicBezTo>
                    <a:pt x="1396" y="322"/>
                    <a:pt x="1381" y="338"/>
                    <a:pt x="1381" y="357"/>
                  </a:cubicBezTo>
                  <a:cubicBezTo>
                    <a:pt x="1381" y="403"/>
                    <a:pt x="1381" y="403"/>
                    <a:pt x="1381" y="403"/>
                  </a:cubicBezTo>
                  <a:cubicBezTo>
                    <a:pt x="1381" y="422"/>
                    <a:pt x="1396" y="437"/>
                    <a:pt x="1415" y="437"/>
                  </a:cubicBezTo>
                  <a:close/>
                  <a:moveTo>
                    <a:pt x="1277" y="667"/>
                  </a:moveTo>
                  <a:cubicBezTo>
                    <a:pt x="1296" y="667"/>
                    <a:pt x="1312" y="652"/>
                    <a:pt x="1312" y="633"/>
                  </a:cubicBezTo>
                  <a:cubicBezTo>
                    <a:pt x="1312" y="587"/>
                    <a:pt x="1312" y="587"/>
                    <a:pt x="1312" y="587"/>
                  </a:cubicBezTo>
                  <a:cubicBezTo>
                    <a:pt x="1312" y="568"/>
                    <a:pt x="1296" y="552"/>
                    <a:pt x="1277" y="552"/>
                  </a:cubicBezTo>
                  <a:cubicBezTo>
                    <a:pt x="1258" y="552"/>
                    <a:pt x="1243" y="568"/>
                    <a:pt x="1243" y="587"/>
                  </a:cubicBezTo>
                  <a:cubicBezTo>
                    <a:pt x="1243" y="633"/>
                    <a:pt x="1243" y="633"/>
                    <a:pt x="1243" y="633"/>
                  </a:cubicBezTo>
                  <a:cubicBezTo>
                    <a:pt x="1243" y="652"/>
                    <a:pt x="1258" y="667"/>
                    <a:pt x="1277" y="667"/>
                  </a:cubicBezTo>
                  <a:close/>
                  <a:moveTo>
                    <a:pt x="1829" y="1979"/>
                  </a:moveTo>
                  <a:cubicBezTo>
                    <a:pt x="1772" y="1979"/>
                    <a:pt x="1772" y="1979"/>
                    <a:pt x="1772" y="1979"/>
                  </a:cubicBezTo>
                  <a:cubicBezTo>
                    <a:pt x="1772" y="173"/>
                    <a:pt x="1772" y="173"/>
                    <a:pt x="1772" y="173"/>
                  </a:cubicBezTo>
                  <a:cubicBezTo>
                    <a:pt x="1772" y="154"/>
                    <a:pt x="1756" y="138"/>
                    <a:pt x="1737" y="138"/>
                  </a:cubicBezTo>
                  <a:cubicBezTo>
                    <a:pt x="1093" y="138"/>
                    <a:pt x="1093" y="138"/>
                    <a:pt x="1093" y="138"/>
                  </a:cubicBezTo>
                  <a:cubicBezTo>
                    <a:pt x="1074" y="138"/>
                    <a:pt x="1059" y="154"/>
                    <a:pt x="1059" y="173"/>
                  </a:cubicBezTo>
                  <a:cubicBezTo>
                    <a:pt x="1059" y="322"/>
                    <a:pt x="1059" y="322"/>
                    <a:pt x="1059" y="322"/>
                  </a:cubicBezTo>
                  <a:cubicBezTo>
                    <a:pt x="990" y="322"/>
                    <a:pt x="990" y="322"/>
                    <a:pt x="990" y="322"/>
                  </a:cubicBezTo>
                  <a:cubicBezTo>
                    <a:pt x="990" y="173"/>
                    <a:pt x="990" y="173"/>
                    <a:pt x="990" y="173"/>
                  </a:cubicBezTo>
                  <a:cubicBezTo>
                    <a:pt x="990" y="154"/>
                    <a:pt x="974" y="138"/>
                    <a:pt x="955" y="138"/>
                  </a:cubicBezTo>
                  <a:cubicBezTo>
                    <a:pt x="805" y="138"/>
                    <a:pt x="805" y="138"/>
                    <a:pt x="805" y="138"/>
                  </a:cubicBezTo>
                  <a:cubicBezTo>
                    <a:pt x="805" y="35"/>
                    <a:pt x="805" y="35"/>
                    <a:pt x="805" y="35"/>
                  </a:cubicBezTo>
                  <a:cubicBezTo>
                    <a:pt x="805" y="15"/>
                    <a:pt x="790" y="0"/>
                    <a:pt x="771" y="0"/>
                  </a:cubicBezTo>
                  <a:cubicBezTo>
                    <a:pt x="752" y="0"/>
                    <a:pt x="736" y="15"/>
                    <a:pt x="736" y="35"/>
                  </a:cubicBezTo>
                  <a:cubicBezTo>
                    <a:pt x="736" y="138"/>
                    <a:pt x="736" y="138"/>
                    <a:pt x="736" y="138"/>
                  </a:cubicBezTo>
                  <a:cubicBezTo>
                    <a:pt x="587" y="138"/>
                    <a:pt x="587" y="138"/>
                    <a:pt x="587" y="138"/>
                  </a:cubicBezTo>
                  <a:cubicBezTo>
                    <a:pt x="568" y="138"/>
                    <a:pt x="552" y="154"/>
                    <a:pt x="552" y="173"/>
                  </a:cubicBezTo>
                  <a:cubicBezTo>
                    <a:pt x="552" y="322"/>
                    <a:pt x="552" y="322"/>
                    <a:pt x="552" y="322"/>
                  </a:cubicBezTo>
                  <a:cubicBezTo>
                    <a:pt x="449" y="322"/>
                    <a:pt x="449" y="322"/>
                    <a:pt x="449" y="322"/>
                  </a:cubicBezTo>
                  <a:cubicBezTo>
                    <a:pt x="430" y="322"/>
                    <a:pt x="414" y="338"/>
                    <a:pt x="414" y="357"/>
                  </a:cubicBezTo>
                  <a:cubicBezTo>
                    <a:pt x="414" y="644"/>
                    <a:pt x="414" y="644"/>
                    <a:pt x="414" y="644"/>
                  </a:cubicBezTo>
                  <a:cubicBezTo>
                    <a:pt x="127" y="644"/>
                    <a:pt x="127" y="644"/>
                    <a:pt x="127" y="644"/>
                  </a:cubicBezTo>
                  <a:cubicBezTo>
                    <a:pt x="108" y="644"/>
                    <a:pt x="92" y="660"/>
                    <a:pt x="92" y="679"/>
                  </a:cubicBezTo>
                  <a:cubicBezTo>
                    <a:pt x="92" y="1979"/>
                    <a:pt x="92" y="1979"/>
                    <a:pt x="92" y="1979"/>
                  </a:cubicBezTo>
                  <a:cubicBezTo>
                    <a:pt x="35" y="1979"/>
                    <a:pt x="35" y="1979"/>
                    <a:pt x="35" y="1979"/>
                  </a:cubicBezTo>
                  <a:cubicBezTo>
                    <a:pt x="15" y="1979"/>
                    <a:pt x="0" y="1994"/>
                    <a:pt x="0" y="2013"/>
                  </a:cubicBezTo>
                  <a:cubicBezTo>
                    <a:pt x="0" y="2033"/>
                    <a:pt x="16" y="2048"/>
                    <a:pt x="35" y="2048"/>
                  </a:cubicBezTo>
                  <a:cubicBezTo>
                    <a:pt x="1829" y="2048"/>
                    <a:pt x="1829" y="2048"/>
                    <a:pt x="1829" y="2048"/>
                  </a:cubicBezTo>
                  <a:cubicBezTo>
                    <a:pt x="1849" y="2048"/>
                    <a:pt x="1864" y="2033"/>
                    <a:pt x="1864" y="2013"/>
                  </a:cubicBezTo>
                  <a:cubicBezTo>
                    <a:pt x="1864" y="1994"/>
                    <a:pt x="1849" y="1979"/>
                    <a:pt x="1829" y="1979"/>
                  </a:cubicBezTo>
                  <a:close/>
                  <a:moveTo>
                    <a:pt x="621" y="207"/>
                  </a:moveTo>
                  <a:cubicBezTo>
                    <a:pt x="920" y="207"/>
                    <a:pt x="920" y="207"/>
                    <a:pt x="920" y="207"/>
                  </a:cubicBezTo>
                  <a:cubicBezTo>
                    <a:pt x="920" y="322"/>
                    <a:pt x="920" y="322"/>
                    <a:pt x="920" y="322"/>
                  </a:cubicBezTo>
                  <a:cubicBezTo>
                    <a:pt x="621" y="322"/>
                    <a:pt x="621" y="322"/>
                    <a:pt x="621" y="322"/>
                  </a:cubicBezTo>
                  <a:lnTo>
                    <a:pt x="621" y="207"/>
                  </a:lnTo>
                  <a:close/>
                  <a:moveTo>
                    <a:pt x="506" y="1979"/>
                  </a:moveTo>
                  <a:cubicBezTo>
                    <a:pt x="483" y="1979"/>
                    <a:pt x="483" y="1979"/>
                    <a:pt x="483" y="1979"/>
                  </a:cubicBezTo>
                  <a:cubicBezTo>
                    <a:pt x="483" y="1921"/>
                    <a:pt x="483" y="1921"/>
                    <a:pt x="483" y="1921"/>
                  </a:cubicBezTo>
                  <a:cubicBezTo>
                    <a:pt x="483" y="1902"/>
                    <a:pt x="468" y="1887"/>
                    <a:pt x="449" y="1887"/>
                  </a:cubicBezTo>
                  <a:cubicBezTo>
                    <a:pt x="430" y="1887"/>
                    <a:pt x="414" y="1902"/>
                    <a:pt x="414" y="1921"/>
                  </a:cubicBezTo>
                  <a:cubicBezTo>
                    <a:pt x="414" y="1979"/>
                    <a:pt x="414" y="1979"/>
                    <a:pt x="414" y="1979"/>
                  </a:cubicBezTo>
                  <a:cubicBezTo>
                    <a:pt x="391" y="1979"/>
                    <a:pt x="391" y="1979"/>
                    <a:pt x="391" y="1979"/>
                  </a:cubicBezTo>
                  <a:cubicBezTo>
                    <a:pt x="391" y="1864"/>
                    <a:pt x="391" y="1864"/>
                    <a:pt x="391" y="1864"/>
                  </a:cubicBezTo>
                  <a:cubicBezTo>
                    <a:pt x="506" y="1864"/>
                    <a:pt x="506" y="1864"/>
                    <a:pt x="506" y="1864"/>
                  </a:cubicBezTo>
                  <a:lnTo>
                    <a:pt x="506" y="1979"/>
                  </a:lnTo>
                  <a:close/>
                  <a:moveTo>
                    <a:pt x="736" y="1979"/>
                  </a:moveTo>
                  <a:cubicBezTo>
                    <a:pt x="575" y="1979"/>
                    <a:pt x="575" y="1979"/>
                    <a:pt x="575" y="1979"/>
                  </a:cubicBezTo>
                  <a:cubicBezTo>
                    <a:pt x="575" y="1829"/>
                    <a:pt x="575" y="1829"/>
                    <a:pt x="575" y="1829"/>
                  </a:cubicBezTo>
                  <a:cubicBezTo>
                    <a:pt x="575" y="1810"/>
                    <a:pt x="560" y="1795"/>
                    <a:pt x="541" y="1795"/>
                  </a:cubicBezTo>
                  <a:cubicBezTo>
                    <a:pt x="357" y="1795"/>
                    <a:pt x="357" y="1795"/>
                    <a:pt x="357" y="1795"/>
                  </a:cubicBezTo>
                  <a:cubicBezTo>
                    <a:pt x="338" y="1795"/>
                    <a:pt x="322" y="1810"/>
                    <a:pt x="322" y="1829"/>
                  </a:cubicBezTo>
                  <a:cubicBezTo>
                    <a:pt x="322" y="1979"/>
                    <a:pt x="322" y="1979"/>
                    <a:pt x="322" y="1979"/>
                  </a:cubicBezTo>
                  <a:cubicBezTo>
                    <a:pt x="161" y="1979"/>
                    <a:pt x="161" y="1979"/>
                    <a:pt x="161" y="1979"/>
                  </a:cubicBezTo>
                  <a:cubicBezTo>
                    <a:pt x="161" y="713"/>
                    <a:pt x="161" y="713"/>
                    <a:pt x="161" y="713"/>
                  </a:cubicBezTo>
                  <a:cubicBezTo>
                    <a:pt x="736" y="713"/>
                    <a:pt x="736" y="713"/>
                    <a:pt x="736" y="713"/>
                  </a:cubicBezTo>
                  <a:lnTo>
                    <a:pt x="736" y="1979"/>
                  </a:lnTo>
                  <a:close/>
                  <a:moveTo>
                    <a:pt x="771" y="644"/>
                  </a:moveTo>
                  <a:cubicBezTo>
                    <a:pt x="483" y="644"/>
                    <a:pt x="483" y="644"/>
                    <a:pt x="483" y="644"/>
                  </a:cubicBezTo>
                  <a:cubicBezTo>
                    <a:pt x="483" y="391"/>
                    <a:pt x="483" y="391"/>
                    <a:pt x="483" y="391"/>
                  </a:cubicBezTo>
                  <a:cubicBezTo>
                    <a:pt x="1059" y="391"/>
                    <a:pt x="1059" y="391"/>
                    <a:pt x="1059" y="391"/>
                  </a:cubicBezTo>
                  <a:cubicBezTo>
                    <a:pt x="1059" y="1059"/>
                    <a:pt x="1059" y="1059"/>
                    <a:pt x="1059" y="1059"/>
                  </a:cubicBezTo>
                  <a:cubicBezTo>
                    <a:pt x="805" y="1059"/>
                    <a:pt x="805" y="1059"/>
                    <a:pt x="805" y="1059"/>
                  </a:cubicBezTo>
                  <a:cubicBezTo>
                    <a:pt x="805" y="943"/>
                    <a:pt x="805" y="943"/>
                    <a:pt x="805" y="943"/>
                  </a:cubicBezTo>
                  <a:cubicBezTo>
                    <a:pt x="909" y="943"/>
                    <a:pt x="909" y="943"/>
                    <a:pt x="909" y="943"/>
                  </a:cubicBezTo>
                  <a:cubicBezTo>
                    <a:pt x="928" y="943"/>
                    <a:pt x="944" y="928"/>
                    <a:pt x="944" y="909"/>
                  </a:cubicBezTo>
                  <a:cubicBezTo>
                    <a:pt x="944" y="890"/>
                    <a:pt x="928" y="874"/>
                    <a:pt x="909" y="874"/>
                  </a:cubicBezTo>
                  <a:cubicBezTo>
                    <a:pt x="805" y="874"/>
                    <a:pt x="805" y="874"/>
                    <a:pt x="805" y="874"/>
                  </a:cubicBezTo>
                  <a:cubicBezTo>
                    <a:pt x="805" y="759"/>
                    <a:pt x="805" y="759"/>
                    <a:pt x="805" y="759"/>
                  </a:cubicBezTo>
                  <a:cubicBezTo>
                    <a:pt x="909" y="759"/>
                    <a:pt x="909" y="759"/>
                    <a:pt x="909" y="759"/>
                  </a:cubicBezTo>
                  <a:cubicBezTo>
                    <a:pt x="928" y="759"/>
                    <a:pt x="944" y="744"/>
                    <a:pt x="944" y="725"/>
                  </a:cubicBezTo>
                  <a:cubicBezTo>
                    <a:pt x="944" y="706"/>
                    <a:pt x="928" y="690"/>
                    <a:pt x="909" y="690"/>
                  </a:cubicBezTo>
                  <a:cubicBezTo>
                    <a:pt x="805" y="690"/>
                    <a:pt x="805" y="690"/>
                    <a:pt x="805" y="690"/>
                  </a:cubicBezTo>
                  <a:cubicBezTo>
                    <a:pt x="805" y="679"/>
                    <a:pt x="805" y="679"/>
                    <a:pt x="805" y="679"/>
                  </a:cubicBezTo>
                  <a:cubicBezTo>
                    <a:pt x="805" y="660"/>
                    <a:pt x="790" y="644"/>
                    <a:pt x="771" y="644"/>
                  </a:cubicBezTo>
                  <a:close/>
                  <a:moveTo>
                    <a:pt x="1381" y="1979"/>
                  </a:moveTo>
                  <a:cubicBezTo>
                    <a:pt x="805" y="1979"/>
                    <a:pt x="805" y="1979"/>
                    <a:pt x="805" y="1979"/>
                  </a:cubicBezTo>
                  <a:cubicBezTo>
                    <a:pt x="805" y="1128"/>
                    <a:pt x="805" y="1128"/>
                    <a:pt x="805" y="1128"/>
                  </a:cubicBezTo>
                  <a:cubicBezTo>
                    <a:pt x="1381" y="1128"/>
                    <a:pt x="1381" y="1128"/>
                    <a:pt x="1381" y="1128"/>
                  </a:cubicBezTo>
                  <a:lnTo>
                    <a:pt x="1381" y="1979"/>
                  </a:lnTo>
                  <a:close/>
                  <a:moveTo>
                    <a:pt x="1703" y="1979"/>
                  </a:moveTo>
                  <a:cubicBezTo>
                    <a:pt x="1450" y="1979"/>
                    <a:pt x="1450" y="1979"/>
                    <a:pt x="1450" y="1979"/>
                  </a:cubicBezTo>
                  <a:cubicBezTo>
                    <a:pt x="1450" y="1047"/>
                    <a:pt x="1450" y="1047"/>
                    <a:pt x="1450" y="1047"/>
                  </a:cubicBezTo>
                  <a:cubicBezTo>
                    <a:pt x="1450" y="1028"/>
                    <a:pt x="1434" y="1012"/>
                    <a:pt x="1415" y="1012"/>
                  </a:cubicBezTo>
                  <a:cubicBezTo>
                    <a:pt x="1396" y="1012"/>
                    <a:pt x="1381" y="1028"/>
                    <a:pt x="1381" y="1047"/>
                  </a:cubicBezTo>
                  <a:cubicBezTo>
                    <a:pt x="1381" y="1059"/>
                    <a:pt x="1381" y="1059"/>
                    <a:pt x="1381" y="1059"/>
                  </a:cubicBezTo>
                  <a:cubicBezTo>
                    <a:pt x="1312" y="1059"/>
                    <a:pt x="1312" y="1059"/>
                    <a:pt x="1312" y="1059"/>
                  </a:cubicBezTo>
                  <a:cubicBezTo>
                    <a:pt x="1312" y="1047"/>
                    <a:pt x="1312" y="1047"/>
                    <a:pt x="1312" y="1047"/>
                  </a:cubicBezTo>
                  <a:cubicBezTo>
                    <a:pt x="1312" y="1028"/>
                    <a:pt x="1296" y="1012"/>
                    <a:pt x="1277" y="1012"/>
                  </a:cubicBezTo>
                  <a:cubicBezTo>
                    <a:pt x="1258" y="1012"/>
                    <a:pt x="1243" y="1028"/>
                    <a:pt x="1243" y="1047"/>
                  </a:cubicBezTo>
                  <a:cubicBezTo>
                    <a:pt x="1243" y="1059"/>
                    <a:pt x="1243" y="1059"/>
                    <a:pt x="1243" y="1059"/>
                  </a:cubicBezTo>
                  <a:cubicBezTo>
                    <a:pt x="1128" y="1059"/>
                    <a:pt x="1128" y="1059"/>
                    <a:pt x="1128" y="1059"/>
                  </a:cubicBezTo>
                  <a:cubicBezTo>
                    <a:pt x="1128" y="207"/>
                    <a:pt x="1128" y="207"/>
                    <a:pt x="1128" y="207"/>
                  </a:cubicBezTo>
                  <a:cubicBezTo>
                    <a:pt x="1703" y="207"/>
                    <a:pt x="1703" y="207"/>
                    <a:pt x="1703" y="207"/>
                  </a:cubicBezTo>
                  <a:lnTo>
                    <a:pt x="1703" y="1979"/>
                  </a:lnTo>
                  <a:close/>
                  <a:moveTo>
                    <a:pt x="1277" y="897"/>
                  </a:moveTo>
                  <a:cubicBezTo>
                    <a:pt x="1296" y="897"/>
                    <a:pt x="1312" y="882"/>
                    <a:pt x="1312" y="863"/>
                  </a:cubicBezTo>
                  <a:cubicBezTo>
                    <a:pt x="1312" y="817"/>
                    <a:pt x="1312" y="817"/>
                    <a:pt x="1312" y="817"/>
                  </a:cubicBezTo>
                  <a:cubicBezTo>
                    <a:pt x="1312" y="798"/>
                    <a:pt x="1296" y="782"/>
                    <a:pt x="1277" y="782"/>
                  </a:cubicBezTo>
                  <a:cubicBezTo>
                    <a:pt x="1258" y="782"/>
                    <a:pt x="1243" y="798"/>
                    <a:pt x="1243" y="817"/>
                  </a:cubicBezTo>
                  <a:cubicBezTo>
                    <a:pt x="1243" y="863"/>
                    <a:pt x="1243" y="863"/>
                    <a:pt x="1243" y="863"/>
                  </a:cubicBezTo>
                  <a:cubicBezTo>
                    <a:pt x="1243" y="882"/>
                    <a:pt x="1258" y="897"/>
                    <a:pt x="1277" y="897"/>
                  </a:cubicBezTo>
                  <a:close/>
                  <a:moveTo>
                    <a:pt x="1553" y="1358"/>
                  </a:moveTo>
                  <a:cubicBezTo>
                    <a:pt x="1572" y="1358"/>
                    <a:pt x="1588" y="1342"/>
                    <a:pt x="1588" y="1323"/>
                  </a:cubicBezTo>
                  <a:cubicBezTo>
                    <a:pt x="1588" y="1277"/>
                    <a:pt x="1588" y="1277"/>
                    <a:pt x="1588" y="1277"/>
                  </a:cubicBezTo>
                  <a:cubicBezTo>
                    <a:pt x="1588" y="1258"/>
                    <a:pt x="1572" y="1243"/>
                    <a:pt x="1553" y="1243"/>
                  </a:cubicBezTo>
                  <a:cubicBezTo>
                    <a:pt x="1534" y="1243"/>
                    <a:pt x="1519" y="1258"/>
                    <a:pt x="1519" y="1277"/>
                  </a:cubicBezTo>
                  <a:cubicBezTo>
                    <a:pt x="1519" y="1323"/>
                    <a:pt x="1519" y="1323"/>
                    <a:pt x="1519" y="1323"/>
                  </a:cubicBezTo>
                  <a:cubicBezTo>
                    <a:pt x="1519" y="1342"/>
                    <a:pt x="1534" y="1358"/>
                    <a:pt x="1553" y="1358"/>
                  </a:cubicBezTo>
                  <a:close/>
                  <a:moveTo>
                    <a:pt x="1553" y="1588"/>
                  </a:moveTo>
                  <a:cubicBezTo>
                    <a:pt x="1572" y="1588"/>
                    <a:pt x="1588" y="1572"/>
                    <a:pt x="1588" y="1553"/>
                  </a:cubicBezTo>
                  <a:cubicBezTo>
                    <a:pt x="1588" y="1507"/>
                    <a:pt x="1588" y="1507"/>
                    <a:pt x="1588" y="1507"/>
                  </a:cubicBezTo>
                  <a:cubicBezTo>
                    <a:pt x="1588" y="1488"/>
                    <a:pt x="1572" y="1473"/>
                    <a:pt x="1553" y="1473"/>
                  </a:cubicBezTo>
                  <a:cubicBezTo>
                    <a:pt x="1534" y="1473"/>
                    <a:pt x="1519" y="1488"/>
                    <a:pt x="1519" y="1507"/>
                  </a:cubicBezTo>
                  <a:cubicBezTo>
                    <a:pt x="1519" y="1553"/>
                    <a:pt x="1519" y="1553"/>
                    <a:pt x="1519" y="1553"/>
                  </a:cubicBezTo>
                  <a:cubicBezTo>
                    <a:pt x="1519" y="1572"/>
                    <a:pt x="1534" y="1588"/>
                    <a:pt x="1553" y="1588"/>
                  </a:cubicBezTo>
                  <a:close/>
                  <a:moveTo>
                    <a:pt x="955" y="1910"/>
                  </a:moveTo>
                  <a:cubicBezTo>
                    <a:pt x="974" y="1910"/>
                    <a:pt x="990" y="1894"/>
                    <a:pt x="990" y="1875"/>
                  </a:cubicBezTo>
                  <a:cubicBezTo>
                    <a:pt x="990" y="1231"/>
                    <a:pt x="990" y="1231"/>
                    <a:pt x="990" y="1231"/>
                  </a:cubicBezTo>
                  <a:cubicBezTo>
                    <a:pt x="990" y="1212"/>
                    <a:pt x="974" y="1197"/>
                    <a:pt x="955" y="1197"/>
                  </a:cubicBezTo>
                  <a:cubicBezTo>
                    <a:pt x="936" y="1197"/>
                    <a:pt x="920" y="1212"/>
                    <a:pt x="920" y="1231"/>
                  </a:cubicBezTo>
                  <a:cubicBezTo>
                    <a:pt x="920" y="1875"/>
                    <a:pt x="920" y="1875"/>
                    <a:pt x="920" y="1875"/>
                  </a:cubicBezTo>
                  <a:cubicBezTo>
                    <a:pt x="920" y="1894"/>
                    <a:pt x="936" y="1910"/>
                    <a:pt x="955" y="1910"/>
                  </a:cubicBezTo>
                  <a:close/>
                  <a:moveTo>
                    <a:pt x="1553" y="667"/>
                  </a:moveTo>
                  <a:cubicBezTo>
                    <a:pt x="1572" y="667"/>
                    <a:pt x="1588" y="652"/>
                    <a:pt x="1588" y="633"/>
                  </a:cubicBezTo>
                  <a:cubicBezTo>
                    <a:pt x="1588" y="587"/>
                    <a:pt x="1588" y="587"/>
                    <a:pt x="1588" y="587"/>
                  </a:cubicBezTo>
                  <a:cubicBezTo>
                    <a:pt x="1588" y="568"/>
                    <a:pt x="1572" y="552"/>
                    <a:pt x="1553" y="552"/>
                  </a:cubicBezTo>
                  <a:cubicBezTo>
                    <a:pt x="1534" y="552"/>
                    <a:pt x="1519" y="568"/>
                    <a:pt x="1519" y="587"/>
                  </a:cubicBezTo>
                  <a:cubicBezTo>
                    <a:pt x="1519" y="633"/>
                    <a:pt x="1519" y="633"/>
                    <a:pt x="1519" y="633"/>
                  </a:cubicBezTo>
                  <a:cubicBezTo>
                    <a:pt x="1519" y="652"/>
                    <a:pt x="1534" y="667"/>
                    <a:pt x="1553" y="667"/>
                  </a:cubicBezTo>
                  <a:close/>
                  <a:moveTo>
                    <a:pt x="1093" y="1910"/>
                  </a:moveTo>
                  <a:cubicBezTo>
                    <a:pt x="1112" y="1910"/>
                    <a:pt x="1128" y="1894"/>
                    <a:pt x="1128" y="1875"/>
                  </a:cubicBezTo>
                  <a:cubicBezTo>
                    <a:pt x="1128" y="1231"/>
                    <a:pt x="1128" y="1231"/>
                    <a:pt x="1128" y="1231"/>
                  </a:cubicBezTo>
                  <a:cubicBezTo>
                    <a:pt x="1128" y="1212"/>
                    <a:pt x="1112" y="1197"/>
                    <a:pt x="1093" y="1197"/>
                  </a:cubicBezTo>
                  <a:cubicBezTo>
                    <a:pt x="1074" y="1197"/>
                    <a:pt x="1059" y="1212"/>
                    <a:pt x="1059" y="1231"/>
                  </a:cubicBezTo>
                  <a:cubicBezTo>
                    <a:pt x="1059" y="1875"/>
                    <a:pt x="1059" y="1875"/>
                    <a:pt x="1059" y="1875"/>
                  </a:cubicBezTo>
                  <a:cubicBezTo>
                    <a:pt x="1059" y="1894"/>
                    <a:pt x="1074" y="1910"/>
                    <a:pt x="1093" y="1910"/>
                  </a:cubicBezTo>
                  <a:close/>
                  <a:moveTo>
                    <a:pt x="1553" y="437"/>
                  </a:moveTo>
                  <a:cubicBezTo>
                    <a:pt x="1572" y="437"/>
                    <a:pt x="1588" y="422"/>
                    <a:pt x="1588" y="403"/>
                  </a:cubicBezTo>
                  <a:cubicBezTo>
                    <a:pt x="1588" y="357"/>
                    <a:pt x="1588" y="357"/>
                    <a:pt x="1588" y="357"/>
                  </a:cubicBezTo>
                  <a:cubicBezTo>
                    <a:pt x="1588" y="338"/>
                    <a:pt x="1572" y="322"/>
                    <a:pt x="1553" y="322"/>
                  </a:cubicBezTo>
                  <a:cubicBezTo>
                    <a:pt x="1534" y="322"/>
                    <a:pt x="1519" y="338"/>
                    <a:pt x="1519" y="357"/>
                  </a:cubicBezTo>
                  <a:cubicBezTo>
                    <a:pt x="1519" y="403"/>
                    <a:pt x="1519" y="403"/>
                    <a:pt x="1519" y="403"/>
                  </a:cubicBezTo>
                  <a:cubicBezTo>
                    <a:pt x="1519" y="422"/>
                    <a:pt x="1534" y="437"/>
                    <a:pt x="1553" y="437"/>
                  </a:cubicBezTo>
                  <a:close/>
                  <a:moveTo>
                    <a:pt x="1553" y="897"/>
                  </a:moveTo>
                  <a:cubicBezTo>
                    <a:pt x="1572" y="897"/>
                    <a:pt x="1588" y="882"/>
                    <a:pt x="1588" y="863"/>
                  </a:cubicBezTo>
                  <a:cubicBezTo>
                    <a:pt x="1588" y="817"/>
                    <a:pt x="1588" y="817"/>
                    <a:pt x="1588" y="817"/>
                  </a:cubicBezTo>
                  <a:cubicBezTo>
                    <a:pt x="1588" y="798"/>
                    <a:pt x="1572" y="782"/>
                    <a:pt x="1553" y="782"/>
                  </a:cubicBezTo>
                  <a:cubicBezTo>
                    <a:pt x="1534" y="782"/>
                    <a:pt x="1519" y="798"/>
                    <a:pt x="1519" y="817"/>
                  </a:cubicBezTo>
                  <a:cubicBezTo>
                    <a:pt x="1519" y="863"/>
                    <a:pt x="1519" y="863"/>
                    <a:pt x="1519" y="863"/>
                  </a:cubicBezTo>
                  <a:cubicBezTo>
                    <a:pt x="1519" y="882"/>
                    <a:pt x="1534" y="897"/>
                    <a:pt x="1553" y="897"/>
                  </a:cubicBezTo>
                  <a:close/>
                  <a:moveTo>
                    <a:pt x="1231" y="1910"/>
                  </a:moveTo>
                  <a:cubicBezTo>
                    <a:pt x="1250" y="1910"/>
                    <a:pt x="1266" y="1894"/>
                    <a:pt x="1266" y="1875"/>
                  </a:cubicBezTo>
                  <a:cubicBezTo>
                    <a:pt x="1266" y="1231"/>
                    <a:pt x="1266" y="1231"/>
                    <a:pt x="1266" y="1231"/>
                  </a:cubicBezTo>
                  <a:cubicBezTo>
                    <a:pt x="1266" y="1212"/>
                    <a:pt x="1250" y="1197"/>
                    <a:pt x="1231" y="1197"/>
                  </a:cubicBezTo>
                  <a:cubicBezTo>
                    <a:pt x="1212" y="1197"/>
                    <a:pt x="1197" y="1212"/>
                    <a:pt x="1197" y="1231"/>
                  </a:cubicBezTo>
                  <a:cubicBezTo>
                    <a:pt x="1197" y="1875"/>
                    <a:pt x="1197" y="1875"/>
                    <a:pt x="1197" y="1875"/>
                  </a:cubicBezTo>
                  <a:cubicBezTo>
                    <a:pt x="1197" y="1894"/>
                    <a:pt x="1212" y="1910"/>
                    <a:pt x="1231" y="1910"/>
                  </a:cubicBezTo>
                  <a:close/>
                  <a:moveTo>
                    <a:pt x="1553" y="1128"/>
                  </a:moveTo>
                  <a:cubicBezTo>
                    <a:pt x="1572" y="1128"/>
                    <a:pt x="1588" y="1112"/>
                    <a:pt x="1588" y="1093"/>
                  </a:cubicBezTo>
                  <a:cubicBezTo>
                    <a:pt x="1588" y="1047"/>
                    <a:pt x="1588" y="1047"/>
                    <a:pt x="1588" y="1047"/>
                  </a:cubicBezTo>
                  <a:cubicBezTo>
                    <a:pt x="1588" y="1028"/>
                    <a:pt x="1572" y="1012"/>
                    <a:pt x="1553" y="1012"/>
                  </a:cubicBezTo>
                  <a:cubicBezTo>
                    <a:pt x="1534" y="1012"/>
                    <a:pt x="1519" y="1028"/>
                    <a:pt x="1519" y="1047"/>
                  </a:cubicBezTo>
                  <a:cubicBezTo>
                    <a:pt x="1519" y="1093"/>
                    <a:pt x="1519" y="1093"/>
                    <a:pt x="1519" y="1093"/>
                  </a:cubicBezTo>
                  <a:cubicBezTo>
                    <a:pt x="1519" y="1112"/>
                    <a:pt x="1534" y="1128"/>
                    <a:pt x="1553" y="11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6" name="Group 259"/>
          <p:cNvGrpSpPr/>
          <p:nvPr/>
        </p:nvGrpSpPr>
        <p:grpSpPr>
          <a:xfrm>
            <a:off x="3642232" y="1047750"/>
            <a:ext cx="634681" cy="634681"/>
            <a:chOff x="3642232" y="1047750"/>
            <a:chExt cx="634681" cy="634681"/>
          </a:xfrm>
        </p:grpSpPr>
        <p:sp>
          <p:nvSpPr>
            <p:cNvPr id="186" name="Oval 185"/>
            <p:cNvSpPr/>
            <p:nvPr/>
          </p:nvSpPr>
          <p:spPr>
            <a:xfrm>
              <a:off x="3642232" y="1047750"/>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8384" name="Freeform 16"/>
            <p:cNvSpPr>
              <a:spLocks noEditPoints="1"/>
            </p:cNvSpPr>
            <p:nvPr/>
          </p:nvSpPr>
          <p:spPr bwMode="auto">
            <a:xfrm>
              <a:off x="3837179" y="1175381"/>
              <a:ext cx="244786" cy="379418"/>
            </a:xfrm>
            <a:custGeom>
              <a:avLst/>
              <a:gdLst/>
              <a:ahLst/>
              <a:cxnLst>
                <a:cxn ang="0">
                  <a:pos x="621" y="771"/>
                </a:cxn>
                <a:cxn ang="0">
                  <a:pos x="587" y="691"/>
                </a:cxn>
                <a:cxn ang="0">
                  <a:pos x="552" y="771"/>
                </a:cxn>
                <a:cxn ang="0">
                  <a:pos x="587" y="1036"/>
                </a:cxn>
                <a:cxn ang="0">
                  <a:pos x="621" y="955"/>
                </a:cxn>
                <a:cxn ang="0">
                  <a:pos x="552" y="955"/>
                </a:cxn>
                <a:cxn ang="0">
                  <a:pos x="587" y="1036"/>
                </a:cxn>
                <a:cxn ang="0">
                  <a:pos x="483" y="311"/>
                </a:cxn>
                <a:cxn ang="0">
                  <a:pos x="449" y="230"/>
                </a:cxn>
                <a:cxn ang="0">
                  <a:pos x="414" y="311"/>
                </a:cxn>
                <a:cxn ang="0">
                  <a:pos x="587" y="576"/>
                </a:cxn>
                <a:cxn ang="0">
                  <a:pos x="621" y="495"/>
                </a:cxn>
                <a:cxn ang="0">
                  <a:pos x="552" y="495"/>
                </a:cxn>
                <a:cxn ang="0">
                  <a:pos x="587" y="576"/>
                </a:cxn>
                <a:cxn ang="0">
                  <a:pos x="621" y="311"/>
                </a:cxn>
                <a:cxn ang="0">
                  <a:pos x="587" y="230"/>
                </a:cxn>
                <a:cxn ang="0">
                  <a:pos x="552" y="311"/>
                </a:cxn>
                <a:cxn ang="0">
                  <a:pos x="449" y="576"/>
                </a:cxn>
                <a:cxn ang="0">
                  <a:pos x="483" y="495"/>
                </a:cxn>
                <a:cxn ang="0">
                  <a:pos x="414" y="495"/>
                </a:cxn>
                <a:cxn ang="0">
                  <a:pos x="449" y="576"/>
                </a:cxn>
                <a:cxn ang="0">
                  <a:pos x="483" y="771"/>
                </a:cxn>
                <a:cxn ang="0">
                  <a:pos x="449" y="691"/>
                </a:cxn>
                <a:cxn ang="0">
                  <a:pos x="414" y="771"/>
                </a:cxn>
                <a:cxn ang="0">
                  <a:pos x="311" y="806"/>
                </a:cxn>
                <a:cxn ang="0">
                  <a:pos x="345" y="725"/>
                </a:cxn>
                <a:cxn ang="0">
                  <a:pos x="276" y="725"/>
                </a:cxn>
                <a:cxn ang="0">
                  <a:pos x="311" y="806"/>
                </a:cxn>
                <a:cxn ang="0">
                  <a:pos x="805" y="1335"/>
                </a:cxn>
                <a:cxn ang="0">
                  <a:pos x="771" y="0"/>
                </a:cxn>
                <a:cxn ang="0">
                  <a:pos x="92" y="35"/>
                </a:cxn>
                <a:cxn ang="0">
                  <a:pos x="35" y="1335"/>
                </a:cxn>
                <a:cxn ang="0">
                  <a:pos x="35" y="1404"/>
                </a:cxn>
                <a:cxn ang="0">
                  <a:pos x="906" y="1369"/>
                </a:cxn>
                <a:cxn ang="0">
                  <a:pos x="506" y="1335"/>
                </a:cxn>
                <a:cxn ang="0">
                  <a:pos x="483" y="1277"/>
                </a:cxn>
                <a:cxn ang="0">
                  <a:pos x="414" y="1277"/>
                </a:cxn>
                <a:cxn ang="0">
                  <a:pos x="391" y="1335"/>
                </a:cxn>
                <a:cxn ang="0">
                  <a:pos x="506" y="1220"/>
                </a:cxn>
                <a:cxn ang="0">
                  <a:pos x="736" y="1335"/>
                </a:cxn>
                <a:cxn ang="0">
                  <a:pos x="575" y="1185"/>
                </a:cxn>
                <a:cxn ang="0">
                  <a:pos x="357" y="1151"/>
                </a:cxn>
                <a:cxn ang="0">
                  <a:pos x="322" y="1335"/>
                </a:cxn>
                <a:cxn ang="0">
                  <a:pos x="161" y="69"/>
                </a:cxn>
                <a:cxn ang="0">
                  <a:pos x="736" y="1335"/>
                </a:cxn>
                <a:cxn ang="0">
                  <a:pos x="345" y="1001"/>
                </a:cxn>
                <a:cxn ang="0">
                  <a:pos x="311" y="921"/>
                </a:cxn>
                <a:cxn ang="0">
                  <a:pos x="276" y="1001"/>
                </a:cxn>
                <a:cxn ang="0">
                  <a:pos x="449" y="1036"/>
                </a:cxn>
                <a:cxn ang="0">
                  <a:pos x="483" y="955"/>
                </a:cxn>
                <a:cxn ang="0">
                  <a:pos x="414" y="955"/>
                </a:cxn>
                <a:cxn ang="0">
                  <a:pos x="449" y="1036"/>
                </a:cxn>
                <a:cxn ang="0">
                  <a:pos x="345" y="311"/>
                </a:cxn>
                <a:cxn ang="0">
                  <a:pos x="311" y="230"/>
                </a:cxn>
                <a:cxn ang="0">
                  <a:pos x="276" y="311"/>
                </a:cxn>
                <a:cxn ang="0">
                  <a:pos x="311" y="576"/>
                </a:cxn>
                <a:cxn ang="0">
                  <a:pos x="345" y="495"/>
                </a:cxn>
                <a:cxn ang="0">
                  <a:pos x="276" y="495"/>
                </a:cxn>
                <a:cxn ang="0">
                  <a:pos x="311" y="576"/>
                </a:cxn>
              </a:cxnLst>
              <a:rect l="0" t="0" r="r" b="b"/>
              <a:pathLst>
                <a:path w="906" h="1404">
                  <a:moveTo>
                    <a:pt x="587" y="806"/>
                  </a:moveTo>
                  <a:cubicBezTo>
                    <a:pt x="606" y="806"/>
                    <a:pt x="621" y="790"/>
                    <a:pt x="621" y="771"/>
                  </a:cubicBezTo>
                  <a:cubicBezTo>
                    <a:pt x="621" y="725"/>
                    <a:pt x="621" y="725"/>
                    <a:pt x="621" y="725"/>
                  </a:cubicBezTo>
                  <a:cubicBezTo>
                    <a:pt x="621" y="706"/>
                    <a:pt x="606" y="691"/>
                    <a:pt x="587" y="691"/>
                  </a:cubicBezTo>
                  <a:cubicBezTo>
                    <a:pt x="568" y="691"/>
                    <a:pt x="552" y="706"/>
                    <a:pt x="552" y="725"/>
                  </a:cubicBezTo>
                  <a:cubicBezTo>
                    <a:pt x="552" y="771"/>
                    <a:pt x="552" y="771"/>
                    <a:pt x="552" y="771"/>
                  </a:cubicBezTo>
                  <a:cubicBezTo>
                    <a:pt x="552" y="790"/>
                    <a:pt x="568" y="806"/>
                    <a:pt x="587" y="806"/>
                  </a:cubicBezTo>
                  <a:close/>
                  <a:moveTo>
                    <a:pt x="587" y="1036"/>
                  </a:moveTo>
                  <a:cubicBezTo>
                    <a:pt x="606" y="1036"/>
                    <a:pt x="621" y="1020"/>
                    <a:pt x="621" y="1001"/>
                  </a:cubicBezTo>
                  <a:cubicBezTo>
                    <a:pt x="621" y="955"/>
                    <a:pt x="621" y="955"/>
                    <a:pt x="621" y="955"/>
                  </a:cubicBezTo>
                  <a:cubicBezTo>
                    <a:pt x="621" y="936"/>
                    <a:pt x="606" y="921"/>
                    <a:pt x="587" y="921"/>
                  </a:cubicBezTo>
                  <a:cubicBezTo>
                    <a:pt x="568" y="921"/>
                    <a:pt x="552" y="936"/>
                    <a:pt x="552" y="955"/>
                  </a:cubicBezTo>
                  <a:cubicBezTo>
                    <a:pt x="552" y="1001"/>
                    <a:pt x="552" y="1001"/>
                    <a:pt x="552" y="1001"/>
                  </a:cubicBezTo>
                  <a:cubicBezTo>
                    <a:pt x="552" y="1020"/>
                    <a:pt x="568" y="1036"/>
                    <a:pt x="587" y="1036"/>
                  </a:cubicBezTo>
                  <a:close/>
                  <a:moveTo>
                    <a:pt x="449" y="345"/>
                  </a:moveTo>
                  <a:cubicBezTo>
                    <a:pt x="468" y="345"/>
                    <a:pt x="483" y="330"/>
                    <a:pt x="483" y="311"/>
                  </a:cubicBezTo>
                  <a:cubicBezTo>
                    <a:pt x="483" y="265"/>
                    <a:pt x="483" y="265"/>
                    <a:pt x="483" y="265"/>
                  </a:cubicBezTo>
                  <a:cubicBezTo>
                    <a:pt x="483" y="246"/>
                    <a:pt x="468" y="230"/>
                    <a:pt x="449" y="230"/>
                  </a:cubicBezTo>
                  <a:cubicBezTo>
                    <a:pt x="430" y="230"/>
                    <a:pt x="414" y="246"/>
                    <a:pt x="414" y="265"/>
                  </a:cubicBezTo>
                  <a:cubicBezTo>
                    <a:pt x="414" y="311"/>
                    <a:pt x="414" y="311"/>
                    <a:pt x="414" y="311"/>
                  </a:cubicBezTo>
                  <a:cubicBezTo>
                    <a:pt x="414" y="330"/>
                    <a:pt x="430" y="345"/>
                    <a:pt x="449" y="345"/>
                  </a:cubicBezTo>
                  <a:close/>
                  <a:moveTo>
                    <a:pt x="587" y="576"/>
                  </a:moveTo>
                  <a:cubicBezTo>
                    <a:pt x="606" y="576"/>
                    <a:pt x="621" y="560"/>
                    <a:pt x="621" y="541"/>
                  </a:cubicBezTo>
                  <a:cubicBezTo>
                    <a:pt x="621" y="495"/>
                    <a:pt x="621" y="495"/>
                    <a:pt x="621" y="495"/>
                  </a:cubicBezTo>
                  <a:cubicBezTo>
                    <a:pt x="621" y="476"/>
                    <a:pt x="606" y="461"/>
                    <a:pt x="587" y="461"/>
                  </a:cubicBezTo>
                  <a:cubicBezTo>
                    <a:pt x="568" y="461"/>
                    <a:pt x="552" y="476"/>
                    <a:pt x="552" y="495"/>
                  </a:cubicBezTo>
                  <a:cubicBezTo>
                    <a:pt x="552" y="541"/>
                    <a:pt x="552" y="541"/>
                    <a:pt x="552" y="541"/>
                  </a:cubicBezTo>
                  <a:cubicBezTo>
                    <a:pt x="552" y="560"/>
                    <a:pt x="568" y="576"/>
                    <a:pt x="587" y="576"/>
                  </a:cubicBezTo>
                  <a:close/>
                  <a:moveTo>
                    <a:pt x="587" y="345"/>
                  </a:moveTo>
                  <a:cubicBezTo>
                    <a:pt x="606" y="345"/>
                    <a:pt x="621" y="330"/>
                    <a:pt x="621" y="311"/>
                  </a:cubicBezTo>
                  <a:cubicBezTo>
                    <a:pt x="621" y="265"/>
                    <a:pt x="621" y="265"/>
                    <a:pt x="621" y="265"/>
                  </a:cubicBezTo>
                  <a:cubicBezTo>
                    <a:pt x="621" y="246"/>
                    <a:pt x="606" y="230"/>
                    <a:pt x="587" y="230"/>
                  </a:cubicBezTo>
                  <a:cubicBezTo>
                    <a:pt x="568" y="230"/>
                    <a:pt x="552" y="246"/>
                    <a:pt x="552" y="265"/>
                  </a:cubicBezTo>
                  <a:cubicBezTo>
                    <a:pt x="552" y="311"/>
                    <a:pt x="552" y="311"/>
                    <a:pt x="552" y="311"/>
                  </a:cubicBezTo>
                  <a:cubicBezTo>
                    <a:pt x="552" y="330"/>
                    <a:pt x="568" y="345"/>
                    <a:pt x="587" y="345"/>
                  </a:cubicBezTo>
                  <a:close/>
                  <a:moveTo>
                    <a:pt x="449" y="576"/>
                  </a:moveTo>
                  <a:cubicBezTo>
                    <a:pt x="468" y="576"/>
                    <a:pt x="483" y="560"/>
                    <a:pt x="483" y="541"/>
                  </a:cubicBezTo>
                  <a:cubicBezTo>
                    <a:pt x="483" y="495"/>
                    <a:pt x="483" y="495"/>
                    <a:pt x="483" y="495"/>
                  </a:cubicBezTo>
                  <a:cubicBezTo>
                    <a:pt x="483" y="476"/>
                    <a:pt x="468" y="461"/>
                    <a:pt x="449" y="461"/>
                  </a:cubicBezTo>
                  <a:cubicBezTo>
                    <a:pt x="430" y="461"/>
                    <a:pt x="414" y="476"/>
                    <a:pt x="414" y="495"/>
                  </a:cubicBezTo>
                  <a:cubicBezTo>
                    <a:pt x="414" y="541"/>
                    <a:pt x="414" y="541"/>
                    <a:pt x="414" y="541"/>
                  </a:cubicBezTo>
                  <a:cubicBezTo>
                    <a:pt x="414" y="560"/>
                    <a:pt x="430" y="576"/>
                    <a:pt x="449" y="576"/>
                  </a:cubicBezTo>
                  <a:close/>
                  <a:moveTo>
                    <a:pt x="449" y="806"/>
                  </a:moveTo>
                  <a:cubicBezTo>
                    <a:pt x="468" y="806"/>
                    <a:pt x="483" y="790"/>
                    <a:pt x="483" y="771"/>
                  </a:cubicBezTo>
                  <a:cubicBezTo>
                    <a:pt x="483" y="725"/>
                    <a:pt x="483" y="725"/>
                    <a:pt x="483" y="725"/>
                  </a:cubicBezTo>
                  <a:cubicBezTo>
                    <a:pt x="483" y="706"/>
                    <a:pt x="468" y="691"/>
                    <a:pt x="449" y="691"/>
                  </a:cubicBezTo>
                  <a:cubicBezTo>
                    <a:pt x="430" y="691"/>
                    <a:pt x="414" y="706"/>
                    <a:pt x="414" y="725"/>
                  </a:cubicBezTo>
                  <a:cubicBezTo>
                    <a:pt x="414" y="771"/>
                    <a:pt x="414" y="771"/>
                    <a:pt x="414" y="771"/>
                  </a:cubicBezTo>
                  <a:cubicBezTo>
                    <a:pt x="414" y="790"/>
                    <a:pt x="430" y="806"/>
                    <a:pt x="449" y="806"/>
                  </a:cubicBezTo>
                  <a:close/>
                  <a:moveTo>
                    <a:pt x="311" y="806"/>
                  </a:moveTo>
                  <a:cubicBezTo>
                    <a:pt x="330" y="806"/>
                    <a:pt x="345" y="790"/>
                    <a:pt x="345" y="771"/>
                  </a:cubicBezTo>
                  <a:cubicBezTo>
                    <a:pt x="345" y="725"/>
                    <a:pt x="345" y="725"/>
                    <a:pt x="345" y="725"/>
                  </a:cubicBezTo>
                  <a:cubicBezTo>
                    <a:pt x="345" y="706"/>
                    <a:pt x="330" y="691"/>
                    <a:pt x="311" y="691"/>
                  </a:cubicBezTo>
                  <a:cubicBezTo>
                    <a:pt x="292" y="691"/>
                    <a:pt x="276" y="706"/>
                    <a:pt x="276" y="725"/>
                  </a:cubicBezTo>
                  <a:cubicBezTo>
                    <a:pt x="276" y="771"/>
                    <a:pt x="276" y="771"/>
                    <a:pt x="276" y="771"/>
                  </a:cubicBezTo>
                  <a:cubicBezTo>
                    <a:pt x="276" y="790"/>
                    <a:pt x="292" y="806"/>
                    <a:pt x="311" y="806"/>
                  </a:cubicBezTo>
                  <a:close/>
                  <a:moveTo>
                    <a:pt x="871" y="1335"/>
                  </a:moveTo>
                  <a:cubicBezTo>
                    <a:pt x="805" y="1335"/>
                    <a:pt x="805" y="1335"/>
                    <a:pt x="805" y="1335"/>
                  </a:cubicBezTo>
                  <a:cubicBezTo>
                    <a:pt x="805" y="35"/>
                    <a:pt x="805" y="35"/>
                    <a:pt x="805" y="35"/>
                  </a:cubicBezTo>
                  <a:cubicBezTo>
                    <a:pt x="805" y="16"/>
                    <a:pt x="790" y="0"/>
                    <a:pt x="771" y="0"/>
                  </a:cubicBezTo>
                  <a:cubicBezTo>
                    <a:pt x="127" y="0"/>
                    <a:pt x="127" y="0"/>
                    <a:pt x="127" y="0"/>
                  </a:cubicBezTo>
                  <a:cubicBezTo>
                    <a:pt x="108" y="0"/>
                    <a:pt x="92" y="16"/>
                    <a:pt x="92" y="35"/>
                  </a:cubicBezTo>
                  <a:cubicBezTo>
                    <a:pt x="92" y="1335"/>
                    <a:pt x="92" y="1335"/>
                    <a:pt x="92" y="1335"/>
                  </a:cubicBezTo>
                  <a:cubicBezTo>
                    <a:pt x="35" y="1335"/>
                    <a:pt x="35" y="1335"/>
                    <a:pt x="35" y="1335"/>
                  </a:cubicBezTo>
                  <a:cubicBezTo>
                    <a:pt x="15" y="1335"/>
                    <a:pt x="0" y="1350"/>
                    <a:pt x="0" y="1369"/>
                  </a:cubicBezTo>
                  <a:cubicBezTo>
                    <a:pt x="0" y="1389"/>
                    <a:pt x="16" y="1404"/>
                    <a:pt x="35" y="1404"/>
                  </a:cubicBezTo>
                  <a:cubicBezTo>
                    <a:pt x="871" y="1404"/>
                    <a:pt x="871" y="1404"/>
                    <a:pt x="871" y="1404"/>
                  </a:cubicBezTo>
                  <a:cubicBezTo>
                    <a:pt x="890" y="1404"/>
                    <a:pt x="906" y="1389"/>
                    <a:pt x="906" y="1369"/>
                  </a:cubicBezTo>
                  <a:cubicBezTo>
                    <a:pt x="906" y="1350"/>
                    <a:pt x="890" y="1335"/>
                    <a:pt x="871" y="1335"/>
                  </a:cubicBezTo>
                  <a:close/>
                  <a:moveTo>
                    <a:pt x="506" y="1335"/>
                  </a:moveTo>
                  <a:cubicBezTo>
                    <a:pt x="483" y="1335"/>
                    <a:pt x="483" y="1335"/>
                    <a:pt x="483" y="1335"/>
                  </a:cubicBezTo>
                  <a:cubicBezTo>
                    <a:pt x="483" y="1277"/>
                    <a:pt x="483" y="1277"/>
                    <a:pt x="483" y="1277"/>
                  </a:cubicBezTo>
                  <a:cubicBezTo>
                    <a:pt x="483" y="1258"/>
                    <a:pt x="468" y="1243"/>
                    <a:pt x="449" y="1243"/>
                  </a:cubicBezTo>
                  <a:cubicBezTo>
                    <a:pt x="430" y="1243"/>
                    <a:pt x="414" y="1258"/>
                    <a:pt x="414" y="1277"/>
                  </a:cubicBezTo>
                  <a:cubicBezTo>
                    <a:pt x="414" y="1335"/>
                    <a:pt x="414" y="1335"/>
                    <a:pt x="414" y="1335"/>
                  </a:cubicBezTo>
                  <a:cubicBezTo>
                    <a:pt x="391" y="1335"/>
                    <a:pt x="391" y="1335"/>
                    <a:pt x="391" y="1335"/>
                  </a:cubicBezTo>
                  <a:cubicBezTo>
                    <a:pt x="391" y="1220"/>
                    <a:pt x="391" y="1220"/>
                    <a:pt x="391" y="1220"/>
                  </a:cubicBezTo>
                  <a:cubicBezTo>
                    <a:pt x="506" y="1220"/>
                    <a:pt x="506" y="1220"/>
                    <a:pt x="506" y="1220"/>
                  </a:cubicBezTo>
                  <a:lnTo>
                    <a:pt x="506" y="1335"/>
                  </a:lnTo>
                  <a:close/>
                  <a:moveTo>
                    <a:pt x="736" y="1335"/>
                  </a:moveTo>
                  <a:cubicBezTo>
                    <a:pt x="575" y="1335"/>
                    <a:pt x="575" y="1335"/>
                    <a:pt x="575" y="1335"/>
                  </a:cubicBezTo>
                  <a:cubicBezTo>
                    <a:pt x="575" y="1185"/>
                    <a:pt x="575" y="1185"/>
                    <a:pt x="575" y="1185"/>
                  </a:cubicBezTo>
                  <a:cubicBezTo>
                    <a:pt x="575" y="1166"/>
                    <a:pt x="560" y="1151"/>
                    <a:pt x="541" y="1151"/>
                  </a:cubicBezTo>
                  <a:cubicBezTo>
                    <a:pt x="357" y="1151"/>
                    <a:pt x="357" y="1151"/>
                    <a:pt x="357" y="1151"/>
                  </a:cubicBezTo>
                  <a:cubicBezTo>
                    <a:pt x="338" y="1151"/>
                    <a:pt x="322" y="1166"/>
                    <a:pt x="322" y="1185"/>
                  </a:cubicBezTo>
                  <a:cubicBezTo>
                    <a:pt x="322" y="1335"/>
                    <a:pt x="322" y="1335"/>
                    <a:pt x="322" y="1335"/>
                  </a:cubicBezTo>
                  <a:cubicBezTo>
                    <a:pt x="161" y="1335"/>
                    <a:pt x="161" y="1335"/>
                    <a:pt x="161" y="1335"/>
                  </a:cubicBezTo>
                  <a:cubicBezTo>
                    <a:pt x="161" y="69"/>
                    <a:pt x="161" y="69"/>
                    <a:pt x="161" y="69"/>
                  </a:cubicBezTo>
                  <a:cubicBezTo>
                    <a:pt x="736" y="69"/>
                    <a:pt x="736" y="69"/>
                    <a:pt x="736" y="69"/>
                  </a:cubicBezTo>
                  <a:lnTo>
                    <a:pt x="736" y="1335"/>
                  </a:lnTo>
                  <a:close/>
                  <a:moveTo>
                    <a:pt x="311" y="1036"/>
                  </a:moveTo>
                  <a:cubicBezTo>
                    <a:pt x="330" y="1036"/>
                    <a:pt x="345" y="1020"/>
                    <a:pt x="345" y="1001"/>
                  </a:cubicBezTo>
                  <a:cubicBezTo>
                    <a:pt x="345" y="955"/>
                    <a:pt x="345" y="955"/>
                    <a:pt x="345" y="955"/>
                  </a:cubicBezTo>
                  <a:cubicBezTo>
                    <a:pt x="345" y="936"/>
                    <a:pt x="330" y="921"/>
                    <a:pt x="311" y="921"/>
                  </a:cubicBezTo>
                  <a:cubicBezTo>
                    <a:pt x="292" y="921"/>
                    <a:pt x="276" y="936"/>
                    <a:pt x="276" y="955"/>
                  </a:cubicBezTo>
                  <a:cubicBezTo>
                    <a:pt x="276" y="1001"/>
                    <a:pt x="276" y="1001"/>
                    <a:pt x="276" y="1001"/>
                  </a:cubicBezTo>
                  <a:cubicBezTo>
                    <a:pt x="276" y="1020"/>
                    <a:pt x="292" y="1036"/>
                    <a:pt x="311" y="1036"/>
                  </a:cubicBezTo>
                  <a:close/>
                  <a:moveTo>
                    <a:pt x="449" y="1036"/>
                  </a:moveTo>
                  <a:cubicBezTo>
                    <a:pt x="468" y="1036"/>
                    <a:pt x="483" y="1020"/>
                    <a:pt x="483" y="1001"/>
                  </a:cubicBezTo>
                  <a:cubicBezTo>
                    <a:pt x="483" y="955"/>
                    <a:pt x="483" y="955"/>
                    <a:pt x="483" y="955"/>
                  </a:cubicBezTo>
                  <a:cubicBezTo>
                    <a:pt x="483" y="936"/>
                    <a:pt x="468" y="921"/>
                    <a:pt x="449" y="921"/>
                  </a:cubicBezTo>
                  <a:cubicBezTo>
                    <a:pt x="430" y="921"/>
                    <a:pt x="414" y="936"/>
                    <a:pt x="414" y="955"/>
                  </a:cubicBezTo>
                  <a:cubicBezTo>
                    <a:pt x="414" y="1001"/>
                    <a:pt x="414" y="1001"/>
                    <a:pt x="414" y="1001"/>
                  </a:cubicBezTo>
                  <a:cubicBezTo>
                    <a:pt x="414" y="1020"/>
                    <a:pt x="430" y="1036"/>
                    <a:pt x="449" y="1036"/>
                  </a:cubicBezTo>
                  <a:close/>
                  <a:moveTo>
                    <a:pt x="311" y="345"/>
                  </a:moveTo>
                  <a:cubicBezTo>
                    <a:pt x="330" y="345"/>
                    <a:pt x="345" y="330"/>
                    <a:pt x="345" y="311"/>
                  </a:cubicBezTo>
                  <a:cubicBezTo>
                    <a:pt x="345" y="265"/>
                    <a:pt x="345" y="265"/>
                    <a:pt x="345" y="265"/>
                  </a:cubicBezTo>
                  <a:cubicBezTo>
                    <a:pt x="345" y="246"/>
                    <a:pt x="330" y="230"/>
                    <a:pt x="311" y="230"/>
                  </a:cubicBezTo>
                  <a:cubicBezTo>
                    <a:pt x="292" y="230"/>
                    <a:pt x="276" y="246"/>
                    <a:pt x="276" y="265"/>
                  </a:cubicBezTo>
                  <a:cubicBezTo>
                    <a:pt x="276" y="311"/>
                    <a:pt x="276" y="311"/>
                    <a:pt x="276" y="311"/>
                  </a:cubicBezTo>
                  <a:cubicBezTo>
                    <a:pt x="276" y="330"/>
                    <a:pt x="292" y="345"/>
                    <a:pt x="311" y="345"/>
                  </a:cubicBezTo>
                  <a:close/>
                  <a:moveTo>
                    <a:pt x="311" y="576"/>
                  </a:moveTo>
                  <a:cubicBezTo>
                    <a:pt x="330" y="576"/>
                    <a:pt x="345" y="560"/>
                    <a:pt x="345" y="541"/>
                  </a:cubicBezTo>
                  <a:cubicBezTo>
                    <a:pt x="345" y="495"/>
                    <a:pt x="345" y="495"/>
                    <a:pt x="345" y="495"/>
                  </a:cubicBezTo>
                  <a:cubicBezTo>
                    <a:pt x="345" y="476"/>
                    <a:pt x="330" y="461"/>
                    <a:pt x="311" y="461"/>
                  </a:cubicBezTo>
                  <a:cubicBezTo>
                    <a:pt x="292" y="461"/>
                    <a:pt x="276" y="476"/>
                    <a:pt x="276" y="495"/>
                  </a:cubicBezTo>
                  <a:cubicBezTo>
                    <a:pt x="276" y="541"/>
                    <a:pt x="276" y="541"/>
                    <a:pt x="276" y="541"/>
                  </a:cubicBezTo>
                  <a:cubicBezTo>
                    <a:pt x="276" y="560"/>
                    <a:pt x="292" y="576"/>
                    <a:pt x="311" y="576"/>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7" name="Group 260"/>
          <p:cNvGrpSpPr/>
          <p:nvPr/>
        </p:nvGrpSpPr>
        <p:grpSpPr>
          <a:xfrm>
            <a:off x="4815118" y="1047750"/>
            <a:ext cx="634681" cy="634681"/>
            <a:chOff x="4815118" y="1047750"/>
            <a:chExt cx="634681" cy="634681"/>
          </a:xfrm>
        </p:grpSpPr>
        <p:sp>
          <p:nvSpPr>
            <p:cNvPr id="187" name="Oval 186"/>
            <p:cNvSpPr/>
            <p:nvPr/>
          </p:nvSpPr>
          <p:spPr>
            <a:xfrm>
              <a:off x="4815118" y="1047750"/>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8389" name="Freeform 21"/>
            <p:cNvSpPr>
              <a:spLocks noEditPoints="1"/>
            </p:cNvSpPr>
            <p:nvPr/>
          </p:nvSpPr>
          <p:spPr bwMode="auto">
            <a:xfrm>
              <a:off x="4896952" y="1181731"/>
              <a:ext cx="471012" cy="250628"/>
            </a:xfrm>
            <a:custGeom>
              <a:avLst/>
              <a:gdLst/>
              <a:ahLst/>
              <a:cxnLst>
                <a:cxn ang="0">
                  <a:pos x="649" y="113"/>
                </a:cxn>
                <a:cxn ang="0">
                  <a:pos x="647" y="111"/>
                </a:cxn>
                <a:cxn ang="0">
                  <a:pos x="645" y="109"/>
                </a:cxn>
                <a:cxn ang="0">
                  <a:pos x="379" y="0"/>
                </a:cxn>
                <a:cxn ang="0">
                  <a:pos x="379" y="0"/>
                </a:cxn>
                <a:cxn ang="0">
                  <a:pos x="113" y="109"/>
                </a:cxn>
                <a:cxn ang="0">
                  <a:pos x="111" y="111"/>
                </a:cxn>
                <a:cxn ang="0">
                  <a:pos x="109" y="113"/>
                </a:cxn>
                <a:cxn ang="0">
                  <a:pos x="0" y="379"/>
                </a:cxn>
                <a:cxn ang="0">
                  <a:pos x="24" y="403"/>
                </a:cxn>
                <a:cxn ang="0">
                  <a:pos x="734" y="403"/>
                </a:cxn>
                <a:cxn ang="0">
                  <a:pos x="758" y="379"/>
                </a:cxn>
                <a:cxn ang="0">
                  <a:pos x="649" y="113"/>
                </a:cxn>
                <a:cxn ang="0">
                  <a:pos x="476" y="355"/>
                </a:cxn>
                <a:cxn ang="0">
                  <a:pos x="460" y="355"/>
                </a:cxn>
                <a:cxn ang="0">
                  <a:pos x="434" y="316"/>
                </a:cxn>
                <a:cxn ang="0">
                  <a:pos x="441" y="301"/>
                </a:cxn>
                <a:cxn ang="0">
                  <a:pos x="476" y="355"/>
                </a:cxn>
                <a:cxn ang="0">
                  <a:pos x="390" y="296"/>
                </a:cxn>
                <a:cxn ang="0">
                  <a:pos x="379" y="295"/>
                </a:cxn>
                <a:cxn ang="0">
                  <a:pos x="299" y="355"/>
                </a:cxn>
                <a:cxn ang="0">
                  <a:pos x="282" y="355"/>
                </a:cxn>
                <a:cxn ang="0">
                  <a:pos x="379" y="279"/>
                </a:cxn>
                <a:cxn ang="0">
                  <a:pos x="397" y="281"/>
                </a:cxn>
                <a:cxn ang="0">
                  <a:pos x="390" y="296"/>
                </a:cxn>
                <a:cxn ang="0">
                  <a:pos x="508" y="355"/>
                </a:cxn>
                <a:cxn ang="0">
                  <a:pos x="455" y="272"/>
                </a:cxn>
                <a:cxn ang="0">
                  <a:pos x="513" y="156"/>
                </a:cxn>
                <a:cxn ang="0">
                  <a:pos x="502" y="124"/>
                </a:cxn>
                <a:cxn ang="0">
                  <a:pos x="470" y="134"/>
                </a:cxn>
                <a:cxn ang="0">
                  <a:pos x="412" y="252"/>
                </a:cxn>
                <a:cxn ang="0">
                  <a:pos x="379" y="247"/>
                </a:cxn>
                <a:cxn ang="0">
                  <a:pos x="250" y="355"/>
                </a:cxn>
                <a:cxn ang="0">
                  <a:pos x="49" y="355"/>
                </a:cxn>
                <a:cxn ang="0">
                  <a:pos x="129" y="163"/>
                </a:cxn>
                <a:cxn ang="0">
                  <a:pos x="145" y="179"/>
                </a:cxn>
                <a:cxn ang="0">
                  <a:pos x="162" y="186"/>
                </a:cxn>
                <a:cxn ang="0">
                  <a:pos x="179" y="179"/>
                </a:cxn>
                <a:cxn ang="0">
                  <a:pos x="179" y="145"/>
                </a:cxn>
                <a:cxn ang="0">
                  <a:pos x="163" y="129"/>
                </a:cxn>
                <a:cxn ang="0">
                  <a:pos x="355" y="49"/>
                </a:cxn>
                <a:cxn ang="0">
                  <a:pos x="355" y="76"/>
                </a:cxn>
                <a:cxn ang="0">
                  <a:pos x="379" y="100"/>
                </a:cxn>
                <a:cxn ang="0">
                  <a:pos x="403" y="76"/>
                </a:cxn>
                <a:cxn ang="0">
                  <a:pos x="403" y="49"/>
                </a:cxn>
                <a:cxn ang="0">
                  <a:pos x="595" y="129"/>
                </a:cxn>
                <a:cxn ang="0">
                  <a:pos x="579" y="145"/>
                </a:cxn>
                <a:cxn ang="0">
                  <a:pos x="579" y="179"/>
                </a:cxn>
                <a:cxn ang="0">
                  <a:pos x="596" y="186"/>
                </a:cxn>
                <a:cxn ang="0">
                  <a:pos x="613" y="179"/>
                </a:cxn>
                <a:cxn ang="0">
                  <a:pos x="629" y="163"/>
                </a:cxn>
                <a:cxn ang="0">
                  <a:pos x="709" y="355"/>
                </a:cxn>
                <a:cxn ang="0">
                  <a:pos x="508" y="355"/>
                </a:cxn>
                <a:cxn ang="0">
                  <a:pos x="508" y="355"/>
                </a:cxn>
                <a:cxn ang="0">
                  <a:pos x="508" y="355"/>
                </a:cxn>
              </a:cxnLst>
              <a:rect l="0" t="0" r="r" b="b"/>
              <a:pathLst>
                <a:path w="758" h="403">
                  <a:moveTo>
                    <a:pt x="649" y="113"/>
                  </a:moveTo>
                  <a:cubicBezTo>
                    <a:pt x="648" y="113"/>
                    <a:pt x="648" y="112"/>
                    <a:pt x="647" y="111"/>
                  </a:cubicBezTo>
                  <a:cubicBezTo>
                    <a:pt x="646" y="110"/>
                    <a:pt x="646" y="110"/>
                    <a:pt x="645" y="109"/>
                  </a:cubicBezTo>
                  <a:cubicBezTo>
                    <a:pt x="576" y="42"/>
                    <a:pt x="483" y="0"/>
                    <a:pt x="379" y="0"/>
                  </a:cubicBezTo>
                  <a:cubicBezTo>
                    <a:pt x="379" y="0"/>
                    <a:pt x="379" y="0"/>
                    <a:pt x="379" y="0"/>
                  </a:cubicBezTo>
                  <a:cubicBezTo>
                    <a:pt x="276" y="0"/>
                    <a:pt x="182" y="42"/>
                    <a:pt x="113" y="109"/>
                  </a:cubicBezTo>
                  <a:cubicBezTo>
                    <a:pt x="113" y="110"/>
                    <a:pt x="112" y="110"/>
                    <a:pt x="111" y="111"/>
                  </a:cubicBezTo>
                  <a:cubicBezTo>
                    <a:pt x="110" y="112"/>
                    <a:pt x="110" y="113"/>
                    <a:pt x="109" y="113"/>
                  </a:cubicBezTo>
                  <a:cubicBezTo>
                    <a:pt x="42" y="182"/>
                    <a:pt x="0" y="276"/>
                    <a:pt x="0" y="379"/>
                  </a:cubicBezTo>
                  <a:cubicBezTo>
                    <a:pt x="0" y="392"/>
                    <a:pt x="11" y="403"/>
                    <a:pt x="24" y="403"/>
                  </a:cubicBezTo>
                  <a:cubicBezTo>
                    <a:pt x="734" y="403"/>
                    <a:pt x="734" y="403"/>
                    <a:pt x="734" y="403"/>
                  </a:cubicBezTo>
                  <a:cubicBezTo>
                    <a:pt x="747" y="403"/>
                    <a:pt x="758" y="392"/>
                    <a:pt x="758" y="379"/>
                  </a:cubicBezTo>
                  <a:cubicBezTo>
                    <a:pt x="758" y="276"/>
                    <a:pt x="716" y="182"/>
                    <a:pt x="649" y="113"/>
                  </a:cubicBezTo>
                  <a:close/>
                  <a:moveTo>
                    <a:pt x="476" y="355"/>
                  </a:moveTo>
                  <a:cubicBezTo>
                    <a:pt x="460" y="355"/>
                    <a:pt x="460" y="355"/>
                    <a:pt x="460" y="355"/>
                  </a:cubicBezTo>
                  <a:cubicBezTo>
                    <a:pt x="455" y="340"/>
                    <a:pt x="446" y="326"/>
                    <a:pt x="434" y="316"/>
                  </a:cubicBezTo>
                  <a:cubicBezTo>
                    <a:pt x="441" y="301"/>
                    <a:pt x="441" y="301"/>
                    <a:pt x="441" y="301"/>
                  </a:cubicBezTo>
                  <a:cubicBezTo>
                    <a:pt x="458" y="315"/>
                    <a:pt x="470" y="333"/>
                    <a:pt x="476" y="355"/>
                  </a:cubicBezTo>
                  <a:close/>
                  <a:moveTo>
                    <a:pt x="390" y="296"/>
                  </a:moveTo>
                  <a:cubicBezTo>
                    <a:pt x="387" y="295"/>
                    <a:pt x="383" y="295"/>
                    <a:pt x="379" y="295"/>
                  </a:cubicBezTo>
                  <a:cubicBezTo>
                    <a:pt x="341" y="295"/>
                    <a:pt x="309" y="320"/>
                    <a:pt x="299" y="355"/>
                  </a:cubicBezTo>
                  <a:cubicBezTo>
                    <a:pt x="282" y="355"/>
                    <a:pt x="282" y="355"/>
                    <a:pt x="282" y="355"/>
                  </a:cubicBezTo>
                  <a:cubicBezTo>
                    <a:pt x="293" y="312"/>
                    <a:pt x="332" y="279"/>
                    <a:pt x="379" y="279"/>
                  </a:cubicBezTo>
                  <a:cubicBezTo>
                    <a:pt x="385" y="279"/>
                    <a:pt x="391" y="280"/>
                    <a:pt x="397" y="281"/>
                  </a:cubicBezTo>
                  <a:lnTo>
                    <a:pt x="390" y="296"/>
                  </a:lnTo>
                  <a:close/>
                  <a:moveTo>
                    <a:pt x="508" y="355"/>
                  </a:moveTo>
                  <a:cubicBezTo>
                    <a:pt x="502" y="321"/>
                    <a:pt x="483" y="291"/>
                    <a:pt x="455" y="272"/>
                  </a:cubicBezTo>
                  <a:cubicBezTo>
                    <a:pt x="513" y="156"/>
                    <a:pt x="513" y="156"/>
                    <a:pt x="513" y="156"/>
                  </a:cubicBezTo>
                  <a:cubicBezTo>
                    <a:pt x="519" y="144"/>
                    <a:pt x="514" y="129"/>
                    <a:pt x="502" y="124"/>
                  </a:cubicBezTo>
                  <a:cubicBezTo>
                    <a:pt x="490" y="118"/>
                    <a:pt x="476" y="123"/>
                    <a:pt x="470" y="134"/>
                  </a:cubicBezTo>
                  <a:cubicBezTo>
                    <a:pt x="412" y="252"/>
                    <a:pt x="412" y="252"/>
                    <a:pt x="412" y="252"/>
                  </a:cubicBezTo>
                  <a:cubicBezTo>
                    <a:pt x="401" y="249"/>
                    <a:pt x="390" y="247"/>
                    <a:pt x="379" y="247"/>
                  </a:cubicBezTo>
                  <a:cubicBezTo>
                    <a:pt x="315" y="247"/>
                    <a:pt x="261" y="294"/>
                    <a:pt x="250" y="355"/>
                  </a:cubicBezTo>
                  <a:cubicBezTo>
                    <a:pt x="49" y="355"/>
                    <a:pt x="49" y="355"/>
                    <a:pt x="49" y="355"/>
                  </a:cubicBezTo>
                  <a:cubicBezTo>
                    <a:pt x="54" y="282"/>
                    <a:pt x="83" y="215"/>
                    <a:pt x="129" y="163"/>
                  </a:cubicBezTo>
                  <a:cubicBezTo>
                    <a:pt x="145" y="179"/>
                    <a:pt x="145" y="179"/>
                    <a:pt x="145" y="179"/>
                  </a:cubicBezTo>
                  <a:cubicBezTo>
                    <a:pt x="150" y="184"/>
                    <a:pt x="156" y="186"/>
                    <a:pt x="162" y="186"/>
                  </a:cubicBezTo>
                  <a:cubicBezTo>
                    <a:pt x="168" y="186"/>
                    <a:pt x="174" y="184"/>
                    <a:pt x="179" y="179"/>
                  </a:cubicBezTo>
                  <a:cubicBezTo>
                    <a:pt x="188" y="170"/>
                    <a:pt x="188" y="154"/>
                    <a:pt x="179" y="145"/>
                  </a:cubicBezTo>
                  <a:cubicBezTo>
                    <a:pt x="163" y="129"/>
                    <a:pt x="163" y="129"/>
                    <a:pt x="163" y="129"/>
                  </a:cubicBezTo>
                  <a:cubicBezTo>
                    <a:pt x="215" y="83"/>
                    <a:pt x="282" y="54"/>
                    <a:pt x="355" y="49"/>
                  </a:cubicBezTo>
                  <a:cubicBezTo>
                    <a:pt x="355" y="76"/>
                    <a:pt x="355" y="76"/>
                    <a:pt x="355" y="76"/>
                  </a:cubicBezTo>
                  <a:cubicBezTo>
                    <a:pt x="355" y="89"/>
                    <a:pt x="366" y="100"/>
                    <a:pt x="379" y="100"/>
                  </a:cubicBezTo>
                  <a:cubicBezTo>
                    <a:pt x="392" y="100"/>
                    <a:pt x="403" y="89"/>
                    <a:pt x="403" y="76"/>
                  </a:cubicBezTo>
                  <a:cubicBezTo>
                    <a:pt x="403" y="49"/>
                    <a:pt x="403" y="49"/>
                    <a:pt x="403" y="49"/>
                  </a:cubicBezTo>
                  <a:cubicBezTo>
                    <a:pt x="476" y="54"/>
                    <a:pt x="543" y="83"/>
                    <a:pt x="595" y="129"/>
                  </a:cubicBezTo>
                  <a:cubicBezTo>
                    <a:pt x="579" y="145"/>
                    <a:pt x="579" y="145"/>
                    <a:pt x="579" y="145"/>
                  </a:cubicBezTo>
                  <a:cubicBezTo>
                    <a:pt x="570" y="154"/>
                    <a:pt x="570" y="170"/>
                    <a:pt x="579" y="179"/>
                  </a:cubicBezTo>
                  <a:cubicBezTo>
                    <a:pt x="584" y="184"/>
                    <a:pt x="590" y="186"/>
                    <a:pt x="596" y="186"/>
                  </a:cubicBezTo>
                  <a:cubicBezTo>
                    <a:pt x="602" y="186"/>
                    <a:pt x="608" y="184"/>
                    <a:pt x="613" y="179"/>
                  </a:cubicBezTo>
                  <a:cubicBezTo>
                    <a:pt x="629" y="163"/>
                    <a:pt x="629" y="163"/>
                    <a:pt x="629" y="163"/>
                  </a:cubicBezTo>
                  <a:cubicBezTo>
                    <a:pt x="675" y="215"/>
                    <a:pt x="704" y="282"/>
                    <a:pt x="709" y="355"/>
                  </a:cubicBezTo>
                  <a:lnTo>
                    <a:pt x="508" y="355"/>
                  </a:lnTo>
                  <a:close/>
                  <a:moveTo>
                    <a:pt x="508" y="355"/>
                  </a:moveTo>
                  <a:cubicBezTo>
                    <a:pt x="508" y="355"/>
                    <a:pt x="508" y="355"/>
                    <a:pt x="508" y="355"/>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8" name="Group 261"/>
          <p:cNvGrpSpPr/>
          <p:nvPr/>
        </p:nvGrpSpPr>
        <p:grpSpPr>
          <a:xfrm>
            <a:off x="5988004" y="1514475"/>
            <a:ext cx="634681" cy="634681"/>
            <a:chOff x="5988004" y="1514475"/>
            <a:chExt cx="634681" cy="634681"/>
          </a:xfrm>
        </p:grpSpPr>
        <p:sp>
          <p:nvSpPr>
            <p:cNvPr id="188" name="Oval 187"/>
            <p:cNvSpPr/>
            <p:nvPr/>
          </p:nvSpPr>
          <p:spPr>
            <a:xfrm>
              <a:off x="5988004" y="1514475"/>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8394" name="Freeform 26"/>
            <p:cNvSpPr>
              <a:spLocks noEditPoints="1"/>
            </p:cNvSpPr>
            <p:nvPr/>
          </p:nvSpPr>
          <p:spPr bwMode="auto">
            <a:xfrm flipH="1">
              <a:off x="6133100" y="1609665"/>
              <a:ext cx="344489" cy="444301"/>
            </a:xfrm>
            <a:custGeom>
              <a:avLst/>
              <a:gdLst/>
              <a:ahLst/>
              <a:cxnLst>
                <a:cxn ang="0">
                  <a:pos x="123" y="422"/>
                </a:cxn>
                <a:cxn ang="0">
                  <a:pos x="104" y="428"/>
                </a:cxn>
                <a:cxn ang="0">
                  <a:pos x="99" y="447"/>
                </a:cxn>
                <a:cxn ang="0">
                  <a:pos x="213" y="742"/>
                </a:cxn>
                <a:cxn ang="0">
                  <a:pos x="464" y="788"/>
                </a:cxn>
                <a:cxn ang="0">
                  <a:pos x="418" y="537"/>
                </a:cxn>
                <a:cxn ang="0">
                  <a:pos x="123" y="422"/>
                </a:cxn>
                <a:cxn ang="0">
                  <a:pos x="609" y="566"/>
                </a:cxn>
                <a:cxn ang="0">
                  <a:pos x="556" y="618"/>
                </a:cxn>
                <a:cxn ang="0">
                  <a:pos x="556" y="1518"/>
                </a:cxn>
                <a:cxn ang="0">
                  <a:pos x="609" y="1570"/>
                </a:cxn>
                <a:cxn ang="0">
                  <a:pos x="661" y="1518"/>
                </a:cxn>
                <a:cxn ang="0">
                  <a:pos x="661" y="618"/>
                </a:cxn>
                <a:cxn ang="0">
                  <a:pos x="609" y="566"/>
                </a:cxn>
                <a:cxn ang="0">
                  <a:pos x="26" y="905"/>
                </a:cxn>
                <a:cxn ang="0">
                  <a:pos x="7" y="911"/>
                </a:cxn>
                <a:cxn ang="0">
                  <a:pos x="1" y="930"/>
                </a:cxn>
                <a:cxn ang="0">
                  <a:pos x="145" y="1303"/>
                </a:cxn>
                <a:cxn ang="0">
                  <a:pos x="456" y="1360"/>
                </a:cxn>
                <a:cxn ang="0">
                  <a:pos x="400" y="1049"/>
                </a:cxn>
                <a:cxn ang="0">
                  <a:pos x="26" y="905"/>
                </a:cxn>
                <a:cxn ang="0">
                  <a:pos x="1210" y="911"/>
                </a:cxn>
                <a:cxn ang="0">
                  <a:pos x="1191" y="905"/>
                </a:cxn>
                <a:cxn ang="0">
                  <a:pos x="818" y="1049"/>
                </a:cxn>
                <a:cxn ang="0">
                  <a:pos x="761" y="1360"/>
                </a:cxn>
                <a:cxn ang="0">
                  <a:pos x="1072" y="1303"/>
                </a:cxn>
                <a:cxn ang="0">
                  <a:pos x="1216" y="930"/>
                </a:cxn>
                <a:cxn ang="0">
                  <a:pos x="1210" y="911"/>
                </a:cxn>
                <a:cxn ang="0">
                  <a:pos x="1004" y="742"/>
                </a:cxn>
                <a:cxn ang="0">
                  <a:pos x="1119" y="447"/>
                </a:cxn>
                <a:cxn ang="0">
                  <a:pos x="1113" y="428"/>
                </a:cxn>
                <a:cxn ang="0">
                  <a:pos x="1094" y="422"/>
                </a:cxn>
                <a:cxn ang="0">
                  <a:pos x="799" y="537"/>
                </a:cxn>
                <a:cxn ang="0">
                  <a:pos x="753" y="788"/>
                </a:cxn>
                <a:cxn ang="0">
                  <a:pos x="1004" y="742"/>
                </a:cxn>
                <a:cxn ang="0">
                  <a:pos x="626" y="9"/>
                </a:cxn>
                <a:cxn ang="0">
                  <a:pos x="609" y="0"/>
                </a:cxn>
                <a:cxn ang="0">
                  <a:pos x="591" y="9"/>
                </a:cxn>
                <a:cxn ang="0">
                  <a:pos x="464" y="299"/>
                </a:cxn>
                <a:cxn ang="0">
                  <a:pos x="609" y="509"/>
                </a:cxn>
                <a:cxn ang="0">
                  <a:pos x="754" y="299"/>
                </a:cxn>
                <a:cxn ang="0">
                  <a:pos x="626" y="9"/>
                </a:cxn>
              </a:cxnLst>
              <a:rect l="0" t="0" r="r" b="b"/>
              <a:pathLst>
                <a:path w="1217" h="1570">
                  <a:moveTo>
                    <a:pt x="123" y="422"/>
                  </a:moveTo>
                  <a:cubicBezTo>
                    <a:pt x="117" y="421"/>
                    <a:pt x="109" y="423"/>
                    <a:pt x="104" y="428"/>
                  </a:cubicBezTo>
                  <a:cubicBezTo>
                    <a:pt x="99" y="433"/>
                    <a:pt x="97" y="440"/>
                    <a:pt x="99" y="447"/>
                  </a:cubicBezTo>
                  <a:cubicBezTo>
                    <a:pt x="112" y="515"/>
                    <a:pt x="149" y="678"/>
                    <a:pt x="213" y="742"/>
                  </a:cubicBezTo>
                  <a:cubicBezTo>
                    <a:pt x="295" y="824"/>
                    <a:pt x="407" y="844"/>
                    <a:pt x="464" y="788"/>
                  </a:cubicBezTo>
                  <a:cubicBezTo>
                    <a:pt x="521" y="731"/>
                    <a:pt x="500" y="619"/>
                    <a:pt x="418" y="537"/>
                  </a:cubicBezTo>
                  <a:cubicBezTo>
                    <a:pt x="354" y="473"/>
                    <a:pt x="191" y="436"/>
                    <a:pt x="123" y="422"/>
                  </a:cubicBezTo>
                  <a:close/>
                  <a:moveTo>
                    <a:pt x="609" y="566"/>
                  </a:moveTo>
                  <a:cubicBezTo>
                    <a:pt x="580" y="566"/>
                    <a:pt x="556" y="589"/>
                    <a:pt x="556" y="618"/>
                  </a:cubicBezTo>
                  <a:cubicBezTo>
                    <a:pt x="556" y="1518"/>
                    <a:pt x="556" y="1518"/>
                    <a:pt x="556" y="1518"/>
                  </a:cubicBezTo>
                  <a:cubicBezTo>
                    <a:pt x="556" y="1547"/>
                    <a:pt x="580" y="1570"/>
                    <a:pt x="609" y="1570"/>
                  </a:cubicBezTo>
                  <a:cubicBezTo>
                    <a:pt x="638" y="1570"/>
                    <a:pt x="661" y="1547"/>
                    <a:pt x="661" y="1518"/>
                  </a:cubicBezTo>
                  <a:cubicBezTo>
                    <a:pt x="661" y="618"/>
                    <a:pt x="661" y="618"/>
                    <a:pt x="661" y="618"/>
                  </a:cubicBezTo>
                  <a:cubicBezTo>
                    <a:pt x="661" y="589"/>
                    <a:pt x="638" y="566"/>
                    <a:pt x="609" y="566"/>
                  </a:cubicBezTo>
                  <a:close/>
                  <a:moveTo>
                    <a:pt x="26" y="905"/>
                  </a:moveTo>
                  <a:cubicBezTo>
                    <a:pt x="19" y="903"/>
                    <a:pt x="12" y="906"/>
                    <a:pt x="7" y="911"/>
                  </a:cubicBezTo>
                  <a:cubicBezTo>
                    <a:pt x="2" y="916"/>
                    <a:pt x="0" y="923"/>
                    <a:pt x="1" y="930"/>
                  </a:cubicBezTo>
                  <a:cubicBezTo>
                    <a:pt x="16" y="1009"/>
                    <a:pt x="63" y="1221"/>
                    <a:pt x="145" y="1303"/>
                  </a:cubicBezTo>
                  <a:cubicBezTo>
                    <a:pt x="247" y="1405"/>
                    <a:pt x="386" y="1430"/>
                    <a:pt x="456" y="1360"/>
                  </a:cubicBezTo>
                  <a:cubicBezTo>
                    <a:pt x="527" y="1290"/>
                    <a:pt x="501" y="1150"/>
                    <a:pt x="400" y="1049"/>
                  </a:cubicBezTo>
                  <a:cubicBezTo>
                    <a:pt x="318" y="967"/>
                    <a:pt x="105" y="920"/>
                    <a:pt x="26" y="905"/>
                  </a:cubicBezTo>
                  <a:close/>
                  <a:moveTo>
                    <a:pt x="1210" y="911"/>
                  </a:moveTo>
                  <a:cubicBezTo>
                    <a:pt x="1205" y="906"/>
                    <a:pt x="1198" y="903"/>
                    <a:pt x="1191" y="905"/>
                  </a:cubicBezTo>
                  <a:cubicBezTo>
                    <a:pt x="1112" y="920"/>
                    <a:pt x="900" y="967"/>
                    <a:pt x="818" y="1049"/>
                  </a:cubicBezTo>
                  <a:cubicBezTo>
                    <a:pt x="716" y="1150"/>
                    <a:pt x="691" y="1290"/>
                    <a:pt x="761" y="1360"/>
                  </a:cubicBezTo>
                  <a:cubicBezTo>
                    <a:pt x="831" y="1430"/>
                    <a:pt x="971" y="1405"/>
                    <a:pt x="1072" y="1303"/>
                  </a:cubicBezTo>
                  <a:cubicBezTo>
                    <a:pt x="1154" y="1221"/>
                    <a:pt x="1201" y="1009"/>
                    <a:pt x="1216" y="930"/>
                  </a:cubicBezTo>
                  <a:cubicBezTo>
                    <a:pt x="1217" y="923"/>
                    <a:pt x="1215" y="916"/>
                    <a:pt x="1210" y="911"/>
                  </a:cubicBezTo>
                  <a:close/>
                  <a:moveTo>
                    <a:pt x="1004" y="742"/>
                  </a:moveTo>
                  <a:cubicBezTo>
                    <a:pt x="1068" y="678"/>
                    <a:pt x="1106" y="515"/>
                    <a:pt x="1119" y="447"/>
                  </a:cubicBezTo>
                  <a:cubicBezTo>
                    <a:pt x="1120" y="440"/>
                    <a:pt x="1118" y="433"/>
                    <a:pt x="1113" y="428"/>
                  </a:cubicBezTo>
                  <a:cubicBezTo>
                    <a:pt x="1108" y="423"/>
                    <a:pt x="1101" y="421"/>
                    <a:pt x="1094" y="422"/>
                  </a:cubicBezTo>
                  <a:cubicBezTo>
                    <a:pt x="1026" y="436"/>
                    <a:pt x="863" y="473"/>
                    <a:pt x="799" y="537"/>
                  </a:cubicBezTo>
                  <a:cubicBezTo>
                    <a:pt x="717" y="619"/>
                    <a:pt x="697" y="731"/>
                    <a:pt x="753" y="788"/>
                  </a:cubicBezTo>
                  <a:cubicBezTo>
                    <a:pt x="810" y="844"/>
                    <a:pt x="922" y="824"/>
                    <a:pt x="1004" y="742"/>
                  </a:cubicBezTo>
                  <a:close/>
                  <a:moveTo>
                    <a:pt x="626" y="9"/>
                  </a:moveTo>
                  <a:cubicBezTo>
                    <a:pt x="622" y="4"/>
                    <a:pt x="616" y="0"/>
                    <a:pt x="609" y="0"/>
                  </a:cubicBezTo>
                  <a:cubicBezTo>
                    <a:pt x="602" y="0"/>
                    <a:pt x="595" y="4"/>
                    <a:pt x="591" y="9"/>
                  </a:cubicBezTo>
                  <a:cubicBezTo>
                    <a:pt x="552" y="67"/>
                    <a:pt x="464" y="209"/>
                    <a:pt x="464" y="299"/>
                  </a:cubicBezTo>
                  <a:cubicBezTo>
                    <a:pt x="464" y="415"/>
                    <a:pt x="529" y="509"/>
                    <a:pt x="609" y="509"/>
                  </a:cubicBezTo>
                  <a:cubicBezTo>
                    <a:pt x="689" y="509"/>
                    <a:pt x="754" y="415"/>
                    <a:pt x="754" y="299"/>
                  </a:cubicBezTo>
                  <a:cubicBezTo>
                    <a:pt x="754" y="209"/>
                    <a:pt x="665" y="67"/>
                    <a:pt x="626" y="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9" name="Group 262"/>
          <p:cNvGrpSpPr/>
          <p:nvPr/>
        </p:nvGrpSpPr>
        <p:grpSpPr>
          <a:xfrm>
            <a:off x="7160892" y="1981200"/>
            <a:ext cx="634681" cy="634681"/>
            <a:chOff x="7160892" y="1981200"/>
            <a:chExt cx="634681" cy="634681"/>
          </a:xfrm>
        </p:grpSpPr>
        <p:sp>
          <p:nvSpPr>
            <p:cNvPr id="189" name="Oval 188"/>
            <p:cNvSpPr/>
            <p:nvPr/>
          </p:nvSpPr>
          <p:spPr>
            <a:xfrm>
              <a:off x="7160892" y="1981200"/>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8399" name="Freeform 31"/>
            <p:cNvSpPr>
              <a:spLocks noEditPoints="1"/>
            </p:cNvSpPr>
            <p:nvPr/>
          </p:nvSpPr>
          <p:spPr bwMode="auto">
            <a:xfrm>
              <a:off x="7262798" y="2156051"/>
              <a:ext cx="430869" cy="284979"/>
            </a:xfrm>
            <a:custGeom>
              <a:avLst/>
              <a:gdLst/>
              <a:ahLst/>
              <a:cxnLst>
                <a:cxn ang="0">
                  <a:pos x="316" y="791"/>
                </a:cxn>
                <a:cxn ang="0">
                  <a:pos x="316" y="743"/>
                </a:cxn>
                <a:cxn ang="0">
                  <a:pos x="334" y="725"/>
                </a:cxn>
                <a:cxn ang="0">
                  <a:pos x="1283" y="139"/>
                </a:cxn>
                <a:cxn ang="0">
                  <a:pos x="30" y="215"/>
                </a:cxn>
                <a:cxn ang="0">
                  <a:pos x="0" y="673"/>
                </a:cxn>
                <a:cxn ang="0">
                  <a:pos x="316" y="869"/>
                </a:cxn>
                <a:cxn ang="0">
                  <a:pos x="998" y="869"/>
                </a:cxn>
                <a:cxn ang="0">
                  <a:pos x="1314" y="673"/>
                </a:cxn>
                <a:cxn ang="0">
                  <a:pos x="174" y="701"/>
                </a:cxn>
                <a:cxn ang="0">
                  <a:pos x="48" y="670"/>
                </a:cxn>
                <a:cxn ang="0">
                  <a:pos x="174" y="701"/>
                </a:cxn>
                <a:cxn ang="0">
                  <a:pos x="316" y="629"/>
                </a:cxn>
                <a:cxn ang="0">
                  <a:pos x="998" y="821"/>
                </a:cxn>
                <a:cxn ang="0">
                  <a:pos x="1094" y="725"/>
                </a:cxn>
                <a:cxn ang="0">
                  <a:pos x="998" y="581"/>
                </a:cxn>
                <a:cxn ang="0">
                  <a:pos x="316" y="581"/>
                </a:cxn>
                <a:cxn ang="0">
                  <a:pos x="78" y="215"/>
                </a:cxn>
                <a:cxn ang="0">
                  <a:pos x="1232" y="115"/>
                </a:cxn>
                <a:cxn ang="0">
                  <a:pos x="1115" y="354"/>
                </a:cxn>
                <a:cxn ang="0">
                  <a:pos x="1235" y="594"/>
                </a:cxn>
                <a:cxn ang="0">
                  <a:pos x="1235" y="360"/>
                </a:cxn>
                <a:cxn ang="0">
                  <a:pos x="1163" y="169"/>
                </a:cxn>
                <a:cxn ang="0">
                  <a:pos x="1266" y="673"/>
                </a:cxn>
                <a:cxn ang="0">
                  <a:pos x="1116" y="642"/>
                </a:cxn>
                <a:cxn ang="0">
                  <a:pos x="1266" y="673"/>
                </a:cxn>
                <a:cxn ang="0">
                  <a:pos x="1159" y="532"/>
                </a:cxn>
                <a:cxn ang="0">
                  <a:pos x="1207" y="511"/>
                </a:cxn>
                <a:cxn ang="0">
                  <a:pos x="932" y="725"/>
                </a:cxn>
                <a:cxn ang="0">
                  <a:pos x="998" y="659"/>
                </a:cxn>
                <a:cxn ang="0">
                  <a:pos x="998" y="707"/>
                </a:cxn>
                <a:cxn ang="0">
                  <a:pos x="990" y="115"/>
                </a:cxn>
                <a:cxn ang="0">
                  <a:pos x="136" y="354"/>
                </a:cxn>
                <a:cxn ang="0">
                  <a:pos x="1044" y="354"/>
                </a:cxn>
                <a:cxn ang="0">
                  <a:pos x="329" y="360"/>
                </a:cxn>
                <a:cxn ang="0">
                  <a:pos x="184" y="230"/>
                </a:cxn>
                <a:cxn ang="0">
                  <a:pos x="329" y="360"/>
                </a:cxn>
                <a:cxn ang="0">
                  <a:pos x="377" y="163"/>
                </a:cxn>
                <a:cxn ang="0">
                  <a:pos x="803" y="360"/>
                </a:cxn>
                <a:cxn ang="0">
                  <a:pos x="803" y="163"/>
                </a:cxn>
                <a:cxn ang="0">
                  <a:pos x="990" y="360"/>
                </a:cxn>
                <a:cxn ang="0">
                  <a:pos x="990" y="163"/>
                </a:cxn>
              </a:cxnLst>
              <a:rect l="0" t="0" r="r" b="b"/>
              <a:pathLst>
                <a:path w="1314" h="869">
                  <a:moveTo>
                    <a:pt x="316" y="659"/>
                  </a:moveTo>
                  <a:cubicBezTo>
                    <a:pt x="279" y="659"/>
                    <a:pt x="250" y="688"/>
                    <a:pt x="250" y="725"/>
                  </a:cubicBezTo>
                  <a:cubicBezTo>
                    <a:pt x="250" y="761"/>
                    <a:pt x="279" y="791"/>
                    <a:pt x="316" y="791"/>
                  </a:cubicBezTo>
                  <a:cubicBezTo>
                    <a:pt x="352" y="791"/>
                    <a:pt x="382" y="761"/>
                    <a:pt x="382" y="725"/>
                  </a:cubicBezTo>
                  <a:cubicBezTo>
                    <a:pt x="382" y="688"/>
                    <a:pt x="352" y="659"/>
                    <a:pt x="316" y="659"/>
                  </a:cubicBezTo>
                  <a:close/>
                  <a:moveTo>
                    <a:pt x="316" y="743"/>
                  </a:moveTo>
                  <a:cubicBezTo>
                    <a:pt x="306" y="743"/>
                    <a:pt x="298" y="735"/>
                    <a:pt x="298" y="725"/>
                  </a:cubicBezTo>
                  <a:cubicBezTo>
                    <a:pt x="298" y="715"/>
                    <a:pt x="306" y="707"/>
                    <a:pt x="316" y="707"/>
                  </a:cubicBezTo>
                  <a:cubicBezTo>
                    <a:pt x="326" y="707"/>
                    <a:pt x="334" y="715"/>
                    <a:pt x="334" y="725"/>
                  </a:cubicBezTo>
                  <a:cubicBezTo>
                    <a:pt x="334" y="735"/>
                    <a:pt x="326" y="743"/>
                    <a:pt x="316" y="743"/>
                  </a:cubicBezTo>
                  <a:close/>
                  <a:moveTo>
                    <a:pt x="1283" y="609"/>
                  </a:moveTo>
                  <a:cubicBezTo>
                    <a:pt x="1283" y="139"/>
                    <a:pt x="1283" y="139"/>
                    <a:pt x="1283" y="139"/>
                  </a:cubicBezTo>
                  <a:cubicBezTo>
                    <a:pt x="1283" y="62"/>
                    <a:pt x="1221" y="0"/>
                    <a:pt x="1145" y="0"/>
                  </a:cubicBezTo>
                  <a:cubicBezTo>
                    <a:pt x="246" y="0"/>
                    <a:pt x="246" y="0"/>
                    <a:pt x="246" y="0"/>
                  </a:cubicBezTo>
                  <a:cubicBezTo>
                    <a:pt x="127" y="0"/>
                    <a:pt x="30" y="97"/>
                    <a:pt x="30" y="215"/>
                  </a:cubicBezTo>
                  <a:cubicBezTo>
                    <a:pt x="30" y="609"/>
                    <a:pt x="30" y="609"/>
                    <a:pt x="30" y="609"/>
                  </a:cubicBezTo>
                  <a:cubicBezTo>
                    <a:pt x="12" y="623"/>
                    <a:pt x="0" y="645"/>
                    <a:pt x="0" y="670"/>
                  </a:cubicBezTo>
                  <a:cubicBezTo>
                    <a:pt x="0" y="673"/>
                    <a:pt x="0" y="673"/>
                    <a:pt x="0" y="673"/>
                  </a:cubicBezTo>
                  <a:cubicBezTo>
                    <a:pt x="0" y="715"/>
                    <a:pt x="34" y="749"/>
                    <a:pt x="76" y="749"/>
                  </a:cubicBezTo>
                  <a:cubicBezTo>
                    <a:pt x="174" y="749"/>
                    <a:pt x="174" y="749"/>
                    <a:pt x="174" y="749"/>
                  </a:cubicBezTo>
                  <a:cubicBezTo>
                    <a:pt x="185" y="817"/>
                    <a:pt x="244" y="869"/>
                    <a:pt x="316" y="869"/>
                  </a:cubicBezTo>
                  <a:cubicBezTo>
                    <a:pt x="387" y="869"/>
                    <a:pt x="446" y="817"/>
                    <a:pt x="458" y="749"/>
                  </a:cubicBezTo>
                  <a:cubicBezTo>
                    <a:pt x="856" y="749"/>
                    <a:pt x="856" y="749"/>
                    <a:pt x="856" y="749"/>
                  </a:cubicBezTo>
                  <a:cubicBezTo>
                    <a:pt x="868" y="817"/>
                    <a:pt x="927" y="869"/>
                    <a:pt x="998" y="869"/>
                  </a:cubicBezTo>
                  <a:cubicBezTo>
                    <a:pt x="1069" y="869"/>
                    <a:pt x="1129" y="817"/>
                    <a:pt x="1140" y="749"/>
                  </a:cubicBezTo>
                  <a:cubicBezTo>
                    <a:pt x="1238" y="749"/>
                    <a:pt x="1238" y="749"/>
                    <a:pt x="1238" y="749"/>
                  </a:cubicBezTo>
                  <a:cubicBezTo>
                    <a:pt x="1280" y="749"/>
                    <a:pt x="1314" y="715"/>
                    <a:pt x="1314" y="673"/>
                  </a:cubicBezTo>
                  <a:cubicBezTo>
                    <a:pt x="1314" y="670"/>
                    <a:pt x="1314" y="670"/>
                    <a:pt x="1314" y="670"/>
                  </a:cubicBezTo>
                  <a:cubicBezTo>
                    <a:pt x="1314" y="645"/>
                    <a:pt x="1302" y="623"/>
                    <a:pt x="1283" y="609"/>
                  </a:cubicBezTo>
                  <a:close/>
                  <a:moveTo>
                    <a:pt x="174" y="701"/>
                  </a:moveTo>
                  <a:cubicBezTo>
                    <a:pt x="76" y="701"/>
                    <a:pt x="76" y="701"/>
                    <a:pt x="76" y="701"/>
                  </a:cubicBezTo>
                  <a:cubicBezTo>
                    <a:pt x="61" y="701"/>
                    <a:pt x="48" y="688"/>
                    <a:pt x="48" y="673"/>
                  </a:cubicBezTo>
                  <a:cubicBezTo>
                    <a:pt x="48" y="670"/>
                    <a:pt x="48" y="670"/>
                    <a:pt x="48" y="670"/>
                  </a:cubicBezTo>
                  <a:cubicBezTo>
                    <a:pt x="48" y="654"/>
                    <a:pt x="61" y="642"/>
                    <a:pt x="76" y="642"/>
                  </a:cubicBezTo>
                  <a:cubicBezTo>
                    <a:pt x="198" y="642"/>
                    <a:pt x="198" y="642"/>
                    <a:pt x="198" y="642"/>
                  </a:cubicBezTo>
                  <a:cubicBezTo>
                    <a:pt x="186" y="659"/>
                    <a:pt x="177" y="679"/>
                    <a:pt x="174" y="701"/>
                  </a:cubicBezTo>
                  <a:close/>
                  <a:moveTo>
                    <a:pt x="316" y="821"/>
                  </a:moveTo>
                  <a:cubicBezTo>
                    <a:pt x="263" y="821"/>
                    <a:pt x="220" y="778"/>
                    <a:pt x="220" y="725"/>
                  </a:cubicBezTo>
                  <a:cubicBezTo>
                    <a:pt x="220" y="672"/>
                    <a:pt x="263" y="629"/>
                    <a:pt x="316" y="629"/>
                  </a:cubicBezTo>
                  <a:cubicBezTo>
                    <a:pt x="369" y="629"/>
                    <a:pt x="412" y="672"/>
                    <a:pt x="412" y="725"/>
                  </a:cubicBezTo>
                  <a:cubicBezTo>
                    <a:pt x="412" y="778"/>
                    <a:pt x="369" y="821"/>
                    <a:pt x="316" y="821"/>
                  </a:cubicBezTo>
                  <a:close/>
                  <a:moveTo>
                    <a:pt x="998" y="821"/>
                  </a:moveTo>
                  <a:cubicBezTo>
                    <a:pt x="945" y="821"/>
                    <a:pt x="902" y="778"/>
                    <a:pt x="902" y="725"/>
                  </a:cubicBezTo>
                  <a:cubicBezTo>
                    <a:pt x="902" y="672"/>
                    <a:pt x="945" y="629"/>
                    <a:pt x="998" y="629"/>
                  </a:cubicBezTo>
                  <a:cubicBezTo>
                    <a:pt x="1051" y="629"/>
                    <a:pt x="1094" y="672"/>
                    <a:pt x="1094" y="725"/>
                  </a:cubicBezTo>
                  <a:cubicBezTo>
                    <a:pt x="1094" y="778"/>
                    <a:pt x="1051" y="821"/>
                    <a:pt x="998" y="821"/>
                  </a:cubicBezTo>
                  <a:close/>
                  <a:moveTo>
                    <a:pt x="1058" y="594"/>
                  </a:moveTo>
                  <a:cubicBezTo>
                    <a:pt x="1040" y="585"/>
                    <a:pt x="1019" y="581"/>
                    <a:pt x="998" y="581"/>
                  </a:cubicBezTo>
                  <a:cubicBezTo>
                    <a:pt x="927" y="581"/>
                    <a:pt x="868" y="633"/>
                    <a:pt x="856" y="701"/>
                  </a:cubicBezTo>
                  <a:cubicBezTo>
                    <a:pt x="458" y="701"/>
                    <a:pt x="458" y="701"/>
                    <a:pt x="458" y="701"/>
                  </a:cubicBezTo>
                  <a:cubicBezTo>
                    <a:pt x="446" y="633"/>
                    <a:pt x="387" y="581"/>
                    <a:pt x="316" y="581"/>
                  </a:cubicBezTo>
                  <a:cubicBezTo>
                    <a:pt x="294" y="581"/>
                    <a:pt x="274" y="585"/>
                    <a:pt x="256" y="594"/>
                  </a:cubicBezTo>
                  <a:cubicBezTo>
                    <a:pt x="78" y="594"/>
                    <a:pt x="78" y="594"/>
                    <a:pt x="78" y="594"/>
                  </a:cubicBezTo>
                  <a:cubicBezTo>
                    <a:pt x="78" y="215"/>
                    <a:pt x="78" y="215"/>
                    <a:pt x="78" y="215"/>
                  </a:cubicBezTo>
                  <a:cubicBezTo>
                    <a:pt x="78" y="123"/>
                    <a:pt x="153" y="48"/>
                    <a:pt x="246" y="48"/>
                  </a:cubicBezTo>
                  <a:cubicBezTo>
                    <a:pt x="1145" y="48"/>
                    <a:pt x="1145" y="48"/>
                    <a:pt x="1145" y="48"/>
                  </a:cubicBezTo>
                  <a:cubicBezTo>
                    <a:pt x="1186" y="48"/>
                    <a:pt x="1221" y="76"/>
                    <a:pt x="1232" y="115"/>
                  </a:cubicBezTo>
                  <a:cubicBezTo>
                    <a:pt x="1169" y="115"/>
                    <a:pt x="1169" y="115"/>
                    <a:pt x="1169" y="115"/>
                  </a:cubicBezTo>
                  <a:cubicBezTo>
                    <a:pt x="1140" y="115"/>
                    <a:pt x="1115" y="139"/>
                    <a:pt x="1115" y="169"/>
                  </a:cubicBezTo>
                  <a:cubicBezTo>
                    <a:pt x="1115" y="354"/>
                    <a:pt x="1115" y="354"/>
                    <a:pt x="1115" y="354"/>
                  </a:cubicBezTo>
                  <a:cubicBezTo>
                    <a:pt x="1115" y="384"/>
                    <a:pt x="1139" y="408"/>
                    <a:pt x="1169" y="408"/>
                  </a:cubicBezTo>
                  <a:cubicBezTo>
                    <a:pt x="1235" y="408"/>
                    <a:pt x="1235" y="408"/>
                    <a:pt x="1235" y="408"/>
                  </a:cubicBezTo>
                  <a:cubicBezTo>
                    <a:pt x="1235" y="594"/>
                    <a:pt x="1235" y="594"/>
                    <a:pt x="1235" y="594"/>
                  </a:cubicBezTo>
                  <a:lnTo>
                    <a:pt x="1058" y="594"/>
                  </a:lnTo>
                  <a:close/>
                  <a:moveTo>
                    <a:pt x="1235" y="163"/>
                  </a:moveTo>
                  <a:cubicBezTo>
                    <a:pt x="1235" y="360"/>
                    <a:pt x="1235" y="360"/>
                    <a:pt x="1235" y="360"/>
                  </a:cubicBezTo>
                  <a:cubicBezTo>
                    <a:pt x="1169" y="360"/>
                    <a:pt x="1169" y="360"/>
                    <a:pt x="1169" y="360"/>
                  </a:cubicBezTo>
                  <a:cubicBezTo>
                    <a:pt x="1166" y="360"/>
                    <a:pt x="1163" y="357"/>
                    <a:pt x="1163" y="354"/>
                  </a:cubicBezTo>
                  <a:cubicBezTo>
                    <a:pt x="1163" y="169"/>
                    <a:pt x="1163" y="169"/>
                    <a:pt x="1163" y="169"/>
                  </a:cubicBezTo>
                  <a:cubicBezTo>
                    <a:pt x="1163" y="165"/>
                    <a:pt x="1166" y="163"/>
                    <a:pt x="1169" y="163"/>
                  </a:cubicBezTo>
                  <a:lnTo>
                    <a:pt x="1235" y="163"/>
                  </a:lnTo>
                  <a:close/>
                  <a:moveTo>
                    <a:pt x="1266" y="673"/>
                  </a:moveTo>
                  <a:cubicBezTo>
                    <a:pt x="1266" y="688"/>
                    <a:pt x="1253" y="701"/>
                    <a:pt x="1238" y="701"/>
                  </a:cubicBezTo>
                  <a:cubicBezTo>
                    <a:pt x="1140" y="701"/>
                    <a:pt x="1140" y="701"/>
                    <a:pt x="1140" y="701"/>
                  </a:cubicBezTo>
                  <a:cubicBezTo>
                    <a:pt x="1136" y="679"/>
                    <a:pt x="1128" y="659"/>
                    <a:pt x="1116" y="642"/>
                  </a:cubicBezTo>
                  <a:cubicBezTo>
                    <a:pt x="1238" y="642"/>
                    <a:pt x="1238" y="642"/>
                    <a:pt x="1238" y="642"/>
                  </a:cubicBezTo>
                  <a:cubicBezTo>
                    <a:pt x="1253" y="642"/>
                    <a:pt x="1266" y="654"/>
                    <a:pt x="1266" y="670"/>
                  </a:cubicBezTo>
                  <a:lnTo>
                    <a:pt x="1266" y="673"/>
                  </a:lnTo>
                  <a:close/>
                  <a:moveTo>
                    <a:pt x="1183" y="487"/>
                  </a:moveTo>
                  <a:cubicBezTo>
                    <a:pt x="1169" y="487"/>
                    <a:pt x="1159" y="498"/>
                    <a:pt x="1159" y="511"/>
                  </a:cubicBezTo>
                  <a:cubicBezTo>
                    <a:pt x="1159" y="532"/>
                    <a:pt x="1159" y="532"/>
                    <a:pt x="1159" y="532"/>
                  </a:cubicBezTo>
                  <a:cubicBezTo>
                    <a:pt x="1159" y="546"/>
                    <a:pt x="1169" y="556"/>
                    <a:pt x="1183" y="556"/>
                  </a:cubicBezTo>
                  <a:cubicBezTo>
                    <a:pt x="1196" y="556"/>
                    <a:pt x="1207" y="546"/>
                    <a:pt x="1207" y="532"/>
                  </a:cubicBezTo>
                  <a:cubicBezTo>
                    <a:pt x="1207" y="511"/>
                    <a:pt x="1207" y="511"/>
                    <a:pt x="1207" y="511"/>
                  </a:cubicBezTo>
                  <a:cubicBezTo>
                    <a:pt x="1207" y="498"/>
                    <a:pt x="1196" y="487"/>
                    <a:pt x="1183" y="487"/>
                  </a:cubicBezTo>
                  <a:close/>
                  <a:moveTo>
                    <a:pt x="998" y="659"/>
                  </a:moveTo>
                  <a:cubicBezTo>
                    <a:pt x="962" y="659"/>
                    <a:pt x="932" y="688"/>
                    <a:pt x="932" y="725"/>
                  </a:cubicBezTo>
                  <a:cubicBezTo>
                    <a:pt x="932" y="761"/>
                    <a:pt x="962" y="791"/>
                    <a:pt x="998" y="791"/>
                  </a:cubicBezTo>
                  <a:cubicBezTo>
                    <a:pt x="1034" y="791"/>
                    <a:pt x="1064" y="761"/>
                    <a:pt x="1064" y="725"/>
                  </a:cubicBezTo>
                  <a:cubicBezTo>
                    <a:pt x="1064" y="688"/>
                    <a:pt x="1034" y="659"/>
                    <a:pt x="998" y="659"/>
                  </a:cubicBezTo>
                  <a:close/>
                  <a:moveTo>
                    <a:pt x="998" y="743"/>
                  </a:moveTo>
                  <a:cubicBezTo>
                    <a:pt x="988" y="743"/>
                    <a:pt x="980" y="735"/>
                    <a:pt x="980" y="725"/>
                  </a:cubicBezTo>
                  <a:cubicBezTo>
                    <a:pt x="980" y="715"/>
                    <a:pt x="988" y="707"/>
                    <a:pt x="998" y="707"/>
                  </a:cubicBezTo>
                  <a:cubicBezTo>
                    <a:pt x="1008" y="707"/>
                    <a:pt x="1016" y="715"/>
                    <a:pt x="1016" y="725"/>
                  </a:cubicBezTo>
                  <a:cubicBezTo>
                    <a:pt x="1016" y="735"/>
                    <a:pt x="1008" y="743"/>
                    <a:pt x="998" y="743"/>
                  </a:cubicBezTo>
                  <a:close/>
                  <a:moveTo>
                    <a:pt x="990" y="115"/>
                  </a:moveTo>
                  <a:cubicBezTo>
                    <a:pt x="251" y="115"/>
                    <a:pt x="251" y="115"/>
                    <a:pt x="251" y="115"/>
                  </a:cubicBezTo>
                  <a:cubicBezTo>
                    <a:pt x="187" y="115"/>
                    <a:pt x="136" y="166"/>
                    <a:pt x="136" y="230"/>
                  </a:cubicBezTo>
                  <a:cubicBezTo>
                    <a:pt x="136" y="354"/>
                    <a:pt x="136" y="354"/>
                    <a:pt x="136" y="354"/>
                  </a:cubicBezTo>
                  <a:cubicBezTo>
                    <a:pt x="136" y="384"/>
                    <a:pt x="160" y="408"/>
                    <a:pt x="190" y="408"/>
                  </a:cubicBezTo>
                  <a:cubicBezTo>
                    <a:pt x="990" y="408"/>
                    <a:pt x="990" y="408"/>
                    <a:pt x="990" y="408"/>
                  </a:cubicBezTo>
                  <a:cubicBezTo>
                    <a:pt x="1020" y="408"/>
                    <a:pt x="1044" y="384"/>
                    <a:pt x="1044" y="354"/>
                  </a:cubicBezTo>
                  <a:cubicBezTo>
                    <a:pt x="1044" y="169"/>
                    <a:pt x="1044" y="169"/>
                    <a:pt x="1044" y="169"/>
                  </a:cubicBezTo>
                  <a:cubicBezTo>
                    <a:pt x="1044" y="139"/>
                    <a:pt x="1020" y="115"/>
                    <a:pt x="990" y="115"/>
                  </a:cubicBezTo>
                  <a:close/>
                  <a:moveTo>
                    <a:pt x="329" y="360"/>
                  </a:moveTo>
                  <a:cubicBezTo>
                    <a:pt x="190" y="360"/>
                    <a:pt x="190" y="360"/>
                    <a:pt x="190" y="360"/>
                  </a:cubicBezTo>
                  <a:cubicBezTo>
                    <a:pt x="186" y="360"/>
                    <a:pt x="184" y="357"/>
                    <a:pt x="184" y="354"/>
                  </a:cubicBezTo>
                  <a:cubicBezTo>
                    <a:pt x="184" y="230"/>
                    <a:pt x="184" y="230"/>
                    <a:pt x="184" y="230"/>
                  </a:cubicBezTo>
                  <a:cubicBezTo>
                    <a:pt x="184" y="193"/>
                    <a:pt x="214" y="163"/>
                    <a:pt x="251" y="163"/>
                  </a:cubicBezTo>
                  <a:cubicBezTo>
                    <a:pt x="329" y="163"/>
                    <a:pt x="329" y="163"/>
                    <a:pt x="329" y="163"/>
                  </a:cubicBezTo>
                  <a:lnTo>
                    <a:pt x="329" y="360"/>
                  </a:lnTo>
                  <a:close/>
                  <a:moveTo>
                    <a:pt x="566" y="360"/>
                  </a:moveTo>
                  <a:cubicBezTo>
                    <a:pt x="377" y="360"/>
                    <a:pt x="377" y="360"/>
                    <a:pt x="377" y="360"/>
                  </a:cubicBezTo>
                  <a:cubicBezTo>
                    <a:pt x="377" y="163"/>
                    <a:pt x="377" y="163"/>
                    <a:pt x="377" y="163"/>
                  </a:cubicBezTo>
                  <a:cubicBezTo>
                    <a:pt x="566" y="163"/>
                    <a:pt x="566" y="163"/>
                    <a:pt x="566" y="163"/>
                  </a:cubicBezTo>
                  <a:lnTo>
                    <a:pt x="566" y="360"/>
                  </a:lnTo>
                  <a:close/>
                  <a:moveTo>
                    <a:pt x="803" y="360"/>
                  </a:moveTo>
                  <a:cubicBezTo>
                    <a:pt x="614" y="360"/>
                    <a:pt x="614" y="360"/>
                    <a:pt x="614" y="360"/>
                  </a:cubicBezTo>
                  <a:cubicBezTo>
                    <a:pt x="614" y="163"/>
                    <a:pt x="614" y="163"/>
                    <a:pt x="614" y="163"/>
                  </a:cubicBezTo>
                  <a:cubicBezTo>
                    <a:pt x="803" y="163"/>
                    <a:pt x="803" y="163"/>
                    <a:pt x="803" y="163"/>
                  </a:cubicBezTo>
                  <a:lnTo>
                    <a:pt x="803" y="360"/>
                  </a:lnTo>
                  <a:close/>
                  <a:moveTo>
                    <a:pt x="996" y="354"/>
                  </a:moveTo>
                  <a:cubicBezTo>
                    <a:pt x="996" y="357"/>
                    <a:pt x="994" y="360"/>
                    <a:pt x="990" y="360"/>
                  </a:cubicBezTo>
                  <a:cubicBezTo>
                    <a:pt x="851" y="360"/>
                    <a:pt x="851" y="360"/>
                    <a:pt x="851" y="360"/>
                  </a:cubicBezTo>
                  <a:cubicBezTo>
                    <a:pt x="851" y="163"/>
                    <a:pt x="851" y="163"/>
                    <a:pt x="851" y="163"/>
                  </a:cubicBezTo>
                  <a:cubicBezTo>
                    <a:pt x="990" y="163"/>
                    <a:pt x="990" y="163"/>
                    <a:pt x="990" y="163"/>
                  </a:cubicBezTo>
                  <a:cubicBezTo>
                    <a:pt x="994" y="163"/>
                    <a:pt x="996" y="165"/>
                    <a:pt x="996" y="169"/>
                  </a:cubicBezTo>
                  <a:lnTo>
                    <a:pt x="996" y="35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0" name="Group 239"/>
          <p:cNvGrpSpPr/>
          <p:nvPr/>
        </p:nvGrpSpPr>
        <p:grpSpPr>
          <a:xfrm>
            <a:off x="588840" y="3698143"/>
            <a:ext cx="595373" cy="595373"/>
            <a:chOff x="682652" y="2569917"/>
            <a:chExt cx="679152" cy="679152"/>
          </a:xfrm>
        </p:grpSpPr>
        <p:sp>
          <p:nvSpPr>
            <p:cNvPr id="115" name="Teardrop 114"/>
            <p:cNvSpPr/>
            <p:nvPr/>
          </p:nvSpPr>
          <p:spPr>
            <a:xfrm rot="8100000">
              <a:off x="682652" y="2569917"/>
              <a:ext cx="679152" cy="679152"/>
            </a:xfrm>
            <a:prstGeom prst="teardrop">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116" name="Rectangle 115"/>
            <p:cNvSpPr/>
            <p:nvPr/>
          </p:nvSpPr>
          <p:spPr>
            <a:xfrm>
              <a:off x="734891" y="2742272"/>
              <a:ext cx="574677" cy="315977"/>
            </a:xfrm>
            <a:prstGeom prst="rect">
              <a:avLst/>
            </a:prstGeom>
          </p:spPr>
          <p:txBody>
            <a:bodyPr wrap="square" lIns="0" tIns="0" rIns="0" bIns="0">
              <a:spAutoFit/>
            </a:bodyPr>
            <a:lstStyle/>
            <a:p>
              <a:pPr algn="ctr"/>
              <a:r>
                <a:rPr lang="en-US" sz="900" b="1" dirty="0" err="1" smtClean="0">
                  <a:solidFill>
                    <a:schemeClr val="bg1"/>
                  </a:solidFill>
                  <a:latin typeface="+mj-lt"/>
                </a:rPr>
                <a:t>LoRa</a:t>
              </a:r>
              <a:endParaRPr lang="en-US" sz="900" b="1" dirty="0" smtClean="0">
                <a:solidFill>
                  <a:schemeClr val="bg1"/>
                </a:solidFill>
                <a:latin typeface="+mj-lt"/>
              </a:endParaRPr>
            </a:p>
            <a:p>
              <a:pPr algn="ctr"/>
              <a:r>
                <a:rPr lang="en-US" sz="900" b="1" dirty="0" smtClean="0">
                  <a:solidFill>
                    <a:schemeClr val="bg1"/>
                  </a:solidFill>
                  <a:latin typeface="+mj-lt"/>
                </a:rPr>
                <a:t>WAN</a:t>
              </a:r>
              <a:endParaRPr lang="en-US" sz="900" b="1" dirty="0">
                <a:solidFill>
                  <a:schemeClr val="bg1"/>
                </a:solidFill>
                <a:latin typeface="+mj-lt"/>
              </a:endParaRPr>
            </a:p>
          </p:txBody>
        </p:sp>
      </p:grpSp>
    </p:spTree>
    <p:extLst>
      <p:ext uri="{BB962C8B-B14F-4D97-AF65-F5344CB8AC3E}">
        <p14:creationId xmlns:p14="http://schemas.microsoft.com/office/powerpoint/2010/main" val="2098543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Cisco Ultra IoT Differentiation</a:t>
            </a:r>
            <a:endParaRPr lang="en-US" dirty="0"/>
          </a:p>
        </p:txBody>
      </p:sp>
      <p:graphicFrame>
        <p:nvGraphicFramePr>
          <p:cNvPr id="4" name="Table 3"/>
          <p:cNvGraphicFramePr>
            <a:graphicFrameLocks noGrp="1"/>
          </p:cNvGraphicFramePr>
          <p:nvPr>
            <p:extLst/>
          </p:nvPr>
        </p:nvGraphicFramePr>
        <p:xfrm>
          <a:off x="273048" y="1079500"/>
          <a:ext cx="8594726" cy="3638547"/>
        </p:xfrm>
        <a:graphic>
          <a:graphicData uri="http://schemas.openxmlformats.org/drawingml/2006/table">
            <a:tbl>
              <a:tblPr firstRow="1" bandRow="1">
                <a:tableStyleId>{7DF18680-E054-41AD-8BC1-D1AEF772440D}</a:tableStyleId>
              </a:tblPr>
              <a:tblGrid>
                <a:gridCol w="4297363">
                  <a:extLst>
                    <a:ext uri="{9D8B030D-6E8A-4147-A177-3AD203B41FA5}">
                      <a16:colId xmlns:a16="http://schemas.microsoft.com/office/drawing/2014/main" val="20000"/>
                    </a:ext>
                  </a:extLst>
                </a:gridCol>
                <a:gridCol w="4297363">
                  <a:extLst>
                    <a:ext uri="{9D8B030D-6E8A-4147-A177-3AD203B41FA5}">
                      <a16:colId xmlns:a16="http://schemas.microsoft.com/office/drawing/2014/main" val="20001"/>
                    </a:ext>
                  </a:extLst>
                </a:gridCol>
              </a:tblGrid>
              <a:tr h="398745">
                <a:tc>
                  <a:txBody>
                    <a:bodyPr/>
                    <a:lstStyle/>
                    <a:p>
                      <a:pPr algn="ctr"/>
                      <a:r>
                        <a:rPr lang="en-US" sz="1600" dirty="0" smtClean="0"/>
                        <a:t>Capability</a:t>
                      </a:r>
                      <a:endParaRPr lang="en-US" sz="1600" dirty="0">
                        <a:latin typeface="CiscoSansTT Light" panose="020B0604020202020204" charset="0"/>
                        <a:cs typeface="CiscoSansTT Light" panose="020B0604020202020204" charset="0"/>
                      </a:endParaRPr>
                    </a:p>
                  </a:txBody>
                  <a:tcPr marL="68580" marR="68580" marT="34290" marB="34290" anchor="ctr">
                    <a:solidFill>
                      <a:schemeClr val="bg2"/>
                    </a:solidFill>
                  </a:tcPr>
                </a:tc>
                <a:tc>
                  <a:txBody>
                    <a:bodyPr/>
                    <a:lstStyle/>
                    <a:p>
                      <a:pPr algn="ctr"/>
                      <a:r>
                        <a:rPr lang="en-US" sz="1600" dirty="0" smtClean="0"/>
                        <a:t>Business</a:t>
                      </a:r>
                      <a:r>
                        <a:rPr lang="en-US" sz="1600" baseline="0" dirty="0" smtClean="0"/>
                        <a:t> Value</a:t>
                      </a:r>
                      <a:endParaRPr lang="en-US" sz="1600" dirty="0">
                        <a:latin typeface="CiscoSansTT Light" panose="020B0604020202020204" charset="0"/>
                        <a:cs typeface="CiscoSansTT Light" panose="020B0604020202020204" charset="0"/>
                      </a:endParaRPr>
                    </a:p>
                  </a:txBody>
                  <a:tcPr marL="68580" marR="68580" marT="34290" marB="34290" anchor="ctr">
                    <a:solidFill>
                      <a:schemeClr val="bg2"/>
                    </a:solidFill>
                  </a:tcPr>
                </a:tc>
                <a:extLst>
                  <a:ext uri="{0D108BD9-81ED-4DB2-BD59-A6C34878D82A}">
                    <a16:rowId xmlns:a16="http://schemas.microsoft.com/office/drawing/2014/main" val="10000"/>
                  </a:ext>
                </a:extLst>
              </a:tr>
              <a:tr h="539967">
                <a:tc>
                  <a:txBody>
                    <a:bodyPr/>
                    <a:lstStyle/>
                    <a:p>
                      <a:r>
                        <a:rPr lang="en-US" sz="1354" b="0" dirty="0" smtClean="0">
                          <a:solidFill>
                            <a:schemeClr val="tx2">
                              <a:lumMod val="75000"/>
                            </a:schemeClr>
                          </a:solidFill>
                        </a:rPr>
                        <a:t>Hides network complexity (IP/non-IP, others)</a:t>
                      </a:r>
                      <a:br>
                        <a:rPr lang="en-US" sz="1354" b="0" dirty="0" smtClean="0">
                          <a:solidFill>
                            <a:schemeClr val="tx2">
                              <a:lumMod val="75000"/>
                            </a:schemeClr>
                          </a:solidFill>
                        </a:rPr>
                      </a:br>
                      <a:r>
                        <a:rPr lang="en-US" sz="1354" b="0" dirty="0" smtClean="0">
                          <a:solidFill>
                            <a:schemeClr val="tx2">
                              <a:lumMod val="75000"/>
                            </a:schemeClr>
                          </a:solidFill>
                        </a:rPr>
                        <a:t>with uniform northbound</a:t>
                      </a:r>
                      <a:r>
                        <a:rPr lang="en-US" sz="1354" b="0" baseline="0" dirty="0" smtClean="0">
                          <a:solidFill>
                            <a:schemeClr val="tx2">
                              <a:lumMod val="75000"/>
                            </a:schemeClr>
                          </a:solidFill>
                        </a:rPr>
                        <a:t> </a:t>
                      </a:r>
                      <a:r>
                        <a:rPr lang="en-US" sz="1354" b="0" dirty="0" smtClean="0">
                          <a:solidFill>
                            <a:schemeClr val="tx2">
                              <a:lumMod val="75000"/>
                            </a:schemeClr>
                          </a:solidFill>
                        </a:rPr>
                        <a:t>API layer</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tc>
                  <a:txBody>
                    <a:bodyPr/>
                    <a:lstStyle/>
                    <a:p>
                      <a:r>
                        <a:rPr lang="en-US" sz="1354" b="0" dirty="0" smtClean="0">
                          <a:solidFill>
                            <a:schemeClr val="tx2">
                              <a:lumMod val="75000"/>
                            </a:schemeClr>
                          </a:solidFill>
                        </a:rPr>
                        <a:t>Ease and</a:t>
                      </a:r>
                      <a:r>
                        <a:rPr lang="en-US" sz="1354" b="0" baseline="0" dirty="0" smtClean="0">
                          <a:solidFill>
                            <a:schemeClr val="tx2">
                              <a:lumMod val="75000"/>
                            </a:schemeClr>
                          </a:solidFill>
                        </a:rPr>
                        <a:t> speed of application development; stickiness; new monetization</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extLst>
                  <a:ext uri="{0D108BD9-81ED-4DB2-BD59-A6C34878D82A}">
                    <a16:rowId xmlns:a16="http://schemas.microsoft.com/office/drawing/2014/main" val="10001"/>
                  </a:ext>
                </a:extLst>
              </a:tr>
              <a:tr h="539967">
                <a:tc>
                  <a:txBody>
                    <a:bodyPr/>
                    <a:lstStyle/>
                    <a:p>
                      <a:r>
                        <a:rPr lang="en-US" sz="1354" b="0" dirty="0" smtClean="0">
                          <a:solidFill>
                            <a:schemeClr val="tx2">
                              <a:lumMod val="75000"/>
                            </a:schemeClr>
                          </a:solidFill>
                        </a:rPr>
                        <a:t>Data management, network services and information exposed to the applications</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tc>
                  <a:txBody>
                    <a:bodyPr/>
                    <a:lstStyle/>
                    <a:p>
                      <a:r>
                        <a:rPr lang="en-US" sz="1354" b="0" dirty="0" smtClean="0">
                          <a:solidFill>
                            <a:schemeClr val="tx2">
                              <a:lumMod val="75000"/>
                            </a:schemeClr>
                          </a:solidFill>
                        </a:rPr>
                        <a:t>Service</a:t>
                      </a:r>
                      <a:r>
                        <a:rPr lang="en-US" sz="1354" b="0" baseline="0" dirty="0" smtClean="0">
                          <a:solidFill>
                            <a:schemeClr val="tx2">
                              <a:lumMod val="75000"/>
                            </a:schemeClr>
                          </a:solidFill>
                        </a:rPr>
                        <a:t> Provider becomes IoT provider –</a:t>
                      </a:r>
                      <a:br>
                        <a:rPr lang="en-US" sz="1354" b="0" baseline="0" dirty="0" smtClean="0">
                          <a:solidFill>
                            <a:schemeClr val="tx2">
                              <a:lumMod val="75000"/>
                            </a:schemeClr>
                          </a:solidFill>
                        </a:rPr>
                      </a:br>
                      <a:r>
                        <a:rPr lang="en-US" sz="1354" b="0" baseline="0" dirty="0" smtClean="0">
                          <a:solidFill>
                            <a:schemeClr val="tx2">
                              <a:lumMod val="75000"/>
                            </a:schemeClr>
                          </a:solidFill>
                        </a:rPr>
                        <a:t>additional monetization</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extLst>
                  <a:ext uri="{0D108BD9-81ED-4DB2-BD59-A6C34878D82A}">
                    <a16:rowId xmlns:a16="http://schemas.microsoft.com/office/drawing/2014/main" val="10002"/>
                  </a:ext>
                </a:extLst>
              </a:tr>
              <a:tr h="539967">
                <a:tc>
                  <a:txBody>
                    <a:bodyPr/>
                    <a:lstStyle/>
                    <a:p>
                      <a:r>
                        <a:rPr lang="en-US" sz="1354" b="0" dirty="0" smtClean="0">
                          <a:solidFill>
                            <a:schemeClr val="tx2">
                              <a:lumMod val="75000"/>
                            </a:schemeClr>
                          </a:solidFill>
                        </a:rPr>
                        <a:t>Policy</a:t>
                      </a:r>
                      <a:r>
                        <a:rPr lang="en-US" sz="1354" b="0" baseline="0" dirty="0" smtClean="0">
                          <a:solidFill>
                            <a:schemeClr val="tx2">
                              <a:lumMod val="75000"/>
                            </a:schemeClr>
                          </a:solidFill>
                        </a:rPr>
                        <a:t> control and customizations</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tc>
                  <a:txBody>
                    <a:bodyPr/>
                    <a:lstStyle/>
                    <a:p>
                      <a:r>
                        <a:rPr lang="en-US" sz="1354" b="0" dirty="0" smtClean="0">
                          <a:solidFill>
                            <a:schemeClr val="tx2">
                              <a:lumMod val="75000"/>
                            </a:schemeClr>
                          </a:solidFill>
                        </a:rPr>
                        <a:t>Flexibility to support diverse</a:t>
                      </a:r>
                      <a:r>
                        <a:rPr lang="en-US" sz="1354" b="0" baseline="0" dirty="0" smtClean="0">
                          <a:solidFill>
                            <a:schemeClr val="tx2">
                              <a:lumMod val="75000"/>
                            </a:schemeClr>
                          </a:solidFill>
                        </a:rPr>
                        <a:t> verticals</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extLst>
                  <a:ext uri="{0D108BD9-81ED-4DB2-BD59-A6C34878D82A}">
                    <a16:rowId xmlns:a16="http://schemas.microsoft.com/office/drawing/2014/main" val="10003"/>
                  </a:ext>
                </a:extLst>
              </a:tr>
              <a:tr h="539967">
                <a:tc>
                  <a:txBody>
                    <a:bodyPr/>
                    <a:lstStyle/>
                    <a:p>
                      <a:r>
                        <a:rPr lang="en-US" sz="1354" b="0" dirty="0" smtClean="0">
                          <a:solidFill>
                            <a:schemeClr val="tx2">
                              <a:lumMod val="75000"/>
                            </a:schemeClr>
                          </a:solidFill>
                        </a:rPr>
                        <a:t>Network slicing</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tc>
                  <a:txBody>
                    <a:bodyPr/>
                    <a:lstStyle/>
                    <a:p>
                      <a:r>
                        <a:rPr lang="en-US" sz="1354" b="0" dirty="0" smtClean="0">
                          <a:solidFill>
                            <a:schemeClr val="tx2">
                              <a:lumMod val="75000"/>
                            </a:schemeClr>
                          </a:solidFill>
                        </a:rPr>
                        <a:t>Speed and flexibility</a:t>
                      </a:r>
                      <a:r>
                        <a:rPr lang="en-US" sz="1354" b="0" baseline="0" dirty="0" smtClean="0">
                          <a:solidFill>
                            <a:schemeClr val="tx2">
                              <a:lumMod val="75000"/>
                            </a:schemeClr>
                          </a:solidFill>
                        </a:rPr>
                        <a:t> of IoT deployment</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extLst>
                  <a:ext uri="{0D108BD9-81ED-4DB2-BD59-A6C34878D82A}">
                    <a16:rowId xmlns:a16="http://schemas.microsoft.com/office/drawing/2014/main" val="10004"/>
                  </a:ext>
                </a:extLst>
              </a:tr>
              <a:tr h="539967">
                <a:tc>
                  <a:txBody>
                    <a:bodyPr/>
                    <a:lstStyle/>
                    <a:p>
                      <a:r>
                        <a:rPr lang="en-US" sz="1354" b="0" dirty="0" smtClean="0">
                          <a:solidFill>
                            <a:schemeClr val="tx2">
                              <a:lumMod val="75000"/>
                            </a:schemeClr>
                          </a:solidFill>
                        </a:rPr>
                        <a:t>Automation and life cycle framework</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tc>
                  <a:txBody>
                    <a:bodyPr/>
                    <a:lstStyle/>
                    <a:p>
                      <a:r>
                        <a:rPr lang="en-US" sz="1354" b="0" dirty="0" smtClean="0">
                          <a:solidFill>
                            <a:schemeClr val="tx2">
                              <a:lumMod val="75000"/>
                            </a:schemeClr>
                          </a:solidFill>
                        </a:rPr>
                        <a:t>Speed of IoT deployment, manageability</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extLst>
                  <a:ext uri="{0D108BD9-81ED-4DB2-BD59-A6C34878D82A}">
                    <a16:rowId xmlns:a16="http://schemas.microsoft.com/office/drawing/2014/main" val="10005"/>
                  </a:ext>
                </a:extLst>
              </a:tr>
              <a:tr h="539967">
                <a:tc>
                  <a:txBody>
                    <a:bodyPr/>
                    <a:lstStyle/>
                    <a:p>
                      <a:r>
                        <a:rPr lang="en-US" sz="1354" b="0" dirty="0" smtClean="0">
                          <a:solidFill>
                            <a:schemeClr val="tx2">
                              <a:lumMod val="75000"/>
                            </a:schemeClr>
                          </a:solidFill>
                        </a:rPr>
                        <a:t>Cloud</a:t>
                      </a:r>
                      <a:r>
                        <a:rPr lang="en-US" sz="1354" b="0" baseline="0" dirty="0" smtClean="0">
                          <a:solidFill>
                            <a:schemeClr val="tx2">
                              <a:lumMod val="75000"/>
                            </a:schemeClr>
                          </a:solidFill>
                        </a:rPr>
                        <a:t> scale</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tc>
                  <a:txBody>
                    <a:bodyPr/>
                    <a:lstStyle/>
                    <a:p>
                      <a:r>
                        <a:rPr lang="en-US" sz="1354" b="0" dirty="0" smtClean="0">
                          <a:solidFill>
                            <a:schemeClr val="tx2">
                              <a:lumMod val="75000"/>
                            </a:schemeClr>
                          </a:solidFill>
                        </a:rPr>
                        <a:t>Ready</a:t>
                      </a:r>
                      <a:r>
                        <a:rPr lang="en-US" sz="1354" b="0" baseline="0" dirty="0" smtClean="0">
                          <a:solidFill>
                            <a:schemeClr val="tx2">
                              <a:lumMod val="75000"/>
                            </a:schemeClr>
                          </a:solidFill>
                        </a:rPr>
                        <a:t> to support exponential IoT growth</a:t>
                      </a:r>
                      <a:endParaRPr lang="en-US" sz="1354" b="0" dirty="0">
                        <a:solidFill>
                          <a:schemeClr val="tx2">
                            <a:lumMod val="75000"/>
                          </a:schemeClr>
                        </a:solidFill>
                        <a:latin typeface="CiscoSansTT Light" panose="020B0604020202020204" charset="0"/>
                        <a:cs typeface="CiscoSansTT Light" panose="020B0604020202020204" charset="0"/>
                      </a:endParaRPr>
                    </a:p>
                  </a:txBody>
                  <a:tcPr marL="274320" marR="68580" marT="34290" marB="3429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538802113"/>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22" name="Rectangle 1121"/>
          <p:cNvSpPr/>
          <p:nvPr/>
        </p:nvSpPr>
        <p:spPr>
          <a:xfrm>
            <a:off x="0" y="1079500"/>
            <a:ext cx="9144000" cy="3638549"/>
          </a:xfrm>
          <a:prstGeom prst="rect">
            <a:avLst/>
          </a:prstGeom>
          <a:solidFill>
            <a:schemeClr val="bg1">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2" name="Group 1"/>
          <p:cNvGrpSpPr/>
          <p:nvPr/>
        </p:nvGrpSpPr>
        <p:grpSpPr>
          <a:xfrm>
            <a:off x="1903469" y="1458687"/>
            <a:ext cx="5743462" cy="3168322"/>
            <a:chOff x="1122474" y="950486"/>
            <a:chExt cx="6997059" cy="3859855"/>
          </a:xfrm>
          <a:solidFill>
            <a:schemeClr val="bg2">
              <a:alpha val="50000"/>
            </a:schemeClr>
          </a:solidFill>
        </p:grpSpPr>
        <p:grpSp>
          <p:nvGrpSpPr>
            <p:cNvPr id="3" name="Group 15384"/>
            <p:cNvGrpSpPr/>
            <p:nvPr/>
          </p:nvGrpSpPr>
          <p:grpSpPr>
            <a:xfrm>
              <a:off x="1122474" y="950486"/>
              <a:ext cx="6997059" cy="3859855"/>
              <a:chOff x="982776" y="683785"/>
              <a:chExt cx="7099797" cy="3916530"/>
            </a:xfrm>
            <a:grpFill/>
          </p:grpSpPr>
          <p:sp>
            <p:nvSpPr>
              <p:cNvPr id="15167" name="Oval 9"/>
              <p:cNvSpPr>
                <a:spLocks noChangeArrowheads="1"/>
              </p:cNvSpPr>
              <p:nvPr/>
            </p:nvSpPr>
            <p:spPr bwMode="auto">
              <a:xfrm>
                <a:off x="982776"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68" name="Oval 10"/>
              <p:cNvSpPr>
                <a:spLocks noChangeArrowheads="1"/>
              </p:cNvSpPr>
              <p:nvPr/>
            </p:nvSpPr>
            <p:spPr bwMode="auto">
              <a:xfrm>
                <a:off x="982776"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69" name="Oval 11"/>
              <p:cNvSpPr>
                <a:spLocks noChangeArrowheads="1"/>
              </p:cNvSpPr>
              <p:nvPr/>
            </p:nvSpPr>
            <p:spPr bwMode="auto">
              <a:xfrm>
                <a:off x="982776"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70" name="Oval 12"/>
              <p:cNvSpPr>
                <a:spLocks noChangeArrowheads="1"/>
              </p:cNvSpPr>
              <p:nvPr/>
            </p:nvSpPr>
            <p:spPr bwMode="auto">
              <a:xfrm>
                <a:off x="1088352" y="1304486"/>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71" name="Oval 13"/>
              <p:cNvSpPr>
                <a:spLocks noChangeArrowheads="1"/>
              </p:cNvSpPr>
              <p:nvPr/>
            </p:nvSpPr>
            <p:spPr bwMode="auto">
              <a:xfrm>
                <a:off x="1088352" y="1408645"/>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72" name="Oval 14"/>
              <p:cNvSpPr>
                <a:spLocks noChangeArrowheads="1"/>
              </p:cNvSpPr>
              <p:nvPr/>
            </p:nvSpPr>
            <p:spPr bwMode="auto">
              <a:xfrm>
                <a:off x="1088352" y="1510678"/>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73" name="Oval 15"/>
              <p:cNvSpPr>
                <a:spLocks noChangeArrowheads="1"/>
              </p:cNvSpPr>
              <p:nvPr/>
            </p:nvSpPr>
            <p:spPr bwMode="auto">
              <a:xfrm>
                <a:off x="1088352" y="1614128"/>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74" name="Oval 16"/>
              <p:cNvSpPr>
                <a:spLocks noChangeArrowheads="1"/>
              </p:cNvSpPr>
              <p:nvPr/>
            </p:nvSpPr>
            <p:spPr bwMode="auto">
              <a:xfrm>
                <a:off x="1088352" y="1718287"/>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75" name="Oval 17"/>
              <p:cNvSpPr>
                <a:spLocks noChangeArrowheads="1"/>
              </p:cNvSpPr>
              <p:nvPr/>
            </p:nvSpPr>
            <p:spPr bwMode="auto">
              <a:xfrm>
                <a:off x="1088352" y="1821737"/>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76" name="Oval 18"/>
              <p:cNvSpPr>
                <a:spLocks noChangeArrowheads="1"/>
              </p:cNvSpPr>
              <p:nvPr/>
            </p:nvSpPr>
            <p:spPr bwMode="auto">
              <a:xfrm>
                <a:off x="1088352" y="2650755"/>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77" name="Oval 19"/>
              <p:cNvSpPr>
                <a:spLocks noChangeArrowheads="1"/>
              </p:cNvSpPr>
              <p:nvPr/>
            </p:nvSpPr>
            <p:spPr bwMode="auto">
              <a:xfrm>
                <a:off x="1191802"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79" name="Oval 21"/>
              <p:cNvSpPr>
                <a:spLocks noChangeArrowheads="1"/>
              </p:cNvSpPr>
              <p:nvPr/>
            </p:nvSpPr>
            <p:spPr bwMode="auto">
              <a:xfrm>
                <a:off x="1191802"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0" name="Oval 22"/>
              <p:cNvSpPr>
                <a:spLocks noChangeArrowheads="1"/>
              </p:cNvSpPr>
              <p:nvPr/>
            </p:nvSpPr>
            <p:spPr bwMode="auto">
              <a:xfrm>
                <a:off x="1191802"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1" name="Oval 23"/>
              <p:cNvSpPr>
                <a:spLocks noChangeArrowheads="1"/>
              </p:cNvSpPr>
              <p:nvPr/>
            </p:nvSpPr>
            <p:spPr bwMode="auto">
              <a:xfrm>
                <a:off x="1191802"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2" name="Oval 24"/>
              <p:cNvSpPr>
                <a:spLocks noChangeArrowheads="1"/>
              </p:cNvSpPr>
              <p:nvPr/>
            </p:nvSpPr>
            <p:spPr bwMode="auto">
              <a:xfrm>
                <a:off x="1191802" y="265075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3" name="Oval 25"/>
              <p:cNvSpPr>
                <a:spLocks noChangeArrowheads="1"/>
              </p:cNvSpPr>
              <p:nvPr/>
            </p:nvSpPr>
            <p:spPr bwMode="auto">
              <a:xfrm>
                <a:off x="1297378"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4" name="Oval 26"/>
              <p:cNvSpPr>
                <a:spLocks noChangeArrowheads="1"/>
              </p:cNvSpPr>
              <p:nvPr/>
            </p:nvSpPr>
            <p:spPr bwMode="auto">
              <a:xfrm>
                <a:off x="1297378"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5" name="Oval 27"/>
              <p:cNvSpPr>
                <a:spLocks noChangeArrowheads="1"/>
              </p:cNvSpPr>
              <p:nvPr/>
            </p:nvSpPr>
            <p:spPr bwMode="auto">
              <a:xfrm>
                <a:off x="1297378"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6" name="Oval 28"/>
              <p:cNvSpPr>
                <a:spLocks noChangeArrowheads="1"/>
              </p:cNvSpPr>
              <p:nvPr/>
            </p:nvSpPr>
            <p:spPr bwMode="auto">
              <a:xfrm>
                <a:off x="1297378"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8" name="Oval 30"/>
              <p:cNvSpPr>
                <a:spLocks noChangeArrowheads="1"/>
              </p:cNvSpPr>
              <p:nvPr/>
            </p:nvSpPr>
            <p:spPr bwMode="auto">
              <a:xfrm>
                <a:off x="1400828"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9" name="Oval 31"/>
              <p:cNvSpPr>
                <a:spLocks noChangeArrowheads="1"/>
              </p:cNvSpPr>
              <p:nvPr/>
            </p:nvSpPr>
            <p:spPr bwMode="auto">
              <a:xfrm>
                <a:off x="1400828"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0" name="Oval 32"/>
              <p:cNvSpPr>
                <a:spLocks noChangeArrowheads="1"/>
              </p:cNvSpPr>
              <p:nvPr/>
            </p:nvSpPr>
            <p:spPr bwMode="auto">
              <a:xfrm>
                <a:off x="1400828"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1" name="Oval 33"/>
              <p:cNvSpPr>
                <a:spLocks noChangeArrowheads="1"/>
              </p:cNvSpPr>
              <p:nvPr/>
            </p:nvSpPr>
            <p:spPr bwMode="auto">
              <a:xfrm>
                <a:off x="1400828"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2" name="Oval 34"/>
              <p:cNvSpPr>
                <a:spLocks noChangeArrowheads="1"/>
              </p:cNvSpPr>
              <p:nvPr/>
            </p:nvSpPr>
            <p:spPr bwMode="auto">
              <a:xfrm>
                <a:off x="1506404"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3" name="Oval 35"/>
              <p:cNvSpPr>
                <a:spLocks noChangeArrowheads="1"/>
              </p:cNvSpPr>
              <p:nvPr/>
            </p:nvSpPr>
            <p:spPr bwMode="auto">
              <a:xfrm>
                <a:off x="1506404"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4" name="Oval 36"/>
              <p:cNvSpPr>
                <a:spLocks noChangeArrowheads="1"/>
              </p:cNvSpPr>
              <p:nvPr/>
            </p:nvSpPr>
            <p:spPr bwMode="auto">
              <a:xfrm>
                <a:off x="1506404"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5" name="Oval 37"/>
              <p:cNvSpPr>
                <a:spLocks noChangeArrowheads="1"/>
              </p:cNvSpPr>
              <p:nvPr/>
            </p:nvSpPr>
            <p:spPr bwMode="auto">
              <a:xfrm>
                <a:off x="1506404"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6" name="Oval 38"/>
              <p:cNvSpPr>
                <a:spLocks noChangeArrowheads="1"/>
              </p:cNvSpPr>
              <p:nvPr/>
            </p:nvSpPr>
            <p:spPr bwMode="auto">
              <a:xfrm>
                <a:off x="1610563" y="1304486"/>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8" name="Oval 40"/>
              <p:cNvSpPr>
                <a:spLocks noChangeArrowheads="1"/>
              </p:cNvSpPr>
              <p:nvPr/>
            </p:nvSpPr>
            <p:spPr bwMode="auto">
              <a:xfrm>
                <a:off x="1610563" y="1510678"/>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9" name="Oval 41"/>
              <p:cNvSpPr>
                <a:spLocks noChangeArrowheads="1"/>
              </p:cNvSpPr>
              <p:nvPr/>
            </p:nvSpPr>
            <p:spPr bwMode="auto">
              <a:xfrm>
                <a:off x="1610563" y="1614128"/>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0" name="Oval 42"/>
              <p:cNvSpPr>
                <a:spLocks noChangeArrowheads="1"/>
              </p:cNvSpPr>
              <p:nvPr/>
            </p:nvSpPr>
            <p:spPr bwMode="auto">
              <a:xfrm>
                <a:off x="1610563" y="1718287"/>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1" name="Oval 43"/>
              <p:cNvSpPr>
                <a:spLocks noChangeArrowheads="1"/>
              </p:cNvSpPr>
              <p:nvPr/>
            </p:nvSpPr>
            <p:spPr bwMode="auto">
              <a:xfrm>
                <a:off x="1610563" y="1821737"/>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2" name="Oval 44"/>
              <p:cNvSpPr>
                <a:spLocks noChangeArrowheads="1"/>
              </p:cNvSpPr>
              <p:nvPr/>
            </p:nvSpPr>
            <p:spPr bwMode="auto">
              <a:xfrm>
                <a:off x="1715430"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3" name="Oval 45"/>
              <p:cNvSpPr>
                <a:spLocks noChangeArrowheads="1"/>
              </p:cNvSpPr>
              <p:nvPr/>
            </p:nvSpPr>
            <p:spPr bwMode="auto">
              <a:xfrm>
                <a:off x="1715430"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4" name="Oval 46"/>
              <p:cNvSpPr>
                <a:spLocks noChangeArrowheads="1"/>
              </p:cNvSpPr>
              <p:nvPr/>
            </p:nvSpPr>
            <p:spPr bwMode="auto">
              <a:xfrm>
                <a:off x="1715430"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5" name="Oval 47"/>
              <p:cNvSpPr>
                <a:spLocks noChangeArrowheads="1"/>
              </p:cNvSpPr>
              <p:nvPr/>
            </p:nvSpPr>
            <p:spPr bwMode="auto">
              <a:xfrm>
                <a:off x="1715430"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6" name="Oval 48"/>
              <p:cNvSpPr>
                <a:spLocks noChangeArrowheads="1"/>
              </p:cNvSpPr>
              <p:nvPr/>
            </p:nvSpPr>
            <p:spPr bwMode="auto">
              <a:xfrm>
                <a:off x="1715430"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7" name="Oval 49"/>
              <p:cNvSpPr>
                <a:spLocks noChangeArrowheads="1"/>
              </p:cNvSpPr>
              <p:nvPr/>
            </p:nvSpPr>
            <p:spPr bwMode="auto">
              <a:xfrm>
                <a:off x="1715430"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8" name="Oval 50"/>
              <p:cNvSpPr>
                <a:spLocks noChangeArrowheads="1"/>
              </p:cNvSpPr>
              <p:nvPr/>
            </p:nvSpPr>
            <p:spPr bwMode="auto">
              <a:xfrm>
                <a:off x="1715430"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09" name="Oval 51"/>
              <p:cNvSpPr>
                <a:spLocks noChangeArrowheads="1"/>
              </p:cNvSpPr>
              <p:nvPr/>
            </p:nvSpPr>
            <p:spPr bwMode="auto">
              <a:xfrm>
                <a:off x="1819589"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0" name="Oval 52"/>
              <p:cNvSpPr>
                <a:spLocks noChangeArrowheads="1"/>
              </p:cNvSpPr>
              <p:nvPr/>
            </p:nvSpPr>
            <p:spPr bwMode="auto">
              <a:xfrm>
                <a:off x="1819589"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1" name="Oval 53"/>
              <p:cNvSpPr>
                <a:spLocks noChangeArrowheads="1"/>
              </p:cNvSpPr>
              <p:nvPr/>
            </p:nvSpPr>
            <p:spPr bwMode="auto">
              <a:xfrm>
                <a:off x="1819589"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2" name="Oval 54"/>
              <p:cNvSpPr>
                <a:spLocks noChangeArrowheads="1"/>
              </p:cNvSpPr>
              <p:nvPr/>
            </p:nvSpPr>
            <p:spPr bwMode="auto">
              <a:xfrm>
                <a:off x="1819589"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3" name="Oval 55"/>
              <p:cNvSpPr>
                <a:spLocks noChangeArrowheads="1"/>
              </p:cNvSpPr>
              <p:nvPr/>
            </p:nvSpPr>
            <p:spPr bwMode="auto">
              <a:xfrm>
                <a:off x="1819589"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4" name="Oval 56"/>
              <p:cNvSpPr>
                <a:spLocks noChangeArrowheads="1"/>
              </p:cNvSpPr>
              <p:nvPr/>
            </p:nvSpPr>
            <p:spPr bwMode="auto">
              <a:xfrm>
                <a:off x="1819589"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5" name="Oval 57"/>
              <p:cNvSpPr>
                <a:spLocks noChangeArrowheads="1"/>
              </p:cNvSpPr>
              <p:nvPr/>
            </p:nvSpPr>
            <p:spPr bwMode="auto">
              <a:xfrm>
                <a:off x="1819589"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6" name="Oval 58"/>
              <p:cNvSpPr>
                <a:spLocks noChangeArrowheads="1"/>
              </p:cNvSpPr>
              <p:nvPr/>
            </p:nvSpPr>
            <p:spPr bwMode="auto">
              <a:xfrm>
                <a:off x="1819589"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7" name="Oval 59"/>
              <p:cNvSpPr>
                <a:spLocks noChangeArrowheads="1"/>
              </p:cNvSpPr>
              <p:nvPr/>
            </p:nvSpPr>
            <p:spPr bwMode="auto">
              <a:xfrm>
                <a:off x="1819589"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8" name="Oval 60"/>
              <p:cNvSpPr>
                <a:spLocks noChangeArrowheads="1"/>
              </p:cNvSpPr>
              <p:nvPr/>
            </p:nvSpPr>
            <p:spPr bwMode="auto">
              <a:xfrm>
                <a:off x="1819589"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19" name="Oval 61"/>
              <p:cNvSpPr>
                <a:spLocks noChangeArrowheads="1"/>
              </p:cNvSpPr>
              <p:nvPr/>
            </p:nvSpPr>
            <p:spPr bwMode="auto">
              <a:xfrm>
                <a:off x="1819589"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0" name="Oval 62"/>
              <p:cNvSpPr>
                <a:spLocks noChangeArrowheads="1"/>
              </p:cNvSpPr>
              <p:nvPr/>
            </p:nvSpPr>
            <p:spPr bwMode="auto">
              <a:xfrm>
                <a:off x="1925164"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2" name="Oval 64"/>
              <p:cNvSpPr>
                <a:spLocks noChangeArrowheads="1"/>
              </p:cNvSpPr>
              <p:nvPr/>
            </p:nvSpPr>
            <p:spPr bwMode="auto">
              <a:xfrm>
                <a:off x="1925164"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3" name="Oval 65"/>
              <p:cNvSpPr>
                <a:spLocks noChangeArrowheads="1"/>
              </p:cNvSpPr>
              <p:nvPr/>
            </p:nvSpPr>
            <p:spPr bwMode="auto">
              <a:xfrm>
                <a:off x="1925164"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4" name="Oval 66"/>
              <p:cNvSpPr>
                <a:spLocks noChangeArrowheads="1"/>
              </p:cNvSpPr>
              <p:nvPr/>
            </p:nvSpPr>
            <p:spPr bwMode="auto">
              <a:xfrm>
                <a:off x="1925164"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5" name="Oval 67"/>
              <p:cNvSpPr>
                <a:spLocks noChangeArrowheads="1"/>
              </p:cNvSpPr>
              <p:nvPr/>
            </p:nvSpPr>
            <p:spPr bwMode="auto">
              <a:xfrm>
                <a:off x="1925164"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6" name="Oval 68"/>
              <p:cNvSpPr>
                <a:spLocks noChangeArrowheads="1"/>
              </p:cNvSpPr>
              <p:nvPr/>
            </p:nvSpPr>
            <p:spPr bwMode="auto">
              <a:xfrm>
                <a:off x="1925164"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7" name="Oval 69"/>
              <p:cNvSpPr>
                <a:spLocks noChangeArrowheads="1"/>
              </p:cNvSpPr>
              <p:nvPr/>
            </p:nvSpPr>
            <p:spPr bwMode="auto">
              <a:xfrm>
                <a:off x="1925164"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8" name="Oval 70"/>
              <p:cNvSpPr>
                <a:spLocks noChangeArrowheads="1"/>
              </p:cNvSpPr>
              <p:nvPr/>
            </p:nvSpPr>
            <p:spPr bwMode="auto">
              <a:xfrm>
                <a:off x="1925164"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9" name="Oval 71"/>
              <p:cNvSpPr>
                <a:spLocks noChangeArrowheads="1"/>
              </p:cNvSpPr>
              <p:nvPr/>
            </p:nvSpPr>
            <p:spPr bwMode="auto">
              <a:xfrm>
                <a:off x="1925164"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0" name="Oval 72"/>
              <p:cNvSpPr>
                <a:spLocks noChangeArrowheads="1"/>
              </p:cNvSpPr>
              <p:nvPr/>
            </p:nvSpPr>
            <p:spPr bwMode="auto">
              <a:xfrm>
                <a:off x="1925164"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1" name="Oval 73"/>
              <p:cNvSpPr>
                <a:spLocks noChangeArrowheads="1"/>
              </p:cNvSpPr>
              <p:nvPr/>
            </p:nvSpPr>
            <p:spPr bwMode="auto">
              <a:xfrm>
                <a:off x="1925164"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2" name="Oval 74"/>
              <p:cNvSpPr>
                <a:spLocks noChangeArrowheads="1"/>
              </p:cNvSpPr>
              <p:nvPr/>
            </p:nvSpPr>
            <p:spPr bwMode="auto">
              <a:xfrm>
                <a:off x="2028615" y="99342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3" name="Oval 75"/>
              <p:cNvSpPr>
                <a:spLocks noChangeArrowheads="1"/>
              </p:cNvSpPr>
              <p:nvPr/>
            </p:nvSpPr>
            <p:spPr bwMode="auto">
              <a:xfrm>
                <a:off x="2028615"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4" name="Oval 76"/>
              <p:cNvSpPr>
                <a:spLocks noChangeArrowheads="1"/>
              </p:cNvSpPr>
              <p:nvPr/>
            </p:nvSpPr>
            <p:spPr bwMode="auto">
              <a:xfrm>
                <a:off x="2028615"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5" name="Oval 77"/>
              <p:cNvSpPr>
                <a:spLocks noChangeArrowheads="1"/>
              </p:cNvSpPr>
              <p:nvPr/>
            </p:nvSpPr>
            <p:spPr bwMode="auto">
              <a:xfrm>
                <a:off x="2028615"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6" name="Oval 78"/>
              <p:cNvSpPr>
                <a:spLocks noChangeArrowheads="1"/>
              </p:cNvSpPr>
              <p:nvPr/>
            </p:nvSpPr>
            <p:spPr bwMode="auto">
              <a:xfrm>
                <a:off x="2028615"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7" name="Oval 79"/>
              <p:cNvSpPr>
                <a:spLocks noChangeArrowheads="1"/>
              </p:cNvSpPr>
              <p:nvPr/>
            </p:nvSpPr>
            <p:spPr bwMode="auto">
              <a:xfrm>
                <a:off x="2028615"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8" name="Oval 80"/>
              <p:cNvSpPr>
                <a:spLocks noChangeArrowheads="1"/>
              </p:cNvSpPr>
              <p:nvPr/>
            </p:nvSpPr>
            <p:spPr bwMode="auto">
              <a:xfrm>
                <a:off x="2028615"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39" name="Oval 81"/>
              <p:cNvSpPr>
                <a:spLocks noChangeArrowheads="1"/>
              </p:cNvSpPr>
              <p:nvPr/>
            </p:nvSpPr>
            <p:spPr bwMode="auto">
              <a:xfrm>
                <a:off x="2028615"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0" name="Oval 82"/>
              <p:cNvSpPr>
                <a:spLocks noChangeArrowheads="1"/>
              </p:cNvSpPr>
              <p:nvPr/>
            </p:nvSpPr>
            <p:spPr bwMode="auto">
              <a:xfrm>
                <a:off x="2028615"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1" name="Oval 83"/>
              <p:cNvSpPr>
                <a:spLocks noChangeArrowheads="1"/>
              </p:cNvSpPr>
              <p:nvPr/>
            </p:nvSpPr>
            <p:spPr bwMode="auto">
              <a:xfrm>
                <a:off x="2028615"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2" name="Oval 84"/>
              <p:cNvSpPr>
                <a:spLocks noChangeArrowheads="1"/>
              </p:cNvSpPr>
              <p:nvPr/>
            </p:nvSpPr>
            <p:spPr bwMode="auto">
              <a:xfrm>
                <a:off x="2028615"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3" name="Oval 85"/>
              <p:cNvSpPr>
                <a:spLocks noChangeArrowheads="1"/>
              </p:cNvSpPr>
              <p:nvPr/>
            </p:nvSpPr>
            <p:spPr bwMode="auto">
              <a:xfrm>
                <a:off x="2028615"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4" name="Oval 86"/>
              <p:cNvSpPr>
                <a:spLocks noChangeArrowheads="1"/>
              </p:cNvSpPr>
              <p:nvPr/>
            </p:nvSpPr>
            <p:spPr bwMode="auto">
              <a:xfrm>
                <a:off x="2028615"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5" name="Oval 87"/>
              <p:cNvSpPr>
                <a:spLocks noChangeArrowheads="1"/>
              </p:cNvSpPr>
              <p:nvPr/>
            </p:nvSpPr>
            <p:spPr bwMode="auto">
              <a:xfrm>
                <a:off x="2028615"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6" name="Oval 88"/>
              <p:cNvSpPr>
                <a:spLocks noChangeArrowheads="1"/>
              </p:cNvSpPr>
              <p:nvPr/>
            </p:nvSpPr>
            <p:spPr bwMode="auto">
              <a:xfrm>
                <a:off x="2028615"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7" name="Oval 89"/>
              <p:cNvSpPr>
                <a:spLocks noChangeArrowheads="1"/>
              </p:cNvSpPr>
              <p:nvPr/>
            </p:nvSpPr>
            <p:spPr bwMode="auto">
              <a:xfrm>
                <a:off x="2028615"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8" name="Oval 90"/>
              <p:cNvSpPr>
                <a:spLocks noChangeArrowheads="1"/>
              </p:cNvSpPr>
              <p:nvPr/>
            </p:nvSpPr>
            <p:spPr bwMode="auto">
              <a:xfrm>
                <a:off x="2134190" y="99342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49" name="Oval 91"/>
              <p:cNvSpPr>
                <a:spLocks noChangeArrowheads="1"/>
              </p:cNvSpPr>
              <p:nvPr/>
            </p:nvSpPr>
            <p:spPr bwMode="auto">
              <a:xfrm>
                <a:off x="2134190"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0" name="Oval 92"/>
              <p:cNvSpPr>
                <a:spLocks noChangeArrowheads="1"/>
              </p:cNvSpPr>
              <p:nvPr/>
            </p:nvSpPr>
            <p:spPr bwMode="auto">
              <a:xfrm>
                <a:off x="2134190"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1" name="Oval 93"/>
              <p:cNvSpPr>
                <a:spLocks noChangeArrowheads="1"/>
              </p:cNvSpPr>
              <p:nvPr/>
            </p:nvSpPr>
            <p:spPr bwMode="auto">
              <a:xfrm>
                <a:off x="2134190"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2" name="Oval 94"/>
              <p:cNvSpPr>
                <a:spLocks noChangeArrowheads="1"/>
              </p:cNvSpPr>
              <p:nvPr/>
            </p:nvSpPr>
            <p:spPr bwMode="auto">
              <a:xfrm>
                <a:off x="2134190"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3" name="Oval 95"/>
              <p:cNvSpPr>
                <a:spLocks noChangeArrowheads="1"/>
              </p:cNvSpPr>
              <p:nvPr/>
            </p:nvSpPr>
            <p:spPr bwMode="auto">
              <a:xfrm>
                <a:off x="2134190"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4" name="Oval 96"/>
              <p:cNvSpPr>
                <a:spLocks noChangeArrowheads="1"/>
              </p:cNvSpPr>
              <p:nvPr/>
            </p:nvSpPr>
            <p:spPr bwMode="auto">
              <a:xfrm>
                <a:off x="2134190"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5" name="Oval 97"/>
              <p:cNvSpPr>
                <a:spLocks noChangeArrowheads="1"/>
              </p:cNvSpPr>
              <p:nvPr/>
            </p:nvSpPr>
            <p:spPr bwMode="auto">
              <a:xfrm>
                <a:off x="2134190"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6" name="Oval 98"/>
              <p:cNvSpPr>
                <a:spLocks noChangeArrowheads="1"/>
              </p:cNvSpPr>
              <p:nvPr/>
            </p:nvSpPr>
            <p:spPr bwMode="auto">
              <a:xfrm>
                <a:off x="2134190"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7" name="Oval 99"/>
              <p:cNvSpPr>
                <a:spLocks noChangeArrowheads="1"/>
              </p:cNvSpPr>
              <p:nvPr/>
            </p:nvSpPr>
            <p:spPr bwMode="auto">
              <a:xfrm>
                <a:off x="2134190"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8" name="Oval 100"/>
              <p:cNvSpPr>
                <a:spLocks noChangeArrowheads="1"/>
              </p:cNvSpPr>
              <p:nvPr/>
            </p:nvSpPr>
            <p:spPr bwMode="auto">
              <a:xfrm>
                <a:off x="2134190"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59" name="Oval 101"/>
              <p:cNvSpPr>
                <a:spLocks noChangeArrowheads="1"/>
              </p:cNvSpPr>
              <p:nvPr/>
            </p:nvSpPr>
            <p:spPr bwMode="auto">
              <a:xfrm>
                <a:off x="2134190"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0" name="Oval 102"/>
              <p:cNvSpPr>
                <a:spLocks noChangeArrowheads="1"/>
              </p:cNvSpPr>
              <p:nvPr/>
            </p:nvSpPr>
            <p:spPr bwMode="auto">
              <a:xfrm>
                <a:off x="2134190"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1" name="Oval 103"/>
              <p:cNvSpPr>
                <a:spLocks noChangeArrowheads="1"/>
              </p:cNvSpPr>
              <p:nvPr/>
            </p:nvSpPr>
            <p:spPr bwMode="auto">
              <a:xfrm>
                <a:off x="2134190"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2" name="Oval 104"/>
              <p:cNvSpPr>
                <a:spLocks noChangeArrowheads="1"/>
              </p:cNvSpPr>
              <p:nvPr/>
            </p:nvSpPr>
            <p:spPr bwMode="auto">
              <a:xfrm>
                <a:off x="2134190"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3" name="Oval 105"/>
              <p:cNvSpPr>
                <a:spLocks noChangeArrowheads="1"/>
              </p:cNvSpPr>
              <p:nvPr/>
            </p:nvSpPr>
            <p:spPr bwMode="auto">
              <a:xfrm>
                <a:off x="2237641" y="99342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4" name="Oval 106"/>
              <p:cNvSpPr>
                <a:spLocks noChangeArrowheads="1"/>
              </p:cNvSpPr>
              <p:nvPr/>
            </p:nvSpPr>
            <p:spPr bwMode="auto">
              <a:xfrm>
                <a:off x="2237641"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5" name="Oval 107"/>
              <p:cNvSpPr>
                <a:spLocks noChangeArrowheads="1"/>
              </p:cNvSpPr>
              <p:nvPr/>
            </p:nvSpPr>
            <p:spPr bwMode="auto">
              <a:xfrm>
                <a:off x="2237641"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6" name="Oval 108"/>
              <p:cNvSpPr>
                <a:spLocks noChangeArrowheads="1"/>
              </p:cNvSpPr>
              <p:nvPr/>
            </p:nvSpPr>
            <p:spPr bwMode="auto">
              <a:xfrm>
                <a:off x="2237641"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7" name="Oval 109"/>
              <p:cNvSpPr>
                <a:spLocks noChangeArrowheads="1"/>
              </p:cNvSpPr>
              <p:nvPr/>
            </p:nvSpPr>
            <p:spPr bwMode="auto">
              <a:xfrm>
                <a:off x="2237641"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8" name="Oval 110"/>
              <p:cNvSpPr>
                <a:spLocks noChangeArrowheads="1"/>
              </p:cNvSpPr>
              <p:nvPr/>
            </p:nvSpPr>
            <p:spPr bwMode="auto">
              <a:xfrm>
                <a:off x="2237641"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69" name="Oval 111"/>
              <p:cNvSpPr>
                <a:spLocks noChangeArrowheads="1"/>
              </p:cNvSpPr>
              <p:nvPr/>
            </p:nvSpPr>
            <p:spPr bwMode="auto">
              <a:xfrm>
                <a:off x="2237641"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0" name="Oval 112"/>
              <p:cNvSpPr>
                <a:spLocks noChangeArrowheads="1"/>
              </p:cNvSpPr>
              <p:nvPr/>
            </p:nvSpPr>
            <p:spPr bwMode="auto">
              <a:xfrm>
                <a:off x="2237641"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1" name="Oval 113"/>
              <p:cNvSpPr>
                <a:spLocks noChangeArrowheads="1"/>
              </p:cNvSpPr>
              <p:nvPr/>
            </p:nvSpPr>
            <p:spPr bwMode="auto">
              <a:xfrm>
                <a:off x="2237641"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2" name="Oval 114"/>
              <p:cNvSpPr>
                <a:spLocks noChangeArrowheads="1"/>
              </p:cNvSpPr>
              <p:nvPr/>
            </p:nvSpPr>
            <p:spPr bwMode="auto">
              <a:xfrm>
                <a:off x="2237641"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3" name="Oval 115"/>
              <p:cNvSpPr>
                <a:spLocks noChangeArrowheads="1"/>
              </p:cNvSpPr>
              <p:nvPr/>
            </p:nvSpPr>
            <p:spPr bwMode="auto">
              <a:xfrm>
                <a:off x="2237641"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4" name="Oval 116"/>
              <p:cNvSpPr>
                <a:spLocks noChangeArrowheads="1"/>
              </p:cNvSpPr>
              <p:nvPr/>
            </p:nvSpPr>
            <p:spPr bwMode="auto">
              <a:xfrm>
                <a:off x="2237641"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5" name="Oval 117"/>
              <p:cNvSpPr>
                <a:spLocks noChangeArrowheads="1"/>
              </p:cNvSpPr>
              <p:nvPr/>
            </p:nvSpPr>
            <p:spPr bwMode="auto">
              <a:xfrm>
                <a:off x="2237641"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6" name="Oval 118"/>
              <p:cNvSpPr>
                <a:spLocks noChangeArrowheads="1"/>
              </p:cNvSpPr>
              <p:nvPr/>
            </p:nvSpPr>
            <p:spPr bwMode="auto">
              <a:xfrm>
                <a:off x="2237641"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7" name="Oval 119"/>
              <p:cNvSpPr>
                <a:spLocks noChangeArrowheads="1"/>
              </p:cNvSpPr>
              <p:nvPr/>
            </p:nvSpPr>
            <p:spPr bwMode="auto">
              <a:xfrm>
                <a:off x="2237641" y="265075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8" name="Oval 120"/>
              <p:cNvSpPr>
                <a:spLocks noChangeArrowheads="1"/>
              </p:cNvSpPr>
              <p:nvPr/>
            </p:nvSpPr>
            <p:spPr bwMode="auto">
              <a:xfrm>
                <a:off x="2237641" y="275420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79" name="Oval 121"/>
              <p:cNvSpPr>
                <a:spLocks noChangeArrowheads="1"/>
              </p:cNvSpPr>
              <p:nvPr/>
            </p:nvSpPr>
            <p:spPr bwMode="auto">
              <a:xfrm>
                <a:off x="2343216"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0" name="Oval 122"/>
              <p:cNvSpPr>
                <a:spLocks noChangeArrowheads="1"/>
              </p:cNvSpPr>
              <p:nvPr/>
            </p:nvSpPr>
            <p:spPr bwMode="auto">
              <a:xfrm>
                <a:off x="2343216"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1" name="Oval 123"/>
              <p:cNvSpPr>
                <a:spLocks noChangeArrowheads="1"/>
              </p:cNvSpPr>
              <p:nvPr/>
            </p:nvSpPr>
            <p:spPr bwMode="auto">
              <a:xfrm>
                <a:off x="2343216"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3" name="Oval 125"/>
              <p:cNvSpPr>
                <a:spLocks noChangeArrowheads="1"/>
              </p:cNvSpPr>
              <p:nvPr/>
            </p:nvSpPr>
            <p:spPr bwMode="auto">
              <a:xfrm>
                <a:off x="2343216"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5" name="Oval 127"/>
              <p:cNvSpPr>
                <a:spLocks noChangeArrowheads="1"/>
              </p:cNvSpPr>
              <p:nvPr/>
            </p:nvSpPr>
            <p:spPr bwMode="auto">
              <a:xfrm>
                <a:off x="2343216"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6" name="Oval 128"/>
              <p:cNvSpPr>
                <a:spLocks noChangeArrowheads="1"/>
              </p:cNvSpPr>
              <p:nvPr/>
            </p:nvSpPr>
            <p:spPr bwMode="auto">
              <a:xfrm>
                <a:off x="2343216"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7" name="Oval 129"/>
              <p:cNvSpPr>
                <a:spLocks noChangeArrowheads="1"/>
              </p:cNvSpPr>
              <p:nvPr/>
            </p:nvSpPr>
            <p:spPr bwMode="auto">
              <a:xfrm>
                <a:off x="2343216"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8" name="Oval 130"/>
              <p:cNvSpPr>
                <a:spLocks noChangeArrowheads="1"/>
              </p:cNvSpPr>
              <p:nvPr/>
            </p:nvSpPr>
            <p:spPr bwMode="auto">
              <a:xfrm>
                <a:off x="2343216"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9" name="Oval 131"/>
              <p:cNvSpPr>
                <a:spLocks noChangeArrowheads="1"/>
              </p:cNvSpPr>
              <p:nvPr/>
            </p:nvSpPr>
            <p:spPr bwMode="auto">
              <a:xfrm>
                <a:off x="2343216"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1" name="Oval 133"/>
              <p:cNvSpPr>
                <a:spLocks noChangeArrowheads="1"/>
              </p:cNvSpPr>
              <p:nvPr/>
            </p:nvSpPr>
            <p:spPr bwMode="auto">
              <a:xfrm>
                <a:off x="2343216"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2" name="Oval 134"/>
              <p:cNvSpPr>
                <a:spLocks noChangeArrowheads="1"/>
              </p:cNvSpPr>
              <p:nvPr/>
            </p:nvSpPr>
            <p:spPr bwMode="auto">
              <a:xfrm>
                <a:off x="2343216"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3" name="Oval 135"/>
              <p:cNvSpPr>
                <a:spLocks noChangeArrowheads="1"/>
              </p:cNvSpPr>
              <p:nvPr/>
            </p:nvSpPr>
            <p:spPr bwMode="auto">
              <a:xfrm>
                <a:off x="2343216"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4" name="Oval 136"/>
              <p:cNvSpPr>
                <a:spLocks noChangeArrowheads="1"/>
              </p:cNvSpPr>
              <p:nvPr/>
            </p:nvSpPr>
            <p:spPr bwMode="auto">
              <a:xfrm>
                <a:off x="2343216" y="265075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5" name="Oval 137"/>
              <p:cNvSpPr>
                <a:spLocks noChangeArrowheads="1"/>
              </p:cNvSpPr>
              <p:nvPr/>
            </p:nvSpPr>
            <p:spPr bwMode="auto">
              <a:xfrm>
                <a:off x="2343216" y="275420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6" name="Oval 138"/>
              <p:cNvSpPr>
                <a:spLocks noChangeArrowheads="1"/>
              </p:cNvSpPr>
              <p:nvPr/>
            </p:nvSpPr>
            <p:spPr bwMode="auto">
              <a:xfrm>
                <a:off x="2447375"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7" name="Oval 139"/>
              <p:cNvSpPr>
                <a:spLocks noChangeArrowheads="1"/>
              </p:cNvSpPr>
              <p:nvPr/>
            </p:nvSpPr>
            <p:spPr bwMode="auto">
              <a:xfrm>
                <a:off x="2447375"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8" name="Oval 140"/>
              <p:cNvSpPr>
                <a:spLocks noChangeArrowheads="1"/>
              </p:cNvSpPr>
              <p:nvPr/>
            </p:nvSpPr>
            <p:spPr bwMode="auto">
              <a:xfrm>
                <a:off x="2447375"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9" name="Oval 141"/>
              <p:cNvSpPr>
                <a:spLocks noChangeArrowheads="1"/>
              </p:cNvSpPr>
              <p:nvPr/>
            </p:nvSpPr>
            <p:spPr bwMode="auto">
              <a:xfrm>
                <a:off x="2447375"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0" name="Oval 142"/>
              <p:cNvSpPr>
                <a:spLocks noChangeArrowheads="1"/>
              </p:cNvSpPr>
              <p:nvPr/>
            </p:nvSpPr>
            <p:spPr bwMode="auto">
              <a:xfrm>
                <a:off x="2447375"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1" name="Oval 143"/>
              <p:cNvSpPr>
                <a:spLocks noChangeArrowheads="1"/>
              </p:cNvSpPr>
              <p:nvPr/>
            </p:nvSpPr>
            <p:spPr bwMode="auto">
              <a:xfrm>
                <a:off x="2447375"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2" name="Oval 144"/>
              <p:cNvSpPr>
                <a:spLocks noChangeArrowheads="1"/>
              </p:cNvSpPr>
              <p:nvPr/>
            </p:nvSpPr>
            <p:spPr bwMode="auto">
              <a:xfrm>
                <a:off x="2447375"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3" name="Oval 145"/>
              <p:cNvSpPr>
                <a:spLocks noChangeArrowheads="1"/>
              </p:cNvSpPr>
              <p:nvPr/>
            </p:nvSpPr>
            <p:spPr bwMode="auto">
              <a:xfrm>
                <a:off x="2447375"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5" name="Oval 147"/>
              <p:cNvSpPr>
                <a:spLocks noChangeArrowheads="1"/>
              </p:cNvSpPr>
              <p:nvPr/>
            </p:nvSpPr>
            <p:spPr bwMode="auto">
              <a:xfrm>
                <a:off x="2447375"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6" name="Oval 148"/>
              <p:cNvSpPr>
                <a:spLocks noChangeArrowheads="1"/>
              </p:cNvSpPr>
              <p:nvPr/>
            </p:nvSpPr>
            <p:spPr bwMode="auto">
              <a:xfrm>
                <a:off x="2447375"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7" name="Oval 149"/>
              <p:cNvSpPr>
                <a:spLocks noChangeArrowheads="1"/>
              </p:cNvSpPr>
              <p:nvPr/>
            </p:nvSpPr>
            <p:spPr bwMode="auto">
              <a:xfrm>
                <a:off x="2447375"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8" name="Oval 150"/>
              <p:cNvSpPr>
                <a:spLocks noChangeArrowheads="1"/>
              </p:cNvSpPr>
              <p:nvPr/>
            </p:nvSpPr>
            <p:spPr bwMode="auto">
              <a:xfrm>
                <a:off x="2447375"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0" name="Oval 152"/>
              <p:cNvSpPr>
                <a:spLocks noChangeArrowheads="1"/>
              </p:cNvSpPr>
              <p:nvPr/>
            </p:nvSpPr>
            <p:spPr bwMode="auto">
              <a:xfrm>
                <a:off x="2447375" y="275420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1" name="Oval 153"/>
              <p:cNvSpPr>
                <a:spLocks noChangeArrowheads="1"/>
              </p:cNvSpPr>
              <p:nvPr/>
            </p:nvSpPr>
            <p:spPr bwMode="auto">
              <a:xfrm>
                <a:off x="2552242"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2" name="Oval 154"/>
              <p:cNvSpPr>
                <a:spLocks noChangeArrowheads="1"/>
              </p:cNvSpPr>
              <p:nvPr/>
            </p:nvSpPr>
            <p:spPr bwMode="auto">
              <a:xfrm>
                <a:off x="2552242" y="99342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3" name="Oval 155"/>
              <p:cNvSpPr>
                <a:spLocks noChangeArrowheads="1"/>
              </p:cNvSpPr>
              <p:nvPr/>
            </p:nvSpPr>
            <p:spPr bwMode="auto">
              <a:xfrm>
                <a:off x="2552242"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4" name="Oval 156"/>
              <p:cNvSpPr>
                <a:spLocks noChangeArrowheads="1"/>
              </p:cNvSpPr>
              <p:nvPr/>
            </p:nvSpPr>
            <p:spPr bwMode="auto">
              <a:xfrm>
                <a:off x="2552242"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5" name="Oval 157"/>
              <p:cNvSpPr>
                <a:spLocks noChangeArrowheads="1"/>
              </p:cNvSpPr>
              <p:nvPr/>
            </p:nvSpPr>
            <p:spPr bwMode="auto">
              <a:xfrm>
                <a:off x="2552242"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6" name="Oval 158"/>
              <p:cNvSpPr>
                <a:spLocks noChangeArrowheads="1"/>
              </p:cNvSpPr>
              <p:nvPr/>
            </p:nvSpPr>
            <p:spPr bwMode="auto">
              <a:xfrm>
                <a:off x="2552242"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7" name="Oval 159"/>
              <p:cNvSpPr>
                <a:spLocks noChangeArrowheads="1"/>
              </p:cNvSpPr>
              <p:nvPr/>
            </p:nvSpPr>
            <p:spPr bwMode="auto">
              <a:xfrm>
                <a:off x="2552242"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8" name="Oval 160"/>
              <p:cNvSpPr>
                <a:spLocks noChangeArrowheads="1"/>
              </p:cNvSpPr>
              <p:nvPr/>
            </p:nvSpPr>
            <p:spPr bwMode="auto">
              <a:xfrm>
                <a:off x="2552242"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19" name="Oval 161"/>
              <p:cNvSpPr>
                <a:spLocks noChangeArrowheads="1"/>
              </p:cNvSpPr>
              <p:nvPr/>
            </p:nvSpPr>
            <p:spPr bwMode="auto">
              <a:xfrm>
                <a:off x="2552242"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21" name="Oval 163"/>
              <p:cNvSpPr>
                <a:spLocks noChangeArrowheads="1"/>
              </p:cNvSpPr>
              <p:nvPr/>
            </p:nvSpPr>
            <p:spPr bwMode="auto">
              <a:xfrm>
                <a:off x="2552242"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22" name="Oval 164"/>
              <p:cNvSpPr>
                <a:spLocks noChangeArrowheads="1"/>
              </p:cNvSpPr>
              <p:nvPr/>
            </p:nvSpPr>
            <p:spPr bwMode="auto">
              <a:xfrm>
                <a:off x="2552242"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23" name="Oval 165"/>
              <p:cNvSpPr>
                <a:spLocks noChangeArrowheads="1"/>
              </p:cNvSpPr>
              <p:nvPr/>
            </p:nvSpPr>
            <p:spPr bwMode="auto">
              <a:xfrm>
                <a:off x="2552242"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24" name="Oval 166"/>
              <p:cNvSpPr>
                <a:spLocks noChangeArrowheads="1"/>
              </p:cNvSpPr>
              <p:nvPr/>
            </p:nvSpPr>
            <p:spPr bwMode="auto">
              <a:xfrm>
                <a:off x="2552242"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25" name="Oval 167"/>
              <p:cNvSpPr>
                <a:spLocks noChangeArrowheads="1"/>
              </p:cNvSpPr>
              <p:nvPr/>
            </p:nvSpPr>
            <p:spPr bwMode="auto">
              <a:xfrm>
                <a:off x="2552242" y="265075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26" name="Oval 168"/>
              <p:cNvSpPr>
                <a:spLocks noChangeArrowheads="1"/>
              </p:cNvSpPr>
              <p:nvPr/>
            </p:nvSpPr>
            <p:spPr bwMode="auto">
              <a:xfrm>
                <a:off x="2552242" y="275420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27" name="Oval 169"/>
              <p:cNvSpPr>
                <a:spLocks noChangeArrowheads="1"/>
              </p:cNvSpPr>
              <p:nvPr/>
            </p:nvSpPr>
            <p:spPr bwMode="auto">
              <a:xfrm>
                <a:off x="2552242"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28" name="Oval 170"/>
              <p:cNvSpPr>
                <a:spLocks noChangeArrowheads="1"/>
              </p:cNvSpPr>
              <p:nvPr/>
            </p:nvSpPr>
            <p:spPr bwMode="auto">
              <a:xfrm>
                <a:off x="2552242" y="296039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29" name="Oval 171"/>
              <p:cNvSpPr>
                <a:spLocks noChangeArrowheads="1"/>
              </p:cNvSpPr>
              <p:nvPr/>
            </p:nvSpPr>
            <p:spPr bwMode="auto">
              <a:xfrm>
                <a:off x="2656401" y="78581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0" name="Oval 172"/>
              <p:cNvSpPr>
                <a:spLocks noChangeArrowheads="1"/>
              </p:cNvSpPr>
              <p:nvPr/>
            </p:nvSpPr>
            <p:spPr bwMode="auto">
              <a:xfrm>
                <a:off x="2656401"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1" name="Oval 173"/>
              <p:cNvSpPr>
                <a:spLocks noChangeArrowheads="1"/>
              </p:cNvSpPr>
              <p:nvPr/>
            </p:nvSpPr>
            <p:spPr bwMode="auto">
              <a:xfrm>
                <a:off x="2656401" y="99342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3" name="Oval 175"/>
              <p:cNvSpPr>
                <a:spLocks noChangeArrowheads="1"/>
              </p:cNvSpPr>
              <p:nvPr/>
            </p:nvSpPr>
            <p:spPr bwMode="auto">
              <a:xfrm>
                <a:off x="2656401"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4" name="Oval 176"/>
              <p:cNvSpPr>
                <a:spLocks noChangeArrowheads="1"/>
              </p:cNvSpPr>
              <p:nvPr/>
            </p:nvSpPr>
            <p:spPr bwMode="auto">
              <a:xfrm>
                <a:off x="2656401"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5" name="Oval 177"/>
              <p:cNvSpPr>
                <a:spLocks noChangeArrowheads="1"/>
              </p:cNvSpPr>
              <p:nvPr/>
            </p:nvSpPr>
            <p:spPr bwMode="auto">
              <a:xfrm>
                <a:off x="2656401"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6" name="Oval 178"/>
              <p:cNvSpPr>
                <a:spLocks noChangeArrowheads="1"/>
              </p:cNvSpPr>
              <p:nvPr/>
            </p:nvSpPr>
            <p:spPr bwMode="auto">
              <a:xfrm>
                <a:off x="2656401"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8" name="Oval 180"/>
              <p:cNvSpPr>
                <a:spLocks noChangeArrowheads="1"/>
              </p:cNvSpPr>
              <p:nvPr/>
            </p:nvSpPr>
            <p:spPr bwMode="auto">
              <a:xfrm>
                <a:off x="2656401"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9" name="Oval 181"/>
              <p:cNvSpPr>
                <a:spLocks noChangeArrowheads="1"/>
              </p:cNvSpPr>
              <p:nvPr/>
            </p:nvSpPr>
            <p:spPr bwMode="auto">
              <a:xfrm>
                <a:off x="2656401"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0" name="Oval 182"/>
              <p:cNvSpPr>
                <a:spLocks noChangeArrowheads="1"/>
              </p:cNvSpPr>
              <p:nvPr/>
            </p:nvSpPr>
            <p:spPr bwMode="auto">
              <a:xfrm>
                <a:off x="2656401"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1" name="Oval 183"/>
              <p:cNvSpPr>
                <a:spLocks noChangeArrowheads="1"/>
              </p:cNvSpPr>
              <p:nvPr/>
            </p:nvSpPr>
            <p:spPr bwMode="auto">
              <a:xfrm>
                <a:off x="2656401"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2" name="Oval 184"/>
              <p:cNvSpPr>
                <a:spLocks noChangeArrowheads="1"/>
              </p:cNvSpPr>
              <p:nvPr/>
            </p:nvSpPr>
            <p:spPr bwMode="auto">
              <a:xfrm>
                <a:off x="2656401"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3" name="Oval 185"/>
              <p:cNvSpPr>
                <a:spLocks noChangeArrowheads="1"/>
              </p:cNvSpPr>
              <p:nvPr/>
            </p:nvSpPr>
            <p:spPr bwMode="auto">
              <a:xfrm>
                <a:off x="2656401"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4" name="Oval 186"/>
              <p:cNvSpPr>
                <a:spLocks noChangeArrowheads="1"/>
              </p:cNvSpPr>
              <p:nvPr/>
            </p:nvSpPr>
            <p:spPr bwMode="auto">
              <a:xfrm>
                <a:off x="2656401"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5" name="Oval 187"/>
              <p:cNvSpPr>
                <a:spLocks noChangeArrowheads="1"/>
              </p:cNvSpPr>
              <p:nvPr/>
            </p:nvSpPr>
            <p:spPr bwMode="auto">
              <a:xfrm>
                <a:off x="2656401" y="265075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6" name="Oval 188"/>
              <p:cNvSpPr>
                <a:spLocks noChangeArrowheads="1"/>
              </p:cNvSpPr>
              <p:nvPr/>
            </p:nvSpPr>
            <p:spPr bwMode="auto">
              <a:xfrm>
                <a:off x="2656401"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7" name="Oval 189"/>
              <p:cNvSpPr>
                <a:spLocks noChangeArrowheads="1"/>
              </p:cNvSpPr>
              <p:nvPr/>
            </p:nvSpPr>
            <p:spPr bwMode="auto">
              <a:xfrm>
                <a:off x="2656401" y="296039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8" name="Oval 190"/>
              <p:cNvSpPr>
                <a:spLocks noChangeArrowheads="1"/>
              </p:cNvSpPr>
              <p:nvPr/>
            </p:nvSpPr>
            <p:spPr bwMode="auto">
              <a:xfrm>
                <a:off x="2656401" y="306384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49" name="Oval 191"/>
              <p:cNvSpPr>
                <a:spLocks noChangeArrowheads="1"/>
              </p:cNvSpPr>
              <p:nvPr/>
            </p:nvSpPr>
            <p:spPr bwMode="auto">
              <a:xfrm>
                <a:off x="2656401" y="316800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0" name="Oval 192"/>
              <p:cNvSpPr>
                <a:spLocks noChangeArrowheads="1"/>
              </p:cNvSpPr>
              <p:nvPr/>
            </p:nvSpPr>
            <p:spPr bwMode="auto">
              <a:xfrm>
                <a:off x="2656401" y="32714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1" name="Oval 193"/>
              <p:cNvSpPr>
                <a:spLocks noChangeArrowheads="1"/>
              </p:cNvSpPr>
              <p:nvPr/>
            </p:nvSpPr>
            <p:spPr bwMode="auto">
              <a:xfrm>
                <a:off x="2759851" y="78581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2" name="Oval 194"/>
              <p:cNvSpPr>
                <a:spLocks noChangeArrowheads="1"/>
              </p:cNvSpPr>
              <p:nvPr/>
            </p:nvSpPr>
            <p:spPr bwMode="auto">
              <a:xfrm>
                <a:off x="2759851" y="889269"/>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3" name="Oval 195"/>
              <p:cNvSpPr>
                <a:spLocks noChangeArrowheads="1"/>
              </p:cNvSpPr>
              <p:nvPr/>
            </p:nvSpPr>
            <p:spPr bwMode="auto">
              <a:xfrm>
                <a:off x="2759851" y="120103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4" name="Oval 196"/>
              <p:cNvSpPr>
                <a:spLocks noChangeArrowheads="1"/>
              </p:cNvSpPr>
              <p:nvPr/>
            </p:nvSpPr>
            <p:spPr bwMode="auto">
              <a:xfrm>
                <a:off x="2759851" y="130448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5" name="Oval 197"/>
              <p:cNvSpPr>
                <a:spLocks noChangeArrowheads="1"/>
              </p:cNvSpPr>
              <p:nvPr/>
            </p:nvSpPr>
            <p:spPr bwMode="auto">
              <a:xfrm>
                <a:off x="2759851" y="151067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6" name="Oval 198"/>
              <p:cNvSpPr>
                <a:spLocks noChangeArrowheads="1"/>
              </p:cNvSpPr>
              <p:nvPr/>
            </p:nvSpPr>
            <p:spPr bwMode="auto">
              <a:xfrm>
                <a:off x="2759851" y="161412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7" name="Oval 199"/>
              <p:cNvSpPr>
                <a:spLocks noChangeArrowheads="1"/>
              </p:cNvSpPr>
              <p:nvPr/>
            </p:nvSpPr>
            <p:spPr bwMode="auto">
              <a:xfrm>
                <a:off x="2759851" y="1718287"/>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8" name="Oval 200"/>
              <p:cNvSpPr>
                <a:spLocks noChangeArrowheads="1"/>
              </p:cNvSpPr>
              <p:nvPr/>
            </p:nvSpPr>
            <p:spPr bwMode="auto">
              <a:xfrm>
                <a:off x="2759851" y="1821737"/>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59" name="Oval 201"/>
              <p:cNvSpPr>
                <a:spLocks noChangeArrowheads="1"/>
              </p:cNvSpPr>
              <p:nvPr/>
            </p:nvSpPr>
            <p:spPr bwMode="auto">
              <a:xfrm>
                <a:off x="2759851" y="192589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60" name="Oval 202"/>
              <p:cNvSpPr>
                <a:spLocks noChangeArrowheads="1"/>
              </p:cNvSpPr>
              <p:nvPr/>
            </p:nvSpPr>
            <p:spPr bwMode="auto">
              <a:xfrm>
                <a:off x="2759851" y="202934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61" name="Oval 203"/>
              <p:cNvSpPr>
                <a:spLocks noChangeArrowheads="1"/>
              </p:cNvSpPr>
              <p:nvPr/>
            </p:nvSpPr>
            <p:spPr bwMode="auto">
              <a:xfrm>
                <a:off x="2759851" y="2133505"/>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62" name="Oval 204"/>
              <p:cNvSpPr>
                <a:spLocks noChangeArrowheads="1"/>
              </p:cNvSpPr>
              <p:nvPr/>
            </p:nvSpPr>
            <p:spPr bwMode="auto">
              <a:xfrm>
                <a:off x="2759851" y="223553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63" name="Oval 205"/>
              <p:cNvSpPr>
                <a:spLocks noChangeArrowheads="1"/>
              </p:cNvSpPr>
              <p:nvPr/>
            </p:nvSpPr>
            <p:spPr bwMode="auto">
              <a:xfrm>
                <a:off x="2759851" y="233898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4" name="Oval 207"/>
              <p:cNvSpPr>
                <a:spLocks noChangeArrowheads="1"/>
              </p:cNvSpPr>
              <p:nvPr/>
            </p:nvSpPr>
            <p:spPr bwMode="auto">
              <a:xfrm>
                <a:off x="2759851" y="2754205"/>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5" name="Oval 208"/>
              <p:cNvSpPr>
                <a:spLocks noChangeArrowheads="1"/>
              </p:cNvSpPr>
              <p:nvPr/>
            </p:nvSpPr>
            <p:spPr bwMode="auto">
              <a:xfrm>
                <a:off x="2759851" y="2960396"/>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6" name="Oval 209"/>
              <p:cNvSpPr>
                <a:spLocks noChangeArrowheads="1"/>
              </p:cNvSpPr>
              <p:nvPr/>
            </p:nvSpPr>
            <p:spPr bwMode="auto">
              <a:xfrm>
                <a:off x="2759851" y="3063847"/>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7" name="Oval 210"/>
              <p:cNvSpPr>
                <a:spLocks noChangeArrowheads="1"/>
              </p:cNvSpPr>
              <p:nvPr/>
            </p:nvSpPr>
            <p:spPr bwMode="auto">
              <a:xfrm>
                <a:off x="2759851" y="3168005"/>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8" name="Oval 211"/>
              <p:cNvSpPr>
                <a:spLocks noChangeArrowheads="1"/>
              </p:cNvSpPr>
              <p:nvPr/>
            </p:nvSpPr>
            <p:spPr bwMode="auto">
              <a:xfrm>
                <a:off x="2759851" y="3271455"/>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9" name="Oval 212"/>
              <p:cNvSpPr>
                <a:spLocks noChangeArrowheads="1"/>
              </p:cNvSpPr>
              <p:nvPr/>
            </p:nvSpPr>
            <p:spPr bwMode="auto">
              <a:xfrm>
                <a:off x="2759851" y="337490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0" name="Oval 213"/>
              <p:cNvSpPr>
                <a:spLocks noChangeArrowheads="1"/>
              </p:cNvSpPr>
              <p:nvPr/>
            </p:nvSpPr>
            <p:spPr bwMode="auto">
              <a:xfrm>
                <a:off x="2759851" y="3479064"/>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1" name="Oval 214"/>
              <p:cNvSpPr>
                <a:spLocks noChangeArrowheads="1"/>
              </p:cNvSpPr>
              <p:nvPr/>
            </p:nvSpPr>
            <p:spPr bwMode="auto">
              <a:xfrm>
                <a:off x="2865427" y="78581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2" name="Oval 215"/>
              <p:cNvSpPr>
                <a:spLocks noChangeArrowheads="1"/>
              </p:cNvSpPr>
              <p:nvPr/>
            </p:nvSpPr>
            <p:spPr bwMode="auto">
              <a:xfrm>
                <a:off x="2865427" y="88926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3" name="Oval 216"/>
              <p:cNvSpPr>
                <a:spLocks noChangeArrowheads="1"/>
              </p:cNvSpPr>
              <p:nvPr/>
            </p:nvSpPr>
            <p:spPr bwMode="auto">
              <a:xfrm>
                <a:off x="2865427"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4" name="Oval 217"/>
              <p:cNvSpPr>
                <a:spLocks noChangeArrowheads="1"/>
              </p:cNvSpPr>
              <p:nvPr/>
            </p:nvSpPr>
            <p:spPr bwMode="auto">
              <a:xfrm>
                <a:off x="2865427" y="140864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6" name="Oval 219"/>
              <p:cNvSpPr>
                <a:spLocks noChangeArrowheads="1"/>
              </p:cNvSpPr>
              <p:nvPr/>
            </p:nvSpPr>
            <p:spPr bwMode="auto">
              <a:xfrm>
                <a:off x="2865427"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8" name="Oval 221"/>
              <p:cNvSpPr>
                <a:spLocks noChangeArrowheads="1"/>
              </p:cNvSpPr>
              <p:nvPr/>
            </p:nvSpPr>
            <p:spPr bwMode="auto">
              <a:xfrm>
                <a:off x="2865427" y="182173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9" name="Oval 222"/>
              <p:cNvSpPr>
                <a:spLocks noChangeArrowheads="1"/>
              </p:cNvSpPr>
              <p:nvPr/>
            </p:nvSpPr>
            <p:spPr bwMode="auto">
              <a:xfrm>
                <a:off x="2865427" y="192589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0" name="Oval 223"/>
              <p:cNvSpPr>
                <a:spLocks noChangeArrowheads="1"/>
              </p:cNvSpPr>
              <p:nvPr/>
            </p:nvSpPr>
            <p:spPr bwMode="auto">
              <a:xfrm>
                <a:off x="2865427" y="202934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1" name="Oval 224"/>
              <p:cNvSpPr>
                <a:spLocks noChangeArrowheads="1"/>
              </p:cNvSpPr>
              <p:nvPr/>
            </p:nvSpPr>
            <p:spPr bwMode="auto">
              <a:xfrm>
                <a:off x="2865427" y="213350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2" name="Oval 225"/>
              <p:cNvSpPr>
                <a:spLocks noChangeArrowheads="1"/>
              </p:cNvSpPr>
              <p:nvPr/>
            </p:nvSpPr>
            <p:spPr bwMode="auto">
              <a:xfrm>
                <a:off x="2865427" y="223553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3" name="Oval 226"/>
              <p:cNvSpPr>
                <a:spLocks noChangeArrowheads="1"/>
              </p:cNvSpPr>
              <p:nvPr/>
            </p:nvSpPr>
            <p:spPr bwMode="auto">
              <a:xfrm>
                <a:off x="2865427" y="275420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4" name="Oval 227"/>
              <p:cNvSpPr>
                <a:spLocks noChangeArrowheads="1"/>
              </p:cNvSpPr>
              <p:nvPr/>
            </p:nvSpPr>
            <p:spPr bwMode="auto">
              <a:xfrm>
                <a:off x="2865427" y="2960396"/>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5" name="Oval 228"/>
              <p:cNvSpPr>
                <a:spLocks noChangeArrowheads="1"/>
              </p:cNvSpPr>
              <p:nvPr/>
            </p:nvSpPr>
            <p:spPr bwMode="auto">
              <a:xfrm>
                <a:off x="2865427" y="306384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6" name="Oval 229"/>
              <p:cNvSpPr>
                <a:spLocks noChangeArrowheads="1"/>
              </p:cNvSpPr>
              <p:nvPr/>
            </p:nvSpPr>
            <p:spPr bwMode="auto">
              <a:xfrm>
                <a:off x="2865427" y="31680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7" name="Oval 230"/>
              <p:cNvSpPr>
                <a:spLocks noChangeArrowheads="1"/>
              </p:cNvSpPr>
              <p:nvPr/>
            </p:nvSpPr>
            <p:spPr bwMode="auto">
              <a:xfrm>
                <a:off x="2865427" y="327145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8" name="Oval 231"/>
              <p:cNvSpPr>
                <a:spLocks noChangeArrowheads="1"/>
              </p:cNvSpPr>
              <p:nvPr/>
            </p:nvSpPr>
            <p:spPr bwMode="auto">
              <a:xfrm>
                <a:off x="2865427" y="33749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89" name="Oval 232"/>
              <p:cNvSpPr>
                <a:spLocks noChangeArrowheads="1"/>
              </p:cNvSpPr>
              <p:nvPr/>
            </p:nvSpPr>
            <p:spPr bwMode="auto">
              <a:xfrm>
                <a:off x="2865427" y="347906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0" name="Oval 233"/>
              <p:cNvSpPr>
                <a:spLocks noChangeArrowheads="1"/>
              </p:cNvSpPr>
              <p:nvPr/>
            </p:nvSpPr>
            <p:spPr bwMode="auto">
              <a:xfrm>
                <a:off x="2865427" y="3582514"/>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2" name="Oval 235"/>
              <p:cNvSpPr>
                <a:spLocks noChangeArrowheads="1"/>
              </p:cNvSpPr>
              <p:nvPr/>
            </p:nvSpPr>
            <p:spPr bwMode="auto">
              <a:xfrm>
                <a:off x="2865427" y="3788706"/>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3" name="Oval 236"/>
              <p:cNvSpPr>
                <a:spLocks noChangeArrowheads="1"/>
              </p:cNvSpPr>
              <p:nvPr/>
            </p:nvSpPr>
            <p:spPr bwMode="auto">
              <a:xfrm>
                <a:off x="2865427" y="3892156"/>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4" name="Oval 237"/>
              <p:cNvSpPr>
                <a:spLocks noChangeArrowheads="1"/>
              </p:cNvSpPr>
              <p:nvPr/>
            </p:nvSpPr>
            <p:spPr bwMode="auto">
              <a:xfrm>
                <a:off x="2865427" y="399631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5" name="Oval 238"/>
              <p:cNvSpPr>
                <a:spLocks noChangeArrowheads="1"/>
              </p:cNvSpPr>
              <p:nvPr/>
            </p:nvSpPr>
            <p:spPr bwMode="auto">
              <a:xfrm>
                <a:off x="2865427" y="409976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6" name="Oval 239"/>
              <p:cNvSpPr>
                <a:spLocks noChangeArrowheads="1"/>
              </p:cNvSpPr>
              <p:nvPr/>
            </p:nvSpPr>
            <p:spPr bwMode="auto">
              <a:xfrm>
                <a:off x="2865427" y="420392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7" name="Oval 240"/>
              <p:cNvSpPr>
                <a:spLocks noChangeArrowheads="1"/>
              </p:cNvSpPr>
              <p:nvPr/>
            </p:nvSpPr>
            <p:spPr bwMode="auto">
              <a:xfrm>
                <a:off x="2865427" y="4307374"/>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8" name="Oval 241"/>
              <p:cNvSpPr>
                <a:spLocks noChangeArrowheads="1"/>
              </p:cNvSpPr>
              <p:nvPr/>
            </p:nvSpPr>
            <p:spPr bwMode="auto">
              <a:xfrm>
                <a:off x="2865427" y="4411533"/>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9" name="Oval 242"/>
              <p:cNvSpPr>
                <a:spLocks noChangeArrowheads="1"/>
              </p:cNvSpPr>
              <p:nvPr/>
            </p:nvSpPr>
            <p:spPr bwMode="auto">
              <a:xfrm>
                <a:off x="2969586" y="78581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0" name="Oval 243"/>
              <p:cNvSpPr>
                <a:spLocks noChangeArrowheads="1"/>
              </p:cNvSpPr>
              <p:nvPr/>
            </p:nvSpPr>
            <p:spPr bwMode="auto">
              <a:xfrm>
                <a:off x="2969586" y="99342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1" name="Oval 244"/>
              <p:cNvSpPr>
                <a:spLocks noChangeArrowheads="1"/>
              </p:cNvSpPr>
              <p:nvPr/>
            </p:nvSpPr>
            <p:spPr bwMode="auto">
              <a:xfrm>
                <a:off x="2969586" y="109687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2" name="Oval 245"/>
              <p:cNvSpPr>
                <a:spLocks noChangeArrowheads="1"/>
              </p:cNvSpPr>
              <p:nvPr/>
            </p:nvSpPr>
            <p:spPr bwMode="auto">
              <a:xfrm>
                <a:off x="2969586" y="1408644"/>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3" name="Oval 246"/>
              <p:cNvSpPr>
                <a:spLocks noChangeArrowheads="1"/>
              </p:cNvSpPr>
              <p:nvPr/>
            </p:nvSpPr>
            <p:spPr bwMode="auto">
              <a:xfrm>
                <a:off x="2969586" y="1510677"/>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4" name="Oval 247"/>
              <p:cNvSpPr>
                <a:spLocks noChangeArrowheads="1"/>
              </p:cNvSpPr>
              <p:nvPr/>
            </p:nvSpPr>
            <p:spPr bwMode="auto">
              <a:xfrm>
                <a:off x="2969586" y="161412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5" name="Oval 248"/>
              <p:cNvSpPr>
                <a:spLocks noChangeArrowheads="1"/>
              </p:cNvSpPr>
              <p:nvPr/>
            </p:nvSpPr>
            <p:spPr bwMode="auto">
              <a:xfrm>
                <a:off x="2969586" y="171828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6" name="Oval 249"/>
              <p:cNvSpPr>
                <a:spLocks noChangeArrowheads="1"/>
              </p:cNvSpPr>
              <p:nvPr/>
            </p:nvSpPr>
            <p:spPr bwMode="auto">
              <a:xfrm>
                <a:off x="2969586" y="182173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7" name="Oval 250"/>
              <p:cNvSpPr>
                <a:spLocks noChangeArrowheads="1"/>
              </p:cNvSpPr>
              <p:nvPr/>
            </p:nvSpPr>
            <p:spPr bwMode="auto">
              <a:xfrm>
                <a:off x="2969586" y="192589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8" name="Oval 251"/>
              <p:cNvSpPr>
                <a:spLocks noChangeArrowheads="1"/>
              </p:cNvSpPr>
              <p:nvPr/>
            </p:nvSpPr>
            <p:spPr bwMode="auto">
              <a:xfrm>
                <a:off x="2969586" y="2029345"/>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09" name="Oval 252"/>
              <p:cNvSpPr>
                <a:spLocks noChangeArrowheads="1"/>
              </p:cNvSpPr>
              <p:nvPr/>
            </p:nvSpPr>
            <p:spPr bwMode="auto">
              <a:xfrm>
                <a:off x="2969586" y="2133504"/>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0" name="Oval 253"/>
              <p:cNvSpPr>
                <a:spLocks noChangeArrowheads="1"/>
              </p:cNvSpPr>
              <p:nvPr/>
            </p:nvSpPr>
            <p:spPr bwMode="auto">
              <a:xfrm>
                <a:off x="2969586" y="2960396"/>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1" name="Oval 254"/>
              <p:cNvSpPr>
                <a:spLocks noChangeArrowheads="1"/>
              </p:cNvSpPr>
              <p:nvPr/>
            </p:nvSpPr>
            <p:spPr bwMode="auto">
              <a:xfrm>
                <a:off x="2969586" y="3063847"/>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2" name="Oval 255"/>
              <p:cNvSpPr>
                <a:spLocks noChangeArrowheads="1"/>
              </p:cNvSpPr>
              <p:nvPr/>
            </p:nvSpPr>
            <p:spPr bwMode="auto">
              <a:xfrm>
                <a:off x="2969586" y="316800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3" name="Oval 256"/>
              <p:cNvSpPr>
                <a:spLocks noChangeArrowheads="1"/>
              </p:cNvSpPr>
              <p:nvPr/>
            </p:nvSpPr>
            <p:spPr bwMode="auto">
              <a:xfrm>
                <a:off x="2969586" y="3271455"/>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4" name="Oval 257"/>
              <p:cNvSpPr>
                <a:spLocks noChangeArrowheads="1"/>
              </p:cNvSpPr>
              <p:nvPr/>
            </p:nvSpPr>
            <p:spPr bwMode="auto">
              <a:xfrm>
                <a:off x="2969586" y="337490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5" name="Oval 258"/>
              <p:cNvSpPr>
                <a:spLocks noChangeArrowheads="1"/>
              </p:cNvSpPr>
              <p:nvPr/>
            </p:nvSpPr>
            <p:spPr bwMode="auto">
              <a:xfrm>
                <a:off x="2969586" y="3479064"/>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6" name="Oval 259"/>
              <p:cNvSpPr>
                <a:spLocks noChangeArrowheads="1"/>
              </p:cNvSpPr>
              <p:nvPr/>
            </p:nvSpPr>
            <p:spPr bwMode="auto">
              <a:xfrm>
                <a:off x="2969586" y="3582514"/>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7" name="Oval 260"/>
              <p:cNvSpPr>
                <a:spLocks noChangeArrowheads="1"/>
              </p:cNvSpPr>
              <p:nvPr/>
            </p:nvSpPr>
            <p:spPr bwMode="auto">
              <a:xfrm>
                <a:off x="2969586" y="3684547"/>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8" name="Oval 261"/>
              <p:cNvSpPr>
                <a:spLocks noChangeArrowheads="1"/>
              </p:cNvSpPr>
              <p:nvPr/>
            </p:nvSpPr>
            <p:spPr bwMode="auto">
              <a:xfrm>
                <a:off x="2969586" y="3788706"/>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19" name="Oval 262"/>
              <p:cNvSpPr>
                <a:spLocks noChangeArrowheads="1"/>
              </p:cNvSpPr>
              <p:nvPr/>
            </p:nvSpPr>
            <p:spPr bwMode="auto">
              <a:xfrm>
                <a:off x="2969586" y="3892156"/>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0" name="Oval 263"/>
              <p:cNvSpPr>
                <a:spLocks noChangeArrowheads="1"/>
              </p:cNvSpPr>
              <p:nvPr/>
            </p:nvSpPr>
            <p:spPr bwMode="auto">
              <a:xfrm>
                <a:off x="2969586" y="399631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1" name="Oval 264"/>
              <p:cNvSpPr>
                <a:spLocks noChangeArrowheads="1"/>
              </p:cNvSpPr>
              <p:nvPr/>
            </p:nvSpPr>
            <p:spPr bwMode="auto">
              <a:xfrm>
                <a:off x="2969586" y="4099765"/>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2" name="Oval 265"/>
              <p:cNvSpPr>
                <a:spLocks noChangeArrowheads="1"/>
              </p:cNvSpPr>
              <p:nvPr/>
            </p:nvSpPr>
            <p:spPr bwMode="auto">
              <a:xfrm>
                <a:off x="2969586" y="4203924"/>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3" name="Oval 266"/>
              <p:cNvSpPr>
                <a:spLocks noChangeArrowheads="1"/>
              </p:cNvSpPr>
              <p:nvPr/>
            </p:nvSpPr>
            <p:spPr bwMode="auto">
              <a:xfrm>
                <a:off x="2969586" y="4307374"/>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4" name="Oval 267"/>
              <p:cNvSpPr>
                <a:spLocks noChangeArrowheads="1"/>
              </p:cNvSpPr>
              <p:nvPr/>
            </p:nvSpPr>
            <p:spPr bwMode="auto">
              <a:xfrm>
                <a:off x="2969586" y="4411532"/>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5" name="Oval 268"/>
              <p:cNvSpPr>
                <a:spLocks noChangeArrowheads="1"/>
              </p:cNvSpPr>
              <p:nvPr/>
            </p:nvSpPr>
            <p:spPr bwMode="auto">
              <a:xfrm>
                <a:off x="3075161" y="889268"/>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6" name="Oval 269"/>
              <p:cNvSpPr>
                <a:spLocks noChangeArrowheads="1"/>
              </p:cNvSpPr>
              <p:nvPr/>
            </p:nvSpPr>
            <p:spPr bwMode="auto">
              <a:xfrm>
                <a:off x="3075161" y="993427"/>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7" name="Oval 270"/>
              <p:cNvSpPr>
                <a:spLocks noChangeArrowheads="1"/>
              </p:cNvSpPr>
              <p:nvPr/>
            </p:nvSpPr>
            <p:spPr bwMode="auto">
              <a:xfrm>
                <a:off x="3075161" y="1096877"/>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8" name="Oval 271"/>
              <p:cNvSpPr>
                <a:spLocks noChangeArrowheads="1"/>
              </p:cNvSpPr>
              <p:nvPr/>
            </p:nvSpPr>
            <p:spPr bwMode="auto">
              <a:xfrm>
                <a:off x="3075161" y="1821736"/>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29" name="Oval 272"/>
              <p:cNvSpPr>
                <a:spLocks noChangeArrowheads="1"/>
              </p:cNvSpPr>
              <p:nvPr/>
            </p:nvSpPr>
            <p:spPr bwMode="auto">
              <a:xfrm>
                <a:off x="3075161" y="1925895"/>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0" name="Oval 273"/>
              <p:cNvSpPr>
                <a:spLocks noChangeArrowheads="1"/>
              </p:cNvSpPr>
              <p:nvPr/>
            </p:nvSpPr>
            <p:spPr bwMode="auto">
              <a:xfrm>
                <a:off x="3075161" y="2029345"/>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1" name="Oval 274"/>
              <p:cNvSpPr>
                <a:spLocks noChangeArrowheads="1"/>
              </p:cNvSpPr>
              <p:nvPr/>
            </p:nvSpPr>
            <p:spPr bwMode="auto">
              <a:xfrm>
                <a:off x="3075161" y="2133504"/>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3" name="Oval 276"/>
              <p:cNvSpPr>
                <a:spLocks noChangeArrowheads="1"/>
              </p:cNvSpPr>
              <p:nvPr/>
            </p:nvSpPr>
            <p:spPr bwMode="auto">
              <a:xfrm>
                <a:off x="3075161" y="3063847"/>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4" name="Oval 277"/>
              <p:cNvSpPr>
                <a:spLocks noChangeArrowheads="1"/>
              </p:cNvSpPr>
              <p:nvPr/>
            </p:nvSpPr>
            <p:spPr bwMode="auto">
              <a:xfrm>
                <a:off x="3075161" y="3168005"/>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5" name="Oval 278"/>
              <p:cNvSpPr>
                <a:spLocks noChangeArrowheads="1"/>
              </p:cNvSpPr>
              <p:nvPr/>
            </p:nvSpPr>
            <p:spPr bwMode="auto">
              <a:xfrm>
                <a:off x="3075161" y="3271455"/>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6" name="Oval 279"/>
              <p:cNvSpPr>
                <a:spLocks noChangeArrowheads="1"/>
              </p:cNvSpPr>
              <p:nvPr/>
            </p:nvSpPr>
            <p:spPr bwMode="auto">
              <a:xfrm>
                <a:off x="3075161" y="3374906"/>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7" name="Oval 280"/>
              <p:cNvSpPr>
                <a:spLocks noChangeArrowheads="1"/>
              </p:cNvSpPr>
              <p:nvPr/>
            </p:nvSpPr>
            <p:spPr bwMode="auto">
              <a:xfrm>
                <a:off x="3075161" y="3479064"/>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8" name="Oval 281"/>
              <p:cNvSpPr>
                <a:spLocks noChangeArrowheads="1"/>
              </p:cNvSpPr>
              <p:nvPr/>
            </p:nvSpPr>
            <p:spPr bwMode="auto">
              <a:xfrm>
                <a:off x="3075161" y="3582514"/>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9" name="Oval 282"/>
              <p:cNvSpPr>
                <a:spLocks noChangeArrowheads="1"/>
              </p:cNvSpPr>
              <p:nvPr/>
            </p:nvSpPr>
            <p:spPr bwMode="auto">
              <a:xfrm>
                <a:off x="3075161" y="3684547"/>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0" name="Oval 283"/>
              <p:cNvSpPr>
                <a:spLocks noChangeArrowheads="1"/>
              </p:cNvSpPr>
              <p:nvPr/>
            </p:nvSpPr>
            <p:spPr bwMode="auto">
              <a:xfrm>
                <a:off x="3075161" y="3788706"/>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1" name="Oval 284"/>
              <p:cNvSpPr>
                <a:spLocks noChangeArrowheads="1"/>
              </p:cNvSpPr>
              <p:nvPr/>
            </p:nvSpPr>
            <p:spPr bwMode="auto">
              <a:xfrm>
                <a:off x="3075161" y="3892156"/>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2" name="Oval 285"/>
              <p:cNvSpPr>
                <a:spLocks noChangeArrowheads="1"/>
              </p:cNvSpPr>
              <p:nvPr/>
            </p:nvSpPr>
            <p:spPr bwMode="auto">
              <a:xfrm>
                <a:off x="3075161" y="3996315"/>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3" name="Oval 286"/>
              <p:cNvSpPr>
                <a:spLocks noChangeArrowheads="1"/>
              </p:cNvSpPr>
              <p:nvPr/>
            </p:nvSpPr>
            <p:spPr bwMode="auto">
              <a:xfrm>
                <a:off x="3075161" y="4411533"/>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4" name="Oval 287"/>
              <p:cNvSpPr>
                <a:spLocks noChangeArrowheads="1"/>
              </p:cNvSpPr>
              <p:nvPr/>
            </p:nvSpPr>
            <p:spPr bwMode="auto">
              <a:xfrm>
                <a:off x="3178612" y="78581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5" name="Oval 288"/>
              <p:cNvSpPr>
                <a:spLocks noChangeArrowheads="1"/>
              </p:cNvSpPr>
              <p:nvPr/>
            </p:nvSpPr>
            <p:spPr bwMode="auto">
              <a:xfrm>
                <a:off x="3178612" y="88926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6" name="Oval 289"/>
              <p:cNvSpPr>
                <a:spLocks noChangeArrowheads="1"/>
              </p:cNvSpPr>
              <p:nvPr/>
            </p:nvSpPr>
            <p:spPr bwMode="auto">
              <a:xfrm>
                <a:off x="3178612" y="99342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7" name="Oval 290"/>
              <p:cNvSpPr>
                <a:spLocks noChangeArrowheads="1"/>
              </p:cNvSpPr>
              <p:nvPr/>
            </p:nvSpPr>
            <p:spPr bwMode="auto">
              <a:xfrm>
                <a:off x="3178612" y="109687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8" name="Oval 291"/>
              <p:cNvSpPr>
                <a:spLocks noChangeArrowheads="1"/>
              </p:cNvSpPr>
              <p:nvPr/>
            </p:nvSpPr>
            <p:spPr bwMode="auto">
              <a:xfrm>
                <a:off x="3178612" y="120103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49" name="Oval 292"/>
              <p:cNvSpPr>
                <a:spLocks noChangeArrowheads="1"/>
              </p:cNvSpPr>
              <p:nvPr/>
            </p:nvSpPr>
            <p:spPr bwMode="auto">
              <a:xfrm>
                <a:off x="3178612" y="130448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0" name="Oval 293"/>
              <p:cNvSpPr>
                <a:spLocks noChangeArrowheads="1"/>
              </p:cNvSpPr>
              <p:nvPr/>
            </p:nvSpPr>
            <p:spPr bwMode="auto">
              <a:xfrm>
                <a:off x="3178612" y="192589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1" name="Oval 294"/>
              <p:cNvSpPr>
                <a:spLocks noChangeArrowheads="1"/>
              </p:cNvSpPr>
              <p:nvPr/>
            </p:nvSpPr>
            <p:spPr bwMode="auto">
              <a:xfrm>
                <a:off x="3178612" y="2029345"/>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2" name="Oval 295"/>
              <p:cNvSpPr>
                <a:spLocks noChangeArrowheads="1"/>
              </p:cNvSpPr>
              <p:nvPr/>
            </p:nvSpPr>
            <p:spPr bwMode="auto">
              <a:xfrm>
                <a:off x="3178612" y="2960396"/>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3" name="Oval 296"/>
              <p:cNvSpPr>
                <a:spLocks noChangeArrowheads="1"/>
              </p:cNvSpPr>
              <p:nvPr/>
            </p:nvSpPr>
            <p:spPr bwMode="auto">
              <a:xfrm>
                <a:off x="3178612" y="3063847"/>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4" name="Oval 297"/>
              <p:cNvSpPr>
                <a:spLocks noChangeArrowheads="1"/>
              </p:cNvSpPr>
              <p:nvPr/>
            </p:nvSpPr>
            <p:spPr bwMode="auto">
              <a:xfrm>
                <a:off x="3178612" y="316800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5" name="Oval 298"/>
              <p:cNvSpPr>
                <a:spLocks noChangeArrowheads="1"/>
              </p:cNvSpPr>
              <p:nvPr/>
            </p:nvSpPr>
            <p:spPr bwMode="auto">
              <a:xfrm>
                <a:off x="3178612" y="3271455"/>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6" name="Oval 299"/>
              <p:cNvSpPr>
                <a:spLocks noChangeArrowheads="1"/>
              </p:cNvSpPr>
              <p:nvPr/>
            </p:nvSpPr>
            <p:spPr bwMode="auto">
              <a:xfrm>
                <a:off x="3178612" y="337490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7" name="Oval 300"/>
              <p:cNvSpPr>
                <a:spLocks noChangeArrowheads="1"/>
              </p:cNvSpPr>
              <p:nvPr/>
            </p:nvSpPr>
            <p:spPr bwMode="auto">
              <a:xfrm>
                <a:off x="3178612" y="3479064"/>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8" name="Oval 301"/>
              <p:cNvSpPr>
                <a:spLocks noChangeArrowheads="1"/>
              </p:cNvSpPr>
              <p:nvPr/>
            </p:nvSpPr>
            <p:spPr bwMode="auto">
              <a:xfrm>
                <a:off x="3178612" y="3582514"/>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59" name="Oval 302"/>
              <p:cNvSpPr>
                <a:spLocks noChangeArrowheads="1"/>
              </p:cNvSpPr>
              <p:nvPr/>
            </p:nvSpPr>
            <p:spPr bwMode="auto">
              <a:xfrm>
                <a:off x="3178612" y="3684547"/>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0" name="Oval 303"/>
              <p:cNvSpPr>
                <a:spLocks noChangeArrowheads="1"/>
              </p:cNvSpPr>
              <p:nvPr/>
            </p:nvSpPr>
            <p:spPr bwMode="auto">
              <a:xfrm>
                <a:off x="3178612" y="3788706"/>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2" name="Oval 305"/>
              <p:cNvSpPr>
                <a:spLocks noChangeArrowheads="1"/>
              </p:cNvSpPr>
              <p:nvPr/>
            </p:nvSpPr>
            <p:spPr bwMode="auto">
              <a:xfrm>
                <a:off x="3284187" y="78581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3" name="Oval 306"/>
              <p:cNvSpPr>
                <a:spLocks noChangeArrowheads="1"/>
              </p:cNvSpPr>
              <p:nvPr/>
            </p:nvSpPr>
            <p:spPr bwMode="auto">
              <a:xfrm>
                <a:off x="3284187" y="88926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4" name="Oval 307"/>
              <p:cNvSpPr>
                <a:spLocks noChangeArrowheads="1"/>
              </p:cNvSpPr>
              <p:nvPr/>
            </p:nvSpPr>
            <p:spPr bwMode="auto">
              <a:xfrm>
                <a:off x="3284187" y="99342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5" name="Oval 308"/>
              <p:cNvSpPr>
                <a:spLocks noChangeArrowheads="1"/>
              </p:cNvSpPr>
              <p:nvPr/>
            </p:nvSpPr>
            <p:spPr bwMode="auto">
              <a:xfrm>
                <a:off x="3284187"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6" name="Oval 309"/>
              <p:cNvSpPr>
                <a:spLocks noChangeArrowheads="1"/>
              </p:cNvSpPr>
              <p:nvPr/>
            </p:nvSpPr>
            <p:spPr bwMode="auto">
              <a:xfrm>
                <a:off x="3284187"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7" name="Oval 310"/>
              <p:cNvSpPr>
                <a:spLocks noChangeArrowheads="1"/>
              </p:cNvSpPr>
              <p:nvPr/>
            </p:nvSpPr>
            <p:spPr bwMode="auto">
              <a:xfrm>
                <a:off x="3284187"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8" name="Oval 311"/>
              <p:cNvSpPr>
                <a:spLocks noChangeArrowheads="1"/>
              </p:cNvSpPr>
              <p:nvPr/>
            </p:nvSpPr>
            <p:spPr bwMode="auto">
              <a:xfrm>
                <a:off x="3284187" y="140864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9" name="Oval 312"/>
              <p:cNvSpPr>
                <a:spLocks noChangeArrowheads="1"/>
              </p:cNvSpPr>
              <p:nvPr/>
            </p:nvSpPr>
            <p:spPr bwMode="auto">
              <a:xfrm>
                <a:off x="3284187" y="151067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0" name="Oval 313"/>
              <p:cNvSpPr>
                <a:spLocks noChangeArrowheads="1"/>
              </p:cNvSpPr>
              <p:nvPr/>
            </p:nvSpPr>
            <p:spPr bwMode="auto">
              <a:xfrm>
                <a:off x="3284187"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1" name="Oval 314"/>
              <p:cNvSpPr>
                <a:spLocks noChangeArrowheads="1"/>
              </p:cNvSpPr>
              <p:nvPr/>
            </p:nvSpPr>
            <p:spPr bwMode="auto">
              <a:xfrm>
                <a:off x="3284187" y="306384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2" name="Oval 315"/>
              <p:cNvSpPr>
                <a:spLocks noChangeArrowheads="1"/>
              </p:cNvSpPr>
              <p:nvPr/>
            </p:nvSpPr>
            <p:spPr bwMode="auto">
              <a:xfrm>
                <a:off x="3284187" y="31680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3" name="Oval 316"/>
              <p:cNvSpPr>
                <a:spLocks noChangeArrowheads="1"/>
              </p:cNvSpPr>
              <p:nvPr/>
            </p:nvSpPr>
            <p:spPr bwMode="auto">
              <a:xfrm>
                <a:off x="3284187" y="327145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4" name="Oval 317"/>
              <p:cNvSpPr>
                <a:spLocks noChangeArrowheads="1"/>
              </p:cNvSpPr>
              <p:nvPr/>
            </p:nvSpPr>
            <p:spPr bwMode="auto">
              <a:xfrm>
                <a:off x="3284187" y="33749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5" name="Oval 318"/>
              <p:cNvSpPr>
                <a:spLocks noChangeArrowheads="1"/>
              </p:cNvSpPr>
              <p:nvPr/>
            </p:nvSpPr>
            <p:spPr bwMode="auto">
              <a:xfrm>
                <a:off x="3284187" y="347906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6" name="Oval 319"/>
              <p:cNvSpPr>
                <a:spLocks noChangeArrowheads="1"/>
              </p:cNvSpPr>
              <p:nvPr/>
            </p:nvSpPr>
            <p:spPr bwMode="auto">
              <a:xfrm>
                <a:off x="3284187" y="3582514"/>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7" name="Oval 320"/>
              <p:cNvSpPr>
                <a:spLocks noChangeArrowheads="1"/>
              </p:cNvSpPr>
              <p:nvPr/>
            </p:nvSpPr>
            <p:spPr bwMode="auto">
              <a:xfrm>
                <a:off x="3284187" y="368454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8" name="Oval 321"/>
              <p:cNvSpPr>
                <a:spLocks noChangeArrowheads="1"/>
              </p:cNvSpPr>
              <p:nvPr/>
            </p:nvSpPr>
            <p:spPr bwMode="auto">
              <a:xfrm>
                <a:off x="3284187" y="3788706"/>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79" name="Oval 322"/>
              <p:cNvSpPr>
                <a:spLocks noChangeArrowheads="1"/>
              </p:cNvSpPr>
              <p:nvPr/>
            </p:nvSpPr>
            <p:spPr bwMode="auto">
              <a:xfrm>
                <a:off x="3387638" y="78581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0" name="Oval 323"/>
              <p:cNvSpPr>
                <a:spLocks noChangeArrowheads="1"/>
              </p:cNvSpPr>
              <p:nvPr/>
            </p:nvSpPr>
            <p:spPr bwMode="auto">
              <a:xfrm>
                <a:off x="3387638" y="88926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1" name="Oval 324"/>
              <p:cNvSpPr>
                <a:spLocks noChangeArrowheads="1"/>
              </p:cNvSpPr>
              <p:nvPr/>
            </p:nvSpPr>
            <p:spPr bwMode="auto">
              <a:xfrm>
                <a:off x="3387638" y="993427"/>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2" name="Oval 325"/>
              <p:cNvSpPr>
                <a:spLocks noChangeArrowheads="1"/>
              </p:cNvSpPr>
              <p:nvPr/>
            </p:nvSpPr>
            <p:spPr bwMode="auto">
              <a:xfrm>
                <a:off x="3387638" y="1096877"/>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3" name="Oval 326"/>
              <p:cNvSpPr>
                <a:spLocks noChangeArrowheads="1"/>
              </p:cNvSpPr>
              <p:nvPr/>
            </p:nvSpPr>
            <p:spPr bwMode="auto">
              <a:xfrm>
                <a:off x="3387638" y="120103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4" name="Oval 327"/>
              <p:cNvSpPr>
                <a:spLocks noChangeArrowheads="1"/>
              </p:cNvSpPr>
              <p:nvPr/>
            </p:nvSpPr>
            <p:spPr bwMode="auto">
              <a:xfrm>
                <a:off x="3387638" y="130448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5" name="Oval 328"/>
              <p:cNvSpPr>
                <a:spLocks noChangeArrowheads="1"/>
              </p:cNvSpPr>
              <p:nvPr/>
            </p:nvSpPr>
            <p:spPr bwMode="auto">
              <a:xfrm>
                <a:off x="3387638" y="1408644"/>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6" name="Oval 329"/>
              <p:cNvSpPr>
                <a:spLocks noChangeArrowheads="1"/>
              </p:cNvSpPr>
              <p:nvPr/>
            </p:nvSpPr>
            <p:spPr bwMode="auto">
              <a:xfrm>
                <a:off x="3387638" y="1510677"/>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7" name="Oval 330"/>
              <p:cNvSpPr>
                <a:spLocks noChangeArrowheads="1"/>
              </p:cNvSpPr>
              <p:nvPr/>
            </p:nvSpPr>
            <p:spPr bwMode="auto">
              <a:xfrm>
                <a:off x="3387638" y="161412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8" name="Oval 331"/>
              <p:cNvSpPr>
                <a:spLocks noChangeArrowheads="1"/>
              </p:cNvSpPr>
              <p:nvPr/>
            </p:nvSpPr>
            <p:spPr bwMode="auto">
              <a:xfrm>
                <a:off x="3387638" y="171828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89" name="Oval 332"/>
              <p:cNvSpPr>
                <a:spLocks noChangeArrowheads="1"/>
              </p:cNvSpPr>
              <p:nvPr/>
            </p:nvSpPr>
            <p:spPr bwMode="auto">
              <a:xfrm>
                <a:off x="3387638" y="3168005"/>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1" name="Oval 334"/>
              <p:cNvSpPr>
                <a:spLocks noChangeArrowheads="1"/>
              </p:cNvSpPr>
              <p:nvPr/>
            </p:nvSpPr>
            <p:spPr bwMode="auto">
              <a:xfrm>
                <a:off x="3387638" y="337490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2" name="Oval 335"/>
              <p:cNvSpPr>
                <a:spLocks noChangeArrowheads="1"/>
              </p:cNvSpPr>
              <p:nvPr/>
            </p:nvSpPr>
            <p:spPr bwMode="auto">
              <a:xfrm>
                <a:off x="3387638" y="3479064"/>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3" name="Oval 336"/>
              <p:cNvSpPr>
                <a:spLocks noChangeArrowheads="1"/>
              </p:cNvSpPr>
              <p:nvPr/>
            </p:nvSpPr>
            <p:spPr bwMode="auto">
              <a:xfrm>
                <a:off x="3387638" y="3582514"/>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4" name="Oval 337"/>
              <p:cNvSpPr>
                <a:spLocks noChangeArrowheads="1"/>
              </p:cNvSpPr>
              <p:nvPr/>
            </p:nvSpPr>
            <p:spPr bwMode="auto">
              <a:xfrm>
                <a:off x="3387638" y="3684547"/>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5" name="Oval 338"/>
              <p:cNvSpPr>
                <a:spLocks noChangeArrowheads="1"/>
              </p:cNvSpPr>
              <p:nvPr/>
            </p:nvSpPr>
            <p:spPr bwMode="auto">
              <a:xfrm>
                <a:off x="3493213" y="68378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6" name="Oval 339"/>
              <p:cNvSpPr>
                <a:spLocks noChangeArrowheads="1"/>
              </p:cNvSpPr>
              <p:nvPr/>
            </p:nvSpPr>
            <p:spPr bwMode="auto">
              <a:xfrm>
                <a:off x="3493213" y="78581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7" name="Oval 340"/>
              <p:cNvSpPr>
                <a:spLocks noChangeArrowheads="1"/>
              </p:cNvSpPr>
              <p:nvPr/>
            </p:nvSpPr>
            <p:spPr bwMode="auto">
              <a:xfrm>
                <a:off x="3493213" y="88926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8" name="Oval 341"/>
              <p:cNvSpPr>
                <a:spLocks noChangeArrowheads="1"/>
              </p:cNvSpPr>
              <p:nvPr/>
            </p:nvSpPr>
            <p:spPr bwMode="auto">
              <a:xfrm>
                <a:off x="3493213" y="99342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9" name="Oval 342"/>
              <p:cNvSpPr>
                <a:spLocks noChangeArrowheads="1"/>
              </p:cNvSpPr>
              <p:nvPr/>
            </p:nvSpPr>
            <p:spPr bwMode="auto">
              <a:xfrm>
                <a:off x="3493213"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0" name="Oval 343"/>
              <p:cNvSpPr>
                <a:spLocks noChangeArrowheads="1"/>
              </p:cNvSpPr>
              <p:nvPr/>
            </p:nvSpPr>
            <p:spPr bwMode="auto">
              <a:xfrm>
                <a:off x="3493213"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1" name="Oval 344"/>
              <p:cNvSpPr>
                <a:spLocks noChangeArrowheads="1"/>
              </p:cNvSpPr>
              <p:nvPr/>
            </p:nvSpPr>
            <p:spPr bwMode="auto">
              <a:xfrm>
                <a:off x="3493213"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2" name="Oval 345"/>
              <p:cNvSpPr>
                <a:spLocks noChangeArrowheads="1"/>
              </p:cNvSpPr>
              <p:nvPr/>
            </p:nvSpPr>
            <p:spPr bwMode="auto">
              <a:xfrm>
                <a:off x="3493213" y="140864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3" name="Oval 346"/>
              <p:cNvSpPr>
                <a:spLocks noChangeArrowheads="1"/>
              </p:cNvSpPr>
              <p:nvPr/>
            </p:nvSpPr>
            <p:spPr bwMode="auto">
              <a:xfrm>
                <a:off x="3493213" y="151067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4" name="Oval 347"/>
              <p:cNvSpPr>
                <a:spLocks noChangeArrowheads="1"/>
              </p:cNvSpPr>
              <p:nvPr/>
            </p:nvSpPr>
            <p:spPr bwMode="auto">
              <a:xfrm>
                <a:off x="3493213" y="327145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5" name="Oval 348"/>
              <p:cNvSpPr>
                <a:spLocks noChangeArrowheads="1"/>
              </p:cNvSpPr>
              <p:nvPr/>
            </p:nvSpPr>
            <p:spPr bwMode="auto">
              <a:xfrm>
                <a:off x="3493213" y="33749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6" name="Oval 349"/>
              <p:cNvSpPr>
                <a:spLocks noChangeArrowheads="1"/>
              </p:cNvSpPr>
              <p:nvPr/>
            </p:nvSpPr>
            <p:spPr bwMode="auto">
              <a:xfrm>
                <a:off x="3493213" y="347906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7" name="Oval 350"/>
              <p:cNvSpPr>
                <a:spLocks noChangeArrowheads="1"/>
              </p:cNvSpPr>
              <p:nvPr/>
            </p:nvSpPr>
            <p:spPr bwMode="auto">
              <a:xfrm>
                <a:off x="3493213" y="3582514"/>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8" name="Oval 351"/>
              <p:cNvSpPr>
                <a:spLocks noChangeArrowheads="1"/>
              </p:cNvSpPr>
              <p:nvPr/>
            </p:nvSpPr>
            <p:spPr bwMode="auto">
              <a:xfrm>
                <a:off x="3597372" y="68378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09" name="Oval 352"/>
              <p:cNvSpPr>
                <a:spLocks noChangeArrowheads="1"/>
              </p:cNvSpPr>
              <p:nvPr/>
            </p:nvSpPr>
            <p:spPr bwMode="auto">
              <a:xfrm>
                <a:off x="3597372" y="78581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0" name="Oval 353"/>
              <p:cNvSpPr>
                <a:spLocks noChangeArrowheads="1"/>
              </p:cNvSpPr>
              <p:nvPr/>
            </p:nvSpPr>
            <p:spPr bwMode="auto">
              <a:xfrm>
                <a:off x="3597372" y="88926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1" name="Oval 354"/>
              <p:cNvSpPr>
                <a:spLocks noChangeArrowheads="1"/>
              </p:cNvSpPr>
              <p:nvPr/>
            </p:nvSpPr>
            <p:spPr bwMode="auto">
              <a:xfrm>
                <a:off x="3597372" y="99342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2" name="Oval 355"/>
              <p:cNvSpPr>
                <a:spLocks noChangeArrowheads="1"/>
              </p:cNvSpPr>
              <p:nvPr/>
            </p:nvSpPr>
            <p:spPr bwMode="auto">
              <a:xfrm>
                <a:off x="3597372" y="109687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3" name="Oval 356"/>
              <p:cNvSpPr>
                <a:spLocks noChangeArrowheads="1"/>
              </p:cNvSpPr>
              <p:nvPr/>
            </p:nvSpPr>
            <p:spPr bwMode="auto">
              <a:xfrm>
                <a:off x="3597372" y="120103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4" name="Oval 357"/>
              <p:cNvSpPr>
                <a:spLocks noChangeArrowheads="1"/>
              </p:cNvSpPr>
              <p:nvPr/>
            </p:nvSpPr>
            <p:spPr bwMode="auto">
              <a:xfrm>
                <a:off x="3597372" y="130448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5" name="Oval 358"/>
              <p:cNvSpPr>
                <a:spLocks noChangeArrowheads="1"/>
              </p:cNvSpPr>
              <p:nvPr/>
            </p:nvSpPr>
            <p:spPr bwMode="auto">
              <a:xfrm>
                <a:off x="3597372" y="1408644"/>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6" name="Oval 359"/>
              <p:cNvSpPr>
                <a:spLocks noChangeArrowheads="1"/>
              </p:cNvSpPr>
              <p:nvPr/>
            </p:nvSpPr>
            <p:spPr bwMode="auto">
              <a:xfrm>
                <a:off x="3597372" y="3271455"/>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7" name="Oval 360"/>
              <p:cNvSpPr>
                <a:spLocks noChangeArrowheads="1"/>
              </p:cNvSpPr>
              <p:nvPr/>
            </p:nvSpPr>
            <p:spPr bwMode="auto">
              <a:xfrm>
                <a:off x="3597372" y="337490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8" name="Oval 361"/>
              <p:cNvSpPr>
                <a:spLocks noChangeArrowheads="1"/>
              </p:cNvSpPr>
              <p:nvPr/>
            </p:nvSpPr>
            <p:spPr bwMode="auto">
              <a:xfrm>
                <a:off x="3702239" y="68378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19" name="Oval 362"/>
              <p:cNvSpPr>
                <a:spLocks noChangeArrowheads="1"/>
              </p:cNvSpPr>
              <p:nvPr/>
            </p:nvSpPr>
            <p:spPr bwMode="auto">
              <a:xfrm>
                <a:off x="3702239" y="78581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0" name="Oval 363"/>
              <p:cNvSpPr>
                <a:spLocks noChangeArrowheads="1"/>
              </p:cNvSpPr>
              <p:nvPr/>
            </p:nvSpPr>
            <p:spPr bwMode="auto">
              <a:xfrm>
                <a:off x="3702239" y="88926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1" name="Oval 364"/>
              <p:cNvSpPr>
                <a:spLocks noChangeArrowheads="1"/>
              </p:cNvSpPr>
              <p:nvPr/>
            </p:nvSpPr>
            <p:spPr bwMode="auto">
              <a:xfrm>
                <a:off x="3702239" y="99342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2" name="Freeform 365"/>
              <p:cNvSpPr>
                <a:spLocks/>
              </p:cNvSpPr>
              <p:nvPr/>
            </p:nvSpPr>
            <p:spPr bwMode="auto">
              <a:xfrm>
                <a:off x="3695862" y="1090500"/>
                <a:ext cx="105576" cy="103450"/>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3" name="Oval 366"/>
              <p:cNvSpPr>
                <a:spLocks noChangeArrowheads="1"/>
              </p:cNvSpPr>
              <p:nvPr/>
            </p:nvSpPr>
            <p:spPr bwMode="auto">
              <a:xfrm>
                <a:off x="3702239"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4" name="Oval 367"/>
              <p:cNvSpPr>
                <a:spLocks noChangeArrowheads="1"/>
              </p:cNvSpPr>
              <p:nvPr/>
            </p:nvSpPr>
            <p:spPr bwMode="auto">
              <a:xfrm>
                <a:off x="3702239"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5" name="Oval 368"/>
              <p:cNvSpPr>
                <a:spLocks noChangeArrowheads="1"/>
              </p:cNvSpPr>
              <p:nvPr/>
            </p:nvSpPr>
            <p:spPr bwMode="auto">
              <a:xfrm>
                <a:off x="3702239" y="140864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6" name="Oval 369"/>
              <p:cNvSpPr>
                <a:spLocks noChangeArrowheads="1"/>
              </p:cNvSpPr>
              <p:nvPr/>
            </p:nvSpPr>
            <p:spPr bwMode="auto">
              <a:xfrm>
                <a:off x="3806398" y="68378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7" name="Oval 370"/>
              <p:cNvSpPr>
                <a:spLocks noChangeArrowheads="1"/>
              </p:cNvSpPr>
              <p:nvPr/>
            </p:nvSpPr>
            <p:spPr bwMode="auto">
              <a:xfrm>
                <a:off x="3806398" y="78581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8" name="Oval 371"/>
              <p:cNvSpPr>
                <a:spLocks noChangeArrowheads="1"/>
              </p:cNvSpPr>
              <p:nvPr/>
            </p:nvSpPr>
            <p:spPr bwMode="auto">
              <a:xfrm>
                <a:off x="3806398" y="88926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29" name="Oval 372"/>
              <p:cNvSpPr>
                <a:spLocks noChangeArrowheads="1"/>
              </p:cNvSpPr>
              <p:nvPr/>
            </p:nvSpPr>
            <p:spPr bwMode="auto">
              <a:xfrm>
                <a:off x="3806398" y="99342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0" name="Oval 373"/>
              <p:cNvSpPr>
                <a:spLocks noChangeArrowheads="1"/>
              </p:cNvSpPr>
              <p:nvPr/>
            </p:nvSpPr>
            <p:spPr bwMode="auto">
              <a:xfrm>
                <a:off x="3806398" y="109687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1" name="Oval 374"/>
              <p:cNvSpPr>
                <a:spLocks noChangeArrowheads="1"/>
              </p:cNvSpPr>
              <p:nvPr/>
            </p:nvSpPr>
            <p:spPr bwMode="auto">
              <a:xfrm>
                <a:off x="3806398" y="120103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2" name="Oval 375"/>
              <p:cNvSpPr>
                <a:spLocks noChangeArrowheads="1"/>
              </p:cNvSpPr>
              <p:nvPr/>
            </p:nvSpPr>
            <p:spPr bwMode="auto">
              <a:xfrm>
                <a:off x="3806398" y="130448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3" name="Oval 376"/>
              <p:cNvSpPr>
                <a:spLocks noChangeArrowheads="1"/>
              </p:cNvSpPr>
              <p:nvPr/>
            </p:nvSpPr>
            <p:spPr bwMode="auto">
              <a:xfrm>
                <a:off x="3806398" y="1510677"/>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4" name="Oval 377"/>
              <p:cNvSpPr>
                <a:spLocks noChangeArrowheads="1"/>
              </p:cNvSpPr>
              <p:nvPr/>
            </p:nvSpPr>
            <p:spPr bwMode="auto">
              <a:xfrm>
                <a:off x="3911974" y="78581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5" name="Oval 378"/>
              <p:cNvSpPr>
                <a:spLocks noChangeArrowheads="1"/>
              </p:cNvSpPr>
              <p:nvPr/>
            </p:nvSpPr>
            <p:spPr bwMode="auto">
              <a:xfrm>
                <a:off x="3911974" y="88926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6" name="Oval 379"/>
              <p:cNvSpPr>
                <a:spLocks noChangeArrowheads="1"/>
              </p:cNvSpPr>
              <p:nvPr/>
            </p:nvSpPr>
            <p:spPr bwMode="auto">
              <a:xfrm>
                <a:off x="3911974" y="99342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7" name="Oval 380"/>
              <p:cNvSpPr>
                <a:spLocks noChangeArrowheads="1"/>
              </p:cNvSpPr>
              <p:nvPr/>
            </p:nvSpPr>
            <p:spPr bwMode="auto">
              <a:xfrm>
                <a:off x="3911974"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8" name="Oval 381"/>
              <p:cNvSpPr>
                <a:spLocks noChangeArrowheads="1"/>
              </p:cNvSpPr>
              <p:nvPr/>
            </p:nvSpPr>
            <p:spPr bwMode="auto">
              <a:xfrm>
                <a:off x="3911974"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39" name="Oval 382"/>
              <p:cNvSpPr>
                <a:spLocks noChangeArrowheads="1"/>
              </p:cNvSpPr>
              <p:nvPr/>
            </p:nvSpPr>
            <p:spPr bwMode="auto">
              <a:xfrm>
                <a:off x="3911974" y="151067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0" name="Oval 383"/>
              <p:cNvSpPr>
                <a:spLocks noChangeArrowheads="1"/>
              </p:cNvSpPr>
              <p:nvPr/>
            </p:nvSpPr>
            <p:spPr bwMode="auto">
              <a:xfrm>
                <a:off x="3911974" y="265075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2" name="Oval 385"/>
              <p:cNvSpPr>
                <a:spLocks noChangeArrowheads="1"/>
              </p:cNvSpPr>
              <p:nvPr/>
            </p:nvSpPr>
            <p:spPr bwMode="auto">
              <a:xfrm>
                <a:off x="3911974" y="285765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3" name="Oval 386"/>
              <p:cNvSpPr>
                <a:spLocks noChangeArrowheads="1"/>
              </p:cNvSpPr>
              <p:nvPr/>
            </p:nvSpPr>
            <p:spPr bwMode="auto">
              <a:xfrm>
                <a:off x="4015424" y="78581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4" name="Oval 387"/>
              <p:cNvSpPr>
                <a:spLocks noChangeArrowheads="1"/>
              </p:cNvSpPr>
              <p:nvPr/>
            </p:nvSpPr>
            <p:spPr bwMode="auto">
              <a:xfrm>
                <a:off x="4015424" y="254659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5" name="Oval 388"/>
              <p:cNvSpPr>
                <a:spLocks noChangeArrowheads="1"/>
              </p:cNvSpPr>
              <p:nvPr/>
            </p:nvSpPr>
            <p:spPr bwMode="auto">
              <a:xfrm>
                <a:off x="4015424" y="265075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6" name="Oval 389"/>
              <p:cNvSpPr>
                <a:spLocks noChangeArrowheads="1"/>
              </p:cNvSpPr>
              <p:nvPr/>
            </p:nvSpPr>
            <p:spPr bwMode="auto">
              <a:xfrm>
                <a:off x="4015424" y="2754205"/>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7" name="Oval 390"/>
              <p:cNvSpPr>
                <a:spLocks noChangeArrowheads="1"/>
              </p:cNvSpPr>
              <p:nvPr/>
            </p:nvSpPr>
            <p:spPr bwMode="auto">
              <a:xfrm>
                <a:off x="4015424" y="2857655"/>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8" name="Oval 391"/>
              <p:cNvSpPr>
                <a:spLocks noChangeArrowheads="1"/>
              </p:cNvSpPr>
              <p:nvPr/>
            </p:nvSpPr>
            <p:spPr bwMode="auto">
              <a:xfrm>
                <a:off x="4015424" y="2960396"/>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9" name="Oval 392"/>
              <p:cNvSpPr>
                <a:spLocks noChangeArrowheads="1"/>
              </p:cNvSpPr>
              <p:nvPr/>
            </p:nvSpPr>
            <p:spPr bwMode="auto">
              <a:xfrm>
                <a:off x="4121000" y="182173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0" name="Oval 393"/>
              <p:cNvSpPr>
                <a:spLocks noChangeArrowheads="1"/>
              </p:cNvSpPr>
              <p:nvPr/>
            </p:nvSpPr>
            <p:spPr bwMode="auto">
              <a:xfrm>
                <a:off x="4121000" y="192589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1" name="Oval 394"/>
              <p:cNvSpPr>
                <a:spLocks noChangeArrowheads="1"/>
              </p:cNvSpPr>
              <p:nvPr/>
            </p:nvSpPr>
            <p:spPr bwMode="auto">
              <a:xfrm>
                <a:off x="4121000" y="223553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2" name="Oval 395"/>
              <p:cNvSpPr>
                <a:spLocks noChangeArrowheads="1"/>
              </p:cNvSpPr>
              <p:nvPr/>
            </p:nvSpPr>
            <p:spPr bwMode="auto">
              <a:xfrm>
                <a:off x="4121000" y="233898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3" name="Oval 396"/>
              <p:cNvSpPr>
                <a:spLocks noChangeArrowheads="1"/>
              </p:cNvSpPr>
              <p:nvPr/>
            </p:nvSpPr>
            <p:spPr bwMode="auto">
              <a:xfrm>
                <a:off x="4121000"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4" name="Oval 397"/>
              <p:cNvSpPr>
                <a:spLocks noChangeArrowheads="1"/>
              </p:cNvSpPr>
              <p:nvPr/>
            </p:nvSpPr>
            <p:spPr bwMode="auto">
              <a:xfrm>
                <a:off x="4121000" y="254659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5" name="Oval 398"/>
              <p:cNvSpPr>
                <a:spLocks noChangeArrowheads="1"/>
              </p:cNvSpPr>
              <p:nvPr/>
            </p:nvSpPr>
            <p:spPr bwMode="auto">
              <a:xfrm>
                <a:off x="4121000" y="265075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6" name="Oval 399"/>
              <p:cNvSpPr>
                <a:spLocks noChangeArrowheads="1"/>
              </p:cNvSpPr>
              <p:nvPr/>
            </p:nvSpPr>
            <p:spPr bwMode="auto">
              <a:xfrm>
                <a:off x="4121000" y="275420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7" name="Oval 400"/>
              <p:cNvSpPr>
                <a:spLocks noChangeArrowheads="1"/>
              </p:cNvSpPr>
              <p:nvPr/>
            </p:nvSpPr>
            <p:spPr bwMode="auto">
              <a:xfrm>
                <a:off x="4121000" y="285765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8" name="Oval 401"/>
              <p:cNvSpPr>
                <a:spLocks noChangeArrowheads="1"/>
              </p:cNvSpPr>
              <p:nvPr/>
            </p:nvSpPr>
            <p:spPr bwMode="auto">
              <a:xfrm>
                <a:off x="4121000" y="2960396"/>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60" name="Oval 403"/>
              <p:cNvSpPr>
                <a:spLocks noChangeArrowheads="1"/>
              </p:cNvSpPr>
              <p:nvPr/>
            </p:nvSpPr>
            <p:spPr bwMode="auto">
              <a:xfrm>
                <a:off x="4224450" y="171828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61" name="Oval 404"/>
              <p:cNvSpPr>
                <a:spLocks noChangeArrowheads="1"/>
              </p:cNvSpPr>
              <p:nvPr/>
            </p:nvSpPr>
            <p:spPr bwMode="auto">
              <a:xfrm>
                <a:off x="4224450" y="182173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62" name="Oval 405"/>
              <p:cNvSpPr>
                <a:spLocks noChangeArrowheads="1"/>
              </p:cNvSpPr>
              <p:nvPr/>
            </p:nvSpPr>
            <p:spPr bwMode="auto">
              <a:xfrm>
                <a:off x="4224450" y="1925895"/>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63" name="Oval 406"/>
              <p:cNvSpPr>
                <a:spLocks noChangeArrowheads="1"/>
              </p:cNvSpPr>
              <p:nvPr/>
            </p:nvSpPr>
            <p:spPr bwMode="auto">
              <a:xfrm>
                <a:off x="4224450" y="2029345"/>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4" name="Oval 408"/>
              <p:cNvSpPr>
                <a:spLocks noChangeArrowheads="1"/>
              </p:cNvSpPr>
              <p:nvPr/>
            </p:nvSpPr>
            <p:spPr bwMode="auto">
              <a:xfrm>
                <a:off x="4224450" y="2133505"/>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5" name="Oval 409"/>
              <p:cNvSpPr>
                <a:spLocks noChangeArrowheads="1"/>
              </p:cNvSpPr>
              <p:nvPr/>
            </p:nvSpPr>
            <p:spPr bwMode="auto">
              <a:xfrm>
                <a:off x="4224450" y="223553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6" name="Oval 410"/>
              <p:cNvSpPr>
                <a:spLocks noChangeArrowheads="1"/>
              </p:cNvSpPr>
              <p:nvPr/>
            </p:nvSpPr>
            <p:spPr bwMode="auto">
              <a:xfrm>
                <a:off x="4224450" y="233898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7" name="Oval 411"/>
              <p:cNvSpPr>
                <a:spLocks noChangeArrowheads="1"/>
              </p:cNvSpPr>
              <p:nvPr/>
            </p:nvSpPr>
            <p:spPr bwMode="auto">
              <a:xfrm>
                <a:off x="4224450" y="2443147"/>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8" name="Oval 412"/>
              <p:cNvSpPr>
                <a:spLocks noChangeArrowheads="1"/>
              </p:cNvSpPr>
              <p:nvPr/>
            </p:nvSpPr>
            <p:spPr bwMode="auto">
              <a:xfrm>
                <a:off x="4224450" y="2546597"/>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9" name="Oval 413"/>
              <p:cNvSpPr>
                <a:spLocks noChangeArrowheads="1"/>
              </p:cNvSpPr>
              <p:nvPr/>
            </p:nvSpPr>
            <p:spPr bwMode="auto">
              <a:xfrm>
                <a:off x="4224450" y="265075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0" name="Oval 414"/>
              <p:cNvSpPr>
                <a:spLocks noChangeArrowheads="1"/>
              </p:cNvSpPr>
              <p:nvPr/>
            </p:nvSpPr>
            <p:spPr bwMode="auto">
              <a:xfrm>
                <a:off x="4224450" y="275420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1" name="Oval 415"/>
              <p:cNvSpPr>
                <a:spLocks noChangeArrowheads="1"/>
              </p:cNvSpPr>
              <p:nvPr/>
            </p:nvSpPr>
            <p:spPr bwMode="auto">
              <a:xfrm>
                <a:off x="4224450" y="285765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2" name="Oval 416"/>
              <p:cNvSpPr>
                <a:spLocks noChangeArrowheads="1"/>
              </p:cNvSpPr>
              <p:nvPr/>
            </p:nvSpPr>
            <p:spPr bwMode="auto">
              <a:xfrm>
                <a:off x="4224450" y="296039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3" name="Oval 417"/>
              <p:cNvSpPr>
                <a:spLocks noChangeArrowheads="1"/>
              </p:cNvSpPr>
              <p:nvPr/>
            </p:nvSpPr>
            <p:spPr bwMode="auto">
              <a:xfrm>
                <a:off x="4224450" y="306384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4" name="Oval 418"/>
              <p:cNvSpPr>
                <a:spLocks noChangeArrowheads="1"/>
              </p:cNvSpPr>
              <p:nvPr/>
            </p:nvSpPr>
            <p:spPr bwMode="auto">
              <a:xfrm>
                <a:off x="4330026"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5" name="Oval 419"/>
              <p:cNvSpPr>
                <a:spLocks noChangeArrowheads="1"/>
              </p:cNvSpPr>
              <p:nvPr/>
            </p:nvSpPr>
            <p:spPr bwMode="auto">
              <a:xfrm>
                <a:off x="4330026"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6" name="Oval 420"/>
              <p:cNvSpPr>
                <a:spLocks noChangeArrowheads="1"/>
              </p:cNvSpPr>
              <p:nvPr/>
            </p:nvSpPr>
            <p:spPr bwMode="auto">
              <a:xfrm>
                <a:off x="4330026"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7" name="Oval 421"/>
              <p:cNvSpPr>
                <a:spLocks noChangeArrowheads="1"/>
              </p:cNvSpPr>
              <p:nvPr/>
            </p:nvSpPr>
            <p:spPr bwMode="auto">
              <a:xfrm>
                <a:off x="4330026"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8" name="Oval 422"/>
              <p:cNvSpPr>
                <a:spLocks noChangeArrowheads="1"/>
              </p:cNvSpPr>
              <p:nvPr/>
            </p:nvSpPr>
            <p:spPr bwMode="auto">
              <a:xfrm>
                <a:off x="4330026"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79" name="Oval 423"/>
              <p:cNvSpPr>
                <a:spLocks noChangeArrowheads="1"/>
              </p:cNvSpPr>
              <p:nvPr/>
            </p:nvSpPr>
            <p:spPr bwMode="auto">
              <a:xfrm>
                <a:off x="4330026"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0" name="Oval 424"/>
              <p:cNvSpPr>
                <a:spLocks noChangeArrowheads="1"/>
              </p:cNvSpPr>
              <p:nvPr/>
            </p:nvSpPr>
            <p:spPr bwMode="auto">
              <a:xfrm>
                <a:off x="4330026"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1" name="Oval 425"/>
              <p:cNvSpPr>
                <a:spLocks noChangeArrowheads="1"/>
              </p:cNvSpPr>
              <p:nvPr/>
            </p:nvSpPr>
            <p:spPr bwMode="auto">
              <a:xfrm>
                <a:off x="4330026"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2" name="Oval 426"/>
              <p:cNvSpPr>
                <a:spLocks noChangeArrowheads="1"/>
              </p:cNvSpPr>
              <p:nvPr/>
            </p:nvSpPr>
            <p:spPr bwMode="auto">
              <a:xfrm>
                <a:off x="4330026"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4" name="Oval 428"/>
              <p:cNvSpPr>
                <a:spLocks noChangeArrowheads="1"/>
              </p:cNvSpPr>
              <p:nvPr/>
            </p:nvSpPr>
            <p:spPr bwMode="auto">
              <a:xfrm>
                <a:off x="4330026" y="296039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5" name="Oval 429"/>
              <p:cNvSpPr>
                <a:spLocks noChangeArrowheads="1"/>
              </p:cNvSpPr>
              <p:nvPr/>
            </p:nvSpPr>
            <p:spPr bwMode="auto">
              <a:xfrm>
                <a:off x="4330026" y="30638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6" name="Oval 430"/>
              <p:cNvSpPr>
                <a:spLocks noChangeArrowheads="1"/>
              </p:cNvSpPr>
              <p:nvPr/>
            </p:nvSpPr>
            <p:spPr bwMode="auto">
              <a:xfrm>
                <a:off x="4434185" y="1614129"/>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7" name="Oval 431"/>
              <p:cNvSpPr>
                <a:spLocks noChangeArrowheads="1"/>
              </p:cNvSpPr>
              <p:nvPr/>
            </p:nvSpPr>
            <p:spPr bwMode="auto">
              <a:xfrm>
                <a:off x="4434185" y="171828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8" name="Oval 432"/>
              <p:cNvSpPr>
                <a:spLocks noChangeArrowheads="1"/>
              </p:cNvSpPr>
              <p:nvPr/>
            </p:nvSpPr>
            <p:spPr bwMode="auto">
              <a:xfrm>
                <a:off x="4434185" y="192589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9" name="Oval 433"/>
              <p:cNvSpPr>
                <a:spLocks noChangeArrowheads="1"/>
              </p:cNvSpPr>
              <p:nvPr/>
            </p:nvSpPr>
            <p:spPr bwMode="auto">
              <a:xfrm>
                <a:off x="4434185" y="202934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0" name="Oval 434"/>
              <p:cNvSpPr>
                <a:spLocks noChangeArrowheads="1"/>
              </p:cNvSpPr>
              <p:nvPr/>
            </p:nvSpPr>
            <p:spPr bwMode="auto">
              <a:xfrm>
                <a:off x="4434185" y="213350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1" name="Oval 435"/>
              <p:cNvSpPr>
                <a:spLocks noChangeArrowheads="1"/>
              </p:cNvSpPr>
              <p:nvPr/>
            </p:nvSpPr>
            <p:spPr bwMode="auto">
              <a:xfrm>
                <a:off x="4434185" y="233898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2" name="Oval 436"/>
              <p:cNvSpPr>
                <a:spLocks noChangeArrowheads="1"/>
              </p:cNvSpPr>
              <p:nvPr/>
            </p:nvSpPr>
            <p:spPr bwMode="auto">
              <a:xfrm>
                <a:off x="4434185" y="244314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4" name="Oval 438"/>
              <p:cNvSpPr>
                <a:spLocks noChangeArrowheads="1"/>
              </p:cNvSpPr>
              <p:nvPr/>
            </p:nvSpPr>
            <p:spPr bwMode="auto">
              <a:xfrm>
                <a:off x="4434185" y="265075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6" name="Oval 440"/>
              <p:cNvSpPr>
                <a:spLocks noChangeArrowheads="1"/>
              </p:cNvSpPr>
              <p:nvPr/>
            </p:nvSpPr>
            <p:spPr bwMode="auto">
              <a:xfrm>
                <a:off x="4434185" y="285765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7" name="Oval 441"/>
              <p:cNvSpPr>
                <a:spLocks noChangeArrowheads="1"/>
              </p:cNvSpPr>
              <p:nvPr/>
            </p:nvSpPr>
            <p:spPr bwMode="auto">
              <a:xfrm>
                <a:off x="4434185" y="296039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9" name="Oval 443"/>
              <p:cNvSpPr>
                <a:spLocks noChangeArrowheads="1"/>
              </p:cNvSpPr>
              <p:nvPr/>
            </p:nvSpPr>
            <p:spPr bwMode="auto">
              <a:xfrm>
                <a:off x="4434185" y="316800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0" name="Oval 444"/>
              <p:cNvSpPr>
                <a:spLocks noChangeArrowheads="1"/>
              </p:cNvSpPr>
              <p:nvPr/>
            </p:nvSpPr>
            <p:spPr bwMode="auto">
              <a:xfrm>
                <a:off x="4539052"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1" name="Oval 445"/>
              <p:cNvSpPr>
                <a:spLocks noChangeArrowheads="1"/>
              </p:cNvSpPr>
              <p:nvPr/>
            </p:nvSpPr>
            <p:spPr bwMode="auto">
              <a:xfrm>
                <a:off x="4539052" y="993428"/>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2" name="Oval 446"/>
              <p:cNvSpPr>
                <a:spLocks noChangeArrowheads="1"/>
              </p:cNvSpPr>
              <p:nvPr/>
            </p:nvSpPr>
            <p:spPr bwMode="auto">
              <a:xfrm>
                <a:off x="4539052"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3" name="Oval 447"/>
              <p:cNvSpPr>
                <a:spLocks noChangeArrowheads="1"/>
              </p:cNvSpPr>
              <p:nvPr/>
            </p:nvSpPr>
            <p:spPr bwMode="auto">
              <a:xfrm>
                <a:off x="4539052"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4" name="Oval 448"/>
              <p:cNvSpPr>
                <a:spLocks noChangeArrowheads="1"/>
              </p:cNvSpPr>
              <p:nvPr/>
            </p:nvSpPr>
            <p:spPr bwMode="auto">
              <a:xfrm>
                <a:off x="4539052"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5" name="Oval 449"/>
              <p:cNvSpPr>
                <a:spLocks noChangeArrowheads="1"/>
              </p:cNvSpPr>
              <p:nvPr/>
            </p:nvSpPr>
            <p:spPr bwMode="auto">
              <a:xfrm>
                <a:off x="4539052"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6" name="Oval 450"/>
              <p:cNvSpPr>
                <a:spLocks noChangeArrowheads="1"/>
              </p:cNvSpPr>
              <p:nvPr/>
            </p:nvSpPr>
            <p:spPr bwMode="auto">
              <a:xfrm>
                <a:off x="4539052"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7" name="Oval 451"/>
              <p:cNvSpPr>
                <a:spLocks noChangeArrowheads="1"/>
              </p:cNvSpPr>
              <p:nvPr/>
            </p:nvSpPr>
            <p:spPr bwMode="auto">
              <a:xfrm>
                <a:off x="4539052"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8" name="Oval 452"/>
              <p:cNvSpPr>
                <a:spLocks noChangeArrowheads="1"/>
              </p:cNvSpPr>
              <p:nvPr/>
            </p:nvSpPr>
            <p:spPr bwMode="auto">
              <a:xfrm>
                <a:off x="4539052"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09" name="Oval 453"/>
              <p:cNvSpPr>
                <a:spLocks noChangeArrowheads="1"/>
              </p:cNvSpPr>
              <p:nvPr/>
            </p:nvSpPr>
            <p:spPr bwMode="auto">
              <a:xfrm>
                <a:off x="4539052"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0" name="Oval 454"/>
              <p:cNvSpPr>
                <a:spLocks noChangeArrowheads="1"/>
              </p:cNvSpPr>
              <p:nvPr/>
            </p:nvSpPr>
            <p:spPr bwMode="auto">
              <a:xfrm>
                <a:off x="4539052"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1" name="Oval 455"/>
              <p:cNvSpPr>
                <a:spLocks noChangeArrowheads="1"/>
              </p:cNvSpPr>
              <p:nvPr/>
            </p:nvSpPr>
            <p:spPr bwMode="auto">
              <a:xfrm>
                <a:off x="4539052"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2" name="Oval 456"/>
              <p:cNvSpPr>
                <a:spLocks noChangeArrowheads="1"/>
              </p:cNvSpPr>
              <p:nvPr/>
            </p:nvSpPr>
            <p:spPr bwMode="auto">
              <a:xfrm>
                <a:off x="4539052"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3" name="Oval 457"/>
              <p:cNvSpPr>
                <a:spLocks noChangeArrowheads="1"/>
              </p:cNvSpPr>
              <p:nvPr/>
            </p:nvSpPr>
            <p:spPr bwMode="auto">
              <a:xfrm>
                <a:off x="4539052"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4" name="Oval 458"/>
              <p:cNvSpPr>
                <a:spLocks noChangeArrowheads="1"/>
              </p:cNvSpPr>
              <p:nvPr/>
            </p:nvSpPr>
            <p:spPr bwMode="auto">
              <a:xfrm>
                <a:off x="4539052"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5" name="Oval 459"/>
              <p:cNvSpPr>
                <a:spLocks noChangeArrowheads="1"/>
              </p:cNvSpPr>
              <p:nvPr/>
            </p:nvSpPr>
            <p:spPr bwMode="auto">
              <a:xfrm>
                <a:off x="4539052"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6" name="Oval 460"/>
              <p:cNvSpPr>
                <a:spLocks noChangeArrowheads="1"/>
              </p:cNvSpPr>
              <p:nvPr/>
            </p:nvSpPr>
            <p:spPr bwMode="auto">
              <a:xfrm>
                <a:off x="4539052" y="296039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7" name="Oval 461"/>
              <p:cNvSpPr>
                <a:spLocks noChangeArrowheads="1"/>
              </p:cNvSpPr>
              <p:nvPr/>
            </p:nvSpPr>
            <p:spPr bwMode="auto">
              <a:xfrm>
                <a:off x="4539052" y="30638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8" name="Oval 462"/>
              <p:cNvSpPr>
                <a:spLocks noChangeArrowheads="1"/>
              </p:cNvSpPr>
              <p:nvPr/>
            </p:nvSpPr>
            <p:spPr bwMode="auto">
              <a:xfrm>
                <a:off x="4539052" y="316800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19" name="Oval 463"/>
              <p:cNvSpPr>
                <a:spLocks noChangeArrowheads="1"/>
              </p:cNvSpPr>
              <p:nvPr/>
            </p:nvSpPr>
            <p:spPr bwMode="auto">
              <a:xfrm>
                <a:off x="4539052" y="327145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1" name="Oval 465"/>
              <p:cNvSpPr>
                <a:spLocks noChangeArrowheads="1"/>
              </p:cNvSpPr>
              <p:nvPr/>
            </p:nvSpPr>
            <p:spPr bwMode="auto">
              <a:xfrm>
                <a:off x="4539052" y="347906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2" name="Oval 466"/>
              <p:cNvSpPr>
                <a:spLocks noChangeArrowheads="1"/>
              </p:cNvSpPr>
              <p:nvPr/>
            </p:nvSpPr>
            <p:spPr bwMode="auto">
              <a:xfrm>
                <a:off x="4539052" y="358251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3" name="Oval 467"/>
              <p:cNvSpPr>
                <a:spLocks noChangeArrowheads="1"/>
              </p:cNvSpPr>
              <p:nvPr/>
            </p:nvSpPr>
            <p:spPr bwMode="auto">
              <a:xfrm>
                <a:off x="4539052" y="368454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4" name="Oval 468"/>
              <p:cNvSpPr>
                <a:spLocks noChangeArrowheads="1"/>
              </p:cNvSpPr>
              <p:nvPr/>
            </p:nvSpPr>
            <p:spPr bwMode="auto">
              <a:xfrm>
                <a:off x="4643210" y="889269"/>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5" name="Oval 469"/>
              <p:cNvSpPr>
                <a:spLocks noChangeArrowheads="1"/>
              </p:cNvSpPr>
              <p:nvPr/>
            </p:nvSpPr>
            <p:spPr bwMode="auto">
              <a:xfrm>
                <a:off x="4643210" y="993428"/>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6" name="Oval 470"/>
              <p:cNvSpPr>
                <a:spLocks noChangeArrowheads="1"/>
              </p:cNvSpPr>
              <p:nvPr/>
            </p:nvSpPr>
            <p:spPr bwMode="auto">
              <a:xfrm>
                <a:off x="4643210" y="130448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7" name="Oval 471"/>
              <p:cNvSpPr>
                <a:spLocks noChangeArrowheads="1"/>
              </p:cNvSpPr>
              <p:nvPr/>
            </p:nvSpPr>
            <p:spPr bwMode="auto">
              <a:xfrm>
                <a:off x="4643210" y="140864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8" name="Oval 472"/>
              <p:cNvSpPr>
                <a:spLocks noChangeArrowheads="1"/>
              </p:cNvSpPr>
              <p:nvPr/>
            </p:nvSpPr>
            <p:spPr bwMode="auto">
              <a:xfrm>
                <a:off x="4643210" y="1510679"/>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9" name="Oval 473"/>
              <p:cNvSpPr>
                <a:spLocks noChangeArrowheads="1"/>
              </p:cNvSpPr>
              <p:nvPr/>
            </p:nvSpPr>
            <p:spPr bwMode="auto">
              <a:xfrm>
                <a:off x="4643210" y="1821738"/>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0" name="Oval 474"/>
              <p:cNvSpPr>
                <a:spLocks noChangeArrowheads="1"/>
              </p:cNvSpPr>
              <p:nvPr/>
            </p:nvSpPr>
            <p:spPr bwMode="auto">
              <a:xfrm>
                <a:off x="4643210" y="192589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1" name="Oval 475"/>
              <p:cNvSpPr>
                <a:spLocks noChangeArrowheads="1"/>
              </p:cNvSpPr>
              <p:nvPr/>
            </p:nvSpPr>
            <p:spPr bwMode="auto">
              <a:xfrm>
                <a:off x="4643210" y="202934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2" name="Oval 476"/>
              <p:cNvSpPr>
                <a:spLocks noChangeArrowheads="1"/>
              </p:cNvSpPr>
              <p:nvPr/>
            </p:nvSpPr>
            <p:spPr bwMode="auto">
              <a:xfrm>
                <a:off x="4643210" y="213350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3" name="Oval 477"/>
              <p:cNvSpPr>
                <a:spLocks noChangeArrowheads="1"/>
              </p:cNvSpPr>
              <p:nvPr/>
            </p:nvSpPr>
            <p:spPr bwMode="auto">
              <a:xfrm>
                <a:off x="4643210" y="223553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4" name="Oval 478"/>
              <p:cNvSpPr>
                <a:spLocks noChangeArrowheads="1"/>
              </p:cNvSpPr>
              <p:nvPr/>
            </p:nvSpPr>
            <p:spPr bwMode="auto">
              <a:xfrm>
                <a:off x="4643210" y="244314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5" name="Oval 479"/>
              <p:cNvSpPr>
                <a:spLocks noChangeArrowheads="1"/>
              </p:cNvSpPr>
              <p:nvPr/>
            </p:nvSpPr>
            <p:spPr bwMode="auto">
              <a:xfrm>
                <a:off x="4643210" y="254659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6" name="Oval 480"/>
              <p:cNvSpPr>
                <a:spLocks noChangeArrowheads="1"/>
              </p:cNvSpPr>
              <p:nvPr/>
            </p:nvSpPr>
            <p:spPr bwMode="auto">
              <a:xfrm>
                <a:off x="4643210" y="265075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7" name="Oval 481"/>
              <p:cNvSpPr>
                <a:spLocks noChangeArrowheads="1"/>
              </p:cNvSpPr>
              <p:nvPr/>
            </p:nvSpPr>
            <p:spPr bwMode="auto">
              <a:xfrm>
                <a:off x="4643210" y="275420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8" name="Oval 482"/>
              <p:cNvSpPr>
                <a:spLocks noChangeArrowheads="1"/>
              </p:cNvSpPr>
              <p:nvPr/>
            </p:nvSpPr>
            <p:spPr bwMode="auto">
              <a:xfrm>
                <a:off x="4643210" y="285765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39" name="Oval 483"/>
              <p:cNvSpPr>
                <a:spLocks noChangeArrowheads="1"/>
              </p:cNvSpPr>
              <p:nvPr/>
            </p:nvSpPr>
            <p:spPr bwMode="auto">
              <a:xfrm>
                <a:off x="4643210" y="296039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0" name="Oval 484"/>
              <p:cNvSpPr>
                <a:spLocks noChangeArrowheads="1"/>
              </p:cNvSpPr>
              <p:nvPr/>
            </p:nvSpPr>
            <p:spPr bwMode="auto">
              <a:xfrm>
                <a:off x="4643210" y="306384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1" name="Oval 485"/>
              <p:cNvSpPr>
                <a:spLocks noChangeArrowheads="1"/>
              </p:cNvSpPr>
              <p:nvPr/>
            </p:nvSpPr>
            <p:spPr bwMode="auto">
              <a:xfrm>
                <a:off x="4643210" y="316800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2" name="Oval 486"/>
              <p:cNvSpPr>
                <a:spLocks noChangeArrowheads="1"/>
              </p:cNvSpPr>
              <p:nvPr/>
            </p:nvSpPr>
            <p:spPr bwMode="auto">
              <a:xfrm>
                <a:off x="4643210" y="327145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3" name="Oval 487"/>
              <p:cNvSpPr>
                <a:spLocks noChangeArrowheads="1"/>
              </p:cNvSpPr>
              <p:nvPr/>
            </p:nvSpPr>
            <p:spPr bwMode="auto">
              <a:xfrm>
                <a:off x="4643210" y="337490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4" name="Oval 488"/>
              <p:cNvSpPr>
                <a:spLocks noChangeArrowheads="1"/>
              </p:cNvSpPr>
              <p:nvPr/>
            </p:nvSpPr>
            <p:spPr bwMode="auto">
              <a:xfrm>
                <a:off x="4643210" y="347906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5" name="Oval 489"/>
              <p:cNvSpPr>
                <a:spLocks noChangeArrowheads="1"/>
              </p:cNvSpPr>
              <p:nvPr/>
            </p:nvSpPr>
            <p:spPr bwMode="auto">
              <a:xfrm>
                <a:off x="4643210" y="358251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6" name="Oval 490"/>
              <p:cNvSpPr>
                <a:spLocks noChangeArrowheads="1"/>
              </p:cNvSpPr>
              <p:nvPr/>
            </p:nvSpPr>
            <p:spPr bwMode="auto">
              <a:xfrm>
                <a:off x="4643210" y="3684549"/>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7" name="Oval 491"/>
              <p:cNvSpPr>
                <a:spLocks noChangeArrowheads="1"/>
              </p:cNvSpPr>
              <p:nvPr/>
            </p:nvSpPr>
            <p:spPr bwMode="auto">
              <a:xfrm>
                <a:off x="4643210" y="378870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8" name="Oval 492"/>
              <p:cNvSpPr>
                <a:spLocks noChangeArrowheads="1"/>
              </p:cNvSpPr>
              <p:nvPr/>
            </p:nvSpPr>
            <p:spPr bwMode="auto">
              <a:xfrm>
                <a:off x="4643210" y="389215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49" name="Oval 493"/>
              <p:cNvSpPr>
                <a:spLocks noChangeArrowheads="1"/>
              </p:cNvSpPr>
              <p:nvPr/>
            </p:nvSpPr>
            <p:spPr bwMode="auto">
              <a:xfrm>
                <a:off x="4748786"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0" name="Oval 494"/>
              <p:cNvSpPr>
                <a:spLocks noChangeArrowheads="1"/>
              </p:cNvSpPr>
              <p:nvPr/>
            </p:nvSpPr>
            <p:spPr bwMode="auto">
              <a:xfrm>
                <a:off x="4748786" y="993428"/>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1" name="Oval 495"/>
              <p:cNvSpPr>
                <a:spLocks noChangeArrowheads="1"/>
              </p:cNvSpPr>
              <p:nvPr/>
            </p:nvSpPr>
            <p:spPr bwMode="auto">
              <a:xfrm>
                <a:off x="4748786"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2" name="Oval 496"/>
              <p:cNvSpPr>
                <a:spLocks noChangeArrowheads="1"/>
              </p:cNvSpPr>
              <p:nvPr/>
            </p:nvSpPr>
            <p:spPr bwMode="auto">
              <a:xfrm>
                <a:off x="4748786"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3" name="Oval 497"/>
              <p:cNvSpPr>
                <a:spLocks noChangeArrowheads="1"/>
              </p:cNvSpPr>
              <p:nvPr/>
            </p:nvSpPr>
            <p:spPr bwMode="auto">
              <a:xfrm>
                <a:off x="4748786"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4" name="Oval 498"/>
              <p:cNvSpPr>
                <a:spLocks noChangeArrowheads="1"/>
              </p:cNvSpPr>
              <p:nvPr/>
            </p:nvSpPr>
            <p:spPr bwMode="auto">
              <a:xfrm>
                <a:off x="4748786"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5" name="Oval 499"/>
              <p:cNvSpPr>
                <a:spLocks noChangeArrowheads="1"/>
              </p:cNvSpPr>
              <p:nvPr/>
            </p:nvSpPr>
            <p:spPr bwMode="auto">
              <a:xfrm>
                <a:off x="4748786"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6" name="Oval 500"/>
              <p:cNvSpPr>
                <a:spLocks noChangeArrowheads="1"/>
              </p:cNvSpPr>
              <p:nvPr/>
            </p:nvSpPr>
            <p:spPr bwMode="auto">
              <a:xfrm>
                <a:off x="4748786"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7" name="Oval 501"/>
              <p:cNvSpPr>
                <a:spLocks noChangeArrowheads="1"/>
              </p:cNvSpPr>
              <p:nvPr/>
            </p:nvSpPr>
            <p:spPr bwMode="auto">
              <a:xfrm>
                <a:off x="4748786"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8" name="Oval 502"/>
              <p:cNvSpPr>
                <a:spLocks noChangeArrowheads="1"/>
              </p:cNvSpPr>
              <p:nvPr/>
            </p:nvSpPr>
            <p:spPr bwMode="auto">
              <a:xfrm>
                <a:off x="4748786"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59" name="Oval 503"/>
              <p:cNvSpPr>
                <a:spLocks noChangeArrowheads="1"/>
              </p:cNvSpPr>
              <p:nvPr/>
            </p:nvSpPr>
            <p:spPr bwMode="auto">
              <a:xfrm>
                <a:off x="4748786"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0" name="Oval 504"/>
              <p:cNvSpPr>
                <a:spLocks noChangeArrowheads="1"/>
              </p:cNvSpPr>
              <p:nvPr/>
            </p:nvSpPr>
            <p:spPr bwMode="auto">
              <a:xfrm>
                <a:off x="4748786"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1" name="Oval 505"/>
              <p:cNvSpPr>
                <a:spLocks noChangeArrowheads="1"/>
              </p:cNvSpPr>
              <p:nvPr/>
            </p:nvSpPr>
            <p:spPr bwMode="auto">
              <a:xfrm>
                <a:off x="4748786"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2" name="Oval 506"/>
              <p:cNvSpPr>
                <a:spLocks noChangeArrowheads="1"/>
              </p:cNvSpPr>
              <p:nvPr/>
            </p:nvSpPr>
            <p:spPr bwMode="auto">
              <a:xfrm>
                <a:off x="4748786"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3" name="Oval 507"/>
              <p:cNvSpPr>
                <a:spLocks noChangeArrowheads="1"/>
              </p:cNvSpPr>
              <p:nvPr/>
            </p:nvSpPr>
            <p:spPr bwMode="auto">
              <a:xfrm>
                <a:off x="4748786"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4" name="Oval 508"/>
              <p:cNvSpPr>
                <a:spLocks noChangeArrowheads="1"/>
              </p:cNvSpPr>
              <p:nvPr/>
            </p:nvSpPr>
            <p:spPr bwMode="auto">
              <a:xfrm>
                <a:off x="4748786"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5" name="Oval 509"/>
              <p:cNvSpPr>
                <a:spLocks noChangeArrowheads="1"/>
              </p:cNvSpPr>
              <p:nvPr/>
            </p:nvSpPr>
            <p:spPr bwMode="auto">
              <a:xfrm>
                <a:off x="4748786"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6" name="Oval 510"/>
              <p:cNvSpPr>
                <a:spLocks noChangeArrowheads="1"/>
              </p:cNvSpPr>
              <p:nvPr/>
            </p:nvSpPr>
            <p:spPr bwMode="auto">
              <a:xfrm>
                <a:off x="4748786" y="296039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7" name="Oval 511"/>
              <p:cNvSpPr>
                <a:spLocks noChangeArrowheads="1"/>
              </p:cNvSpPr>
              <p:nvPr/>
            </p:nvSpPr>
            <p:spPr bwMode="auto">
              <a:xfrm>
                <a:off x="4748786" y="30638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8" name="Oval 512"/>
              <p:cNvSpPr>
                <a:spLocks noChangeArrowheads="1"/>
              </p:cNvSpPr>
              <p:nvPr/>
            </p:nvSpPr>
            <p:spPr bwMode="auto">
              <a:xfrm>
                <a:off x="4748786" y="316800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69" name="Oval 513"/>
              <p:cNvSpPr>
                <a:spLocks noChangeArrowheads="1"/>
              </p:cNvSpPr>
              <p:nvPr/>
            </p:nvSpPr>
            <p:spPr bwMode="auto">
              <a:xfrm>
                <a:off x="4748786" y="327145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0" name="Oval 514"/>
              <p:cNvSpPr>
                <a:spLocks noChangeArrowheads="1"/>
              </p:cNvSpPr>
              <p:nvPr/>
            </p:nvSpPr>
            <p:spPr bwMode="auto">
              <a:xfrm>
                <a:off x="4748786" y="337490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1" name="Oval 515"/>
              <p:cNvSpPr>
                <a:spLocks noChangeArrowheads="1"/>
              </p:cNvSpPr>
              <p:nvPr/>
            </p:nvSpPr>
            <p:spPr bwMode="auto">
              <a:xfrm>
                <a:off x="4748786" y="347906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2" name="Oval 516"/>
              <p:cNvSpPr>
                <a:spLocks noChangeArrowheads="1"/>
              </p:cNvSpPr>
              <p:nvPr/>
            </p:nvSpPr>
            <p:spPr bwMode="auto">
              <a:xfrm>
                <a:off x="4748786" y="358251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3" name="Oval 517"/>
              <p:cNvSpPr>
                <a:spLocks noChangeArrowheads="1"/>
              </p:cNvSpPr>
              <p:nvPr/>
            </p:nvSpPr>
            <p:spPr bwMode="auto">
              <a:xfrm>
                <a:off x="4748786" y="368454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4" name="Oval 518"/>
              <p:cNvSpPr>
                <a:spLocks noChangeArrowheads="1"/>
              </p:cNvSpPr>
              <p:nvPr/>
            </p:nvSpPr>
            <p:spPr bwMode="auto">
              <a:xfrm>
                <a:off x="4748786" y="378870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5" name="Oval 519"/>
              <p:cNvSpPr>
                <a:spLocks noChangeArrowheads="1"/>
              </p:cNvSpPr>
              <p:nvPr/>
            </p:nvSpPr>
            <p:spPr bwMode="auto">
              <a:xfrm>
                <a:off x="4748786" y="389215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6" name="Oval 520"/>
              <p:cNvSpPr>
                <a:spLocks noChangeArrowheads="1"/>
              </p:cNvSpPr>
              <p:nvPr/>
            </p:nvSpPr>
            <p:spPr bwMode="auto">
              <a:xfrm>
                <a:off x="4852236" y="889269"/>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7" name="Oval 521"/>
              <p:cNvSpPr>
                <a:spLocks noChangeArrowheads="1"/>
              </p:cNvSpPr>
              <p:nvPr/>
            </p:nvSpPr>
            <p:spPr bwMode="auto">
              <a:xfrm>
                <a:off x="4852236" y="993428"/>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8" name="Oval 522"/>
              <p:cNvSpPr>
                <a:spLocks noChangeArrowheads="1"/>
              </p:cNvSpPr>
              <p:nvPr/>
            </p:nvSpPr>
            <p:spPr bwMode="auto">
              <a:xfrm>
                <a:off x="4852236" y="1304487"/>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79" name="Oval 523"/>
              <p:cNvSpPr>
                <a:spLocks noChangeArrowheads="1"/>
              </p:cNvSpPr>
              <p:nvPr/>
            </p:nvSpPr>
            <p:spPr bwMode="auto">
              <a:xfrm>
                <a:off x="4852236" y="1408645"/>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0" name="Oval 524"/>
              <p:cNvSpPr>
                <a:spLocks noChangeArrowheads="1"/>
              </p:cNvSpPr>
              <p:nvPr/>
            </p:nvSpPr>
            <p:spPr bwMode="auto">
              <a:xfrm>
                <a:off x="4852236" y="1510679"/>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1" name="Oval 525"/>
              <p:cNvSpPr>
                <a:spLocks noChangeArrowheads="1"/>
              </p:cNvSpPr>
              <p:nvPr/>
            </p:nvSpPr>
            <p:spPr bwMode="auto">
              <a:xfrm>
                <a:off x="4852236" y="1614129"/>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2" name="Oval 526"/>
              <p:cNvSpPr>
                <a:spLocks noChangeArrowheads="1"/>
              </p:cNvSpPr>
              <p:nvPr/>
            </p:nvSpPr>
            <p:spPr bwMode="auto">
              <a:xfrm>
                <a:off x="4852236" y="1718287"/>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3" name="Oval 527"/>
              <p:cNvSpPr>
                <a:spLocks noChangeArrowheads="1"/>
              </p:cNvSpPr>
              <p:nvPr/>
            </p:nvSpPr>
            <p:spPr bwMode="auto">
              <a:xfrm>
                <a:off x="4852236" y="1821738"/>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4" name="Oval 528"/>
              <p:cNvSpPr>
                <a:spLocks noChangeArrowheads="1"/>
              </p:cNvSpPr>
              <p:nvPr/>
            </p:nvSpPr>
            <p:spPr bwMode="auto">
              <a:xfrm>
                <a:off x="4852236" y="192589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5" name="Oval 529"/>
              <p:cNvSpPr>
                <a:spLocks noChangeArrowheads="1"/>
              </p:cNvSpPr>
              <p:nvPr/>
            </p:nvSpPr>
            <p:spPr bwMode="auto">
              <a:xfrm>
                <a:off x="4852236" y="202934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6" name="Oval 530"/>
              <p:cNvSpPr>
                <a:spLocks noChangeArrowheads="1"/>
              </p:cNvSpPr>
              <p:nvPr/>
            </p:nvSpPr>
            <p:spPr bwMode="auto">
              <a:xfrm>
                <a:off x="4852236" y="223553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7" name="Oval 531"/>
              <p:cNvSpPr>
                <a:spLocks noChangeArrowheads="1"/>
              </p:cNvSpPr>
              <p:nvPr/>
            </p:nvSpPr>
            <p:spPr bwMode="auto">
              <a:xfrm>
                <a:off x="4852236" y="2443147"/>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8" name="Oval 532"/>
              <p:cNvSpPr>
                <a:spLocks noChangeArrowheads="1"/>
              </p:cNvSpPr>
              <p:nvPr/>
            </p:nvSpPr>
            <p:spPr bwMode="auto">
              <a:xfrm>
                <a:off x="4852236" y="2546597"/>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89" name="Oval 533"/>
              <p:cNvSpPr>
                <a:spLocks noChangeArrowheads="1"/>
              </p:cNvSpPr>
              <p:nvPr/>
            </p:nvSpPr>
            <p:spPr bwMode="auto">
              <a:xfrm>
                <a:off x="4852236" y="265075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0" name="Oval 534"/>
              <p:cNvSpPr>
                <a:spLocks noChangeArrowheads="1"/>
              </p:cNvSpPr>
              <p:nvPr/>
            </p:nvSpPr>
            <p:spPr bwMode="auto">
              <a:xfrm>
                <a:off x="4852236" y="275420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1" name="Oval 535"/>
              <p:cNvSpPr>
                <a:spLocks noChangeArrowheads="1"/>
              </p:cNvSpPr>
              <p:nvPr/>
            </p:nvSpPr>
            <p:spPr bwMode="auto">
              <a:xfrm>
                <a:off x="4852236" y="285765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2" name="Oval 536"/>
              <p:cNvSpPr>
                <a:spLocks noChangeArrowheads="1"/>
              </p:cNvSpPr>
              <p:nvPr/>
            </p:nvSpPr>
            <p:spPr bwMode="auto">
              <a:xfrm>
                <a:off x="4852236" y="296039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3" name="Oval 537"/>
              <p:cNvSpPr>
                <a:spLocks noChangeArrowheads="1"/>
              </p:cNvSpPr>
              <p:nvPr/>
            </p:nvSpPr>
            <p:spPr bwMode="auto">
              <a:xfrm>
                <a:off x="4852236" y="306384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4" name="Oval 538"/>
              <p:cNvSpPr>
                <a:spLocks noChangeArrowheads="1"/>
              </p:cNvSpPr>
              <p:nvPr/>
            </p:nvSpPr>
            <p:spPr bwMode="auto">
              <a:xfrm>
                <a:off x="4852236" y="3168007"/>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5" name="Oval 539"/>
              <p:cNvSpPr>
                <a:spLocks noChangeArrowheads="1"/>
              </p:cNvSpPr>
              <p:nvPr/>
            </p:nvSpPr>
            <p:spPr bwMode="auto">
              <a:xfrm>
                <a:off x="4852236" y="3271457"/>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6" name="Oval 540"/>
              <p:cNvSpPr>
                <a:spLocks noChangeArrowheads="1"/>
              </p:cNvSpPr>
              <p:nvPr/>
            </p:nvSpPr>
            <p:spPr bwMode="auto">
              <a:xfrm>
                <a:off x="4852236" y="3374907"/>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7" name="Oval 541"/>
              <p:cNvSpPr>
                <a:spLocks noChangeArrowheads="1"/>
              </p:cNvSpPr>
              <p:nvPr/>
            </p:nvSpPr>
            <p:spPr bwMode="auto">
              <a:xfrm>
                <a:off x="4852236" y="347906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8" name="Oval 542"/>
              <p:cNvSpPr>
                <a:spLocks noChangeArrowheads="1"/>
              </p:cNvSpPr>
              <p:nvPr/>
            </p:nvSpPr>
            <p:spPr bwMode="auto">
              <a:xfrm>
                <a:off x="4852236" y="358251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99" name="Oval 543"/>
              <p:cNvSpPr>
                <a:spLocks noChangeArrowheads="1"/>
              </p:cNvSpPr>
              <p:nvPr/>
            </p:nvSpPr>
            <p:spPr bwMode="auto">
              <a:xfrm>
                <a:off x="4852236" y="3684549"/>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0" name="Oval 544"/>
              <p:cNvSpPr>
                <a:spLocks noChangeArrowheads="1"/>
              </p:cNvSpPr>
              <p:nvPr/>
            </p:nvSpPr>
            <p:spPr bwMode="auto">
              <a:xfrm>
                <a:off x="4852236" y="378870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1" name="Oval 545"/>
              <p:cNvSpPr>
                <a:spLocks noChangeArrowheads="1"/>
              </p:cNvSpPr>
              <p:nvPr/>
            </p:nvSpPr>
            <p:spPr bwMode="auto">
              <a:xfrm>
                <a:off x="4957812"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2" name="Oval 546"/>
              <p:cNvSpPr>
                <a:spLocks noChangeArrowheads="1"/>
              </p:cNvSpPr>
              <p:nvPr/>
            </p:nvSpPr>
            <p:spPr bwMode="auto">
              <a:xfrm>
                <a:off x="4957812"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3" name="Oval 547"/>
              <p:cNvSpPr>
                <a:spLocks noChangeArrowheads="1"/>
              </p:cNvSpPr>
              <p:nvPr/>
            </p:nvSpPr>
            <p:spPr bwMode="auto">
              <a:xfrm>
                <a:off x="4957812"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4" name="Oval 548"/>
              <p:cNvSpPr>
                <a:spLocks noChangeArrowheads="1"/>
              </p:cNvSpPr>
              <p:nvPr/>
            </p:nvSpPr>
            <p:spPr bwMode="auto">
              <a:xfrm>
                <a:off x="4957812"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5" name="Oval 549"/>
              <p:cNvSpPr>
                <a:spLocks noChangeArrowheads="1"/>
              </p:cNvSpPr>
              <p:nvPr/>
            </p:nvSpPr>
            <p:spPr bwMode="auto">
              <a:xfrm>
                <a:off x="4957812"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6" name="Oval 550"/>
              <p:cNvSpPr>
                <a:spLocks noChangeArrowheads="1"/>
              </p:cNvSpPr>
              <p:nvPr/>
            </p:nvSpPr>
            <p:spPr bwMode="auto">
              <a:xfrm>
                <a:off x="4957812"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7" name="Oval 551"/>
              <p:cNvSpPr>
                <a:spLocks noChangeArrowheads="1"/>
              </p:cNvSpPr>
              <p:nvPr/>
            </p:nvSpPr>
            <p:spPr bwMode="auto">
              <a:xfrm>
                <a:off x="4957812"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8" name="Oval 552"/>
              <p:cNvSpPr>
                <a:spLocks noChangeArrowheads="1"/>
              </p:cNvSpPr>
              <p:nvPr/>
            </p:nvSpPr>
            <p:spPr bwMode="auto">
              <a:xfrm>
                <a:off x="4957812"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09" name="Oval 553"/>
              <p:cNvSpPr>
                <a:spLocks noChangeArrowheads="1"/>
              </p:cNvSpPr>
              <p:nvPr/>
            </p:nvSpPr>
            <p:spPr bwMode="auto">
              <a:xfrm>
                <a:off x="4957812"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0" name="Oval 554"/>
              <p:cNvSpPr>
                <a:spLocks noChangeArrowheads="1"/>
              </p:cNvSpPr>
              <p:nvPr/>
            </p:nvSpPr>
            <p:spPr bwMode="auto">
              <a:xfrm>
                <a:off x="4957812"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1" name="Oval 555"/>
              <p:cNvSpPr>
                <a:spLocks noChangeArrowheads="1"/>
              </p:cNvSpPr>
              <p:nvPr/>
            </p:nvSpPr>
            <p:spPr bwMode="auto">
              <a:xfrm>
                <a:off x="4957812"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2" name="Oval 556"/>
              <p:cNvSpPr>
                <a:spLocks noChangeArrowheads="1"/>
              </p:cNvSpPr>
              <p:nvPr/>
            </p:nvSpPr>
            <p:spPr bwMode="auto">
              <a:xfrm>
                <a:off x="4957812"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3" name="Oval 557"/>
              <p:cNvSpPr>
                <a:spLocks noChangeArrowheads="1"/>
              </p:cNvSpPr>
              <p:nvPr/>
            </p:nvSpPr>
            <p:spPr bwMode="auto">
              <a:xfrm>
                <a:off x="4957812"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4" name="Oval 558"/>
              <p:cNvSpPr>
                <a:spLocks noChangeArrowheads="1"/>
              </p:cNvSpPr>
              <p:nvPr/>
            </p:nvSpPr>
            <p:spPr bwMode="auto">
              <a:xfrm>
                <a:off x="4957812"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5" name="Oval 559"/>
              <p:cNvSpPr>
                <a:spLocks noChangeArrowheads="1"/>
              </p:cNvSpPr>
              <p:nvPr/>
            </p:nvSpPr>
            <p:spPr bwMode="auto">
              <a:xfrm>
                <a:off x="4957812" y="296039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6" name="Oval 560"/>
              <p:cNvSpPr>
                <a:spLocks noChangeArrowheads="1"/>
              </p:cNvSpPr>
              <p:nvPr/>
            </p:nvSpPr>
            <p:spPr bwMode="auto">
              <a:xfrm>
                <a:off x="4957812" y="30638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7" name="Oval 561"/>
              <p:cNvSpPr>
                <a:spLocks noChangeArrowheads="1"/>
              </p:cNvSpPr>
              <p:nvPr/>
            </p:nvSpPr>
            <p:spPr bwMode="auto">
              <a:xfrm>
                <a:off x="4957812" y="316800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8" name="Oval 562"/>
              <p:cNvSpPr>
                <a:spLocks noChangeArrowheads="1"/>
              </p:cNvSpPr>
              <p:nvPr/>
            </p:nvSpPr>
            <p:spPr bwMode="auto">
              <a:xfrm>
                <a:off x="4957812" y="327145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19" name="Oval 563"/>
              <p:cNvSpPr>
                <a:spLocks noChangeArrowheads="1"/>
              </p:cNvSpPr>
              <p:nvPr/>
            </p:nvSpPr>
            <p:spPr bwMode="auto">
              <a:xfrm>
                <a:off x="4957812" y="337490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0" name="Oval 564"/>
              <p:cNvSpPr>
                <a:spLocks noChangeArrowheads="1"/>
              </p:cNvSpPr>
              <p:nvPr/>
            </p:nvSpPr>
            <p:spPr bwMode="auto">
              <a:xfrm>
                <a:off x="4957812" y="347906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1" name="Oval 565"/>
              <p:cNvSpPr>
                <a:spLocks noChangeArrowheads="1"/>
              </p:cNvSpPr>
              <p:nvPr/>
            </p:nvSpPr>
            <p:spPr bwMode="auto">
              <a:xfrm>
                <a:off x="4957812" y="358251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2" name="Oval 566"/>
              <p:cNvSpPr>
                <a:spLocks noChangeArrowheads="1"/>
              </p:cNvSpPr>
              <p:nvPr/>
            </p:nvSpPr>
            <p:spPr bwMode="auto">
              <a:xfrm>
                <a:off x="4957812" y="368454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3" name="Oval 567"/>
              <p:cNvSpPr>
                <a:spLocks noChangeArrowheads="1"/>
              </p:cNvSpPr>
              <p:nvPr/>
            </p:nvSpPr>
            <p:spPr bwMode="auto">
              <a:xfrm>
                <a:off x="5061971" y="140864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4" name="Oval 568"/>
              <p:cNvSpPr>
                <a:spLocks noChangeArrowheads="1"/>
              </p:cNvSpPr>
              <p:nvPr/>
            </p:nvSpPr>
            <p:spPr bwMode="auto">
              <a:xfrm>
                <a:off x="5061971" y="1510679"/>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5" name="Oval 569"/>
              <p:cNvSpPr>
                <a:spLocks noChangeArrowheads="1"/>
              </p:cNvSpPr>
              <p:nvPr/>
            </p:nvSpPr>
            <p:spPr bwMode="auto">
              <a:xfrm>
                <a:off x="5061971" y="1614129"/>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6" name="Oval 570"/>
              <p:cNvSpPr>
                <a:spLocks noChangeArrowheads="1"/>
              </p:cNvSpPr>
              <p:nvPr/>
            </p:nvSpPr>
            <p:spPr bwMode="auto">
              <a:xfrm>
                <a:off x="5061971" y="171828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7" name="Oval 571"/>
              <p:cNvSpPr>
                <a:spLocks noChangeArrowheads="1"/>
              </p:cNvSpPr>
              <p:nvPr/>
            </p:nvSpPr>
            <p:spPr bwMode="auto">
              <a:xfrm>
                <a:off x="5061971" y="1821738"/>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8" name="Oval 572"/>
              <p:cNvSpPr>
                <a:spLocks noChangeArrowheads="1"/>
              </p:cNvSpPr>
              <p:nvPr/>
            </p:nvSpPr>
            <p:spPr bwMode="auto">
              <a:xfrm>
                <a:off x="5061971" y="192589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29" name="Oval 573"/>
              <p:cNvSpPr>
                <a:spLocks noChangeArrowheads="1"/>
              </p:cNvSpPr>
              <p:nvPr/>
            </p:nvSpPr>
            <p:spPr bwMode="auto">
              <a:xfrm>
                <a:off x="5061971" y="202934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0" name="Oval 574"/>
              <p:cNvSpPr>
                <a:spLocks noChangeArrowheads="1"/>
              </p:cNvSpPr>
              <p:nvPr/>
            </p:nvSpPr>
            <p:spPr bwMode="auto">
              <a:xfrm>
                <a:off x="5061971" y="213350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1" name="Oval 575"/>
              <p:cNvSpPr>
                <a:spLocks noChangeArrowheads="1"/>
              </p:cNvSpPr>
              <p:nvPr/>
            </p:nvSpPr>
            <p:spPr bwMode="auto">
              <a:xfrm>
                <a:off x="5061971" y="223553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2" name="Oval 576"/>
              <p:cNvSpPr>
                <a:spLocks noChangeArrowheads="1"/>
              </p:cNvSpPr>
              <p:nvPr/>
            </p:nvSpPr>
            <p:spPr bwMode="auto">
              <a:xfrm>
                <a:off x="5061971" y="233898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3" name="Oval 577"/>
              <p:cNvSpPr>
                <a:spLocks noChangeArrowheads="1"/>
              </p:cNvSpPr>
              <p:nvPr/>
            </p:nvSpPr>
            <p:spPr bwMode="auto">
              <a:xfrm>
                <a:off x="5061971" y="244314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4" name="Oval 578"/>
              <p:cNvSpPr>
                <a:spLocks noChangeArrowheads="1"/>
              </p:cNvSpPr>
              <p:nvPr/>
            </p:nvSpPr>
            <p:spPr bwMode="auto">
              <a:xfrm>
                <a:off x="5061971" y="254659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5" name="Oval 579"/>
              <p:cNvSpPr>
                <a:spLocks noChangeArrowheads="1"/>
              </p:cNvSpPr>
              <p:nvPr/>
            </p:nvSpPr>
            <p:spPr bwMode="auto">
              <a:xfrm>
                <a:off x="5061971" y="265075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6" name="Oval 580"/>
              <p:cNvSpPr>
                <a:spLocks noChangeArrowheads="1"/>
              </p:cNvSpPr>
              <p:nvPr/>
            </p:nvSpPr>
            <p:spPr bwMode="auto">
              <a:xfrm>
                <a:off x="5061971" y="275420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7" name="Oval 581"/>
              <p:cNvSpPr>
                <a:spLocks noChangeArrowheads="1"/>
              </p:cNvSpPr>
              <p:nvPr/>
            </p:nvSpPr>
            <p:spPr bwMode="auto">
              <a:xfrm>
                <a:off x="5061971" y="285765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8" name="Oval 582"/>
              <p:cNvSpPr>
                <a:spLocks noChangeArrowheads="1"/>
              </p:cNvSpPr>
              <p:nvPr/>
            </p:nvSpPr>
            <p:spPr bwMode="auto">
              <a:xfrm>
                <a:off x="5061971" y="296039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39" name="Oval 583"/>
              <p:cNvSpPr>
                <a:spLocks noChangeArrowheads="1"/>
              </p:cNvSpPr>
              <p:nvPr/>
            </p:nvSpPr>
            <p:spPr bwMode="auto">
              <a:xfrm>
                <a:off x="5061971" y="306384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0" name="Oval 584"/>
              <p:cNvSpPr>
                <a:spLocks noChangeArrowheads="1"/>
              </p:cNvSpPr>
              <p:nvPr/>
            </p:nvSpPr>
            <p:spPr bwMode="auto">
              <a:xfrm>
                <a:off x="5061971" y="316800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1" name="Oval 585"/>
              <p:cNvSpPr>
                <a:spLocks noChangeArrowheads="1"/>
              </p:cNvSpPr>
              <p:nvPr/>
            </p:nvSpPr>
            <p:spPr bwMode="auto">
              <a:xfrm>
                <a:off x="5061971" y="327145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2" name="Oval 586"/>
              <p:cNvSpPr>
                <a:spLocks noChangeArrowheads="1"/>
              </p:cNvSpPr>
              <p:nvPr/>
            </p:nvSpPr>
            <p:spPr bwMode="auto">
              <a:xfrm>
                <a:off x="5061971" y="337490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3" name="Oval 587"/>
              <p:cNvSpPr>
                <a:spLocks noChangeArrowheads="1"/>
              </p:cNvSpPr>
              <p:nvPr/>
            </p:nvSpPr>
            <p:spPr bwMode="auto">
              <a:xfrm>
                <a:off x="5061971" y="347906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4" name="Oval 588"/>
              <p:cNvSpPr>
                <a:spLocks noChangeArrowheads="1"/>
              </p:cNvSpPr>
              <p:nvPr/>
            </p:nvSpPr>
            <p:spPr bwMode="auto">
              <a:xfrm>
                <a:off x="5166838"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5" name="Oval 589"/>
              <p:cNvSpPr>
                <a:spLocks noChangeArrowheads="1"/>
              </p:cNvSpPr>
              <p:nvPr/>
            </p:nvSpPr>
            <p:spPr bwMode="auto">
              <a:xfrm>
                <a:off x="5166838"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6" name="Oval 590"/>
              <p:cNvSpPr>
                <a:spLocks noChangeArrowheads="1"/>
              </p:cNvSpPr>
              <p:nvPr/>
            </p:nvSpPr>
            <p:spPr bwMode="auto">
              <a:xfrm>
                <a:off x="5166838"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7" name="Oval 591"/>
              <p:cNvSpPr>
                <a:spLocks noChangeArrowheads="1"/>
              </p:cNvSpPr>
              <p:nvPr/>
            </p:nvSpPr>
            <p:spPr bwMode="auto">
              <a:xfrm>
                <a:off x="5166838"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8" name="Oval 592"/>
              <p:cNvSpPr>
                <a:spLocks noChangeArrowheads="1"/>
              </p:cNvSpPr>
              <p:nvPr/>
            </p:nvSpPr>
            <p:spPr bwMode="auto">
              <a:xfrm>
                <a:off x="5166838"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49" name="Oval 593"/>
              <p:cNvSpPr>
                <a:spLocks noChangeArrowheads="1"/>
              </p:cNvSpPr>
              <p:nvPr/>
            </p:nvSpPr>
            <p:spPr bwMode="auto">
              <a:xfrm>
                <a:off x="5166838"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0" name="Oval 594"/>
              <p:cNvSpPr>
                <a:spLocks noChangeArrowheads="1"/>
              </p:cNvSpPr>
              <p:nvPr/>
            </p:nvSpPr>
            <p:spPr bwMode="auto">
              <a:xfrm>
                <a:off x="5166838"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1" name="Oval 595"/>
              <p:cNvSpPr>
                <a:spLocks noChangeArrowheads="1"/>
              </p:cNvSpPr>
              <p:nvPr/>
            </p:nvSpPr>
            <p:spPr bwMode="auto">
              <a:xfrm>
                <a:off x="5166838"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2" name="Oval 596"/>
              <p:cNvSpPr>
                <a:spLocks noChangeArrowheads="1"/>
              </p:cNvSpPr>
              <p:nvPr/>
            </p:nvSpPr>
            <p:spPr bwMode="auto">
              <a:xfrm>
                <a:off x="5166838"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3" name="Oval 597"/>
              <p:cNvSpPr>
                <a:spLocks noChangeArrowheads="1"/>
              </p:cNvSpPr>
              <p:nvPr/>
            </p:nvSpPr>
            <p:spPr bwMode="auto">
              <a:xfrm>
                <a:off x="5166838"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4" name="Oval 598"/>
              <p:cNvSpPr>
                <a:spLocks noChangeArrowheads="1"/>
              </p:cNvSpPr>
              <p:nvPr/>
            </p:nvSpPr>
            <p:spPr bwMode="auto">
              <a:xfrm>
                <a:off x="5166838"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5" name="Oval 599"/>
              <p:cNvSpPr>
                <a:spLocks noChangeArrowheads="1"/>
              </p:cNvSpPr>
              <p:nvPr/>
            </p:nvSpPr>
            <p:spPr bwMode="auto">
              <a:xfrm>
                <a:off x="5166838"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6" name="Oval 600"/>
              <p:cNvSpPr>
                <a:spLocks noChangeArrowheads="1"/>
              </p:cNvSpPr>
              <p:nvPr/>
            </p:nvSpPr>
            <p:spPr bwMode="auto">
              <a:xfrm>
                <a:off x="5166838"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7" name="Oval 601"/>
              <p:cNvSpPr>
                <a:spLocks noChangeArrowheads="1"/>
              </p:cNvSpPr>
              <p:nvPr/>
            </p:nvSpPr>
            <p:spPr bwMode="auto">
              <a:xfrm>
                <a:off x="5166838"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8" name="Oval 602"/>
              <p:cNvSpPr>
                <a:spLocks noChangeArrowheads="1"/>
              </p:cNvSpPr>
              <p:nvPr/>
            </p:nvSpPr>
            <p:spPr bwMode="auto">
              <a:xfrm>
                <a:off x="5166838" y="296039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59" name="Oval 603"/>
              <p:cNvSpPr>
                <a:spLocks noChangeArrowheads="1"/>
              </p:cNvSpPr>
              <p:nvPr/>
            </p:nvSpPr>
            <p:spPr bwMode="auto">
              <a:xfrm>
                <a:off x="5166838" y="30638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0" name="Oval 604"/>
              <p:cNvSpPr>
                <a:spLocks noChangeArrowheads="1"/>
              </p:cNvSpPr>
              <p:nvPr/>
            </p:nvSpPr>
            <p:spPr bwMode="auto">
              <a:xfrm>
                <a:off x="5166838" y="347906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1" name="Oval 605"/>
              <p:cNvSpPr>
                <a:spLocks noChangeArrowheads="1"/>
              </p:cNvSpPr>
              <p:nvPr/>
            </p:nvSpPr>
            <p:spPr bwMode="auto">
              <a:xfrm>
                <a:off x="5166838" y="358251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2" name="Oval 606"/>
              <p:cNvSpPr>
                <a:spLocks noChangeArrowheads="1"/>
              </p:cNvSpPr>
              <p:nvPr/>
            </p:nvSpPr>
            <p:spPr bwMode="auto">
              <a:xfrm>
                <a:off x="5166838" y="368454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63" name="Oval 607"/>
              <p:cNvSpPr>
                <a:spLocks noChangeArrowheads="1"/>
              </p:cNvSpPr>
              <p:nvPr/>
            </p:nvSpPr>
            <p:spPr bwMode="auto">
              <a:xfrm>
                <a:off x="5270997"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64" name="Oval 609"/>
              <p:cNvSpPr>
                <a:spLocks noChangeArrowheads="1"/>
              </p:cNvSpPr>
              <p:nvPr/>
            </p:nvSpPr>
            <p:spPr bwMode="auto">
              <a:xfrm>
                <a:off x="5270997"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65" name="Oval 610"/>
              <p:cNvSpPr>
                <a:spLocks noChangeArrowheads="1"/>
              </p:cNvSpPr>
              <p:nvPr/>
            </p:nvSpPr>
            <p:spPr bwMode="auto">
              <a:xfrm>
                <a:off x="5270997"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66" name="Oval 611"/>
              <p:cNvSpPr>
                <a:spLocks noChangeArrowheads="1"/>
              </p:cNvSpPr>
              <p:nvPr/>
            </p:nvSpPr>
            <p:spPr bwMode="auto">
              <a:xfrm>
                <a:off x="5270997"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67" name="Oval 612"/>
              <p:cNvSpPr>
                <a:spLocks noChangeArrowheads="1"/>
              </p:cNvSpPr>
              <p:nvPr/>
            </p:nvSpPr>
            <p:spPr bwMode="auto">
              <a:xfrm>
                <a:off x="5270997"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68" name="Oval 613"/>
              <p:cNvSpPr>
                <a:spLocks noChangeArrowheads="1"/>
              </p:cNvSpPr>
              <p:nvPr/>
            </p:nvSpPr>
            <p:spPr bwMode="auto">
              <a:xfrm>
                <a:off x="5270997"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69" name="Oval 614"/>
              <p:cNvSpPr>
                <a:spLocks noChangeArrowheads="1"/>
              </p:cNvSpPr>
              <p:nvPr/>
            </p:nvSpPr>
            <p:spPr bwMode="auto">
              <a:xfrm>
                <a:off x="5270997"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0" name="Oval 615"/>
              <p:cNvSpPr>
                <a:spLocks noChangeArrowheads="1"/>
              </p:cNvSpPr>
              <p:nvPr/>
            </p:nvSpPr>
            <p:spPr bwMode="auto">
              <a:xfrm>
                <a:off x="5270997"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1" name="Oval 616"/>
              <p:cNvSpPr>
                <a:spLocks noChangeArrowheads="1"/>
              </p:cNvSpPr>
              <p:nvPr/>
            </p:nvSpPr>
            <p:spPr bwMode="auto">
              <a:xfrm>
                <a:off x="5270997"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2" name="Oval 617"/>
              <p:cNvSpPr>
                <a:spLocks noChangeArrowheads="1"/>
              </p:cNvSpPr>
              <p:nvPr/>
            </p:nvSpPr>
            <p:spPr bwMode="auto">
              <a:xfrm>
                <a:off x="5270997"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3" name="Oval 618"/>
              <p:cNvSpPr>
                <a:spLocks noChangeArrowheads="1"/>
              </p:cNvSpPr>
              <p:nvPr/>
            </p:nvSpPr>
            <p:spPr bwMode="auto">
              <a:xfrm>
                <a:off x="5270997"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4" name="Oval 619"/>
              <p:cNvSpPr>
                <a:spLocks noChangeArrowheads="1"/>
              </p:cNvSpPr>
              <p:nvPr/>
            </p:nvSpPr>
            <p:spPr bwMode="auto">
              <a:xfrm>
                <a:off x="5270997"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5" name="Oval 620"/>
              <p:cNvSpPr>
                <a:spLocks noChangeArrowheads="1"/>
              </p:cNvSpPr>
              <p:nvPr/>
            </p:nvSpPr>
            <p:spPr bwMode="auto">
              <a:xfrm>
                <a:off x="5270997"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6" name="Oval 621"/>
              <p:cNvSpPr>
                <a:spLocks noChangeArrowheads="1"/>
              </p:cNvSpPr>
              <p:nvPr/>
            </p:nvSpPr>
            <p:spPr bwMode="auto">
              <a:xfrm>
                <a:off x="5270997" y="296039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7" name="Oval 622"/>
              <p:cNvSpPr>
                <a:spLocks noChangeArrowheads="1"/>
              </p:cNvSpPr>
              <p:nvPr/>
            </p:nvSpPr>
            <p:spPr bwMode="auto">
              <a:xfrm>
                <a:off x="5376573"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8" name="Oval 623"/>
              <p:cNvSpPr>
                <a:spLocks noChangeArrowheads="1"/>
              </p:cNvSpPr>
              <p:nvPr/>
            </p:nvSpPr>
            <p:spPr bwMode="auto">
              <a:xfrm>
                <a:off x="5376573" y="109687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79" name="Oval 624"/>
              <p:cNvSpPr>
                <a:spLocks noChangeArrowheads="1"/>
              </p:cNvSpPr>
              <p:nvPr/>
            </p:nvSpPr>
            <p:spPr bwMode="auto">
              <a:xfrm>
                <a:off x="5376573" y="120103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0" name="Oval 625"/>
              <p:cNvSpPr>
                <a:spLocks noChangeArrowheads="1"/>
              </p:cNvSpPr>
              <p:nvPr/>
            </p:nvSpPr>
            <p:spPr bwMode="auto">
              <a:xfrm>
                <a:off x="5376573"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1" name="Oval 626"/>
              <p:cNvSpPr>
                <a:spLocks noChangeArrowheads="1"/>
              </p:cNvSpPr>
              <p:nvPr/>
            </p:nvSpPr>
            <p:spPr bwMode="auto">
              <a:xfrm>
                <a:off x="5376573"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2" name="Oval 627"/>
              <p:cNvSpPr>
                <a:spLocks noChangeArrowheads="1"/>
              </p:cNvSpPr>
              <p:nvPr/>
            </p:nvSpPr>
            <p:spPr bwMode="auto">
              <a:xfrm>
                <a:off x="5376573"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3" name="Oval 628"/>
              <p:cNvSpPr>
                <a:spLocks noChangeArrowheads="1"/>
              </p:cNvSpPr>
              <p:nvPr/>
            </p:nvSpPr>
            <p:spPr bwMode="auto">
              <a:xfrm>
                <a:off x="5376573"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4" name="Oval 629"/>
              <p:cNvSpPr>
                <a:spLocks noChangeArrowheads="1"/>
              </p:cNvSpPr>
              <p:nvPr/>
            </p:nvSpPr>
            <p:spPr bwMode="auto">
              <a:xfrm>
                <a:off x="5376573"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5" name="Oval 630"/>
              <p:cNvSpPr>
                <a:spLocks noChangeArrowheads="1"/>
              </p:cNvSpPr>
              <p:nvPr/>
            </p:nvSpPr>
            <p:spPr bwMode="auto">
              <a:xfrm>
                <a:off x="5376573"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6" name="Oval 631"/>
              <p:cNvSpPr>
                <a:spLocks noChangeArrowheads="1"/>
              </p:cNvSpPr>
              <p:nvPr/>
            </p:nvSpPr>
            <p:spPr bwMode="auto">
              <a:xfrm>
                <a:off x="5376573"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7" name="Oval 632"/>
              <p:cNvSpPr>
                <a:spLocks noChangeArrowheads="1"/>
              </p:cNvSpPr>
              <p:nvPr/>
            </p:nvSpPr>
            <p:spPr bwMode="auto">
              <a:xfrm>
                <a:off x="5376573"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8" name="Oval 633"/>
              <p:cNvSpPr>
                <a:spLocks noChangeArrowheads="1"/>
              </p:cNvSpPr>
              <p:nvPr/>
            </p:nvSpPr>
            <p:spPr bwMode="auto">
              <a:xfrm>
                <a:off x="5376573"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89" name="Oval 634"/>
              <p:cNvSpPr>
                <a:spLocks noChangeArrowheads="1"/>
              </p:cNvSpPr>
              <p:nvPr/>
            </p:nvSpPr>
            <p:spPr bwMode="auto">
              <a:xfrm>
                <a:off x="5376573"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0" name="Oval 635"/>
              <p:cNvSpPr>
                <a:spLocks noChangeArrowheads="1"/>
              </p:cNvSpPr>
              <p:nvPr/>
            </p:nvSpPr>
            <p:spPr bwMode="auto">
              <a:xfrm>
                <a:off x="5376573"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1" name="Oval 636"/>
              <p:cNvSpPr>
                <a:spLocks noChangeArrowheads="1"/>
              </p:cNvSpPr>
              <p:nvPr/>
            </p:nvSpPr>
            <p:spPr bwMode="auto">
              <a:xfrm>
                <a:off x="5376573"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2" name="Oval 637"/>
              <p:cNvSpPr>
                <a:spLocks noChangeArrowheads="1"/>
              </p:cNvSpPr>
              <p:nvPr/>
            </p:nvSpPr>
            <p:spPr bwMode="auto">
              <a:xfrm>
                <a:off x="5376573"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3" name="Oval 638"/>
              <p:cNvSpPr>
                <a:spLocks noChangeArrowheads="1"/>
              </p:cNvSpPr>
              <p:nvPr/>
            </p:nvSpPr>
            <p:spPr bwMode="auto">
              <a:xfrm>
                <a:off x="5376573"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4" name="Oval 639"/>
              <p:cNvSpPr>
                <a:spLocks noChangeArrowheads="1"/>
              </p:cNvSpPr>
              <p:nvPr/>
            </p:nvSpPr>
            <p:spPr bwMode="auto">
              <a:xfrm>
                <a:off x="5480023"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5" name="Oval 640"/>
              <p:cNvSpPr>
                <a:spLocks noChangeArrowheads="1"/>
              </p:cNvSpPr>
              <p:nvPr/>
            </p:nvSpPr>
            <p:spPr bwMode="auto">
              <a:xfrm>
                <a:off x="5480023" y="109687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6" name="Oval 641"/>
              <p:cNvSpPr>
                <a:spLocks noChangeArrowheads="1"/>
              </p:cNvSpPr>
              <p:nvPr/>
            </p:nvSpPr>
            <p:spPr bwMode="auto">
              <a:xfrm>
                <a:off x="5480023"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7" name="Oval 642"/>
              <p:cNvSpPr>
                <a:spLocks noChangeArrowheads="1"/>
              </p:cNvSpPr>
              <p:nvPr/>
            </p:nvSpPr>
            <p:spPr bwMode="auto">
              <a:xfrm>
                <a:off x="5480023"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8" name="Oval 643"/>
              <p:cNvSpPr>
                <a:spLocks noChangeArrowheads="1"/>
              </p:cNvSpPr>
              <p:nvPr/>
            </p:nvSpPr>
            <p:spPr bwMode="auto">
              <a:xfrm>
                <a:off x="5480023"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99" name="Oval 644"/>
              <p:cNvSpPr>
                <a:spLocks noChangeArrowheads="1"/>
              </p:cNvSpPr>
              <p:nvPr/>
            </p:nvSpPr>
            <p:spPr bwMode="auto">
              <a:xfrm>
                <a:off x="5480023"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0" name="Oval 645"/>
              <p:cNvSpPr>
                <a:spLocks noChangeArrowheads="1"/>
              </p:cNvSpPr>
              <p:nvPr/>
            </p:nvSpPr>
            <p:spPr bwMode="auto">
              <a:xfrm>
                <a:off x="5480023"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1" name="Oval 646"/>
              <p:cNvSpPr>
                <a:spLocks noChangeArrowheads="1"/>
              </p:cNvSpPr>
              <p:nvPr/>
            </p:nvSpPr>
            <p:spPr bwMode="auto">
              <a:xfrm>
                <a:off x="5480023"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2" name="Oval 647"/>
              <p:cNvSpPr>
                <a:spLocks noChangeArrowheads="1"/>
              </p:cNvSpPr>
              <p:nvPr/>
            </p:nvSpPr>
            <p:spPr bwMode="auto">
              <a:xfrm>
                <a:off x="5480023"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3" name="Oval 648"/>
              <p:cNvSpPr>
                <a:spLocks noChangeArrowheads="1"/>
              </p:cNvSpPr>
              <p:nvPr/>
            </p:nvSpPr>
            <p:spPr bwMode="auto">
              <a:xfrm>
                <a:off x="5480023"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4" name="Oval 649"/>
              <p:cNvSpPr>
                <a:spLocks noChangeArrowheads="1"/>
              </p:cNvSpPr>
              <p:nvPr/>
            </p:nvSpPr>
            <p:spPr bwMode="auto">
              <a:xfrm>
                <a:off x="5480023"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5" name="Oval 650"/>
              <p:cNvSpPr>
                <a:spLocks noChangeArrowheads="1"/>
              </p:cNvSpPr>
              <p:nvPr/>
            </p:nvSpPr>
            <p:spPr bwMode="auto">
              <a:xfrm>
                <a:off x="5480023"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6" name="Oval 651"/>
              <p:cNvSpPr>
                <a:spLocks noChangeArrowheads="1"/>
              </p:cNvSpPr>
              <p:nvPr/>
            </p:nvSpPr>
            <p:spPr bwMode="auto">
              <a:xfrm>
                <a:off x="5480023"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7" name="Oval 652"/>
              <p:cNvSpPr>
                <a:spLocks noChangeArrowheads="1"/>
              </p:cNvSpPr>
              <p:nvPr/>
            </p:nvSpPr>
            <p:spPr bwMode="auto">
              <a:xfrm>
                <a:off x="5480023"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8" name="Oval 653"/>
              <p:cNvSpPr>
                <a:spLocks noChangeArrowheads="1"/>
              </p:cNvSpPr>
              <p:nvPr/>
            </p:nvSpPr>
            <p:spPr bwMode="auto">
              <a:xfrm>
                <a:off x="5480023"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09" name="Oval 654"/>
              <p:cNvSpPr>
                <a:spLocks noChangeArrowheads="1"/>
              </p:cNvSpPr>
              <p:nvPr/>
            </p:nvSpPr>
            <p:spPr bwMode="auto">
              <a:xfrm>
                <a:off x="5585599" y="109687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0" name="Oval 655"/>
              <p:cNvSpPr>
                <a:spLocks noChangeArrowheads="1"/>
              </p:cNvSpPr>
              <p:nvPr/>
            </p:nvSpPr>
            <p:spPr bwMode="auto">
              <a:xfrm>
                <a:off x="5585599"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1" name="Oval 656"/>
              <p:cNvSpPr>
                <a:spLocks noChangeArrowheads="1"/>
              </p:cNvSpPr>
              <p:nvPr/>
            </p:nvSpPr>
            <p:spPr bwMode="auto">
              <a:xfrm>
                <a:off x="5585599"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2" name="Oval 657"/>
              <p:cNvSpPr>
                <a:spLocks noChangeArrowheads="1"/>
              </p:cNvSpPr>
              <p:nvPr/>
            </p:nvSpPr>
            <p:spPr bwMode="auto">
              <a:xfrm>
                <a:off x="5585599"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3" name="Oval 658"/>
              <p:cNvSpPr>
                <a:spLocks noChangeArrowheads="1"/>
              </p:cNvSpPr>
              <p:nvPr/>
            </p:nvSpPr>
            <p:spPr bwMode="auto">
              <a:xfrm>
                <a:off x="5585599"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4" name="Oval 659"/>
              <p:cNvSpPr>
                <a:spLocks noChangeArrowheads="1"/>
              </p:cNvSpPr>
              <p:nvPr/>
            </p:nvSpPr>
            <p:spPr bwMode="auto">
              <a:xfrm>
                <a:off x="5585599"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5" name="Oval 660"/>
              <p:cNvSpPr>
                <a:spLocks noChangeArrowheads="1"/>
              </p:cNvSpPr>
              <p:nvPr/>
            </p:nvSpPr>
            <p:spPr bwMode="auto">
              <a:xfrm>
                <a:off x="5585599"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6" name="Oval 661"/>
              <p:cNvSpPr>
                <a:spLocks noChangeArrowheads="1"/>
              </p:cNvSpPr>
              <p:nvPr/>
            </p:nvSpPr>
            <p:spPr bwMode="auto">
              <a:xfrm>
                <a:off x="5585599"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7" name="Oval 662"/>
              <p:cNvSpPr>
                <a:spLocks noChangeArrowheads="1"/>
              </p:cNvSpPr>
              <p:nvPr/>
            </p:nvSpPr>
            <p:spPr bwMode="auto">
              <a:xfrm>
                <a:off x="5585599"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8" name="Oval 663"/>
              <p:cNvSpPr>
                <a:spLocks noChangeArrowheads="1"/>
              </p:cNvSpPr>
              <p:nvPr/>
            </p:nvSpPr>
            <p:spPr bwMode="auto">
              <a:xfrm>
                <a:off x="5585599"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19" name="Oval 664"/>
              <p:cNvSpPr>
                <a:spLocks noChangeArrowheads="1"/>
              </p:cNvSpPr>
              <p:nvPr/>
            </p:nvSpPr>
            <p:spPr bwMode="auto">
              <a:xfrm>
                <a:off x="5585599"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0" name="Oval 665"/>
              <p:cNvSpPr>
                <a:spLocks noChangeArrowheads="1"/>
              </p:cNvSpPr>
              <p:nvPr/>
            </p:nvSpPr>
            <p:spPr bwMode="auto">
              <a:xfrm>
                <a:off x="5585599"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1" name="Oval 666"/>
              <p:cNvSpPr>
                <a:spLocks noChangeArrowheads="1"/>
              </p:cNvSpPr>
              <p:nvPr/>
            </p:nvSpPr>
            <p:spPr bwMode="auto">
              <a:xfrm>
                <a:off x="5585599"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2" name="Oval 667"/>
              <p:cNvSpPr>
                <a:spLocks noChangeArrowheads="1"/>
              </p:cNvSpPr>
              <p:nvPr/>
            </p:nvSpPr>
            <p:spPr bwMode="auto">
              <a:xfrm>
                <a:off x="5585599"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3" name="Oval 668"/>
              <p:cNvSpPr>
                <a:spLocks noChangeArrowheads="1"/>
              </p:cNvSpPr>
              <p:nvPr/>
            </p:nvSpPr>
            <p:spPr bwMode="auto">
              <a:xfrm>
                <a:off x="5689049" y="120103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4" name="Oval 669"/>
              <p:cNvSpPr>
                <a:spLocks noChangeArrowheads="1"/>
              </p:cNvSpPr>
              <p:nvPr/>
            </p:nvSpPr>
            <p:spPr bwMode="auto">
              <a:xfrm>
                <a:off x="5689049"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5" name="Oval 670"/>
              <p:cNvSpPr>
                <a:spLocks noChangeArrowheads="1"/>
              </p:cNvSpPr>
              <p:nvPr/>
            </p:nvSpPr>
            <p:spPr bwMode="auto">
              <a:xfrm>
                <a:off x="5689049"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6" name="Oval 671"/>
              <p:cNvSpPr>
                <a:spLocks noChangeArrowheads="1"/>
              </p:cNvSpPr>
              <p:nvPr/>
            </p:nvSpPr>
            <p:spPr bwMode="auto">
              <a:xfrm>
                <a:off x="5689049"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7" name="Oval 672"/>
              <p:cNvSpPr>
                <a:spLocks noChangeArrowheads="1"/>
              </p:cNvSpPr>
              <p:nvPr/>
            </p:nvSpPr>
            <p:spPr bwMode="auto">
              <a:xfrm>
                <a:off x="5689049"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8" name="Oval 673"/>
              <p:cNvSpPr>
                <a:spLocks noChangeArrowheads="1"/>
              </p:cNvSpPr>
              <p:nvPr/>
            </p:nvSpPr>
            <p:spPr bwMode="auto">
              <a:xfrm>
                <a:off x="5689049"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29" name="Oval 674"/>
              <p:cNvSpPr>
                <a:spLocks noChangeArrowheads="1"/>
              </p:cNvSpPr>
              <p:nvPr/>
            </p:nvSpPr>
            <p:spPr bwMode="auto">
              <a:xfrm>
                <a:off x="5689049"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0" name="Oval 675"/>
              <p:cNvSpPr>
                <a:spLocks noChangeArrowheads="1"/>
              </p:cNvSpPr>
              <p:nvPr/>
            </p:nvSpPr>
            <p:spPr bwMode="auto">
              <a:xfrm>
                <a:off x="5689049"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1" name="Oval 676"/>
              <p:cNvSpPr>
                <a:spLocks noChangeArrowheads="1"/>
              </p:cNvSpPr>
              <p:nvPr/>
            </p:nvSpPr>
            <p:spPr bwMode="auto">
              <a:xfrm>
                <a:off x="5689049"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2" name="Oval 677"/>
              <p:cNvSpPr>
                <a:spLocks noChangeArrowheads="1"/>
              </p:cNvSpPr>
              <p:nvPr/>
            </p:nvSpPr>
            <p:spPr bwMode="auto">
              <a:xfrm>
                <a:off x="5689049"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3" name="Oval 678"/>
              <p:cNvSpPr>
                <a:spLocks noChangeArrowheads="1"/>
              </p:cNvSpPr>
              <p:nvPr/>
            </p:nvSpPr>
            <p:spPr bwMode="auto">
              <a:xfrm>
                <a:off x="5689049"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4" name="Oval 679"/>
              <p:cNvSpPr>
                <a:spLocks noChangeArrowheads="1"/>
              </p:cNvSpPr>
              <p:nvPr/>
            </p:nvSpPr>
            <p:spPr bwMode="auto">
              <a:xfrm>
                <a:off x="5689049"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5" name="Oval 680"/>
              <p:cNvSpPr>
                <a:spLocks noChangeArrowheads="1"/>
              </p:cNvSpPr>
              <p:nvPr/>
            </p:nvSpPr>
            <p:spPr bwMode="auto">
              <a:xfrm>
                <a:off x="5689049"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6" name="Oval 681"/>
              <p:cNvSpPr>
                <a:spLocks noChangeArrowheads="1"/>
              </p:cNvSpPr>
              <p:nvPr/>
            </p:nvSpPr>
            <p:spPr bwMode="auto">
              <a:xfrm>
                <a:off x="5689049"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7" name="Oval 682"/>
              <p:cNvSpPr>
                <a:spLocks noChangeArrowheads="1"/>
              </p:cNvSpPr>
              <p:nvPr/>
            </p:nvSpPr>
            <p:spPr bwMode="auto">
              <a:xfrm>
                <a:off x="5689049"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8" name="Oval 683"/>
              <p:cNvSpPr>
                <a:spLocks noChangeArrowheads="1"/>
              </p:cNvSpPr>
              <p:nvPr/>
            </p:nvSpPr>
            <p:spPr bwMode="auto">
              <a:xfrm>
                <a:off x="5689049"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39" name="Oval 684"/>
              <p:cNvSpPr>
                <a:spLocks noChangeArrowheads="1"/>
              </p:cNvSpPr>
              <p:nvPr/>
            </p:nvSpPr>
            <p:spPr bwMode="auto">
              <a:xfrm>
                <a:off x="5794625" y="120103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0" name="Oval 685"/>
              <p:cNvSpPr>
                <a:spLocks noChangeArrowheads="1"/>
              </p:cNvSpPr>
              <p:nvPr/>
            </p:nvSpPr>
            <p:spPr bwMode="auto">
              <a:xfrm>
                <a:off x="5794625"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1" name="Oval 686"/>
              <p:cNvSpPr>
                <a:spLocks noChangeArrowheads="1"/>
              </p:cNvSpPr>
              <p:nvPr/>
            </p:nvSpPr>
            <p:spPr bwMode="auto">
              <a:xfrm>
                <a:off x="5794625"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2" name="Oval 687"/>
              <p:cNvSpPr>
                <a:spLocks noChangeArrowheads="1"/>
              </p:cNvSpPr>
              <p:nvPr/>
            </p:nvSpPr>
            <p:spPr bwMode="auto">
              <a:xfrm>
                <a:off x="5794625"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3" name="Oval 688"/>
              <p:cNvSpPr>
                <a:spLocks noChangeArrowheads="1"/>
              </p:cNvSpPr>
              <p:nvPr/>
            </p:nvSpPr>
            <p:spPr bwMode="auto">
              <a:xfrm>
                <a:off x="5794625"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4" name="Oval 689"/>
              <p:cNvSpPr>
                <a:spLocks noChangeArrowheads="1"/>
              </p:cNvSpPr>
              <p:nvPr/>
            </p:nvSpPr>
            <p:spPr bwMode="auto">
              <a:xfrm>
                <a:off x="5794625"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5" name="Oval 690"/>
              <p:cNvSpPr>
                <a:spLocks noChangeArrowheads="1"/>
              </p:cNvSpPr>
              <p:nvPr/>
            </p:nvSpPr>
            <p:spPr bwMode="auto">
              <a:xfrm>
                <a:off x="5794625"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6" name="Oval 691"/>
              <p:cNvSpPr>
                <a:spLocks noChangeArrowheads="1"/>
              </p:cNvSpPr>
              <p:nvPr/>
            </p:nvSpPr>
            <p:spPr bwMode="auto">
              <a:xfrm>
                <a:off x="5794625"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7" name="Oval 692"/>
              <p:cNvSpPr>
                <a:spLocks noChangeArrowheads="1"/>
              </p:cNvSpPr>
              <p:nvPr/>
            </p:nvSpPr>
            <p:spPr bwMode="auto">
              <a:xfrm>
                <a:off x="5794625"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8" name="Oval 693"/>
              <p:cNvSpPr>
                <a:spLocks noChangeArrowheads="1"/>
              </p:cNvSpPr>
              <p:nvPr/>
            </p:nvSpPr>
            <p:spPr bwMode="auto">
              <a:xfrm>
                <a:off x="5794625"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49" name="Oval 694"/>
              <p:cNvSpPr>
                <a:spLocks noChangeArrowheads="1"/>
              </p:cNvSpPr>
              <p:nvPr/>
            </p:nvSpPr>
            <p:spPr bwMode="auto">
              <a:xfrm>
                <a:off x="5794625"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0" name="Oval 695"/>
              <p:cNvSpPr>
                <a:spLocks noChangeArrowheads="1"/>
              </p:cNvSpPr>
              <p:nvPr/>
            </p:nvSpPr>
            <p:spPr bwMode="auto">
              <a:xfrm>
                <a:off x="5794625"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1" name="Oval 696"/>
              <p:cNvSpPr>
                <a:spLocks noChangeArrowheads="1"/>
              </p:cNvSpPr>
              <p:nvPr/>
            </p:nvSpPr>
            <p:spPr bwMode="auto">
              <a:xfrm>
                <a:off x="5794625"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2" name="Oval 697"/>
              <p:cNvSpPr>
                <a:spLocks noChangeArrowheads="1"/>
              </p:cNvSpPr>
              <p:nvPr/>
            </p:nvSpPr>
            <p:spPr bwMode="auto">
              <a:xfrm>
                <a:off x="5794625"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3" name="Oval 698"/>
              <p:cNvSpPr>
                <a:spLocks noChangeArrowheads="1"/>
              </p:cNvSpPr>
              <p:nvPr/>
            </p:nvSpPr>
            <p:spPr bwMode="auto">
              <a:xfrm>
                <a:off x="5794625"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5" name="Oval 700"/>
              <p:cNvSpPr>
                <a:spLocks noChangeArrowheads="1"/>
              </p:cNvSpPr>
              <p:nvPr/>
            </p:nvSpPr>
            <p:spPr bwMode="auto">
              <a:xfrm>
                <a:off x="5794625"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6" name="Oval 701"/>
              <p:cNvSpPr>
                <a:spLocks noChangeArrowheads="1"/>
              </p:cNvSpPr>
              <p:nvPr/>
            </p:nvSpPr>
            <p:spPr bwMode="auto">
              <a:xfrm>
                <a:off x="5794625" y="296039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7" name="Oval 702"/>
              <p:cNvSpPr>
                <a:spLocks noChangeArrowheads="1"/>
              </p:cNvSpPr>
              <p:nvPr/>
            </p:nvSpPr>
            <p:spPr bwMode="auto">
              <a:xfrm>
                <a:off x="5898783" y="120103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8" name="Oval 703"/>
              <p:cNvSpPr>
                <a:spLocks noChangeArrowheads="1"/>
              </p:cNvSpPr>
              <p:nvPr/>
            </p:nvSpPr>
            <p:spPr bwMode="auto">
              <a:xfrm>
                <a:off x="5898783"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9" name="Oval 704"/>
              <p:cNvSpPr>
                <a:spLocks noChangeArrowheads="1"/>
              </p:cNvSpPr>
              <p:nvPr/>
            </p:nvSpPr>
            <p:spPr bwMode="auto">
              <a:xfrm>
                <a:off x="5898783"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1" name="Oval 706"/>
              <p:cNvSpPr>
                <a:spLocks noChangeArrowheads="1"/>
              </p:cNvSpPr>
              <p:nvPr/>
            </p:nvSpPr>
            <p:spPr bwMode="auto">
              <a:xfrm>
                <a:off x="5898783"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2" name="Oval 707"/>
              <p:cNvSpPr>
                <a:spLocks noChangeArrowheads="1"/>
              </p:cNvSpPr>
              <p:nvPr/>
            </p:nvSpPr>
            <p:spPr bwMode="auto">
              <a:xfrm>
                <a:off x="5898783"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4" name="Oval 709"/>
              <p:cNvSpPr>
                <a:spLocks noChangeArrowheads="1"/>
              </p:cNvSpPr>
              <p:nvPr/>
            </p:nvSpPr>
            <p:spPr bwMode="auto">
              <a:xfrm>
                <a:off x="5898783"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5" name="Oval 710"/>
              <p:cNvSpPr>
                <a:spLocks noChangeArrowheads="1"/>
              </p:cNvSpPr>
              <p:nvPr/>
            </p:nvSpPr>
            <p:spPr bwMode="auto">
              <a:xfrm>
                <a:off x="5898783"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6" name="Oval 711"/>
              <p:cNvSpPr>
                <a:spLocks noChangeArrowheads="1"/>
              </p:cNvSpPr>
              <p:nvPr/>
            </p:nvSpPr>
            <p:spPr bwMode="auto">
              <a:xfrm>
                <a:off x="5898783"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7" name="Oval 712"/>
              <p:cNvSpPr>
                <a:spLocks noChangeArrowheads="1"/>
              </p:cNvSpPr>
              <p:nvPr/>
            </p:nvSpPr>
            <p:spPr bwMode="auto">
              <a:xfrm>
                <a:off x="5898783"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8" name="Oval 713"/>
              <p:cNvSpPr>
                <a:spLocks noChangeArrowheads="1"/>
              </p:cNvSpPr>
              <p:nvPr/>
            </p:nvSpPr>
            <p:spPr bwMode="auto">
              <a:xfrm>
                <a:off x="5898783"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0" name="Oval 715"/>
              <p:cNvSpPr>
                <a:spLocks noChangeArrowheads="1"/>
              </p:cNvSpPr>
              <p:nvPr/>
            </p:nvSpPr>
            <p:spPr bwMode="auto">
              <a:xfrm>
                <a:off x="5898783"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1" name="Oval 716"/>
              <p:cNvSpPr>
                <a:spLocks noChangeArrowheads="1"/>
              </p:cNvSpPr>
              <p:nvPr/>
            </p:nvSpPr>
            <p:spPr bwMode="auto">
              <a:xfrm>
                <a:off x="5898783"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2" name="Oval 717"/>
              <p:cNvSpPr>
                <a:spLocks noChangeArrowheads="1"/>
              </p:cNvSpPr>
              <p:nvPr/>
            </p:nvSpPr>
            <p:spPr bwMode="auto">
              <a:xfrm>
                <a:off x="5898783"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5" name="Oval 720"/>
              <p:cNvSpPr>
                <a:spLocks noChangeArrowheads="1"/>
              </p:cNvSpPr>
              <p:nvPr/>
            </p:nvSpPr>
            <p:spPr bwMode="auto">
              <a:xfrm>
                <a:off x="6003651" y="120103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6" name="Oval 721"/>
              <p:cNvSpPr>
                <a:spLocks noChangeArrowheads="1"/>
              </p:cNvSpPr>
              <p:nvPr/>
            </p:nvSpPr>
            <p:spPr bwMode="auto">
              <a:xfrm>
                <a:off x="6003651"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7" name="Oval 722"/>
              <p:cNvSpPr>
                <a:spLocks noChangeArrowheads="1"/>
              </p:cNvSpPr>
              <p:nvPr/>
            </p:nvSpPr>
            <p:spPr bwMode="auto">
              <a:xfrm>
                <a:off x="6003651"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8" name="Oval 723"/>
              <p:cNvSpPr>
                <a:spLocks noChangeArrowheads="1"/>
              </p:cNvSpPr>
              <p:nvPr/>
            </p:nvSpPr>
            <p:spPr bwMode="auto">
              <a:xfrm>
                <a:off x="6003651"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9" name="Oval 724"/>
              <p:cNvSpPr>
                <a:spLocks noChangeArrowheads="1"/>
              </p:cNvSpPr>
              <p:nvPr/>
            </p:nvSpPr>
            <p:spPr bwMode="auto">
              <a:xfrm>
                <a:off x="6003651"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0" name="Oval 725"/>
              <p:cNvSpPr>
                <a:spLocks noChangeArrowheads="1"/>
              </p:cNvSpPr>
              <p:nvPr/>
            </p:nvSpPr>
            <p:spPr bwMode="auto">
              <a:xfrm>
                <a:off x="6003651"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1" name="Oval 726"/>
              <p:cNvSpPr>
                <a:spLocks noChangeArrowheads="1"/>
              </p:cNvSpPr>
              <p:nvPr/>
            </p:nvSpPr>
            <p:spPr bwMode="auto">
              <a:xfrm>
                <a:off x="6003651"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2" name="Oval 727"/>
              <p:cNvSpPr>
                <a:spLocks noChangeArrowheads="1"/>
              </p:cNvSpPr>
              <p:nvPr/>
            </p:nvSpPr>
            <p:spPr bwMode="auto">
              <a:xfrm>
                <a:off x="6003651"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3" name="Oval 728"/>
              <p:cNvSpPr>
                <a:spLocks noChangeArrowheads="1"/>
              </p:cNvSpPr>
              <p:nvPr/>
            </p:nvSpPr>
            <p:spPr bwMode="auto">
              <a:xfrm>
                <a:off x="6003651"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4" name="Oval 729"/>
              <p:cNvSpPr>
                <a:spLocks noChangeArrowheads="1"/>
              </p:cNvSpPr>
              <p:nvPr/>
            </p:nvSpPr>
            <p:spPr bwMode="auto">
              <a:xfrm>
                <a:off x="6003651"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5" name="Oval 730"/>
              <p:cNvSpPr>
                <a:spLocks noChangeArrowheads="1"/>
              </p:cNvSpPr>
              <p:nvPr/>
            </p:nvSpPr>
            <p:spPr bwMode="auto">
              <a:xfrm>
                <a:off x="6003651"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6" name="Oval 731"/>
              <p:cNvSpPr>
                <a:spLocks noChangeArrowheads="1"/>
              </p:cNvSpPr>
              <p:nvPr/>
            </p:nvSpPr>
            <p:spPr bwMode="auto">
              <a:xfrm>
                <a:off x="6003651"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7" name="Oval 732"/>
              <p:cNvSpPr>
                <a:spLocks noChangeArrowheads="1"/>
              </p:cNvSpPr>
              <p:nvPr/>
            </p:nvSpPr>
            <p:spPr bwMode="auto">
              <a:xfrm>
                <a:off x="6003651"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8" name="Oval 733"/>
              <p:cNvSpPr>
                <a:spLocks noChangeArrowheads="1"/>
              </p:cNvSpPr>
              <p:nvPr/>
            </p:nvSpPr>
            <p:spPr bwMode="auto">
              <a:xfrm>
                <a:off x="6003651"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89" name="Oval 734"/>
              <p:cNvSpPr>
                <a:spLocks noChangeArrowheads="1"/>
              </p:cNvSpPr>
              <p:nvPr/>
            </p:nvSpPr>
            <p:spPr bwMode="auto">
              <a:xfrm>
                <a:off x="6003651"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0" name="Oval 735"/>
              <p:cNvSpPr>
                <a:spLocks noChangeArrowheads="1"/>
              </p:cNvSpPr>
              <p:nvPr/>
            </p:nvSpPr>
            <p:spPr bwMode="auto">
              <a:xfrm>
                <a:off x="6107809"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1" name="Oval 736"/>
              <p:cNvSpPr>
                <a:spLocks noChangeArrowheads="1"/>
              </p:cNvSpPr>
              <p:nvPr/>
            </p:nvSpPr>
            <p:spPr bwMode="auto">
              <a:xfrm>
                <a:off x="6107809" y="109687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2" name="Oval 737"/>
              <p:cNvSpPr>
                <a:spLocks noChangeArrowheads="1"/>
              </p:cNvSpPr>
              <p:nvPr/>
            </p:nvSpPr>
            <p:spPr bwMode="auto">
              <a:xfrm>
                <a:off x="6107809" y="120103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4" name="Oval 739"/>
              <p:cNvSpPr>
                <a:spLocks noChangeArrowheads="1"/>
              </p:cNvSpPr>
              <p:nvPr/>
            </p:nvSpPr>
            <p:spPr bwMode="auto">
              <a:xfrm>
                <a:off x="6107809"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5" name="Oval 740"/>
              <p:cNvSpPr>
                <a:spLocks noChangeArrowheads="1"/>
              </p:cNvSpPr>
              <p:nvPr/>
            </p:nvSpPr>
            <p:spPr bwMode="auto">
              <a:xfrm>
                <a:off x="6107809"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6" name="Oval 741"/>
              <p:cNvSpPr>
                <a:spLocks noChangeArrowheads="1"/>
              </p:cNvSpPr>
              <p:nvPr/>
            </p:nvSpPr>
            <p:spPr bwMode="auto">
              <a:xfrm>
                <a:off x="6107809"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7" name="Oval 742"/>
              <p:cNvSpPr>
                <a:spLocks noChangeArrowheads="1"/>
              </p:cNvSpPr>
              <p:nvPr/>
            </p:nvSpPr>
            <p:spPr bwMode="auto">
              <a:xfrm>
                <a:off x="6107809"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8" name="Oval 743"/>
              <p:cNvSpPr>
                <a:spLocks noChangeArrowheads="1"/>
              </p:cNvSpPr>
              <p:nvPr/>
            </p:nvSpPr>
            <p:spPr bwMode="auto">
              <a:xfrm>
                <a:off x="6107809"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9" name="Oval 744"/>
              <p:cNvSpPr>
                <a:spLocks noChangeArrowheads="1"/>
              </p:cNvSpPr>
              <p:nvPr/>
            </p:nvSpPr>
            <p:spPr bwMode="auto">
              <a:xfrm>
                <a:off x="6107809"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0" name="Oval 745"/>
              <p:cNvSpPr>
                <a:spLocks noChangeArrowheads="1"/>
              </p:cNvSpPr>
              <p:nvPr/>
            </p:nvSpPr>
            <p:spPr bwMode="auto">
              <a:xfrm>
                <a:off x="6107809"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1" name="Oval 746"/>
              <p:cNvSpPr>
                <a:spLocks noChangeArrowheads="1"/>
              </p:cNvSpPr>
              <p:nvPr/>
            </p:nvSpPr>
            <p:spPr bwMode="auto">
              <a:xfrm>
                <a:off x="6107809"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2" name="Oval 747"/>
              <p:cNvSpPr>
                <a:spLocks noChangeArrowheads="1"/>
              </p:cNvSpPr>
              <p:nvPr/>
            </p:nvSpPr>
            <p:spPr bwMode="auto">
              <a:xfrm>
                <a:off x="6107809"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4" name="Oval 749"/>
              <p:cNvSpPr>
                <a:spLocks noChangeArrowheads="1"/>
              </p:cNvSpPr>
              <p:nvPr/>
            </p:nvSpPr>
            <p:spPr bwMode="auto">
              <a:xfrm>
                <a:off x="6107809"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5" name="Oval 750"/>
              <p:cNvSpPr>
                <a:spLocks noChangeArrowheads="1"/>
              </p:cNvSpPr>
              <p:nvPr/>
            </p:nvSpPr>
            <p:spPr bwMode="auto">
              <a:xfrm>
                <a:off x="6107809"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7" name="Oval 752"/>
              <p:cNvSpPr>
                <a:spLocks noChangeArrowheads="1"/>
              </p:cNvSpPr>
              <p:nvPr/>
            </p:nvSpPr>
            <p:spPr bwMode="auto">
              <a:xfrm>
                <a:off x="6107809"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8" name="Oval 753"/>
              <p:cNvSpPr>
                <a:spLocks noChangeArrowheads="1"/>
              </p:cNvSpPr>
              <p:nvPr/>
            </p:nvSpPr>
            <p:spPr bwMode="auto">
              <a:xfrm>
                <a:off x="6213385" y="88926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9" name="Oval 754"/>
              <p:cNvSpPr>
                <a:spLocks noChangeArrowheads="1"/>
              </p:cNvSpPr>
              <p:nvPr/>
            </p:nvSpPr>
            <p:spPr bwMode="auto">
              <a:xfrm>
                <a:off x="6213385" y="993428"/>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0" name="Oval 755"/>
              <p:cNvSpPr>
                <a:spLocks noChangeArrowheads="1"/>
              </p:cNvSpPr>
              <p:nvPr/>
            </p:nvSpPr>
            <p:spPr bwMode="auto">
              <a:xfrm>
                <a:off x="6213385" y="109687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1" name="Oval 756"/>
              <p:cNvSpPr>
                <a:spLocks noChangeArrowheads="1"/>
              </p:cNvSpPr>
              <p:nvPr/>
            </p:nvSpPr>
            <p:spPr bwMode="auto">
              <a:xfrm>
                <a:off x="6213385" y="120103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2" name="Oval 757"/>
              <p:cNvSpPr>
                <a:spLocks noChangeArrowheads="1"/>
              </p:cNvSpPr>
              <p:nvPr/>
            </p:nvSpPr>
            <p:spPr bwMode="auto">
              <a:xfrm>
                <a:off x="6213385"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3" name="Oval 758"/>
              <p:cNvSpPr>
                <a:spLocks noChangeArrowheads="1"/>
              </p:cNvSpPr>
              <p:nvPr/>
            </p:nvSpPr>
            <p:spPr bwMode="auto">
              <a:xfrm>
                <a:off x="6213385"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4" name="Oval 759"/>
              <p:cNvSpPr>
                <a:spLocks noChangeArrowheads="1"/>
              </p:cNvSpPr>
              <p:nvPr/>
            </p:nvSpPr>
            <p:spPr bwMode="auto">
              <a:xfrm>
                <a:off x="6213385"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5" name="Oval 760"/>
              <p:cNvSpPr>
                <a:spLocks noChangeArrowheads="1"/>
              </p:cNvSpPr>
              <p:nvPr/>
            </p:nvSpPr>
            <p:spPr bwMode="auto">
              <a:xfrm>
                <a:off x="6213385"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6" name="Oval 761"/>
              <p:cNvSpPr>
                <a:spLocks noChangeArrowheads="1"/>
              </p:cNvSpPr>
              <p:nvPr/>
            </p:nvSpPr>
            <p:spPr bwMode="auto">
              <a:xfrm>
                <a:off x="6213385"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7" name="Oval 762"/>
              <p:cNvSpPr>
                <a:spLocks noChangeArrowheads="1"/>
              </p:cNvSpPr>
              <p:nvPr/>
            </p:nvSpPr>
            <p:spPr bwMode="auto">
              <a:xfrm>
                <a:off x="6213385"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8" name="Oval 763"/>
              <p:cNvSpPr>
                <a:spLocks noChangeArrowheads="1"/>
              </p:cNvSpPr>
              <p:nvPr/>
            </p:nvSpPr>
            <p:spPr bwMode="auto">
              <a:xfrm>
                <a:off x="6213385"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19" name="Oval 764"/>
              <p:cNvSpPr>
                <a:spLocks noChangeArrowheads="1"/>
              </p:cNvSpPr>
              <p:nvPr/>
            </p:nvSpPr>
            <p:spPr bwMode="auto">
              <a:xfrm>
                <a:off x="6213385"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0" name="Oval 765"/>
              <p:cNvSpPr>
                <a:spLocks noChangeArrowheads="1"/>
              </p:cNvSpPr>
              <p:nvPr/>
            </p:nvSpPr>
            <p:spPr bwMode="auto">
              <a:xfrm>
                <a:off x="6213385"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1" name="Oval 766"/>
              <p:cNvSpPr>
                <a:spLocks noChangeArrowheads="1"/>
              </p:cNvSpPr>
              <p:nvPr/>
            </p:nvSpPr>
            <p:spPr bwMode="auto">
              <a:xfrm>
                <a:off x="6213385"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2" name="Oval 767"/>
              <p:cNvSpPr>
                <a:spLocks noChangeArrowheads="1"/>
              </p:cNvSpPr>
              <p:nvPr/>
            </p:nvSpPr>
            <p:spPr bwMode="auto">
              <a:xfrm>
                <a:off x="6213385"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3" name="Oval 768"/>
              <p:cNvSpPr>
                <a:spLocks noChangeArrowheads="1"/>
              </p:cNvSpPr>
              <p:nvPr/>
            </p:nvSpPr>
            <p:spPr bwMode="auto">
              <a:xfrm>
                <a:off x="6213385"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4" name="Oval 769"/>
              <p:cNvSpPr>
                <a:spLocks noChangeArrowheads="1"/>
              </p:cNvSpPr>
              <p:nvPr/>
            </p:nvSpPr>
            <p:spPr bwMode="auto">
              <a:xfrm>
                <a:off x="6213385"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5" name="Oval 770"/>
              <p:cNvSpPr>
                <a:spLocks noChangeArrowheads="1"/>
              </p:cNvSpPr>
              <p:nvPr/>
            </p:nvSpPr>
            <p:spPr bwMode="auto">
              <a:xfrm>
                <a:off x="6213385"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6" name="Oval 771"/>
              <p:cNvSpPr>
                <a:spLocks noChangeArrowheads="1"/>
              </p:cNvSpPr>
              <p:nvPr/>
            </p:nvSpPr>
            <p:spPr bwMode="auto">
              <a:xfrm>
                <a:off x="6213385"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7" name="Oval 772"/>
              <p:cNvSpPr>
                <a:spLocks noChangeArrowheads="1"/>
              </p:cNvSpPr>
              <p:nvPr/>
            </p:nvSpPr>
            <p:spPr bwMode="auto">
              <a:xfrm>
                <a:off x="6213385"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8" name="Oval 773"/>
              <p:cNvSpPr>
                <a:spLocks noChangeArrowheads="1"/>
              </p:cNvSpPr>
              <p:nvPr/>
            </p:nvSpPr>
            <p:spPr bwMode="auto">
              <a:xfrm>
                <a:off x="6213385" y="30638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29" name="Oval 774"/>
              <p:cNvSpPr>
                <a:spLocks noChangeArrowheads="1"/>
              </p:cNvSpPr>
              <p:nvPr/>
            </p:nvSpPr>
            <p:spPr bwMode="auto">
              <a:xfrm>
                <a:off x="6213385" y="316800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0" name="Oval 775"/>
              <p:cNvSpPr>
                <a:spLocks noChangeArrowheads="1"/>
              </p:cNvSpPr>
              <p:nvPr/>
            </p:nvSpPr>
            <p:spPr bwMode="auto">
              <a:xfrm>
                <a:off x="6316835" y="993428"/>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1" name="Oval 776"/>
              <p:cNvSpPr>
                <a:spLocks noChangeArrowheads="1"/>
              </p:cNvSpPr>
              <p:nvPr/>
            </p:nvSpPr>
            <p:spPr bwMode="auto">
              <a:xfrm>
                <a:off x="6316835" y="109687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2" name="Oval 777"/>
              <p:cNvSpPr>
                <a:spLocks noChangeArrowheads="1"/>
              </p:cNvSpPr>
              <p:nvPr/>
            </p:nvSpPr>
            <p:spPr bwMode="auto">
              <a:xfrm>
                <a:off x="6316835" y="120103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3" name="Oval 778"/>
              <p:cNvSpPr>
                <a:spLocks noChangeArrowheads="1"/>
              </p:cNvSpPr>
              <p:nvPr/>
            </p:nvSpPr>
            <p:spPr bwMode="auto">
              <a:xfrm>
                <a:off x="6316835"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4" name="Oval 779"/>
              <p:cNvSpPr>
                <a:spLocks noChangeArrowheads="1"/>
              </p:cNvSpPr>
              <p:nvPr/>
            </p:nvSpPr>
            <p:spPr bwMode="auto">
              <a:xfrm>
                <a:off x="6316835"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5" name="Oval 780"/>
              <p:cNvSpPr>
                <a:spLocks noChangeArrowheads="1"/>
              </p:cNvSpPr>
              <p:nvPr/>
            </p:nvSpPr>
            <p:spPr bwMode="auto">
              <a:xfrm>
                <a:off x="6316835"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7" name="Oval 782"/>
              <p:cNvSpPr>
                <a:spLocks noChangeArrowheads="1"/>
              </p:cNvSpPr>
              <p:nvPr/>
            </p:nvSpPr>
            <p:spPr bwMode="auto">
              <a:xfrm>
                <a:off x="6316835"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8" name="Oval 783"/>
              <p:cNvSpPr>
                <a:spLocks noChangeArrowheads="1"/>
              </p:cNvSpPr>
              <p:nvPr/>
            </p:nvSpPr>
            <p:spPr bwMode="auto">
              <a:xfrm>
                <a:off x="6316835"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9" name="Oval 784"/>
              <p:cNvSpPr>
                <a:spLocks noChangeArrowheads="1"/>
              </p:cNvSpPr>
              <p:nvPr/>
            </p:nvSpPr>
            <p:spPr bwMode="auto">
              <a:xfrm>
                <a:off x="6316835"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0" name="Oval 785"/>
              <p:cNvSpPr>
                <a:spLocks noChangeArrowheads="1"/>
              </p:cNvSpPr>
              <p:nvPr/>
            </p:nvSpPr>
            <p:spPr bwMode="auto">
              <a:xfrm>
                <a:off x="6316835"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1" name="Oval 786"/>
              <p:cNvSpPr>
                <a:spLocks noChangeArrowheads="1"/>
              </p:cNvSpPr>
              <p:nvPr/>
            </p:nvSpPr>
            <p:spPr bwMode="auto">
              <a:xfrm>
                <a:off x="6316835"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2" name="Oval 787"/>
              <p:cNvSpPr>
                <a:spLocks noChangeArrowheads="1"/>
              </p:cNvSpPr>
              <p:nvPr/>
            </p:nvSpPr>
            <p:spPr bwMode="auto">
              <a:xfrm>
                <a:off x="6316835"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3" name="Oval 788"/>
              <p:cNvSpPr>
                <a:spLocks noChangeArrowheads="1"/>
              </p:cNvSpPr>
              <p:nvPr/>
            </p:nvSpPr>
            <p:spPr bwMode="auto">
              <a:xfrm>
                <a:off x="6316835"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4" name="Oval 789"/>
              <p:cNvSpPr>
                <a:spLocks noChangeArrowheads="1"/>
              </p:cNvSpPr>
              <p:nvPr/>
            </p:nvSpPr>
            <p:spPr bwMode="auto">
              <a:xfrm>
                <a:off x="6316835"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5" name="Oval 790"/>
              <p:cNvSpPr>
                <a:spLocks noChangeArrowheads="1"/>
              </p:cNvSpPr>
              <p:nvPr/>
            </p:nvSpPr>
            <p:spPr bwMode="auto">
              <a:xfrm>
                <a:off x="6316835" y="254659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6" name="Oval 791"/>
              <p:cNvSpPr>
                <a:spLocks noChangeArrowheads="1"/>
              </p:cNvSpPr>
              <p:nvPr/>
            </p:nvSpPr>
            <p:spPr bwMode="auto">
              <a:xfrm>
                <a:off x="6316835"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7" name="Oval 792"/>
              <p:cNvSpPr>
                <a:spLocks noChangeArrowheads="1"/>
              </p:cNvSpPr>
              <p:nvPr/>
            </p:nvSpPr>
            <p:spPr bwMode="auto">
              <a:xfrm>
                <a:off x="6316835"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8" name="Oval 793"/>
              <p:cNvSpPr>
                <a:spLocks noChangeArrowheads="1"/>
              </p:cNvSpPr>
              <p:nvPr/>
            </p:nvSpPr>
            <p:spPr bwMode="auto">
              <a:xfrm>
                <a:off x="6316835"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49" name="Oval 794"/>
              <p:cNvSpPr>
                <a:spLocks noChangeArrowheads="1"/>
              </p:cNvSpPr>
              <p:nvPr/>
            </p:nvSpPr>
            <p:spPr bwMode="auto">
              <a:xfrm>
                <a:off x="6316835" y="296039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0" name="Oval 795"/>
              <p:cNvSpPr>
                <a:spLocks noChangeArrowheads="1"/>
              </p:cNvSpPr>
              <p:nvPr/>
            </p:nvSpPr>
            <p:spPr bwMode="auto">
              <a:xfrm>
                <a:off x="6316835" y="316800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1" name="Oval 796"/>
              <p:cNvSpPr>
                <a:spLocks noChangeArrowheads="1"/>
              </p:cNvSpPr>
              <p:nvPr/>
            </p:nvSpPr>
            <p:spPr bwMode="auto">
              <a:xfrm>
                <a:off x="6316835" y="327145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2" name="Oval 797"/>
              <p:cNvSpPr>
                <a:spLocks noChangeArrowheads="1"/>
              </p:cNvSpPr>
              <p:nvPr/>
            </p:nvSpPr>
            <p:spPr bwMode="auto">
              <a:xfrm>
                <a:off x="6422411" y="109687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3" name="Oval 798"/>
              <p:cNvSpPr>
                <a:spLocks noChangeArrowheads="1"/>
              </p:cNvSpPr>
              <p:nvPr/>
            </p:nvSpPr>
            <p:spPr bwMode="auto">
              <a:xfrm>
                <a:off x="6422411" y="120103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5" name="Oval 800"/>
              <p:cNvSpPr>
                <a:spLocks noChangeArrowheads="1"/>
              </p:cNvSpPr>
              <p:nvPr/>
            </p:nvSpPr>
            <p:spPr bwMode="auto">
              <a:xfrm>
                <a:off x="6422411"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6" name="Oval 801"/>
              <p:cNvSpPr>
                <a:spLocks noChangeArrowheads="1"/>
              </p:cNvSpPr>
              <p:nvPr/>
            </p:nvSpPr>
            <p:spPr bwMode="auto">
              <a:xfrm>
                <a:off x="6422411"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7" name="Oval 802"/>
              <p:cNvSpPr>
                <a:spLocks noChangeArrowheads="1"/>
              </p:cNvSpPr>
              <p:nvPr/>
            </p:nvSpPr>
            <p:spPr bwMode="auto">
              <a:xfrm>
                <a:off x="6422411"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8" name="Oval 803"/>
              <p:cNvSpPr>
                <a:spLocks noChangeArrowheads="1"/>
              </p:cNvSpPr>
              <p:nvPr/>
            </p:nvSpPr>
            <p:spPr bwMode="auto">
              <a:xfrm>
                <a:off x="6422411"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9" name="Oval 804"/>
              <p:cNvSpPr>
                <a:spLocks noChangeArrowheads="1"/>
              </p:cNvSpPr>
              <p:nvPr/>
            </p:nvSpPr>
            <p:spPr bwMode="auto">
              <a:xfrm>
                <a:off x="6422411"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0" name="Oval 805"/>
              <p:cNvSpPr>
                <a:spLocks noChangeArrowheads="1"/>
              </p:cNvSpPr>
              <p:nvPr/>
            </p:nvSpPr>
            <p:spPr bwMode="auto">
              <a:xfrm>
                <a:off x="6422411"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1" name="Oval 806"/>
              <p:cNvSpPr>
                <a:spLocks noChangeArrowheads="1"/>
              </p:cNvSpPr>
              <p:nvPr/>
            </p:nvSpPr>
            <p:spPr bwMode="auto">
              <a:xfrm>
                <a:off x="6422411"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2" name="Oval 807"/>
              <p:cNvSpPr>
                <a:spLocks noChangeArrowheads="1"/>
              </p:cNvSpPr>
              <p:nvPr/>
            </p:nvSpPr>
            <p:spPr bwMode="auto">
              <a:xfrm>
                <a:off x="6422411" y="213350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63" name="Oval 808"/>
              <p:cNvSpPr>
                <a:spLocks noChangeArrowheads="1"/>
              </p:cNvSpPr>
              <p:nvPr/>
            </p:nvSpPr>
            <p:spPr bwMode="auto">
              <a:xfrm>
                <a:off x="6422411"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64" name="Oval 810"/>
              <p:cNvSpPr>
                <a:spLocks noChangeArrowheads="1"/>
              </p:cNvSpPr>
              <p:nvPr/>
            </p:nvSpPr>
            <p:spPr bwMode="auto">
              <a:xfrm>
                <a:off x="6422411" y="233898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65" name="Oval 811"/>
              <p:cNvSpPr>
                <a:spLocks noChangeArrowheads="1"/>
              </p:cNvSpPr>
              <p:nvPr/>
            </p:nvSpPr>
            <p:spPr bwMode="auto">
              <a:xfrm>
                <a:off x="6422411"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66" name="Oval 812"/>
              <p:cNvSpPr>
                <a:spLocks noChangeArrowheads="1"/>
              </p:cNvSpPr>
              <p:nvPr/>
            </p:nvSpPr>
            <p:spPr bwMode="auto">
              <a:xfrm>
                <a:off x="6422411" y="254659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67" name="Oval 813"/>
              <p:cNvSpPr>
                <a:spLocks noChangeArrowheads="1"/>
              </p:cNvSpPr>
              <p:nvPr/>
            </p:nvSpPr>
            <p:spPr bwMode="auto">
              <a:xfrm>
                <a:off x="6422411" y="265075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68" name="Oval 814"/>
              <p:cNvSpPr>
                <a:spLocks noChangeArrowheads="1"/>
              </p:cNvSpPr>
              <p:nvPr/>
            </p:nvSpPr>
            <p:spPr bwMode="auto">
              <a:xfrm>
                <a:off x="6422411" y="285765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69" name="Oval 815"/>
              <p:cNvSpPr>
                <a:spLocks noChangeArrowheads="1"/>
              </p:cNvSpPr>
              <p:nvPr/>
            </p:nvSpPr>
            <p:spPr bwMode="auto">
              <a:xfrm>
                <a:off x="6422411" y="316800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0" name="Oval 816"/>
              <p:cNvSpPr>
                <a:spLocks noChangeArrowheads="1"/>
              </p:cNvSpPr>
              <p:nvPr/>
            </p:nvSpPr>
            <p:spPr bwMode="auto">
              <a:xfrm>
                <a:off x="6422411" y="32714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1" name="Oval 817"/>
              <p:cNvSpPr>
                <a:spLocks noChangeArrowheads="1"/>
              </p:cNvSpPr>
              <p:nvPr/>
            </p:nvSpPr>
            <p:spPr bwMode="auto">
              <a:xfrm>
                <a:off x="6526570" y="1096877"/>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2" name="Oval 818"/>
              <p:cNvSpPr>
                <a:spLocks noChangeArrowheads="1"/>
              </p:cNvSpPr>
              <p:nvPr/>
            </p:nvSpPr>
            <p:spPr bwMode="auto">
              <a:xfrm>
                <a:off x="6526570" y="1201036"/>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3" name="Oval 819"/>
              <p:cNvSpPr>
                <a:spLocks noChangeArrowheads="1"/>
              </p:cNvSpPr>
              <p:nvPr/>
            </p:nvSpPr>
            <p:spPr bwMode="auto">
              <a:xfrm>
                <a:off x="6526570" y="1304486"/>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4" name="Oval 820"/>
              <p:cNvSpPr>
                <a:spLocks noChangeArrowheads="1"/>
              </p:cNvSpPr>
              <p:nvPr/>
            </p:nvSpPr>
            <p:spPr bwMode="auto">
              <a:xfrm>
                <a:off x="6526570" y="1408645"/>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5" name="Oval 821"/>
              <p:cNvSpPr>
                <a:spLocks noChangeArrowheads="1"/>
              </p:cNvSpPr>
              <p:nvPr/>
            </p:nvSpPr>
            <p:spPr bwMode="auto">
              <a:xfrm>
                <a:off x="6526570" y="1510678"/>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6" name="Oval 822"/>
              <p:cNvSpPr>
                <a:spLocks noChangeArrowheads="1"/>
              </p:cNvSpPr>
              <p:nvPr/>
            </p:nvSpPr>
            <p:spPr bwMode="auto">
              <a:xfrm>
                <a:off x="6526570" y="1614128"/>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7" name="Oval 823"/>
              <p:cNvSpPr>
                <a:spLocks noChangeArrowheads="1"/>
              </p:cNvSpPr>
              <p:nvPr/>
            </p:nvSpPr>
            <p:spPr bwMode="auto">
              <a:xfrm>
                <a:off x="6526570" y="1718287"/>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8" name="Oval 824"/>
              <p:cNvSpPr>
                <a:spLocks noChangeArrowheads="1"/>
              </p:cNvSpPr>
              <p:nvPr/>
            </p:nvSpPr>
            <p:spPr bwMode="auto">
              <a:xfrm>
                <a:off x="6526570" y="1821737"/>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79" name="Oval 825"/>
              <p:cNvSpPr>
                <a:spLocks noChangeArrowheads="1"/>
              </p:cNvSpPr>
              <p:nvPr/>
            </p:nvSpPr>
            <p:spPr bwMode="auto">
              <a:xfrm>
                <a:off x="6526570" y="1925895"/>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0" name="Oval 826"/>
              <p:cNvSpPr>
                <a:spLocks noChangeArrowheads="1"/>
              </p:cNvSpPr>
              <p:nvPr/>
            </p:nvSpPr>
            <p:spPr bwMode="auto">
              <a:xfrm>
                <a:off x="6526570" y="2029346"/>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1" name="Oval 827"/>
              <p:cNvSpPr>
                <a:spLocks noChangeArrowheads="1"/>
              </p:cNvSpPr>
              <p:nvPr/>
            </p:nvSpPr>
            <p:spPr bwMode="auto">
              <a:xfrm>
                <a:off x="6526570" y="2133504"/>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2" name="Oval 828"/>
              <p:cNvSpPr>
                <a:spLocks noChangeArrowheads="1"/>
              </p:cNvSpPr>
              <p:nvPr/>
            </p:nvSpPr>
            <p:spPr bwMode="auto">
              <a:xfrm>
                <a:off x="6526570" y="2235537"/>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3" name="Oval 829"/>
              <p:cNvSpPr>
                <a:spLocks noChangeArrowheads="1"/>
              </p:cNvSpPr>
              <p:nvPr/>
            </p:nvSpPr>
            <p:spPr bwMode="auto">
              <a:xfrm>
                <a:off x="6526570" y="2338987"/>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4" name="Oval 830"/>
              <p:cNvSpPr>
                <a:spLocks noChangeArrowheads="1"/>
              </p:cNvSpPr>
              <p:nvPr/>
            </p:nvSpPr>
            <p:spPr bwMode="auto">
              <a:xfrm>
                <a:off x="6526570" y="2443146"/>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5" name="Oval 831"/>
              <p:cNvSpPr>
                <a:spLocks noChangeArrowheads="1"/>
              </p:cNvSpPr>
              <p:nvPr/>
            </p:nvSpPr>
            <p:spPr bwMode="auto">
              <a:xfrm>
                <a:off x="6526570" y="2546596"/>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6" name="Oval 832"/>
              <p:cNvSpPr>
                <a:spLocks noChangeArrowheads="1"/>
              </p:cNvSpPr>
              <p:nvPr/>
            </p:nvSpPr>
            <p:spPr bwMode="auto">
              <a:xfrm>
                <a:off x="6526570" y="2650755"/>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7" name="Oval 833"/>
              <p:cNvSpPr>
                <a:spLocks noChangeArrowheads="1"/>
              </p:cNvSpPr>
              <p:nvPr/>
            </p:nvSpPr>
            <p:spPr bwMode="auto">
              <a:xfrm>
                <a:off x="6526570" y="3063847"/>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8" name="Oval 834"/>
              <p:cNvSpPr>
                <a:spLocks noChangeArrowheads="1"/>
              </p:cNvSpPr>
              <p:nvPr/>
            </p:nvSpPr>
            <p:spPr bwMode="auto">
              <a:xfrm>
                <a:off x="6526570" y="3168006"/>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89" name="Oval 835"/>
              <p:cNvSpPr>
                <a:spLocks noChangeArrowheads="1"/>
              </p:cNvSpPr>
              <p:nvPr/>
            </p:nvSpPr>
            <p:spPr bwMode="auto">
              <a:xfrm>
                <a:off x="6526570" y="3374906"/>
                <a:ext cx="91405"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0" name="Oval 836"/>
              <p:cNvSpPr>
                <a:spLocks noChangeArrowheads="1"/>
              </p:cNvSpPr>
              <p:nvPr/>
            </p:nvSpPr>
            <p:spPr bwMode="auto">
              <a:xfrm>
                <a:off x="6526570" y="3684548"/>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2" name="Oval 838"/>
              <p:cNvSpPr>
                <a:spLocks noChangeArrowheads="1"/>
              </p:cNvSpPr>
              <p:nvPr/>
            </p:nvSpPr>
            <p:spPr bwMode="auto">
              <a:xfrm>
                <a:off x="6526570" y="3892157"/>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3" name="Oval 839"/>
              <p:cNvSpPr>
                <a:spLocks noChangeArrowheads="1"/>
              </p:cNvSpPr>
              <p:nvPr/>
            </p:nvSpPr>
            <p:spPr bwMode="auto">
              <a:xfrm>
                <a:off x="6631437"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4" name="Oval 840"/>
              <p:cNvSpPr>
                <a:spLocks noChangeArrowheads="1"/>
              </p:cNvSpPr>
              <p:nvPr/>
            </p:nvSpPr>
            <p:spPr bwMode="auto">
              <a:xfrm>
                <a:off x="6631437"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5" name="Oval 841"/>
              <p:cNvSpPr>
                <a:spLocks noChangeArrowheads="1"/>
              </p:cNvSpPr>
              <p:nvPr/>
            </p:nvSpPr>
            <p:spPr bwMode="auto">
              <a:xfrm>
                <a:off x="6631437"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6" name="Oval 842"/>
              <p:cNvSpPr>
                <a:spLocks noChangeArrowheads="1"/>
              </p:cNvSpPr>
              <p:nvPr/>
            </p:nvSpPr>
            <p:spPr bwMode="auto">
              <a:xfrm>
                <a:off x="6631437"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7" name="Oval 843"/>
              <p:cNvSpPr>
                <a:spLocks noChangeArrowheads="1"/>
              </p:cNvSpPr>
              <p:nvPr/>
            </p:nvSpPr>
            <p:spPr bwMode="auto">
              <a:xfrm>
                <a:off x="6631437"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8" name="Oval 844"/>
              <p:cNvSpPr>
                <a:spLocks noChangeArrowheads="1"/>
              </p:cNvSpPr>
              <p:nvPr/>
            </p:nvSpPr>
            <p:spPr bwMode="auto">
              <a:xfrm>
                <a:off x="6631437"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9" name="Oval 845"/>
              <p:cNvSpPr>
                <a:spLocks noChangeArrowheads="1"/>
              </p:cNvSpPr>
              <p:nvPr/>
            </p:nvSpPr>
            <p:spPr bwMode="auto">
              <a:xfrm>
                <a:off x="6631437"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0" name="Oval 846"/>
              <p:cNvSpPr>
                <a:spLocks noChangeArrowheads="1"/>
              </p:cNvSpPr>
              <p:nvPr/>
            </p:nvSpPr>
            <p:spPr bwMode="auto">
              <a:xfrm>
                <a:off x="6631437" y="192589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1" name="Oval 847"/>
              <p:cNvSpPr>
                <a:spLocks noChangeArrowheads="1"/>
              </p:cNvSpPr>
              <p:nvPr/>
            </p:nvSpPr>
            <p:spPr bwMode="auto">
              <a:xfrm>
                <a:off x="6631437"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2" name="Oval 848"/>
              <p:cNvSpPr>
                <a:spLocks noChangeArrowheads="1"/>
              </p:cNvSpPr>
              <p:nvPr/>
            </p:nvSpPr>
            <p:spPr bwMode="auto">
              <a:xfrm>
                <a:off x="6631437" y="213350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3" name="Oval 849"/>
              <p:cNvSpPr>
                <a:spLocks noChangeArrowheads="1"/>
              </p:cNvSpPr>
              <p:nvPr/>
            </p:nvSpPr>
            <p:spPr bwMode="auto">
              <a:xfrm>
                <a:off x="6631437" y="223553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4" name="Oval 850"/>
              <p:cNvSpPr>
                <a:spLocks noChangeArrowheads="1"/>
              </p:cNvSpPr>
              <p:nvPr/>
            </p:nvSpPr>
            <p:spPr bwMode="auto">
              <a:xfrm>
                <a:off x="6631437" y="233898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5" name="Oval 851"/>
              <p:cNvSpPr>
                <a:spLocks noChangeArrowheads="1"/>
              </p:cNvSpPr>
              <p:nvPr/>
            </p:nvSpPr>
            <p:spPr bwMode="auto">
              <a:xfrm>
                <a:off x="6631437"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6" name="Oval 852"/>
              <p:cNvSpPr>
                <a:spLocks noChangeArrowheads="1"/>
              </p:cNvSpPr>
              <p:nvPr/>
            </p:nvSpPr>
            <p:spPr bwMode="auto">
              <a:xfrm>
                <a:off x="6631437" y="254659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7" name="Oval 853"/>
              <p:cNvSpPr>
                <a:spLocks noChangeArrowheads="1"/>
              </p:cNvSpPr>
              <p:nvPr/>
            </p:nvSpPr>
            <p:spPr bwMode="auto">
              <a:xfrm>
                <a:off x="6631437" y="265075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8" name="Oval 854"/>
              <p:cNvSpPr>
                <a:spLocks noChangeArrowheads="1"/>
              </p:cNvSpPr>
              <p:nvPr/>
            </p:nvSpPr>
            <p:spPr bwMode="auto">
              <a:xfrm>
                <a:off x="6631437" y="275420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09" name="Oval 855"/>
              <p:cNvSpPr>
                <a:spLocks noChangeArrowheads="1"/>
              </p:cNvSpPr>
              <p:nvPr/>
            </p:nvSpPr>
            <p:spPr bwMode="auto">
              <a:xfrm>
                <a:off x="6631437" y="285765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0" name="Oval 856"/>
              <p:cNvSpPr>
                <a:spLocks noChangeArrowheads="1"/>
              </p:cNvSpPr>
              <p:nvPr/>
            </p:nvSpPr>
            <p:spPr bwMode="auto">
              <a:xfrm>
                <a:off x="6631437" y="296039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1" name="Oval 857"/>
              <p:cNvSpPr>
                <a:spLocks noChangeArrowheads="1"/>
              </p:cNvSpPr>
              <p:nvPr/>
            </p:nvSpPr>
            <p:spPr bwMode="auto">
              <a:xfrm>
                <a:off x="6631437" y="316800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2" name="Oval 858"/>
              <p:cNvSpPr>
                <a:spLocks noChangeArrowheads="1"/>
              </p:cNvSpPr>
              <p:nvPr/>
            </p:nvSpPr>
            <p:spPr bwMode="auto">
              <a:xfrm>
                <a:off x="6631437" y="32714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3" name="Oval 859"/>
              <p:cNvSpPr>
                <a:spLocks noChangeArrowheads="1"/>
              </p:cNvSpPr>
              <p:nvPr/>
            </p:nvSpPr>
            <p:spPr bwMode="auto">
              <a:xfrm>
                <a:off x="6631437" y="358251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4" name="Oval 860"/>
              <p:cNvSpPr>
                <a:spLocks noChangeArrowheads="1"/>
              </p:cNvSpPr>
              <p:nvPr/>
            </p:nvSpPr>
            <p:spPr bwMode="auto">
              <a:xfrm>
                <a:off x="6631437" y="36845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5" name="Oval 861"/>
              <p:cNvSpPr>
                <a:spLocks noChangeArrowheads="1"/>
              </p:cNvSpPr>
              <p:nvPr/>
            </p:nvSpPr>
            <p:spPr bwMode="auto">
              <a:xfrm>
                <a:off x="6631437" y="378870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6" name="Oval 862"/>
              <p:cNvSpPr>
                <a:spLocks noChangeArrowheads="1"/>
              </p:cNvSpPr>
              <p:nvPr/>
            </p:nvSpPr>
            <p:spPr bwMode="auto">
              <a:xfrm>
                <a:off x="6631437" y="389215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7" name="Oval 863"/>
              <p:cNvSpPr>
                <a:spLocks noChangeArrowheads="1"/>
              </p:cNvSpPr>
              <p:nvPr/>
            </p:nvSpPr>
            <p:spPr bwMode="auto">
              <a:xfrm>
                <a:off x="6735596"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8" name="Oval 864"/>
              <p:cNvSpPr>
                <a:spLocks noChangeArrowheads="1"/>
              </p:cNvSpPr>
              <p:nvPr/>
            </p:nvSpPr>
            <p:spPr bwMode="auto">
              <a:xfrm>
                <a:off x="6735596"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9" name="Oval 865"/>
              <p:cNvSpPr>
                <a:spLocks noChangeArrowheads="1"/>
              </p:cNvSpPr>
              <p:nvPr/>
            </p:nvSpPr>
            <p:spPr bwMode="auto">
              <a:xfrm>
                <a:off x="6735596"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0" name="Oval 866"/>
              <p:cNvSpPr>
                <a:spLocks noChangeArrowheads="1"/>
              </p:cNvSpPr>
              <p:nvPr/>
            </p:nvSpPr>
            <p:spPr bwMode="auto">
              <a:xfrm>
                <a:off x="6735596"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1" name="Oval 867"/>
              <p:cNvSpPr>
                <a:spLocks noChangeArrowheads="1"/>
              </p:cNvSpPr>
              <p:nvPr/>
            </p:nvSpPr>
            <p:spPr bwMode="auto">
              <a:xfrm>
                <a:off x="6735596"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2" name="Oval 868"/>
              <p:cNvSpPr>
                <a:spLocks noChangeArrowheads="1"/>
              </p:cNvSpPr>
              <p:nvPr/>
            </p:nvSpPr>
            <p:spPr bwMode="auto">
              <a:xfrm>
                <a:off x="6735596"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3" name="Oval 869"/>
              <p:cNvSpPr>
                <a:spLocks noChangeArrowheads="1"/>
              </p:cNvSpPr>
              <p:nvPr/>
            </p:nvSpPr>
            <p:spPr bwMode="auto">
              <a:xfrm>
                <a:off x="6735596"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5" name="Oval 871"/>
              <p:cNvSpPr>
                <a:spLocks noChangeArrowheads="1"/>
              </p:cNvSpPr>
              <p:nvPr/>
            </p:nvSpPr>
            <p:spPr bwMode="auto">
              <a:xfrm>
                <a:off x="6735596"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6" name="Oval 872"/>
              <p:cNvSpPr>
                <a:spLocks noChangeArrowheads="1"/>
              </p:cNvSpPr>
              <p:nvPr/>
            </p:nvSpPr>
            <p:spPr bwMode="auto">
              <a:xfrm>
                <a:off x="6735596" y="213350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7" name="Oval 873"/>
              <p:cNvSpPr>
                <a:spLocks noChangeArrowheads="1"/>
              </p:cNvSpPr>
              <p:nvPr/>
            </p:nvSpPr>
            <p:spPr bwMode="auto">
              <a:xfrm>
                <a:off x="6735596" y="223553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8" name="Oval 874"/>
              <p:cNvSpPr>
                <a:spLocks noChangeArrowheads="1"/>
              </p:cNvSpPr>
              <p:nvPr/>
            </p:nvSpPr>
            <p:spPr bwMode="auto">
              <a:xfrm>
                <a:off x="6735596" y="233898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9" name="Oval 875"/>
              <p:cNvSpPr>
                <a:spLocks noChangeArrowheads="1"/>
              </p:cNvSpPr>
              <p:nvPr/>
            </p:nvSpPr>
            <p:spPr bwMode="auto">
              <a:xfrm>
                <a:off x="6735596" y="285765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0" name="Oval 876"/>
              <p:cNvSpPr>
                <a:spLocks noChangeArrowheads="1"/>
              </p:cNvSpPr>
              <p:nvPr/>
            </p:nvSpPr>
            <p:spPr bwMode="auto">
              <a:xfrm>
                <a:off x="6735596" y="296039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1" name="Oval 877"/>
              <p:cNvSpPr>
                <a:spLocks noChangeArrowheads="1"/>
              </p:cNvSpPr>
              <p:nvPr/>
            </p:nvSpPr>
            <p:spPr bwMode="auto">
              <a:xfrm>
                <a:off x="6735596" y="306384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2" name="Oval 878"/>
              <p:cNvSpPr>
                <a:spLocks noChangeArrowheads="1"/>
              </p:cNvSpPr>
              <p:nvPr/>
            </p:nvSpPr>
            <p:spPr bwMode="auto">
              <a:xfrm>
                <a:off x="6735596" y="316800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3" name="Oval 879"/>
              <p:cNvSpPr>
                <a:spLocks noChangeArrowheads="1"/>
              </p:cNvSpPr>
              <p:nvPr/>
            </p:nvSpPr>
            <p:spPr bwMode="auto">
              <a:xfrm>
                <a:off x="6735596" y="347906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4" name="Oval 880"/>
              <p:cNvSpPr>
                <a:spLocks noChangeArrowheads="1"/>
              </p:cNvSpPr>
              <p:nvPr/>
            </p:nvSpPr>
            <p:spPr bwMode="auto">
              <a:xfrm>
                <a:off x="6735596" y="358251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5" name="Oval 881"/>
              <p:cNvSpPr>
                <a:spLocks noChangeArrowheads="1"/>
              </p:cNvSpPr>
              <p:nvPr/>
            </p:nvSpPr>
            <p:spPr bwMode="auto">
              <a:xfrm>
                <a:off x="6735596" y="36845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6" name="Oval 882"/>
              <p:cNvSpPr>
                <a:spLocks noChangeArrowheads="1"/>
              </p:cNvSpPr>
              <p:nvPr/>
            </p:nvSpPr>
            <p:spPr bwMode="auto">
              <a:xfrm>
                <a:off x="6735596" y="378870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7" name="Oval 883"/>
              <p:cNvSpPr>
                <a:spLocks noChangeArrowheads="1"/>
              </p:cNvSpPr>
              <p:nvPr/>
            </p:nvSpPr>
            <p:spPr bwMode="auto">
              <a:xfrm>
                <a:off x="6735596" y="389215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8" name="Oval 884"/>
              <p:cNvSpPr>
                <a:spLocks noChangeArrowheads="1"/>
              </p:cNvSpPr>
              <p:nvPr/>
            </p:nvSpPr>
            <p:spPr bwMode="auto">
              <a:xfrm>
                <a:off x="6841171"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39" name="Oval 885"/>
              <p:cNvSpPr>
                <a:spLocks noChangeArrowheads="1"/>
              </p:cNvSpPr>
              <p:nvPr/>
            </p:nvSpPr>
            <p:spPr bwMode="auto">
              <a:xfrm>
                <a:off x="6841171"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0" name="Oval 886"/>
              <p:cNvSpPr>
                <a:spLocks noChangeArrowheads="1"/>
              </p:cNvSpPr>
              <p:nvPr/>
            </p:nvSpPr>
            <p:spPr bwMode="auto">
              <a:xfrm>
                <a:off x="6841171"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1" name="Oval 887"/>
              <p:cNvSpPr>
                <a:spLocks noChangeArrowheads="1"/>
              </p:cNvSpPr>
              <p:nvPr/>
            </p:nvSpPr>
            <p:spPr bwMode="auto">
              <a:xfrm>
                <a:off x="6841171"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2" name="Oval 888"/>
              <p:cNvSpPr>
                <a:spLocks noChangeArrowheads="1"/>
              </p:cNvSpPr>
              <p:nvPr/>
            </p:nvSpPr>
            <p:spPr bwMode="auto">
              <a:xfrm>
                <a:off x="6841171"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3" name="Oval 889"/>
              <p:cNvSpPr>
                <a:spLocks noChangeArrowheads="1"/>
              </p:cNvSpPr>
              <p:nvPr/>
            </p:nvSpPr>
            <p:spPr bwMode="auto">
              <a:xfrm>
                <a:off x="6841171"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4" name="Oval 890"/>
              <p:cNvSpPr>
                <a:spLocks noChangeArrowheads="1"/>
              </p:cNvSpPr>
              <p:nvPr/>
            </p:nvSpPr>
            <p:spPr bwMode="auto">
              <a:xfrm>
                <a:off x="6841171" y="192589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5" name="Oval 891"/>
              <p:cNvSpPr>
                <a:spLocks noChangeArrowheads="1"/>
              </p:cNvSpPr>
              <p:nvPr/>
            </p:nvSpPr>
            <p:spPr bwMode="auto">
              <a:xfrm>
                <a:off x="6841171"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6" name="Oval 892"/>
              <p:cNvSpPr>
                <a:spLocks noChangeArrowheads="1"/>
              </p:cNvSpPr>
              <p:nvPr/>
            </p:nvSpPr>
            <p:spPr bwMode="auto">
              <a:xfrm>
                <a:off x="6841171" y="213350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7" name="Oval 893"/>
              <p:cNvSpPr>
                <a:spLocks noChangeArrowheads="1"/>
              </p:cNvSpPr>
              <p:nvPr/>
            </p:nvSpPr>
            <p:spPr bwMode="auto">
              <a:xfrm>
                <a:off x="6841171" y="233898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8" name="Oval 894"/>
              <p:cNvSpPr>
                <a:spLocks noChangeArrowheads="1"/>
              </p:cNvSpPr>
              <p:nvPr/>
            </p:nvSpPr>
            <p:spPr bwMode="auto">
              <a:xfrm>
                <a:off x="6841171"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49" name="Oval 895"/>
              <p:cNvSpPr>
                <a:spLocks noChangeArrowheads="1"/>
              </p:cNvSpPr>
              <p:nvPr/>
            </p:nvSpPr>
            <p:spPr bwMode="auto">
              <a:xfrm>
                <a:off x="6841171" y="316800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0" name="Oval 896"/>
              <p:cNvSpPr>
                <a:spLocks noChangeArrowheads="1"/>
              </p:cNvSpPr>
              <p:nvPr/>
            </p:nvSpPr>
            <p:spPr bwMode="auto">
              <a:xfrm>
                <a:off x="6841171" y="33749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1" name="Oval 897"/>
              <p:cNvSpPr>
                <a:spLocks noChangeArrowheads="1"/>
              </p:cNvSpPr>
              <p:nvPr/>
            </p:nvSpPr>
            <p:spPr bwMode="auto">
              <a:xfrm>
                <a:off x="6841171" y="347906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2" name="Oval 898"/>
              <p:cNvSpPr>
                <a:spLocks noChangeArrowheads="1"/>
              </p:cNvSpPr>
              <p:nvPr/>
            </p:nvSpPr>
            <p:spPr bwMode="auto">
              <a:xfrm>
                <a:off x="6841171" y="358251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4" name="Oval 900"/>
              <p:cNvSpPr>
                <a:spLocks noChangeArrowheads="1"/>
              </p:cNvSpPr>
              <p:nvPr/>
            </p:nvSpPr>
            <p:spPr bwMode="auto">
              <a:xfrm>
                <a:off x="6841171" y="378870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5" name="Oval 901"/>
              <p:cNvSpPr>
                <a:spLocks noChangeArrowheads="1"/>
              </p:cNvSpPr>
              <p:nvPr/>
            </p:nvSpPr>
            <p:spPr bwMode="auto">
              <a:xfrm>
                <a:off x="6841171" y="389215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6" name="Oval 902"/>
              <p:cNvSpPr>
                <a:spLocks noChangeArrowheads="1"/>
              </p:cNvSpPr>
              <p:nvPr/>
            </p:nvSpPr>
            <p:spPr bwMode="auto">
              <a:xfrm>
                <a:off x="6944622"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7" name="Oval 903"/>
              <p:cNvSpPr>
                <a:spLocks noChangeArrowheads="1"/>
              </p:cNvSpPr>
              <p:nvPr/>
            </p:nvSpPr>
            <p:spPr bwMode="auto">
              <a:xfrm>
                <a:off x="6944622"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8" name="Oval 904"/>
              <p:cNvSpPr>
                <a:spLocks noChangeArrowheads="1"/>
              </p:cNvSpPr>
              <p:nvPr/>
            </p:nvSpPr>
            <p:spPr bwMode="auto">
              <a:xfrm>
                <a:off x="6944622"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9" name="Oval 905"/>
              <p:cNvSpPr>
                <a:spLocks noChangeArrowheads="1"/>
              </p:cNvSpPr>
              <p:nvPr/>
            </p:nvSpPr>
            <p:spPr bwMode="auto">
              <a:xfrm>
                <a:off x="6944622"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0" name="Oval 906"/>
              <p:cNvSpPr>
                <a:spLocks noChangeArrowheads="1"/>
              </p:cNvSpPr>
              <p:nvPr/>
            </p:nvSpPr>
            <p:spPr bwMode="auto">
              <a:xfrm>
                <a:off x="6944622"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1" name="Oval 907"/>
              <p:cNvSpPr>
                <a:spLocks noChangeArrowheads="1"/>
              </p:cNvSpPr>
              <p:nvPr/>
            </p:nvSpPr>
            <p:spPr bwMode="auto">
              <a:xfrm>
                <a:off x="6944622"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2" name="Oval 908"/>
              <p:cNvSpPr>
                <a:spLocks noChangeArrowheads="1"/>
              </p:cNvSpPr>
              <p:nvPr/>
            </p:nvSpPr>
            <p:spPr bwMode="auto">
              <a:xfrm>
                <a:off x="6944622"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3" name="Oval 909"/>
              <p:cNvSpPr>
                <a:spLocks noChangeArrowheads="1"/>
              </p:cNvSpPr>
              <p:nvPr/>
            </p:nvSpPr>
            <p:spPr bwMode="auto">
              <a:xfrm>
                <a:off x="6944622" y="192589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4" name="Oval 910"/>
              <p:cNvSpPr>
                <a:spLocks noChangeArrowheads="1"/>
              </p:cNvSpPr>
              <p:nvPr/>
            </p:nvSpPr>
            <p:spPr bwMode="auto">
              <a:xfrm>
                <a:off x="6944622"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5" name="Oval 911"/>
              <p:cNvSpPr>
                <a:spLocks noChangeArrowheads="1"/>
              </p:cNvSpPr>
              <p:nvPr/>
            </p:nvSpPr>
            <p:spPr bwMode="auto">
              <a:xfrm>
                <a:off x="6944622" y="213350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6" name="Oval 912"/>
              <p:cNvSpPr>
                <a:spLocks noChangeArrowheads="1"/>
              </p:cNvSpPr>
              <p:nvPr/>
            </p:nvSpPr>
            <p:spPr bwMode="auto">
              <a:xfrm>
                <a:off x="6944622" y="233898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7" name="Oval 913"/>
              <p:cNvSpPr>
                <a:spLocks noChangeArrowheads="1"/>
              </p:cNvSpPr>
              <p:nvPr/>
            </p:nvSpPr>
            <p:spPr bwMode="auto">
              <a:xfrm>
                <a:off x="6944622" y="316800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8" name="Oval 914"/>
              <p:cNvSpPr>
                <a:spLocks noChangeArrowheads="1"/>
              </p:cNvSpPr>
              <p:nvPr/>
            </p:nvSpPr>
            <p:spPr bwMode="auto">
              <a:xfrm>
                <a:off x="6944622" y="32714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69" name="Oval 915"/>
              <p:cNvSpPr>
                <a:spLocks noChangeArrowheads="1"/>
              </p:cNvSpPr>
              <p:nvPr/>
            </p:nvSpPr>
            <p:spPr bwMode="auto">
              <a:xfrm>
                <a:off x="6944622" y="347906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0" name="Oval 916"/>
              <p:cNvSpPr>
                <a:spLocks noChangeArrowheads="1"/>
              </p:cNvSpPr>
              <p:nvPr/>
            </p:nvSpPr>
            <p:spPr bwMode="auto">
              <a:xfrm>
                <a:off x="6944622" y="358251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1" name="Oval 917"/>
              <p:cNvSpPr>
                <a:spLocks noChangeArrowheads="1"/>
              </p:cNvSpPr>
              <p:nvPr/>
            </p:nvSpPr>
            <p:spPr bwMode="auto">
              <a:xfrm>
                <a:off x="6944622" y="36845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2" name="Oval 918"/>
              <p:cNvSpPr>
                <a:spLocks noChangeArrowheads="1"/>
              </p:cNvSpPr>
              <p:nvPr/>
            </p:nvSpPr>
            <p:spPr bwMode="auto">
              <a:xfrm>
                <a:off x="6944622" y="378870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3" name="Oval 919"/>
              <p:cNvSpPr>
                <a:spLocks noChangeArrowheads="1"/>
              </p:cNvSpPr>
              <p:nvPr/>
            </p:nvSpPr>
            <p:spPr bwMode="auto">
              <a:xfrm>
                <a:off x="6944622" y="389215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4" name="Oval 920"/>
              <p:cNvSpPr>
                <a:spLocks noChangeArrowheads="1"/>
              </p:cNvSpPr>
              <p:nvPr/>
            </p:nvSpPr>
            <p:spPr bwMode="auto">
              <a:xfrm>
                <a:off x="7050197"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5" name="Oval 921"/>
              <p:cNvSpPr>
                <a:spLocks noChangeArrowheads="1"/>
              </p:cNvSpPr>
              <p:nvPr/>
            </p:nvSpPr>
            <p:spPr bwMode="auto">
              <a:xfrm>
                <a:off x="7050197"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6" name="Oval 922"/>
              <p:cNvSpPr>
                <a:spLocks noChangeArrowheads="1"/>
              </p:cNvSpPr>
              <p:nvPr/>
            </p:nvSpPr>
            <p:spPr bwMode="auto">
              <a:xfrm>
                <a:off x="7050197"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7" name="Oval 923"/>
              <p:cNvSpPr>
                <a:spLocks noChangeArrowheads="1"/>
              </p:cNvSpPr>
              <p:nvPr/>
            </p:nvSpPr>
            <p:spPr bwMode="auto">
              <a:xfrm>
                <a:off x="7050197"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8" name="Oval 924"/>
              <p:cNvSpPr>
                <a:spLocks noChangeArrowheads="1"/>
              </p:cNvSpPr>
              <p:nvPr/>
            </p:nvSpPr>
            <p:spPr bwMode="auto">
              <a:xfrm>
                <a:off x="7050197"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79" name="Oval 925"/>
              <p:cNvSpPr>
                <a:spLocks noChangeArrowheads="1"/>
              </p:cNvSpPr>
              <p:nvPr/>
            </p:nvSpPr>
            <p:spPr bwMode="auto">
              <a:xfrm>
                <a:off x="7050197"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0" name="Oval 926"/>
              <p:cNvSpPr>
                <a:spLocks noChangeArrowheads="1"/>
              </p:cNvSpPr>
              <p:nvPr/>
            </p:nvSpPr>
            <p:spPr bwMode="auto">
              <a:xfrm>
                <a:off x="7050197"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2" name="Oval 928"/>
              <p:cNvSpPr>
                <a:spLocks noChangeArrowheads="1"/>
              </p:cNvSpPr>
              <p:nvPr/>
            </p:nvSpPr>
            <p:spPr bwMode="auto">
              <a:xfrm>
                <a:off x="7050197" y="192589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3" name="Oval 929"/>
              <p:cNvSpPr>
                <a:spLocks noChangeArrowheads="1"/>
              </p:cNvSpPr>
              <p:nvPr/>
            </p:nvSpPr>
            <p:spPr bwMode="auto">
              <a:xfrm>
                <a:off x="7050197"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4" name="Oval 930"/>
              <p:cNvSpPr>
                <a:spLocks noChangeArrowheads="1"/>
              </p:cNvSpPr>
              <p:nvPr/>
            </p:nvSpPr>
            <p:spPr bwMode="auto">
              <a:xfrm>
                <a:off x="7050197" y="213350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5" name="Oval 931"/>
              <p:cNvSpPr>
                <a:spLocks noChangeArrowheads="1"/>
              </p:cNvSpPr>
              <p:nvPr/>
            </p:nvSpPr>
            <p:spPr bwMode="auto">
              <a:xfrm>
                <a:off x="7050197" y="223553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6" name="Oval 932"/>
              <p:cNvSpPr>
                <a:spLocks noChangeArrowheads="1"/>
              </p:cNvSpPr>
              <p:nvPr/>
            </p:nvSpPr>
            <p:spPr bwMode="auto">
              <a:xfrm>
                <a:off x="7050197" y="233898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7" name="Oval 933"/>
              <p:cNvSpPr>
                <a:spLocks noChangeArrowheads="1"/>
              </p:cNvSpPr>
              <p:nvPr/>
            </p:nvSpPr>
            <p:spPr bwMode="auto">
              <a:xfrm>
                <a:off x="7050197" y="32714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8" name="Oval 934"/>
              <p:cNvSpPr>
                <a:spLocks noChangeArrowheads="1"/>
              </p:cNvSpPr>
              <p:nvPr/>
            </p:nvSpPr>
            <p:spPr bwMode="auto">
              <a:xfrm>
                <a:off x="7050197" y="33749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9" name="Oval 935"/>
              <p:cNvSpPr>
                <a:spLocks noChangeArrowheads="1"/>
              </p:cNvSpPr>
              <p:nvPr/>
            </p:nvSpPr>
            <p:spPr bwMode="auto">
              <a:xfrm>
                <a:off x="7050197" y="347906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0" name="Oval 936"/>
              <p:cNvSpPr>
                <a:spLocks noChangeArrowheads="1"/>
              </p:cNvSpPr>
              <p:nvPr/>
            </p:nvSpPr>
            <p:spPr bwMode="auto">
              <a:xfrm>
                <a:off x="7050197" y="358251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1" name="Oval 937"/>
              <p:cNvSpPr>
                <a:spLocks noChangeArrowheads="1"/>
              </p:cNvSpPr>
              <p:nvPr/>
            </p:nvSpPr>
            <p:spPr bwMode="auto">
              <a:xfrm>
                <a:off x="7050197" y="36845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2" name="Oval 938"/>
              <p:cNvSpPr>
                <a:spLocks noChangeArrowheads="1"/>
              </p:cNvSpPr>
              <p:nvPr/>
            </p:nvSpPr>
            <p:spPr bwMode="auto">
              <a:xfrm>
                <a:off x="7050197" y="378870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3" name="Oval 939"/>
              <p:cNvSpPr>
                <a:spLocks noChangeArrowheads="1"/>
              </p:cNvSpPr>
              <p:nvPr/>
            </p:nvSpPr>
            <p:spPr bwMode="auto">
              <a:xfrm>
                <a:off x="7050197" y="389215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5" name="Oval 941"/>
              <p:cNvSpPr>
                <a:spLocks noChangeArrowheads="1"/>
              </p:cNvSpPr>
              <p:nvPr/>
            </p:nvSpPr>
            <p:spPr bwMode="auto">
              <a:xfrm>
                <a:off x="7153647"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6" name="Oval 942"/>
              <p:cNvSpPr>
                <a:spLocks noChangeArrowheads="1"/>
              </p:cNvSpPr>
              <p:nvPr/>
            </p:nvSpPr>
            <p:spPr bwMode="auto">
              <a:xfrm>
                <a:off x="7153647"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7" name="Oval 943"/>
              <p:cNvSpPr>
                <a:spLocks noChangeArrowheads="1"/>
              </p:cNvSpPr>
              <p:nvPr/>
            </p:nvSpPr>
            <p:spPr bwMode="auto">
              <a:xfrm>
                <a:off x="7153647"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8" name="Oval 944"/>
              <p:cNvSpPr>
                <a:spLocks noChangeArrowheads="1"/>
              </p:cNvSpPr>
              <p:nvPr/>
            </p:nvSpPr>
            <p:spPr bwMode="auto">
              <a:xfrm>
                <a:off x="7153647"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9" name="Oval 945"/>
              <p:cNvSpPr>
                <a:spLocks noChangeArrowheads="1"/>
              </p:cNvSpPr>
              <p:nvPr/>
            </p:nvSpPr>
            <p:spPr bwMode="auto">
              <a:xfrm>
                <a:off x="7153647"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0" name="Oval 946"/>
              <p:cNvSpPr>
                <a:spLocks noChangeArrowheads="1"/>
              </p:cNvSpPr>
              <p:nvPr/>
            </p:nvSpPr>
            <p:spPr bwMode="auto">
              <a:xfrm>
                <a:off x="7153647"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1" name="Oval 947"/>
              <p:cNvSpPr>
                <a:spLocks noChangeArrowheads="1"/>
              </p:cNvSpPr>
              <p:nvPr/>
            </p:nvSpPr>
            <p:spPr bwMode="auto">
              <a:xfrm>
                <a:off x="7153647" y="2133504"/>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2" name="Oval 948"/>
              <p:cNvSpPr>
                <a:spLocks noChangeArrowheads="1"/>
              </p:cNvSpPr>
              <p:nvPr/>
            </p:nvSpPr>
            <p:spPr bwMode="auto">
              <a:xfrm>
                <a:off x="7153647" y="32714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3" name="Oval 949"/>
              <p:cNvSpPr>
                <a:spLocks noChangeArrowheads="1"/>
              </p:cNvSpPr>
              <p:nvPr/>
            </p:nvSpPr>
            <p:spPr bwMode="auto">
              <a:xfrm>
                <a:off x="7153647" y="33749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4" name="Oval 950"/>
              <p:cNvSpPr>
                <a:spLocks noChangeArrowheads="1"/>
              </p:cNvSpPr>
              <p:nvPr/>
            </p:nvSpPr>
            <p:spPr bwMode="auto">
              <a:xfrm>
                <a:off x="7153647" y="358251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5" name="Oval 951"/>
              <p:cNvSpPr>
                <a:spLocks noChangeArrowheads="1"/>
              </p:cNvSpPr>
              <p:nvPr/>
            </p:nvSpPr>
            <p:spPr bwMode="auto">
              <a:xfrm>
                <a:off x="7153647" y="36845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6" name="Oval 952"/>
              <p:cNvSpPr>
                <a:spLocks noChangeArrowheads="1"/>
              </p:cNvSpPr>
              <p:nvPr/>
            </p:nvSpPr>
            <p:spPr bwMode="auto">
              <a:xfrm>
                <a:off x="7153647" y="378870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7" name="Oval 953"/>
              <p:cNvSpPr>
                <a:spLocks noChangeArrowheads="1"/>
              </p:cNvSpPr>
              <p:nvPr/>
            </p:nvSpPr>
            <p:spPr bwMode="auto">
              <a:xfrm>
                <a:off x="7153647" y="389215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8" name="Oval 954"/>
              <p:cNvSpPr>
                <a:spLocks noChangeArrowheads="1"/>
              </p:cNvSpPr>
              <p:nvPr/>
            </p:nvSpPr>
            <p:spPr bwMode="auto">
              <a:xfrm>
                <a:off x="7153647" y="399631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09" name="Oval 955"/>
              <p:cNvSpPr>
                <a:spLocks noChangeArrowheads="1"/>
              </p:cNvSpPr>
              <p:nvPr/>
            </p:nvSpPr>
            <p:spPr bwMode="auto">
              <a:xfrm>
                <a:off x="7153647" y="420392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0" name="Oval 956"/>
              <p:cNvSpPr>
                <a:spLocks noChangeArrowheads="1"/>
              </p:cNvSpPr>
              <p:nvPr/>
            </p:nvSpPr>
            <p:spPr bwMode="auto">
              <a:xfrm>
                <a:off x="7257806" y="130448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1" name="Oval 957"/>
              <p:cNvSpPr>
                <a:spLocks noChangeArrowheads="1"/>
              </p:cNvSpPr>
              <p:nvPr/>
            </p:nvSpPr>
            <p:spPr bwMode="auto">
              <a:xfrm>
                <a:off x="7257806" y="140864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2" name="Oval 958"/>
              <p:cNvSpPr>
                <a:spLocks noChangeArrowheads="1"/>
              </p:cNvSpPr>
              <p:nvPr/>
            </p:nvSpPr>
            <p:spPr bwMode="auto">
              <a:xfrm>
                <a:off x="7257806" y="151067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3" name="Oval 959"/>
              <p:cNvSpPr>
                <a:spLocks noChangeArrowheads="1"/>
              </p:cNvSpPr>
              <p:nvPr/>
            </p:nvSpPr>
            <p:spPr bwMode="auto">
              <a:xfrm>
                <a:off x="7257806" y="161412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4" name="Oval 960"/>
              <p:cNvSpPr>
                <a:spLocks noChangeArrowheads="1"/>
              </p:cNvSpPr>
              <p:nvPr/>
            </p:nvSpPr>
            <p:spPr bwMode="auto">
              <a:xfrm>
                <a:off x="7257806" y="327145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6" name="Oval 962"/>
              <p:cNvSpPr>
                <a:spLocks noChangeArrowheads="1"/>
              </p:cNvSpPr>
              <p:nvPr/>
            </p:nvSpPr>
            <p:spPr bwMode="auto">
              <a:xfrm>
                <a:off x="7257806" y="3788707"/>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7" name="Oval 963"/>
              <p:cNvSpPr>
                <a:spLocks noChangeArrowheads="1"/>
              </p:cNvSpPr>
              <p:nvPr/>
            </p:nvSpPr>
            <p:spPr bwMode="auto">
              <a:xfrm>
                <a:off x="7257806" y="3892157"/>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8" name="Oval 964"/>
              <p:cNvSpPr>
                <a:spLocks noChangeArrowheads="1"/>
              </p:cNvSpPr>
              <p:nvPr/>
            </p:nvSpPr>
            <p:spPr bwMode="auto">
              <a:xfrm>
                <a:off x="7257806" y="3996316"/>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9" name="Oval 965"/>
              <p:cNvSpPr>
                <a:spLocks noChangeArrowheads="1"/>
              </p:cNvSpPr>
              <p:nvPr/>
            </p:nvSpPr>
            <p:spPr bwMode="auto">
              <a:xfrm>
                <a:off x="7363382"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0" name="Oval 966"/>
              <p:cNvSpPr>
                <a:spLocks noChangeArrowheads="1"/>
              </p:cNvSpPr>
              <p:nvPr/>
            </p:nvSpPr>
            <p:spPr bwMode="auto">
              <a:xfrm>
                <a:off x="7363382"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1" name="Oval 967"/>
              <p:cNvSpPr>
                <a:spLocks noChangeArrowheads="1"/>
              </p:cNvSpPr>
              <p:nvPr/>
            </p:nvSpPr>
            <p:spPr bwMode="auto">
              <a:xfrm>
                <a:off x="7363382"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2" name="Oval 968"/>
              <p:cNvSpPr>
                <a:spLocks noChangeArrowheads="1"/>
              </p:cNvSpPr>
              <p:nvPr/>
            </p:nvSpPr>
            <p:spPr bwMode="auto">
              <a:xfrm>
                <a:off x="7363382"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3" name="Oval 969"/>
              <p:cNvSpPr>
                <a:spLocks noChangeArrowheads="1"/>
              </p:cNvSpPr>
              <p:nvPr/>
            </p:nvSpPr>
            <p:spPr bwMode="auto">
              <a:xfrm>
                <a:off x="7363382"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4" name="Oval 970"/>
              <p:cNvSpPr>
                <a:spLocks noChangeArrowheads="1"/>
              </p:cNvSpPr>
              <p:nvPr/>
            </p:nvSpPr>
            <p:spPr bwMode="auto">
              <a:xfrm>
                <a:off x="7363382"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5" name="Oval 971"/>
              <p:cNvSpPr>
                <a:spLocks noChangeArrowheads="1"/>
              </p:cNvSpPr>
              <p:nvPr/>
            </p:nvSpPr>
            <p:spPr bwMode="auto">
              <a:xfrm>
                <a:off x="7363382" y="192589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7" name="Oval 973"/>
              <p:cNvSpPr>
                <a:spLocks noChangeArrowheads="1"/>
              </p:cNvSpPr>
              <p:nvPr/>
            </p:nvSpPr>
            <p:spPr bwMode="auto">
              <a:xfrm>
                <a:off x="7363382" y="32714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8" name="Oval 974"/>
              <p:cNvSpPr>
                <a:spLocks noChangeArrowheads="1"/>
              </p:cNvSpPr>
              <p:nvPr/>
            </p:nvSpPr>
            <p:spPr bwMode="auto">
              <a:xfrm>
                <a:off x="7466832" y="140864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9" name="Oval 975"/>
              <p:cNvSpPr>
                <a:spLocks noChangeArrowheads="1"/>
              </p:cNvSpPr>
              <p:nvPr/>
            </p:nvSpPr>
            <p:spPr bwMode="auto">
              <a:xfrm>
                <a:off x="7466832" y="151067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1" name="Oval 977"/>
              <p:cNvSpPr>
                <a:spLocks noChangeArrowheads="1"/>
              </p:cNvSpPr>
              <p:nvPr/>
            </p:nvSpPr>
            <p:spPr bwMode="auto">
              <a:xfrm>
                <a:off x="7466832" y="1718287"/>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2" name="Oval 978"/>
              <p:cNvSpPr>
                <a:spLocks noChangeArrowheads="1"/>
              </p:cNvSpPr>
              <p:nvPr/>
            </p:nvSpPr>
            <p:spPr bwMode="auto">
              <a:xfrm>
                <a:off x="7466832" y="182173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3" name="Oval 979"/>
              <p:cNvSpPr>
                <a:spLocks noChangeArrowheads="1"/>
              </p:cNvSpPr>
              <p:nvPr/>
            </p:nvSpPr>
            <p:spPr bwMode="auto">
              <a:xfrm>
                <a:off x="7466832" y="337490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4" name="Oval 980"/>
              <p:cNvSpPr>
                <a:spLocks noChangeArrowheads="1"/>
              </p:cNvSpPr>
              <p:nvPr/>
            </p:nvSpPr>
            <p:spPr bwMode="auto">
              <a:xfrm>
                <a:off x="7572408"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5" name="Oval 981"/>
              <p:cNvSpPr>
                <a:spLocks noChangeArrowheads="1"/>
              </p:cNvSpPr>
              <p:nvPr/>
            </p:nvSpPr>
            <p:spPr bwMode="auto">
              <a:xfrm>
                <a:off x="7572408"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6" name="Oval 982"/>
              <p:cNvSpPr>
                <a:spLocks noChangeArrowheads="1"/>
              </p:cNvSpPr>
              <p:nvPr/>
            </p:nvSpPr>
            <p:spPr bwMode="auto">
              <a:xfrm>
                <a:off x="7572408"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7" name="Oval 983"/>
              <p:cNvSpPr>
                <a:spLocks noChangeArrowheads="1"/>
              </p:cNvSpPr>
              <p:nvPr/>
            </p:nvSpPr>
            <p:spPr bwMode="auto">
              <a:xfrm>
                <a:off x="7572408"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8" name="Oval 984"/>
              <p:cNvSpPr>
                <a:spLocks noChangeArrowheads="1"/>
              </p:cNvSpPr>
              <p:nvPr/>
            </p:nvSpPr>
            <p:spPr bwMode="auto">
              <a:xfrm>
                <a:off x="7572408" y="420392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9" name="Oval 985"/>
              <p:cNvSpPr>
                <a:spLocks noChangeArrowheads="1"/>
              </p:cNvSpPr>
              <p:nvPr/>
            </p:nvSpPr>
            <p:spPr bwMode="auto">
              <a:xfrm>
                <a:off x="7675858" y="130448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0" name="Oval 986"/>
              <p:cNvSpPr>
                <a:spLocks noChangeArrowheads="1"/>
              </p:cNvSpPr>
              <p:nvPr/>
            </p:nvSpPr>
            <p:spPr bwMode="auto">
              <a:xfrm>
                <a:off x="7675858" y="1408645"/>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1" name="Oval 987"/>
              <p:cNvSpPr>
                <a:spLocks noChangeArrowheads="1"/>
              </p:cNvSpPr>
              <p:nvPr/>
            </p:nvSpPr>
            <p:spPr bwMode="auto">
              <a:xfrm>
                <a:off x="7675858" y="151067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2" name="Oval 988"/>
              <p:cNvSpPr>
                <a:spLocks noChangeArrowheads="1"/>
              </p:cNvSpPr>
              <p:nvPr/>
            </p:nvSpPr>
            <p:spPr bwMode="auto">
              <a:xfrm>
                <a:off x="7675858" y="161412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4" name="Oval 990"/>
              <p:cNvSpPr>
                <a:spLocks noChangeArrowheads="1"/>
              </p:cNvSpPr>
              <p:nvPr/>
            </p:nvSpPr>
            <p:spPr bwMode="auto">
              <a:xfrm>
                <a:off x="7675858" y="4099766"/>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5" name="Oval 991"/>
              <p:cNvSpPr>
                <a:spLocks noChangeArrowheads="1"/>
              </p:cNvSpPr>
              <p:nvPr/>
            </p:nvSpPr>
            <p:spPr bwMode="auto">
              <a:xfrm>
                <a:off x="7781434" y="130448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6" name="Oval 992"/>
              <p:cNvSpPr>
                <a:spLocks noChangeArrowheads="1"/>
              </p:cNvSpPr>
              <p:nvPr/>
            </p:nvSpPr>
            <p:spPr bwMode="auto">
              <a:xfrm>
                <a:off x="7781434"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8" name="Oval 994"/>
              <p:cNvSpPr>
                <a:spLocks noChangeArrowheads="1"/>
              </p:cNvSpPr>
              <p:nvPr/>
            </p:nvSpPr>
            <p:spPr bwMode="auto">
              <a:xfrm>
                <a:off x="7781434" y="399631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9" name="Oval 995"/>
              <p:cNvSpPr>
                <a:spLocks noChangeArrowheads="1"/>
              </p:cNvSpPr>
              <p:nvPr/>
            </p:nvSpPr>
            <p:spPr bwMode="auto">
              <a:xfrm>
                <a:off x="7885593" y="1408645"/>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50" name="Oval 996"/>
              <p:cNvSpPr>
                <a:spLocks noChangeArrowheads="1"/>
              </p:cNvSpPr>
              <p:nvPr/>
            </p:nvSpPr>
            <p:spPr bwMode="auto">
              <a:xfrm>
                <a:off x="7885593" y="151067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51" name="Oval 997"/>
              <p:cNvSpPr>
                <a:spLocks noChangeArrowheads="1"/>
              </p:cNvSpPr>
              <p:nvPr/>
            </p:nvSpPr>
            <p:spPr bwMode="auto">
              <a:xfrm>
                <a:off x="7990460"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52" name="Oval 998"/>
              <p:cNvSpPr>
                <a:spLocks noChangeArrowheads="1"/>
              </p:cNvSpPr>
              <p:nvPr/>
            </p:nvSpPr>
            <p:spPr bwMode="auto">
              <a:xfrm>
                <a:off x="7990460"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57" name="Oval 267"/>
              <p:cNvSpPr>
                <a:spLocks noChangeArrowheads="1"/>
              </p:cNvSpPr>
              <p:nvPr/>
            </p:nvSpPr>
            <p:spPr bwMode="auto">
              <a:xfrm>
                <a:off x="2969586" y="4510328"/>
                <a:ext cx="93530"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21" name="Oval 988"/>
              <p:cNvSpPr>
                <a:spLocks noChangeArrowheads="1"/>
              </p:cNvSpPr>
              <p:nvPr/>
            </p:nvSpPr>
            <p:spPr bwMode="auto">
              <a:xfrm>
                <a:off x="7779307" y="1614128"/>
                <a:ext cx="94239"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 name="Group 1064"/>
            <p:cNvGrpSpPr/>
            <p:nvPr/>
          </p:nvGrpSpPr>
          <p:grpSpPr>
            <a:xfrm>
              <a:off x="1328475" y="1357600"/>
              <a:ext cx="6585056" cy="2946167"/>
              <a:chOff x="1191802" y="1096877"/>
              <a:chExt cx="6681745" cy="2989426"/>
            </a:xfrm>
            <a:grpFill/>
          </p:grpSpPr>
          <p:sp>
            <p:nvSpPr>
              <p:cNvPr id="1066" name="Oval 20"/>
              <p:cNvSpPr>
                <a:spLocks noChangeArrowheads="1"/>
              </p:cNvSpPr>
              <p:nvPr/>
            </p:nvSpPr>
            <p:spPr bwMode="auto">
              <a:xfrm>
                <a:off x="1191802"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7" name="Oval 29"/>
              <p:cNvSpPr>
                <a:spLocks noChangeArrowheads="1"/>
              </p:cNvSpPr>
              <p:nvPr/>
            </p:nvSpPr>
            <p:spPr bwMode="auto">
              <a:xfrm>
                <a:off x="1297378" y="17182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8" name="Oval 39"/>
              <p:cNvSpPr>
                <a:spLocks noChangeArrowheads="1"/>
              </p:cNvSpPr>
              <p:nvPr/>
            </p:nvSpPr>
            <p:spPr bwMode="auto">
              <a:xfrm>
                <a:off x="1610563" y="1408645"/>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9" name="Oval 63"/>
              <p:cNvSpPr>
                <a:spLocks noChangeArrowheads="1"/>
              </p:cNvSpPr>
              <p:nvPr/>
            </p:nvSpPr>
            <p:spPr bwMode="auto">
              <a:xfrm>
                <a:off x="1925164" y="12010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0" name="Oval 124"/>
              <p:cNvSpPr>
                <a:spLocks noChangeArrowheads="1"/>
              </p:cNvSpPr>
              <p:nvPr/>
            </p:nvSpPr>
            <p:spPr bwMode="auto">
              <a:xfrm>
                <a:off x="2343216" y="140864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1" name="Oval 126"/>
              <p:cNvSpPr>
                <a:spLocks noChangeArrowheads="1"/>
              </p:cNvSpPr>
              <p:nvPr/>
            </p:nvSpPr>
            <p:spPr bwMode="auto">
              <a:xfrm>
                <a:off x="2343216" y="161412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2" name="Oval 132"/>
              <p:cNvSpPr>
                <a:spLocks noChangeArrowheads="1"/>
              </p:cNvSpPr>
              <p:nvPr/>
            </p:nvSpPr>
            <p:spPr bwMode="auto">
              <a:xfrm>
                <a:off x="2343216" y="223553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3" name="Oval 146"/>
              <p:cNvSpPr>
                <a:spLocks noChangeArrowheads="1"/>
              </p:cNvSpPr>
              <p:nvPr/>
            </p:nvSpPr>
            <p:spPr bwMode="auto">
              <a:xfrm>
                <a:off x="2447375" y="19258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4" name="Oval 151"/>
              <p:cNvSpPr>
                <a:spLocks noChangeArrowheads="1"/>
              </p:cNvSpPr>
              <p:nvPr/>
            </p:nvSpPr>
            <p:spPr bwMode="auto">
              <a:xfrm>
                <a:off x="2447375" y="244314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5" name="Oval 174"/>
              <p:cNvSpPr>
                <a:spLocks noChangeArrowheads="1"/>
              </p:cNvSpPr>
              <p:nvPr/>
            </p:nvSpPr>
            <p:spPr bwMode="auto">
              <a:xfrm>
                <a:off x="2656401" y="109687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6" name="Oval 179"/>
              <p:cNvSpPr>
                <a:spLocks noChangeArrowheads="1"/>
              </p:cNvSpPr>
              <p:nvPr/>
            </p:nvSpPr>
            <p:spPr bwMode="auto">
              <a:xfrm>
                <a:off x="2656401"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7" name="Oval 218"/>
              <p:cNvSpPr>
                <a:spLocks noChangeArrowheads="1"/>
              </p:cNvSpPr>
              <p:nvPr/>
            </p:nvSpPr>
            <p:spPr bwMode="auto">
              <a:xfrm>
                <a:off x="2865427" y="151067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8" name="Oval 220"/>
              <p:cNvSpPr>
                <a:spLocks noChangeArrowheads="1"/>
              </p:cNvSpPr>
              <p:nvPr/>
            </p:nvSpPr>
            <p:spPr bwMode="auto">
              <a:xfrm>
                <a:off x="2865427" y="171828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79" name="Oval 234"/>
              <p:cNvSpPr>
                <a:spLocks noChangeArrowheads="1"/>
              </p:cNvSpPr>
              <p:nvPr/>
            </p:nvSpPr>
            <p:spPr bwMode="auto">
              <a:xfrm>
                <a:off x="2865427" y="368454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0" name="Oval 275"/>
              <p:cNvSpPr>
                <a:spLocks noChangeArrowheads="1"/>
              </p:cNvSpPr>
              <p:nvPr/>
            </p:nvSpPr>
            <p:spPr bwMode="auto">
              <a:xfrm>
                <a:off x="3075161" y="2960396"/>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1" name="Oval 304"/>
              <p:cNvSpPr>
                <a:spLocks noChangeArrowheads="1"/>
              </p:cNvSpPr>
              <p:nvPr/>
            </p:nvSpPr>
            <p:spPr bwMode="auto">
              <a:xfrm>
                <a:off x="3178612" y="3892156"/>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2" name="Oval 333"/>
              <p:cNvSpPr>
                <a:spLocks noChangeArrowheads="1"/>
              </p:cNvSpPr>
              <p:nvPr/>
            </p:nvSpPr>
            <p:spPr bwMode="auto">
              <a:xfrm>
                <a:off x="3387638" y="3271455"/>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3" name="Oval 384"/>
              <p:cNvSpPr>
                <a:spLocks noChangeArrowheads="1"/>
              </p:cNvSpPr>
              <p:nvPr/>
            </p:nvSpPr>
            <p:spPr bwMode="auto">
              <a:xfrm>
                <a:off x="3911974" y="2754205"/>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4" name="Oval 402"/>
              <p:cNvSpPr>
                <a:spLocks noChangeArrowheads="1"/>
              </p:cNvSpPr>
              <p:nvPr/>
            </p:nvSpPr>
            <p:spPr bwMode="auto">
              <a:xfrm>
                <a:off x="4121000" y="3063847"/>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5" name="Oval 427"/>
              <p:cNvSpPr>
                <a:spLocks noChangeArrowheads="1"/>
              </p:cNvSpPr>
              <p:nvPr/>
            </p:nvSpPr>
            <p:spPr bwMode="auto">
              <a:xfrm>
                <a:off x="4330026" y="285765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6" name="Oval 437"/>
              <p:cNvSpPr>
                <a:spLocks noChangeArrowheads="1"/>
              </p:cNvSpPr>
              <p:nvPr/>
            </p:nvSpPr>
            <p:spPr bwMode="auto">
              <a:xfrm>
                <a:off x="4434185" y="2546597"/>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7" name="Oval 439"/>
              <p:cNvSpPr>
                <a:spLocks noChangeArrowheads="1"/>
              </p:cNvSpPr>
              <p:nvPr/>
            </p:nvSpPr>
            <p:spPr bwMode="auto">
              <a:xfrm>
                <a:off x="4434185" y="2754206"/>
                <a:ext cx="93530"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8" name="Oval 442"/>
              <p:cNvSpPr>
                <a:spLocks noChangeArrowheads="1"/>
              </p:cNvSpPr>
              <p:nvPr/>
            </p:nvSpPr>
            <p:spPr bwMode="auto">
              <a:xfrm>
                <a:off x="4434185" y="306384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9" name="Oval 464"/>
              <p:cNvSpPr>
                <a:spLocks noChangeArrowheads="1"/>
              </p:cNvSpPr>
              <p:nvPr/>
            </p:nvSpPr>
            <p:spPr bwMode="auto">
              <a:xfrm>
                <a:off x="4539052" y="337490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0" name="Oval 699"/>
              <p:cNvSpPr>
                <a:spLocks noChangeArrowheads="1"/>
              </p:cNvSpPr>
              <p:nvPr/>
            </p:nvSpPr>
            <p:spPr bwMode="auto">
              <a:xfrm>
                <a:off x="5794625" y="275420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1" name="Oval 705"/>
              <p:cNvSpPr>
                <a:spLocks noChangeArrowheads="1"/>
              </p:cNvSpPr>
              <p:nvPr/>
            </p:nvSpPr>
            <p:spPr bwMode="auto">
              <a:xfrm>
                <a:off x="5898783" y="151067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2" name="Oval 708"/>
              <p:cNvSpPr>
                <a:spLocks noChangeArrowheads="1"/>
              </p:cNvSpPr>
              <p:nvPr/>
            </p:nvSpPr>
            <p:spPr bwMode="auto">
              <a:xfrm>
                <a:off x="5898783" y="182173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3" name="Oval 714"/>
              <p:cNvSpPr>
                <a:spLocks noChangeArrowheads="1"/>
              </p:cNvSpPr>
              <p:nvPr/>
            </p:nvSpPr>
            <p:spPr bwMode="auto">
              <a:xfrm>
                <a:off x="5898783" y="244314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4" name="Oval 718"/>
              <p:cNvSpPr>
                <a:spLocks noChangeArrowheads="1"/>
              </p:cNvSpPr>
              <p:nvPr/>
            </p:nvSpPr>
            <p:spPr bwMode="auto">
              <a:xfrm>
                <a:off x="5898783" y="30638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5" name="Oval 719"/>
              <p:cNvSpPr>
                <a:spLocks noChangeArrowheads="1"/>
              </p:cNvSpPr>
              <p:nvPr/>
            </p:nvSpPr>
            <p:spPr bwMode="auto">
              <a:xfrm>
                <a:off x="6003651" y="1096878"/>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6" name="Oval 738"/>
              <p:cNvSpPr>
                <a:spLocks noChangeArrowheads="1"/>
              </p:cNvSpPr>
              <p:nvPr/>
            </p:nvSpPr>
            <p:spPr bwMode="auto">
              <a:xfrm>
                <a:off x="6107809"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7" name="Oval 748"/>
              <p:cNvSpPr>
                <a:spLocks noChangeArrowheads="1"/>
              </p:cNvSpPr>
              <p:nvPr/>
            </p:nvSpPr>
            <p:spPr bwMode="auto">
              <a:xfrm>
                <a:off x="6107809" y="233898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8" name="Oval 751"/>
              <p:cNvSpPr>
                <a:spLocks noChangeArrowheads="1"/>
              </p:cNvSpPr>
              <p:nvPr/>
            </p:nvSpPr>
            <p:spPr bwMode="auto">
              <a:xfrm>
                <a:off x="6107809" y="265075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9" name="Oval 781"/>
              <p:cNvSpPr>
                <a:spLocks noChangeArrowheads="1"/>
              </p:cNvSpPr>
              <p:nvPr/>
            </p:nvSpPr>
            <p:spPr bwMode="auto">
              <a:xfrm>
                <a:off x="6316835" y="1614129"/>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0" name="Oval 799"/>
              <p:cNvSpPr>
                <a:spLocks noChangeArrowheads="1"/>
              </p:cNvSpPr>
              <p:nvPr/>
            </p:nvSpPr>
            <p:spPr bwMode="auto">
              <a:xfrm>
                <a:off x="6422411" y="130448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1" name="Oval 837"/>
              <p:cNvSpPr>
                <a:spLocks noChangeArrowheads="1"/>
              </p:cNvSpPr>
              <p:nvPr/>
            </p:nvSpPr>
            <p:spPr bwMode="auto">
              <a:xfrm>
                <a:off x="6526570" y="3788707"/>
                <a:ext cx="91405"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2" name="Oval 870"/>
              <p:cNvSpPr>
                <a:spLocks noChangeArrowheads="1"/>
              </p:cNvSpPr>
              <p:nvPr/>
            </p:nvSpPr>
            <p:spPr bwMode="auto">
              <a:xfrm>
                <a:off x="6735596" y="192589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3" name="Oval 899"/>
              <p:cNvSpPr>
                <a:spLocks noChangeArrowheads="1"/>
              </p:cNvSpPr>
              <p:nvPr/>
            </p:nvSpPr>
            <p:spPr bwMode="auto">
              <a:xfrm>
                <a:off x="6841171" y="368454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4" name="Oval 927"/>
              <p:cNvSpPr>
                <a:spLocks noChangeArrowheads="1"/>
              </p:cNvSpPr>
              <p:nvPr/>
            </p:nvSpPr>
            <p:spPr bwMode="auto">
              <a:xfrm>
                <a:off x="7050197" y="18217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5" name="Oval 940"/>
              <p:cNvSpPr>
                <a:spLocks noChangeArrowheads="1"/>
              </p:cNvSpPr>
              <p:nvPr/>
            </p:nvSpPr>
            <p:spPr bwMode="auto">
              <a:xfrm>
                <a:off x="7050197" y="399631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6" name="Oval 961"/>
              <p:cNvSpPr>
                <a:spLocks noChangeArrowheads="1"/>
              </p:cNvSpPr>
              <p:nvPr/>
            </p:nvSpPr>
            <p:spPr bwMode="auto">
              <a:xfrm>
                <a:off x="7257806" y="368454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7" name="Oval 972"/>
              <p:cNvSpPr>
                <a:spLocks noChangeArrowheads="1"/>
              </p:cNvSpPr>
              <p:nvPr/>
            </p:nvSpPr>
            <p:spPr bwMode="auto">
              <a:xfrm>
                <a:off x="7363382"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8" name="Oval 976"/>
              <p:cNvSpPr>
                <a:spLocks noChangeArrowheads="1"/>
              </p:cNvSpPr>
              <p:nvPr/>
            </p:nvSpPr>
            <p:spPr bwMode="auto">
              <a:xfrm>
                <a:off x="7466832" y="1614128"/>
                <a:ext cx="93530"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09" name="Oval 989"/>
              <p:cNvSpPr>
                <a:spLocks noChangeArrowheads="1"/>
              </p:cNvSpPr>
              <p:nvPr/>
            </p:nvSpPr>
            <p:spPr bwMode="auto">
              <a:xfrm>
                <a:off x="7675858" y="399631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10" name="Oval 993"/>
              <p:cNvSpPr>
                <a:spLocks noChangeArrowheads="1"/>
              </p:cNvSpPr>
              <p:nvPr/>
            </p:nvSpPr>
            <p:spPr bwMode="auto">
              <a:xfrm>
                <a:off x="7781434" y="1510678"/>
                <a:ext cx="92113" cy="92113"/>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11" name="Oval 162"/>
              <p:cNvSpPr>
                <a:spLocks noChangeArrowheads="1"/>
              </p:cNvSpPr>
              <p:nvPr/>
            </p:nvSpPr>
            <p:spPr bwMode="auto">
              <a:xfrm>
                <a:off x="2552242"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nvGrpSpPr>
          <p:cNvPr id="6" name="Group 15385"/>
          <p:cNvGrpSpPr/>
          <p:nvPr/>
        </p:nvGrpSpPr>
        <p:grpSpPr>
          <a:xfrm>
            <a:off x="2072874" y="1779924"/>
            <a:ext cx="5405276" cy="2418330"/>
            <a:chOff x="1191803" y="1096872"/>
            <a:chExt cx="6681750" cy="2989411"/>
          </a:xfrm>
          <a:solidFill>
            <a:schemeClr val="accent1"/>
          </a:solidFill>
        </p:grpSpPr>
        <p:sp>
          <p:nvSpPr>
            <p:cNvPr id="15178" name="Oval 20"/>
            <p:cNvSpPr>
              <a:spLocks noChangeArrowheads="1"/>
            </p:cNvSpPr>
            <p:nvPr/>
          </p:nvSpPr>
          <p:spPr bwMode="auto">
            <a:xfrm>
              <a:off x="1191803" y="1408639"/>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87" name="Oval 29"/>
            <p:cNvSpPr>
              <a:spLocks noChangeArrowheads="1"/>
            </p:cNvSpPr>
            <p:nvPr/>
          </p:nvSpPr>
          <p:spPr bwMode="auto">
            <a:xfrm>
              <a:off x="1297379" y="1718279"/>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97" name="Oval 39"/>
            <p:cNvSpPr>
              <a:spLocks noChangeArrowheads="1"/>
            </p:cNvSpPr>
            <p:nvPr/>
          </p:nvSpPr>
          <p:spPr bwMode="auto">
            <a:xfrm>
              <a:off x="1610564" y="1408639"/>
              <a:ext cx="91405"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21" name="Oval 63"/>
            <p:cNvSpPr>
              <a:spLocks noChangeArrowheads="1"/>
            </p:cNvSpPr>
            <p:nvPr/>
          </p:nvSpPr>
          <p:spPr bwMode="auto">
            <a:xfrm>
              <a:off x="1925166" y="1201031"/>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2" name="Oval 124"/>
            <p:cNvSpPr>
              <a:spLocks noChangeArrowheads="1"/>
            </p:cNvSpPr>
            <p:nvPr/>
          </p:nvSpPr>
          <p:spPr bwMode="auto">
            <a:xfrm>
              <a:off x="2343218" y="1408639"/>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84" name="Oval 126"/>
            <p:cNvSpPr>
              <a:spLocks noChangeArrowheads="1"/>
            </p:cNvSpPr>
            <p:nvPr/>
          </p:nvSpPr>
          <p:spPr bwMode="auto">
            <a:xfrm>
              <a:off x="2343218" y="1614120"/>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290" name="Oval 132"/>
            <p:cNvSpPr>
              <a:spLocks noChangeArrowheads="1"/>
            </p:cNvSpPr>
            <p:nvPr/>
          </p:nvSpPr>
          <p:spPr bwMode="auto">
            <a:xfrm>
              <a:off x="2343218" y="2235527"/>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4" name="Oval 146"/>
            <p:cNvSpPr>
              <a:spLocks noChangeArrowheads="1"/>
            </p:cNvSpPr>
            <p:nvPr/>
          </p:nvSpPr>
          <p:spPr bwMode="auto">
            <a:xfrm>
              <a:off x="2447377" y="1925887"/>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09" name="Oval 151"/>
            <p:cNvSpPr>
              <a:spLocks noChangeArrowheads="1"/>
            </p:cNvSpPr>
            <p:nvPr/>
          </p:nvSpPr>
          <p:spPr bwMode="auto">
            <a:xfrm>
              <a:off x="2447376" y="2443135"/>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2" name="Oval 174"/>
            <p:cNvSpPr>
              <a:spLocks noChangeArrowheads="1"/>
            </p:cNvSpPr>
            <p:nvPr/>
          </p:nvSpPr>
          <p:spPr bwMode="auto">
            <a:xfrm>
              <a:off x="2656402" y="1096872"/>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337" name="Oval 179"/>
            <p:cNvSpPr>
              <a:spLocks noChangeArrowheads="1"/>
            </p:cNvSpPr>
            <p:nvPr/>
          </p:nvSpPr>
          <p:spPr bwMode="auto">
            <a:xfrm>
              <a:off x="2656402" y="1821729"/>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5" name="Oval 218"/>
            <p:cNvSpPr>
              <a:spLocks noChangeArrowheads="1"/>
            </p:cNvSpPr>
            <p:nvPr/>
          </p:nvSpPr>
          <p:spPr bwMode="auto">
            <a:xfrm>
              <a:off x="2865429" y="1510670"/>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77" name="Oval 220"/>
            <p:cNvSpPr>
              <a:spLocks noChangeArrowheads="1"/>
            </p:cNvSpPr>
            <p:nvPr/>
          </p:nvSpPr>
          <p:spPr bwMode="auto">
            <a:xfrm>
              <a:off x="2865429" y="1718278"/>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991" name="Oval 234"/>
            <p:cNvSpPr>
              <a:spLocks noChangeArrowheads="1"/>
            </p:cNvSpPr>
            <p:nvPr/>
          </p:nvSpPr>
          <p:spPr bwMode="auto">
            <a:xfrm>
              <a:off x="2865429" y="3684529"/>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32" name="Oval 275"/>
            <p:cNvSpPr>
              <a:spLocks noChangeArrowheads="1"/>
            </p:cNvSpPr>
            <p:nvPr/>
          </p:nvSpPr>
          <p:spPr bwMode="auto">
            <a:xfrm>
              <a:off x="3075163" y="2960382"/>
              <a:ext cx="91405"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61" name="Oval 304"/>
            <p:cNvSpPr>
              <a:spLocks noChangeArrowheads="1"/>
            </p:cNvSpPr>
            <p:nvPr/>
          </p:nvSpPr>
          <p:spPr bwMode="auto">
            <a:xfrm>
              <a:off x="3178615" y="3892137"/>
              <a:ext cx="93531"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090" name="Oval 333"/>
            <p:cNvSpPr>
              <a:spLocks noChangeArrowheads="1"/>
            </p:cNvSpPr>
            <p:nvPr/>
          </p:nvSpPr>
          <p:spPr bwMode="auto">
            <a:xfrm>
              <a:off x="3387640" y="3271439"/>
              <a:ext cx="94239"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41" name="Oval 384"/>
            <p:cNvSpPr>
              <a:spLocks noChangeArrowheads="1"/>
            </p:cNvSpPr>
            <p:nvPr/>
          </p:nvSpPr>
          <p:spPr bwMode="auto">
            <a:xfrm>
              <a:off x="3911976" y="2754191"/>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159" name="Oval 402"/>
            <p:cNvSpPr>
              <a:spLocks noChangeArrowheads="1"/>
            </p:cNvSpPr>
            <p:nvPr/>
          </p:nvSpPr>
          <p:spPr bwMode="auto">
            <a:xfrm>
              <a:off x="4121003" y="3063833"/>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83" name="Oval 427"/>
            <p:cNvSpPr>
              <a:spLocks noChangeArrowheads="1"/>
            </p:cNvSpPr>
            <p:nvPr/>
          </p:nvSpPr>
          <p:spPr bwMode="auto">
            <a:xfrm>
              <a:off x="4330029" y="2857642"/>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3" name="Oval 437"/>
            <p:cNvSpPr>
              <a:spLocks noChangeArrowheads="1"/>
            </p:cNvSpPr>
            <p:nvPr/>
          </p:nvSpPr>
          <p:spPr bwMode="auto">
            <a:xfrm>
              <a:off x="4434188" y="2546585"/>
              <a:ext cx="93531"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5" name="Oval 439"/>
            <p:cNvSpPr>
              <a:spLocks noChangeArrowheads="1"/>
            </p:cNvSpPr>
            <p:nvPr/>
          </p:nvSpPr>
          <p:spPr bwMode="auto">
            <a:xfrm>
              <a:off x="4434188" y="2754192"/>
              <a:ext cx="93531"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98" name="Oval 442"/>
            <p:cNvSpPr>
              <a:spLocks noChangeArrowheads="1"/>
            </p:cNvSpPr>
            <p:nvPr/>
          </p:nvSpPr>
          <p:spPr bwMode="auto">
            <a:xfrm>
              <a:off x="4434188" y="3063834"/>
              <a:ext cx="93531"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820" name="Oval 464"/>
            <p:cNvSpPr>
              <a:spLocks noChangeArrowheads="1"/>
            </p:cNvSpPr>
            <p:nvPr/>
          </p:nvSpPr>
          <p:spPr bwMode="auto">
            <a:xfrm>
              <a:off x="4539055" y="3374890"/>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54" name="Oval 699"/>
            <p:cNvSpPr>
              <a:spLocks noChangeArrowheads="1"/>
            </p:cNvSpPr>
            <p:nvPr/>
          </p:nvSpPr>
          <p:spPr bwMode="auto">
            <a:xfrm>
              <a:off x="5794629" y="2754192"/>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0" name="Oval 705"/>
            <p:cNvSpPr>
              <a:spLocks noChangeArrowheads="1"/>
            </p:cNvSpPr>
            <p:nvPr/>
          </p:nvSpPr>
          <p:spPr bwMode="auto">
            <a:xfrm>
              <a:off x="5898787" y="1510672"/>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3" name="Oval 708"/>
            <p:cNvSpPr>
              <a:spLocks noChangeArrowheads="1"/>
            </p:cNvSpPr>
            <p:nvPr/>
          </p:nvSpPr>
          <p:spPr bwMode="auto">
            <a:xfrm>
              <a:off x="5898787" y="1821730"/>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69" name="Oval 714"/>
            <p:cNvSpPr>
              <a:spLocks noChangeArrowheads="1"/>
            </p:cNvSpPr>
            <p:nvPr/>
          </p:nvSpPr>
          <p:spPr bwMode="auto">
            <a:xfrm>
              <a:off x="5898787" y="244313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3" name="Oval 718"/>
            <p:cNvSpPr>
              <a:spLocks noChangeArrowheads="1"/>
            </p:cNvSpPr>
            <p:nvPr/>
          </p:nvSpPr>
          <p:spPr bwMode="auto">
            <a:xfrm>
              <a:off x="5898787" y="3063834"/>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74" name="Oval 719"/>
            <p:cNvSpPr>
              <a:spLocks noChangeArrowheads="1"/>
            </p:cNvSpPr>
            <p:nvPr/>
          </p:nvSpPr>
          <p:spPr bwMode="auto">
            <a:xfrm>
              <a:off x="6003656" y="1096873"/>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693" name="Oval 738"/>
            <p:cNvSpPr>
              <a:spLocks noChangeArrowheads="1"/>
            </p:cNvSpPr>
            <p:nvPr/>
          </p:nvSpPr>
          <p:spPr bwMode="auto">
            <a:xfrm>
              <a:off x="6107813" y="1304481"/>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3" name="Oval 748"/>
            <p:cNvSpPr>
              <a:spLocks noChangeArrowheads="1"/>
            </p:cNvSpPr>
            <p:nvPr/>
          </p:nvSpPr>
          <p:spPr bwMode="auto">
            <a:xfrm>
              <a:off x="6107813" y="2338977"/>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06" name="Oval 751"/>
            <p:cNvSpPr>
              <a:spLocks noChangeArrowheads="1"/>
            </p:cNvSpPr>
            <p:nvPr/>
          </p:nvSpPr>
          <p:spPr bwMode="auto">
            <a:xfrm>
              <a:off x="6107813" y="2650743"/>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36" name="Oval 781"/>
            <p:cNvSpPr>
              <a:spLocks noChangeArrowheads="1"/>
            </p:cNvSpPr>
            <p:nvPr/>
          </p:nvSpPr>
          <p:spPr bwMode="auto">
            <a:xfrm>
              <a:off x="6316840" y="1614121"/>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754" name="Oval 799"/>
            <p:cNvSpPr>
              <a:spLocks noChangeArrowheads="1"/>
            </p:cNvSpPr>
            <p:nvPr/>
          </p:nvSpPr>
          <p:spPr bwMode="auto">
            <a:xfrm>
              <a:off x="6422416" y="1304481"/>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391" name="Oval 837"/>
            <p:cNvSpPr>
              <a:spLocks noChangeArrowheads="1"/>
            </p:cNvSpPr>
            <p:nvPr/>
          </p:nvSpPr>
          <p:spPr bwMode="auto">
            <a:xfrm>
              <a:off x="6526575" y="3788688"/>
              <a:ext cx="91405"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24" name="Oval 870"/>
            <p:cNvSpPr>
              <a:spLocks noChangeArrowheads="1"/>
            </p:cNvSpPr>
            <p:nvPr/>
          </p:nvSpPr>
          <p:spPr bwMode="auto">
            <a:xfrm>
              <a:off x="6735601" y="192588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53" name="Oval 899"/>
            <p:cNvSpPr>
              <a:spLocks noChangeArrowheads="1"/>
            </p:cNvSpPr>
            <p:nvPr/>
          </p:nvSpPr>
          <p:spPr bwMode="auto">
            <a:xfrm>
              <a:off x="6841176" y="3684530"/>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81" name="Oval 927"/>
            <p:cNvSpPr>
              <a:spLocks noChangeArrowheads="1"/>
            </p:cNvSpPr>
            <p:nvPr/>
          </p:nvSpPr>
          <p:spPr bwMode="auto">
            <a:xfrm>
              <a:off x="7050202" y="1821729"/>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94" name="Oval 940"/>
            <p:cNvSpPr>
              <a:spLocks noChangeArrowheads="1"/>
            </p:cNvSpPr>
            <p:nvPr/>
          </p:nvSpPr>
          <p:spPr bwMode="auto">
            <a:xfrm>
              <a:off x="7050202" y="3996296"/>
              <a:ext cx="92113"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15" name="Oval 961"/>
            <p:cNvSpPr>
              <a:spLocks noChangeArrowheads="1"/>
            </p:cNvSpPr>
            <p:nvPr/>
          </p:nvSpPr>
          <p:spPr bwMode="auto">
            <a:xfrm>
              <a:off x="7257811" y="3684530"/>
              <a:ext cx="93531"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26" name="Oval 972"/>
            <p:cNvSpPr>
              <a:spLocks noChangeArrowheads="1"/>
            </p:cNvSpPr>
            <p:nvPr/>
          </p:nvSpPr>
          <p:spPr bwMode="auto">
            <a:xfrm>
              <a:off x="7363387" y="2029337"/>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30" name="Oval 976"/>
            <p:cNvSpPr>
              <a:spLocks noChangeArrowheads="1"/>
            </p:cNvSpPr>
            <p:nvPr/>
          </p:nvSpPr>
          <p:spPr bwMode="auto">
            <a:xfrm>
              <a:off x="7466837" y="1614120"/>
              <a:ext cx="93531"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3" name="Oval 989"/>
            <p:cNvSpPr>
              <a:spLocks noChangeArrowheads="1"/>
            </p:cNvSpPr>
            <p:nvPr/>
          </p:nvSpPr>
          <p:spPr bwMode="auto">
            <a:xfrm>
              <a:off x="7675864" y="3996296"/>
              <a:ext cx="94239" cy="89987"/>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547" name="Oval 993"/>
            <p:cNvSpPr>
              <a:spLocks noChangeArrowheads="1"/>
            </p:cNvSpPr>
            <p:nvPr/>
          </p:nvSpPr>
          <p:spPr bwMode="auto">
            <a:xfrm>
              <a:off x="7781440" y="1510671"/>
              <a:ext cx="92113" cy="92112"/>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32" name="Oval 162"/>
            <p:cNvSpPr>
              <a:spLocks noChangeArrowheads="1"/>
            </p:cNvSpPr>
            <p:nvPr/>
          </p:nvSpPr>
          <p:spPr bwMode="auto">
            <a:xfrm>
              <a:off x="2552242" y="2029346"/>
              <a:ext cx="92113" cy="90696"/>
            </a:xfrm>
            <a:prstGeom prst="rect">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5388" name="Title 15387"/>
          <p:cNvSpPr>
            <a:spLocks noGrp="1"/>
          </p:cNvSpPr>
          <p:nvPr>
            <p:ph type="title"/>
          </p:nvPr>
        </p:nvSpPr>
        <p:spPr/>
        <p:txBody>
          <a:bodyPr/>
          <a:lstStyle/>
          <a:p>
            <a:r>
              <a:rPr lang="en-US" dirty="0" smtClean="0"/>
              <a:t>Cisco Ultra Packet Core ~</a:t>
            </a:r>
            <a:r>
              <a:rPr lang="en-US" smtClean="0"/>
              <a:t>80 Wins</a:t>
            </a:r>
            <a:endParaRPr lang="en-US" dirty="0"/>
          </a:p>
        </p:txBody>
      </p:sp>
      <p:grpSp>
        <p:nvGrpSpPr>
          <p:cNvPr id="7" name="Group 7637"/>
          <p:cNvGrpSpPr/>
          <p:nvPr/>
        </p:nvGrpSpPr>
        <p:grpSpPr>
          <a:xfrm>
            <a:off x="6625740" y="2286944"/>
            <a:ext cx="425816" cy="417366"/>
            <a:chOff x="6199922" y="1870628"/>
            <a:chExt cx="535673" cy="525045"/>
          </a:xfrm>
        </p:grpSpPr>
        <p:sp>
          <p:nvSpPr>
            <p:cNvPr id="7679" name="Oval 1026"/>
            <p:cNvSpPr>
              <a:spLocks noChangeArrowheads="1"/>
            </p:cNvSpPr>
            <p:nvPr/>
          </p:nvSpPr>
          <p:spPr bwMode="auto">
            <a:xfrm>
              <a:off x="6199922" y="1870628"/>
              <a:ext cx="535673" cy="525045"/>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6" name="Group 7679"/>
            <p:cNvGrpSpPr/>
            <p:nvPr/>
          </p:nvGrpSpPr>
          <p:grpSpPr>
            <a:xfrm>
              <a:off x="6253065" y="2046351"/>
              <a:ext cx="423721" cy="163678"/>
              <a:chOff x="6253065" y="2046351"/>
              <a:chExt cx="423721" cy="163678"/>
            </a:xfrm>
          </p:grpSpPr>
          <p:sp>
            <p:nvSpPr>
              <p:cNvPr id="7681" name="Freeform 7122"/>
              <p:cNvSpPr>
                <a:spLocks/>
              </p:cNvSpPr>
              <p:nvPr/>
            </p:nvSpPr>
            <p:spPr bwMode="auto">
              <a:xfrm>
                <a:off x="6617975" y="2170350"/>
                <a:ext cx="58811" cy="38262"/>
              </a:xfrm>
              <a:custGeom>
                <a:avLst/>
                <a:gdLst>
                  <a:gd name="T0" fmla="*/ 28 w 35"/>
                  <a:gd name="T1" fmla="*/ 0 h 23"/>
                  <a:gd name="T2" fmla="*/ 20 w 35"/>
                  <a:gd name="T3" fmla="*/ 4 h 23"/>
                  <a:gd name="T4" fmla="*/ 13 w 35"/>
                  <a:gd name="T5" fmla="*/ 0 h 23"/>
                  <a:gd name="T6" fmla="*/ 6 w 35"/>
                  <a:gd name="T7" fmla="*/ 3 h 23"/>
                  <a:gd name="T8" fmla="*/ 2 w 35"/>
                  <a:gd name="T9" fmla="*/ 0 h 23"/>
                  <a:gd name="T10" fmla="*/ 0 w 35"/>
                  <a:gd name="T11" fmla="*/ 1 h 23"/>
                  <a:gd name="T12" fmla="*/ 1 w 35"/>
                  <a:gd name="T13" fmla="*/ 7 h 23"/>
                  <a:gd name="T14" fmla="*/ 1 w 35"/>
                  <a:gd name="T15" fmla="*/ 23 h 23"/>
                  <a:gd name="T16" fmla="*/ 6 w 35"/>
                  <a:gd name="T17" fmla="*/ 23 h 23"/>
                  <a:gd name="T18" fmla="*/ 6 w 35"/>
                  <a:gd name="T19" fmla="*/ 7 h 23"/>
                  <a:gd name="T20" fmla="*/ 11 w 35"/>
                  <a:gd name="T21" fmla="*/ 5 h 23"/>
                  <a:gd name="T22" fmla="*/ 15 w 35"/>
                  <a:gd name="T23" fmla="*/ 9 h 23"/>
                  <a:gd name="T24" fmla="*/ 15 w 35"/>
                  <a:gd name="T25" fmla="*/ 23 h 23"/>
                  <a:gd name="T26" fmla="*/ 21 w 35"/>
                  <a:gd name="T27" fmla="*/ 23 h 23"/>
                  <a:gd name="T28" fmla="*/ 21 w 35"/>
                  <a:gd name="T29" fmla="*/ 7 h 23"/>
                  <a:gd name="T30" fmla="*/ 26 w 35"/>
                  <a:gd name="T31" fmla="*/ 5 h 23"/>
                  <a:gd name="T32" fmla="*/ 29 w 35"/>
                  <a:gd name="T33" fmla="*/ 9 h 23"/>
                  <a:gd name="T34" fmla="*/ 29 w 35"/>
                  <a:gd name="T35" fmla="*/ 23 h 23"/>
                  <a:gd name="T36" fmla="*/ 35 w 35"/>
                  <a:gd name="T37" fmla="*/ 23 h 23"/>
                  <a:gd name="T38" fmla="*/ 35 w 35"/>
                  <a:gd name="T39" fmla="*/ 8 h 23"/>
                  <a:gd name="T40" fmla="*/ 28 w 35"/>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23">
                    <a:moveTo>
                      <a:pt x="28" y="0"/>
                    </a:moveTo>
                    <a:cubicBezTo>
                      <a:pt x="23" y="0"/>
                      <a:pt x="20" y="3"/>
                      <a:pt x="20" y="4"/>
                    </a:cubicBezTo>
                    <a:cubicBezTo>
                      <a:pt x="18" y="1"/>
                      <a:pt x="16" y="0"/>
                      <a:pt x="13" y="0"/>
                    </a:cubicBezTo>
                    <a:cubicBezTo>
                      <a:pt x="9" y="0"/>
                      <a:pt x="6" y="2"/>
                      <a:pt x="6" y="3"/>
                    </a:cubicBezTo>
                    <a:cubicBezTo>
                      <a:pt x="6" y="2"/>
                      <a:pt x="5" y="0"/>
                      <a:pt x="2" y="0"/>
                    </a:cubicBezTo>
                    <a:cubicBezTo>
                      <a:pt x="1" y="0"/>
                      <a:pt x="0" y="1"/>
                      <a:pt x="0" y="1"/>
                    </a:cubicBezTo>
                    <a:cubicBezTo>
                      <a:pt x="0" y="1"/>
                      <a:pt x="1" y="4"/>
                      <a:pt x="1" y="7"/>
                    </a:cubicBezTo>
                    <a:cubicBezTo>
                      <a:pt x="1" y="23"/>
                      <a:pt x="1" y="23"/>
                      <a:pt x="1" y="23"/>
                    </a:cubicBezTo>
                    <a:cubicBezTo>
                      <a:pt x="6" y="23"/>
                      <a:pt x="6" y="23"/>
                      <a:pt x="6" y="23"/>
                    </a:cubicBezTo>
                    <a:cubicBezTo>
                      <a:pt x="6" y="7"/>
                      <a:pt x="6" y="7"/>
                      <a:pt x="6" y="7"/>
                    </a:cubicBezTo>
                    <a:cubicBezTo>
                      <a:pt x="6" y="7"/>
                      <a:pt x="9" y="5"/>
                      <a:pt x="11" y="5"/>
                    </a:cubicBezTo>
                    <a:cubicBezTo>
                      <a:pt x="14" y="5"/>
                      <a:pt x="15" y="7"/>
                      <a:pt x="15" y="9"/>
                    </a:cubicBezTo>
                    <a:cubicBezTo>
                      <a:pt x="15" y="23"/>
                      <a:pt x="15" y="23"/>
                      <a:pt x="15" y="23"/>
                    </a:cubicBezTo>
                    <a:cubicBezTo>
                      <a:pt x="21" y="23"/>
                      <a:pt x="21" y="23"/>
                      <a:pt x="21" y="23"/>
                    </a:cubicBezTo>
                    <a:cubicBezTo>
                      <a:pt x="21" y="7"/>
                      <a:pt x="21" y="7"/>
                      <a:pt x="21" y="7"/>
                    </a:cubicBezTo>
                    <a:cubicBezTo>
                      <a:pt x="21" y="7"/>
                      <a:pt x="23" y="5"/>
                      <a:pt x="26" y="5"/>
                    </a:cubicBezTo>
                    <a:cubicBezTo>
                      <a:pt x="28" y="5"/>
                      <a:pt x="29" y="7"/>
                      <a:pt x="29" y="9"/>
                    </a:cubicBezTo>
                    <a:cubicBezTo>
                      <a:pt x="29" y="23"/>
                      <a:pt x="29" y="23"/>
                      <a:pt x="29" y="23"/>
                    </a:cubicBezTo>
                    <a:cubicBezTo>
                      <a:pt x="35" y="23"/>
                      <a:pt x="35" y="23"/>
                      <a:pt x="35" y="23"/>
                    </a:cubicBezTo>
                    <a:cubicBezTo>
                      <a:pt x="35" y="8"/>
                      <a:pt x="35" y="8"/>
                      <a:pt x="35" y="8"/>
                    </a:cubicBezTo>
                    <a:cubicBezTo>
                      <a:pt x="35" y="3"/>
                      <a:pt x="32" y="0"/>
                      <a:pt x="28" y="0"/>
                    </a:cubicBezTo>
                  </a:path>
                </a:pathLst>
              </a:custGeom>
              <a:solidFill>
                <a:srgbClr val="F480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82" name="Freeform 7123"/>
              <p:cNvSpPr>
                <a:spLocks/>
              </p:cNvSpPr>
              <p:nvPr/>
            </p:nvSpPr>
            <p:spPr bwMode="auto">
              <a:xfrm>
                <a:off x="6537907" y="2170350"/>
                <a:ext cx="33302" cy="38262"/>
              </a:xfrm>
              <a:custGeom>
                <a:avLst/>
                <a:gdLst>
                  <a:gd name="T0" fmla="*/ 13 w 20"/>
                  <a:gd name="T1" fmla="*/ 19 h 23"/>
                  <a:gd name="T2" fmla="*/ 6 w 20"/>
                  <a:gd name="T3" fmla="*/ 12 h 23"/>
                  <a:gd name="T4" fmla="*/ 13 w 20"/>
                  <a:gd name="T5" fmla="*/ 5 h 23"/>
                  <a:gd name="T6" fmla="*/ 17 w 20"/>
                  <a:gd name="T7" fmla="*/ 5 h 23"/>
                  <a:gd name="T8" fmla="*/ 19 w 20"/>
                  <a:gd name="T9" fmla="*/ 3 h 23"/>
                  <a:gd name="T10" fmla="*/ 20 w 20"/>
                  <a:gd name="T11" fmla="*/ 2 h 23"/>
                  <a:gd name="T12" fmla="*/ 12 w 20"/>
                  <a:gd name="T13" fmla="*/ 0 h 23"/>
                  <a:gd name="T14" fmla="*/ 0 w 20"/>
                  <a:gd name="T15" fmla="*/ 12 h 23"/>
                  <a:gd name="T16" fmla="*/ 12 w 20"/>
                  <a:gd name="T17" fmla="*/ 23 h 23"/>
                  <a:gd name="T18" fmla="*/ 20 w 20"/>
                  <a:gd name="T19" fmla="*/ 21 h 23"/>
                  <a:gd name="T20" fmla="*/ 18 w 20"/>
                  <a:gd name="T21" fmla="*/ 17 h 23"/>
                  <a:gd name="T22" fmla="*/ 13 w 20"/>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3">
                    <a:moveTo>
                      <a:pt x="13" y="19"/>
                    </a:moveTo>
                    <a:cubicBezTo>
                      <a:pt x="9" y="19"/>
                      <a:pt x="6" y="16"/>
                      <a:pt x="6" y="12"/>
                    </a:cubicBezTo>
                    <a:cubicBezTo>
                      <a:pt x="6" y="7"/>
                      <a:pt x="9" y="5"/>
                      <a:pt x="13" y="5"/>
                    </a:cubicBezTo>
                    <a:cubicBezTo>
                      <a:pt x="15" y="5"/>
                      <a:pt x="15" y="5"/>
                      <a:pt x="17" y="5"/>
                    </a:cubicBezTo>
                    <a:cubicBezTo>
                      <a:pt x="18" y="5"/>
                      <a:pt x="19" y="4"/>
                      <a:pt x="19" y="3"/>
                    </a:cubicBezTo>
                    <a:cubicBezTo>
                      <a:pt x="20" y="2"/>
                      <a:pt x="20" y="2"/>
                      <a:pt x="20" y="2"/>
                    </a:cubicBezTo>
                    <a:cubicBezTo>
                      <a:pt x="20" y="2"/>
                      <a:pt x="17" y="0"/>
                      <a:pt x="12" y="0"/>
                    </a:cubicBezTo>
                    <a:cubicBezTo>
                      <a:pt x="5" y="0"/>
                      <a:pt x="0" y="5"/>
                      <a:pt x="0" y="12"/>
                    </a:cubicBezTo>
                    <a:cubicBezTo>
                      <a:pt x="0" y="19"/>
                      <a:pt x="5" y="23"/>
                      <a:pt x="12" y="23"/>
                    </a:cubicBezTo>
                    <a:cubicBezTo>
                      <a:pt x="17" y="23"/>
                      <a:pt x="20" y="21"/>
                      <a:pt x="20" y="21"/>
                    </a:cubicBezTo>
                    <a:cubicBezTo>
                      <a:pt x="18" y="17"/>
                      <a:pt x="18" y="17"/>
                      <a:pt x="18" y="17"/>
                    </a:cubicBezTo>
                    <a:cubicBezTo>
                      <a:pt x="18" y="17"/>
                      <a:pt x="16" y="19"/>
                      <a:pt x="13" y="19"/>
                    </a:cubicBezTo>
                  </a:path>
                </a:pathLst>
              </a:custGeom>
              <a:solidFill>
                <a:srgbClr val="F480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83" name="Freeform 7124"/>
              <p:cNvSpPr>
                <a:spLocks noEditPoints="1"/>
              </p:cNvSpPr>
              <p:nvPr/>
            </p:nvSpPr>
            <p:spPr bwMode="auto">
              <a:xfrm>
                <a:off x="6437291" y="2170350"/>
                <a:ext cx="34011" cy="38262"/>
              </a:xfrm>
              <a:custGeom>
                <a:avLst/>
                <a:gdLst>
                  <a:gd name="T0" fmla="*/ 5 w 20"/>
                  <a:gd name="T1" fmla="*/ 9 h 23"/>
                  <a:gd name="T2" fmla="*/ 10 w 20"/>
                  <a:gd name="T3" fmla="*/ 4 h 23"/>
                  <a:gd name="T4" fmla="*/ 14 w 20"/>
                  <a:gd name="T5" fmla="*/ 9 h 23"/>
                  <a:gd name="T6" fmla="*/ 5 w 20"/>
                  <a:gd name="T7" fmla="*/ 9 h 23"/>
                  <a:gd name="T8" fmla="*/ 10 w 20"/>
                  <a:gd name="T9" fmla="*/ 0 h 23"/>
                  <a:gd name="T10" fmla="*/ 0 w 20"/>
                  <a:gd name="T11" fmla="*/ 12 h 23"/>
                  <a:gd name="T12" fmla="*/ 11 w 20"/>
                  <a:gd name="T13" fmla="*/ 23 h 23"/>
                  <a:gd name="T14" fmla="*/ 19 w 20"/>
                  <a:gd name="T15" fmla="*/ 21 h 23"/>
                  <a:gd name="T16" fmla="*/ 19 w 20"/>
                  <a:gd name="T17" fmla="*/ 20 h 23"/>
                  <a:gd name="T18" fmla="*/ 16 w 20"/>
                  <a:gd name="T19" fmla="*/ 18 h 23"/>
                  <a:gd name="T20" fmla="*/ 12 w 20"/>
                  <a:gd name="T21" fmla="*/ 19 h 23"/>
                  <a:gd name="T22" fmla="*/ 5 w 20"/>
                  <a:gd name="T23" fmla="*/ 13 h 23"/>
                  <a:gd name="T24" fmla="*/ 20 w 20"/>
                  <a:gd name="T25" fmla="*/ 13 h 23"/>
                  <a:gd name="T26" fmla="*/ 20 w 20"/>
                  <a:gd name="T27" fmla="*/ 12 h 23"/>
                  <a:gd name="T28" fmla="*/ 10 w 20"/>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5" y="9"/>
                    </a:moveTo>
                    <a:cubicBezTo>
                      <a:pt x="5" y="7"/>
                      <a:pt x="7" y="4"/>
                      <a:pt x="10" y="4"/>
                    </a:cubicBezTo>
                    <a:cubicBezTo>
                      <a:pt x="13" y="4"/>
                      <a:pt x="14" y="7"/>
                      <a:pt x="14" y="9"/>
                    </a:cubicBezTo>
                    <a:lnTo>
                      <a:pt x="5" y="9"/>
                    </a:lnTo>
                    <a:close/>
                    <a:moveTo>
                      <a:pt x="10" y="0"/>
                    </a:moveTo>
                    <a:cubicBezTo>
                      <a:pt x="4" y="0"/>
                      <a:pt x="0" y="4"/>
                      <a:pt x="0" y="12"/>
                    </a:cubicBezTo>
                    <a:cubicBezTo>
                      <a:pt x="0" y="19"/>
                      <a:pt x="4" y="23"/>
                      <a:pt x="11" y="23"/>
                    </a:cubicBezTo>
                    <a:cubicBezTo>
                      <a:pt x="16" y="23"/>
                      <a:pt x="19" y="21"/>
                      <a:pt x="19" y="21"/>
                    </a:cubicBezTo>
                    <a:cubicBezTo>
                      <a:pt x="19" y="20"/>
                      <a:pt x="19" y="20"/>
                      <a:pt x="19" y="20"/>
                    </a:cubicBezTo>
                    <a:cubicBezTo>
                      <a:pt x="18" y="19"/>
                      <a:pt x="17" y="18"/>
                      <a:pt x="16" y="18"/>
                    </a:cubicBezTo>
                    <a:cubicBezTo>
                      <a:pt x="14" y="18"/>
                      <a:pt x="14" y="19"/>
                      <a:pt x="12" y="19"/>
                    </a:cubicBezTo>
                    <a:cubicBezTo>
                      <a:pt x="7" y="19"/>
                      <a:pt x="6" y="16"/>
                      <a:pt x="5" y="13"/>
                    </a:cubicBezTo>
                    <a:cubicBezTo>
                      <a:pt x="20" y="13"/>
                      <a:pt x="20" y="13"/>
                      <a:pt x="20" y="13"/>
                    </a:cubicBezTo>
                    <a:cubicBezTo>
                      <a:pt x="20" y="12"/>
                      <a:pt x="20" y="12"/>
                      <a:pt x="20" y="12"/>
                    </a:cubicBezTo>
                    <a:cubicBezTo>
                      <a:pt x="20" y="5"/>
                      <a:pt x="16" y="0"/>
                      <a:pt x="10" y="0"/>
                    </a:cubicBezTo>
                  </a:path>
                </a:pathLst>
              </a:custGeom>
              <a:solidFill>
                <a:srgbClr val="F480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84" name="Freeform 7125"/>
              <p:cNvSpPr>
                <a:spLocks/>
              </p:cNvSpPr>
              <p:nvPr/>
            </p:nvSpPr>
            <p:spPr bwMode="auto">
              <a:xfrm>
                <a:off x="6477679" y="2149801"/>
                <a:ext cx="17006" cy="58811"/>
              </a:xfrm>
              <a:custGeom>
                <a:avLst/>
                <a:gdLst>
                  <a:gd name="T0" fmla="*/ 6 w 10"/>
                  <a:gd name="T1" fmla="*/ 29 h 35"/>
                  <a:gd name="T2" fmla="*/ 6 w 10"/>
                  <a:gd name="T3" fmla="*/ 5 h 35"/>
                  <a:gd name="T4" fmla="*/ 1 w 10"/>
                  <a:gd name="T5" fmla="*/ 0 h 35"/>
                  <a:gd name="T6" fmla="*/ 0 w 10"/>
                  <a:gd name="T7" fmla="*/ 0 h 35"/>
                  <a:gd name="T8" fmla="*/ 0 w 10"/>
                  <a:gd name="T9" fmla="*/ 31 h 35"/>
                  <a:gd name="T10" fmla="*/ 5 w 10"/>
                  <a:gd name="T11" fmla="*/ 35 h 35"/>
                  <a:gd name="T12" fmla="*/ 10 w 10"/>
                  <a:gd name="T13" fmla="*/ 30 h 35"/>
                  <a:gd name="T14" fmla="*/ 8 w 10"/>
                  <a:gd name="T15" fmla="*/ 31 h 35"/>
                  <a:gd name="T16" fmla="*/ 6 w 10"/>
                  <a:gd name="T17"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5">
                    <a:moveTo>
                      <a:pt x="6" y="29"/>
                    </a:moveTo>
                    <a:cubicBezTo>
                      <a:pt x="6" y="5"/>
                      <a:pt x="6" y="5"/>
                      <a:pt x="6" y="5"/>
                    </a:cubicBezTo>
                    <a:cubicBezTo>
                      <a:pt x="6" y="3"/>
                      <a:pt x="4" y="0"/>
                      <a:pt x="1" y="0"/>
                    </a:cubicBezTo>
                    <a:cubicBezTo>
                      <a:pt x="0" y="0"/>
                      <a:pt x="0" y="0"/>
                      <a:pt x="0" y="0"/>
                    </a:cubicBezTo>
                    <a:cubicBezTo>
                      <a:pt x="0" y="31"/>
                      <a:pt x="0" y="31"/>
                      <a:pt x="0" y="31"/>
                    </a:cubicBezTo>
                    <a:cubicBezTo>
                      <a:pt x="0" y="34"/>
                      <a:pt x="2" y="35"/>
                      <a:pt x="5" y="35"/>
                    </a:cubicBezTo>
                    <a:cubicBezTo>
                      <a:pt x="9" y="35"/>
                      <a:pt x="10" y="33"/>
                      <a:pt x="10" y="30"/>
                    </a:cubicBezTo>
                    <a:cubicBezTo>
                      <a:pt x="10" y="30"/>
                      <a:pt x="9" y="31"/>
                      <a:pt x="8" y="31"/>
                    </a:cubicBezTo>
                    <a:cubicBezTo>
                      <a:pt x="7" y="31"/>
                      <a:pt x="6" y="30"/>
                      <a:pt x="6" y="29"/>
                    </a:cubicBezTo>
                  </a:path>
                </a:pathLst>
              </a:custGeom>
              <a:solidFill>
                <a:srgbClr val="F480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85" name="Freeform 7126"/>
              <p:cNvSpPr>
                <a:spLocks/>
              </p:cNvSpPr>
              <p:nvPr/>
            </p:nvSpPr>
            <p:spPr bwMode="auto">
              <a:xfrm>
                <a:off x="6407532" y="2159721"/>
                <a:ext cx="26925" cy="48891"/>
              </a:xfrm>
              <a:custGeom>
                <a:avLst/>
                <a:gdLst>
                  <a:gd name="T0" fmla="*/ 10 w 16"/>
                  <a:gd name="T1" fmla="*/ 22 h 29"/>
                  <a:gd name="T2" fmla="*/ 10 w 16"/>
                  <a:gd name="T3" fmla="*/ 11 h 29"/>
                  <a:gd name="T4" fmla="*/ 14 w 16"/>
                  <a:gd name="T5" fmla="*/ 11 h 29"/>
                  <a:gd name="T6" fmla="*/ 16 w 16"/>
                  <a:gd name="T7" fmla="*/ 6 h 29"/>
                  <a:gd name="T8" fmla="*/ 10 w 16"/>
                  <a:gd name="T9" fmla="*/ 6 h 29"/>
                  <a:gd name="T10" fmla="*/ 10 w 16"/>
                  <a:gd name="T11" fmla="*/ 0 h 29"/>
                  <a:gd name="T12" fmla="*/ 9 w 16"/>
                  <a:gd name="T13" fmla="*/ 0 h 29"/>
                  <a:gd name="T14" fmla="*/ 4 w 16"/>
                  <a:gd name="T15" fmla="*/ 6 h 29"/>
                  <a:gd name="T16" fmla="*/ 4 w 16"/>
                  <a:gd name="T17" fmla="*/ 6 h 29"/>
                  <a:gd name="T18" fmla="*/ 0 w 16"/>
                  <a:gd name="T19" fmla="*/ 6 h 29"/>
                  <a:gd name="T20" fmla="*/ 0 w 16"/>
                  <a:gd name="T21" fmla="*/ 11 h 29"/>
                  <a:gd name="T22" fmla="*/ 4 w 16"/>
                  <a:gd name="T23" fmla="*/ 11 h 29"/>
                  <a:gd name="T24" fmla="*/ 4 w 16"/>
                  <a:gd name="T25" fmla="*/ 24 h 29"/>
                  <a:gd name="T26" fmla="*/ 9 w 16"/>
                  <a:gd name="T27" fmla="*/ 29 h 29"/>
                  <a:gd name="T28" fmla="*/ 15 w 16"/>
                  <a:gd name="T29" fmla="*/ 24 h 29"/>
                  <a:gd name="T30" fmla="*/ 12 w 16"/>
                  <a:gd name="T31" fmla="*/ 25 h 29"/>
                  <a:gd name="T32" fmla="*/ 10 w 16"/>
                  <a:gd name="T33"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9">
                    <a:moveTo>
                      <a:pt x="10" y="22"/>
                    </a:moveTo>
                    <a:cubicBezTo>
                      <a:pt x="10" y="11"/>
                      <a:pt x="10" y="11"/>
                      <a:pt x="10" y="11"/>
                    </a:cubicBezTo>
                    <a:cubicBezTo>
                      <a:pt x="14" y="11"/>
                      <a:pt x="14" y="11"/>
                      <a:pt x="14" y="11"/>
                    </a:cubicBezTo>
                    <a:cubicBezTo>
                      <a:pt x="16" y="6"/>
                      <a:pt x="16" y="6"/>
                      <a:pt x="16" y="6"/>
                    </a:cubicBezTo>
                    <a:cubicBezTo>
                      <a:pt x="10" y="6"/>
                      <a:pt x="10" y="6"/>
                      <a:pt x="10" y="6"/>
                    </a:cubicBezTo>
                    <a:cubicBezTo>
                      <a:pt x="10" y="0"/>
                      <a:pt x="10" y="0"/>
                      <a:pt x="10" y="0"/>
                    </a:cubicBezTo>
                    <a:cubicBezTo>
                      <a:pt x="9" y="0"/>
                      <a:pt x="9" y="0"/>
                      <a:pt x="9" y="0"/>
                    </a:cubicBezTo>
                    <a:cubicBezTo>
                      <a:pt x="7" y="0"/>
                      <a:pt x="4" y="1"/>
                      <a:pt x="4" y="6"/>
                    </a:cubicBezTo>
                    <a:cubicBezTo>
                      <a:pt x="4" y="6"/>
                      <a:pt x="4" y="6"/>
                      <a:pt x="4" y="6"/>
                    </a:cubicBezTo>
                    <a:cubicBezTo>
                      <a:pt x="0" y="6"/>
                      <a:pt x="0" y="6"/>
                      <a:pt x="0" y="6"/>
                    </a:cubicBezTo>
                    <a:cubicBezTo>
                      <a:pt x="0" y="11"/>
                      <a:pt x="0" y="11"/>
                      <a:pt x="0" y="11"/>
                    </a:cubicBezTo>
                    <a:cubicBezTo>
                      <a:pt x="4" y="11"/>
                      <a:pt x="4" y="11"/>
                      <a:pt x="4" y="11"/>
                    </a:cubicBezTo>
                    <a:cubicBezTo>
                      <a:pt x="4" y="24"/>
                      <a:pt x="4" y="24"/>
                      <a:pt x="4" y="24"/>
                    </a:cubicBezTo>
                    <a:cubicBezTo>
                      <a:pt x="4" y="28"/>
                      <a:pt x="6" y="29"/>
                      <a:pt x="9" y="29"/>
                    </a:cubicBezTo>
                    <a:cubicBezTo>
                      <a:pt x="12" y="29"/>
                      <a:pt x="15" y="29"/>
                      <a:pt x="15" y="24"/>
                    </a:cubicBezTo>
                    <a:cubicBezTo>
                      <a:pt x="15" y="24"/>
                      <a:pt x="14" y="25"/>
                      <a:pt x="12" y="25"/>
                    </a:cubicBezTo>
                    <a:cubicBezTo>
                      <a:pt x="10" y="25"/>
                      <a:pt x="10" y="23"/>
                      <a:pt x="10" y="22"/>
                    </a:cubicBezTo>
                  </a:path>
                </a:pathLst>
              </a:custGeom>
              <a:solidFill>
                <a:srgbClr val="F480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86" name="Freeform 7127"/>
              <p:cNvSpPr>
                <a:spLocks noEditPoints="1"/>
              </p:cNvSpPr>
              <p:nvPr/>
            </p:nvSpPr>
            <p:spPr bwMode="auto">
              <a:xfrm>
                <a:off x="6497519" y="2170350"/>
                <a:ext cx="34011" cy="38262"/>
              </a:xfrm>
              <a:custGeom>
                <a:avLst/>
                <a:gdLst>
                  <a:gd name="T0" fmla="*/ 5 w 20"/>
                  <a:gd name="T1" fmla="*/ 9 h 23"/>
                  <a:gd name="T2" fmla="*/ 10 w 20"/>
                  <a:gd name="T3" fmla="*/ 4 h 23"/>
                  <a:gd name="T4" fmla="*/ 14 w 20"/>
                  <a:gd name="T5" fmla="*/ 9 h 23"/>
                  <a:gd name="T6" fmla="*/ 5 w 20"/>
                  <a:gd name="T7" fmla="*/ 9 h 23"/>
                  <a:gd name="T8" fmla="*/ 10 w 20"/>
                  <a:gd name="T9" fmla="*/ 0 h 23"/>
                  <a:gd name="T10" fmla="*/ 0 w 20"/>
                  <a:gd name="T11" fmla="*/ 12 h 23"/>
                  <a:gd name="T12" fmla="*/ 11 w 20"/>
                  <a:gd name="T13" fmla="*/ 23 h 23"/>
                  <a:gd name="T14" fmla="*/ 19 w 20"/>
                  <a:gd name="T15" fmla="*/ 21 h 23"/>
                  <a:gd name="T16" fmla="*/ 19 w 20"/>
                  <a:gd name="T17" fmla="*/ 20 h 23"/>
                  <a:gd name="T18" fmla="*/ 16 w 20"/>
                  <a:gd name="T19" fmla="*/ 18 h 23"/>
                  <a:gd name="T20" fmla="*/ 11 w 20"/>
                  <a:gd name="T21" fmla="*/ 19 h 23"/>
                  <a:gd name="T22" fmla="*/ 5 w 20"/>
                  <a:gd name="T23" fmla="*/ 13 h 23"/>
                  <a:gd name="T24" fmla="*/ 20 w 20"/>
                  <a:gd name="T25" fmla="*/ 13 h 23"/>
                  <a:gd name="T26" fmla="*/ 20 w 20"/>
                  <a:gd name="T27" fmla="*/ 12 h 23"/>
                  <a:gd name="T28" fmla="*/ 10 w 20"/>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3">
                    <a:moveTo>
                      <a:pt x="5" y="9"/>
                    </a:moveTo>
                    <a:cubicBezTo>
                      <a:pt x="5" y="7"/>
                      <a:pt x="7" y="4"/>
                      <a:pt x="10" y="4"/>
                    </a:cubicBezTo>
                    <a:cubicBezTo>
                      <a:pt x="13" y="4"/>
                      <a:pt x="14" y="7"/>
                      <a:pt x="14" y="9"/>
                    </a:cubicBezTo>
                    <a:lnTo>
                      <a:pt x="5" y="9"/>
                    </a:lnTo>
                    <a:close/>
                    <a:moveTo>
                      <a:pt x="10" y="0"/>
                    </a:moveTo>
                    <a:cubicBezTo>
                      <a:pt x="4" y="0"/>
                      <a:pt x="0" y="4"/>
                      <a:pt x="0" y="12"/>
                    </a:cubicBezTo>
                    <a:cubicBezTo>
                      <a:pt x="0" y="19"/>
                      <a:pt x="4" y="23"/>
                      <a:pt x="11" y="23"/>
                    </a:cubicBezTo>
                    <a:cubicBezTo>
                      <a:pt x="16" y="23"/>
                      <a:pt x="19" y="21"/>
                      <a:pt x="19" y="21"/>
                    </a:cubicBezTo>
                    <a:cubicBezTo>
                      <a:pt x="19" y="20"/>
                      <a:pt x="19" y="20"/>
                      <a:pt x="19" y="20"/>
                    </a:cubicBezTo>
                    <a:cubicBezTo>
                      <a:pt x="18" y="19"/>
                      <a:pt x="17" y="18"/>
                      <a:pt x="16" y="18"/>
                    </a:cubicBezTo>
                    <a:cubicBezTo>
                      <a:pt x="14" y="18"/>
                      <a:pt x="14" y="19"/>
                      <a:pt x="11" y="19"/>
                    </a:cubicBezTo>
                    <a:cubicBezTo>
                      <a:pt x="7" y="19"/>
                      <a:pt x="6" y="16"/>
                      <a:pt x="5" y="13"/>
                    </a:cubicBezTo>
                    <a:cubicBezTo>
                      <a:pt x="20" y="13"/>
                      <a:pt x="20" y="13"/>
                      <a:pt x="20" y="13"/>
                    </a:cubicBezTo>
                    <a:cubicBezTo>
                      <a:pt x="20" y="12"/>
                      <a:pt x="20" y="12"/>
                      <a:pt x="20" y="12"/>
                    </a:cubicBezTo>
                    <a:cubicBezTo>
                      <a:pt x="20" y="5"/>
                      <a:pt x="16" y="0"/>
                      <a:pt x="10" y="0"/>
                    </a:cubicBezTo>
                  </a:path>
                </a:pathLst>
              </a:custGeom>
              <a:solidFill>
                <a:srgbClr val="F480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87" name="Freeform 7128"/>
              <p:cNvSpPr>
                <a:spLocks noEditPoints="1"/>
              </p:cNvSpPr>
              <p:nvPr/>
            </p:nvSpPr>
            <p:spPr bwMode="auto">
              <a:xfrm>
                <a:off x="6574752" y="2170350"/>
                <a:ext cx="36845" cy="38262"/>
              </a:xfrm>
              <a:custGeom>
                <a:avLst/>
                <a:gdLst>
                  <a:gd name="T0" fmla="*/ 11 w 22"/>
                  <a:gd name="T1" fmla="*/ 19 h 23"/>
                  <a:gd name="T2" fmla="*/ 17 w 22"/>
                  <a:gd name="T3" fmla="*/ 12 h 23"/>
                  <a:gd name="T4" fmla="*/ 11 w 22"/>
                  <a:gd name="T5" fmla="*/ 4 h 23"/>
                  <a:gd name="T6" fmla="*/ 6 w 22"/>
                  <a:gd name="T7" fmla="*/ 12 h 23"/>
                  <a:gd name="T8" fmla="*/ 11 w 22"/>
                  <a:gd name="T9" fmla="*/ 19 h 23"/>
                  <a:gd name="T10" fmla="*/ 11 w 22"/>
                  <a:gd name="T11" fmla="*/ 23 h 23"/>
                  <a:gd name="T12" fmla="*/ 0 w 22"/>
                  <a:gd name="T13" fmla="*/ 12 h 23"/>
                  <a:gd name="T14" fmla="*/ 11 w 22"/>
                  <a:gd name="T15" fmla="*/ 0 h 23"/>
                  <a:gd name="T16" fmla="*/ 22 w 22"/>
                  <a:gd name="T17" fmla="*/ 12 h 23"/>
                  <a:gd name="T18" fmla="*/ 11 w 22"/>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19"/>
                    </a:moveTo>
                    <a:cubicBezTo>
                      <a:pt x="15" y="19"/>
                      <a:pt x="17" y="16"/>
                      <a:pt x="17" y="12"/>
                    </a:cubicBezTo>
                    <a:cubicBezTo>
                      <a:pt x="17" y="7"/>
                      <a:pt x="15" y="4"/>
                      <a:pt x="11" y="4"/>
                    </a:cubicBezTo>
                    <a:cubicBezTo>
                      <a:pt x="8" y="4"/>
                      <a:pt x="6" y="7"/>
                      <a:pt x="6" y="12"/>
                    </a:cubicBezTo>
                    <a:cubicBezTo>
                      <a:pt x="6" y="16"/>
                      <a:pt x="8" y="19"/>
                      <a:pt x="11" y="19"/>
                    </a:cubicBezTo>
                    <a:moveTo>
                      <a:pt x="11" y="23"/>
                    </a:moveTo>
                    <a:cubicBezTo>
                      <a:pt x="4" y="23"/>
                      <a:pt x="0" y="19"/>
                      <a:pt x="0" y="12"/>
                    </a:cubicBezTo>
                    <a:cubicBezTo>
                      <a:pt x="0" y="5"/>
                      <a:pt x="4" y="0"/>
                      <a:pt x="11" y="0"/>
                    </a:cubicBezTo>
                    <a:cubicBezTo>
                      <a:pt x="18" y="0"/>
                      <a:pt x="22" y="5"/>
                      <a:pt x="22" y="12"/>
                    </a:cubicBezTo>
                    <a:cubicBezTo>
                      <a:pt x="22" y="18"/>
                      <a:pt x="19" y="23"/>
                      <a:pt x="11" y="23"/>
                    </a:cubicBezTo>
                  </a:path>
                </a:pathLst>
              </a:custGeom>
              <a:solidFill>
                <a:srgbClr val="F480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88" name="Freeform 7129"/>
              <p:cNvSpPr>
                <a:spLocks/>
              </p:cNvSpPr>
              <p:nvPr/>
            </p:nvSpPr>
            <p:spPr bwMode="auto">
              <a:xfrm>
                <a:off x="6253065" y="2138464"/>
                <a:ext cx="50308" cy="71565"/>
              </a:xfrm>
              <a:custGeom>
                <a:avLst/>
                <a:gdLst>
                  <a:gd name="T0" fmla="*/ 19 w 30"/>
                  <a:gd name="T1" fmla="*/ 17 h 43"/>
                  <a:gd name="T2" fmla="*/ 12 w 30"/>
                  <a:gd name="T3" fmla="*/ 11 h 43"/>
                  <a:gd name="T4" fmla="*/ 17 w 30"/>
                  <a:gd name="T5" fmla="*/ 8 h 43"/>
                  <a:gd name="T6" fmla="*/ 20 w 30"/>
                  <a:gd name="T7" fmla="*/ 8 h 43"/>
                  <a:gd name="T8" fmla="*/ 22 w 30"/>
                  <a:gd name="T9" fmla="*/ 8 h 43"/>
                  <a:gd name="T10" fmla="*/ 27 w 30"/>
                  <a:gd name="T11" fmla="*/ 3 h 43"/>
                  <a:gd name="T12" fmla="*/ 28 w 30"/>
                  <a:gd name="T13" fmla="*/ 2 h 43"/>
                  <a:gd name="T14" fmla="*/ 17 w 30"/>
                  <a:gd name="T15" fmla="*/ 0 h 43"/>
                  <a:gd name="T16" fmla="*/ 2 w 30"/>
                  <a:gd name="T17" fmla="*/ 12 h 43"/>
                  <a:gd name="T18" fmla="*/ 5 w 30"/>
                  <a:gd name="T19" fmla="*/ 20 h 43"/>
                  <a:gd name="T20" fmla="*/ 12 w 30"/>
                  <a:gd name="T21" fmla="*/ 25 h 43"/>
                  <a:gd name="T22" fmla="*/ 20 w 30"/>
                  <a:gd name="T23" fmla="*/ 31 h 43"/>
                  <a:gd name="T24" fmla="*/ 14 w 30"/>
                  <a:gd name="T25" fmla="*/ 35 h 43"/>
                  <a:gd name="T26" fmla="*/ 4 w 30"/>
                  <a:gd name="T27" fmla="*/ 32 h 43"/>
                  <a:gd name="T28" fmla="*/ 0 w 30"/>
                  <a:gd name="T29" fmla="*/ 39 h 43"/>
                  <a:gd name="T30" fmla="*/ 14 w 30"/>
                  <a:gd name="T31" fmla="*/ 43 h 43"/>
                  <a:gd name="T32" fmla="*/ 30 w 30"/>
                  <a:gd name="T33" fmla="*/ 30 h 43"/>
                  <a:gd name="T34" fmla="*/ 19 w 30"/>
                  <a:gd name="T35"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43">
                    <a:moveTo>
                      <a:pt x="19" y="17"/>
                    </a:moveTo>
                    <a:cubicBezTo>
                      <a:pt x="15" y="15"/>
                      <a:pt x="12" y="14"/>
                      <a:pt x="12" y="11"/>
                    </a:cubicBezTo>
                    <a:cubicBezTo>
                      <a:pt x="12" y="9"/>
                      <a:pt x="14" y="8"/>
                      <a:pt x="17" y="8"/>
                    </a:cubicBezTo>
                    <a:cubicBezTo>
                      <a:pt x="18" y="8"/>
                      <a:pt x="19" y="8"/>
                      <a:pt x="20" y="8"/>
                    </a:cubicBezTo>
                    <a:cubicBezTo>
                      <a:pt x="21" y="8"/>
                      <a:pt x="21" y="8"/>
                      <a:pt x="22" y="8"/>
                    </a:cubicBezTo>
                    <a:cubicBezTo>
                      <a:pt x="25" y="8"/>
                      <a:pt x="26" y="7"/>
                      <a:pt x="27" y="3"/>
                    </a:cubicBezTo>
                    <a:cubicBezTo>
                      <a:pt x="28" y="2"/>
                      <a:pt x="28" y="2"/>
                      <a:pt x="28" y="2"/>
                    </a:cubicBezTo>
                    <a:cubicBezTo>
                      <a:pt x="27" y="2"/>
                      <a:pt x="23" y="0"/>
                      <a:pt x="17" y="0"/>
                    </a:cubicBezTo>
                    <a:cubicBezTo>
                      <a:pt x="7" y="0"/>
                      <a:pt x="2" y="6"/>
                      <a:pt x="2" y="12"/>
                    </a:cubicBezTo>
                    <a:cubicBezTo>
                      <a:pt x="2" y="16"/>
                      <a:pt x="3" y="18"/>
                      <a:pt x="5" y="20"/>
                    </a:cubicBezTo>
                    <a:cubicBezTo>
                      <a:pt x="7" y="22"/>
                      <a:pt x="10" y="24"/>
                      <a:pt x="12" y="25"/>
                    </a:cubicBezTo>
                    <a:cubicBezTo>
                      <a:pt x="16" y="27"/>
                      <a:pt x="20" y="28"/>
                      <a:pt x="20" y="31"/>
                    </a:cubicBezTo>
                    <a:cubicBezTo>
                      <a:pt x="20" y="33"/>
                      <a:pt x="17" y="35"/>
                      <a:pt x="14" y="35"/>
                    </a:cubicBezTo>
                    <a:cubicBezTo>
                      <a:pt x="9" y="35"/>
                      <a:pt x="5" y="32"/>
                      <a:pt x="4" y="32"/>
                    </a:cubicBezTo>
                    <a:cubicBezTo>
                      <a:pt x="0" y="39"/>
                      <a:pt x="0" y="39"/>
                      <a:pt x="0" y="39"/>
                    </a:cubicBezTo>
                    <a:cubicBezTo>
                      <a:pt x="1" y="40"/>
                      <a:pt x="6" y="43"/>
                      <a:pt x="14" y="43"/>
                    </a:cubicBezTo>
                    <a:cubicBezTo>
                      <a:pt x="23" y="43"/>
                      <a:pt x="30" y="38"/>
                      <a:pt x="30" y="30"/>
                    </a:cubicBezTo>
                    <a:cubicBezTo>
                      <a:pt x="30" y="22"/>
                      <a:pt x="24" y="19"/>
                      <a:pt x="19" y="17"/>
                    </a:cubicBezTo>
                  </a:path>
                </a:pathLst>
              </a:custGeom>
              <a:solidFill>
                <a:srgbClr val="E21E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89" name="Freeform 7130"/>
              <p:cNvSpPr>
                <a:spLocks/>
              </p:cNvSpPr>
              <p:nvPr/>
            </p:nvSpPr>
            <p:spPr bwMode="auto">
              <a:xfrm>
                <a:off x="6311876" y="2139881"/>
                <a:ext cx="58811" cy="68731"/>
              </a:xfrm>
              <a:custGeom>
                <a:avLst/>
                <a:gdLst>
                  <a:gd name="T0" fmla="*/ 18 w 35"/>
                  <a:gd name="T1" fmla="*/ 19 h 41"/>
                  <a:gd name="T2" fmla="*/ 34 w 35"/>
                  <a:gd name="T3" fmla="*/ 0 h 41"/>
                  <a:gd name="T4" fmla="*/ 23 w 35"/>
                  <a:gd name="T5" fmla="*/ 0 h 41"/>
                  <a:gd name="T6" fmla="*/ 10 w 35"/>
                  <a:gd name="T7" fmla="*/ 17 h 41"/>
                  <a:gd name="T8" fmla="*/ 10 w 35"/>
                  <a:gd name="T9" fmla="*/ 17 h 41"/>
                  <a:gd name="T10" fmla="*/ 10 w 35"/>
                  <a:gd name="T11" fmla="*/ 0 h 41"/>
                  <a:gd name="T12" fmla="*/ 0 w 35"/>
                  <a:gd name="T13" fmla="*/ 0 h 41"/>
                  <a:gd name="T14" fmla="*/ 0 w 35"/>
                  <a:gd name="T15" fmla="*/ 41 h 41"/>
                  <a:gd name="T16" fmla="*/ 1 w 35"/>
                  <a:gd name="T17" fmla="*/ 41 h 41"/>
                  <a:gd name="T18" fmla="*/ 10 w 35"/>
                  <a:gd name="T19" fmla="*/ 33 h 41"/>
                  <a:gd name="T20" fmla="*/ 10 w 35"/>
                  <a:gd name="T21" fmla="*/ 23 h 41"/>
                  <a:gd name="T22" fmla="*/ 10 w 35"/>
                  <a:gd name="T23" fmla="*/ 23 h 41"/>
                  <a:gd name="T24" fmla="*/ 23 w 35"/>
                  <a:gd name="T25" fmla="*/ 41 h 41"/>
                  <a:gd name="T26" fmla="*/ 35 w 35"/>
                  <a:gd name="T27" fmla="*/ 41 h 41"/>
                  <a:gd name="T28" fmla="*/ 18 w 35"/>
                  <a:gd name="T29"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41">
                    <a:moveTo>
                      <a:pt x="18" y="19"/>
                    </a:moveTo>
                    <a:cubicBezTo>
                      <a:pt x="34" y="0"/>
                      <a:pt x="34" y="0"/>
                      <a:pt x="34" y="0"/>
                    </a:cubicBezTo>
                    <a:cubicBezTo>
                      <a:pt x="23" y="0"/>
                      <a:pt x="23" y="0"/>
                      <a:pt x="23" y="0"/>
                    </a:cubicBezTo>
                    <a:cubicBezTo>
                      <a:pt x="10" y="17"/>
                      <a:pt x="10" y="17"/>
                      <a:pt x="10" y="17"/>
                    </a:cubicBezTo>
                    <a:cubicBezTo>
                      <a:pt x="10" y="17"/>
                      <a:pt x="10" y="17"/>
                      <a:pt x="10" y="17"/>
                    </a:cubicBezTo>
                    <a:cubicBezTo>
                      <a:pt x="10" y="0"/>
                      <a:pt x="10" y="0"/>
                      <a:pt x="10" y="0"/>
                    </a:cubicBezTo>
                    <a:cubicBezTo>
                      <a:pt x="0" y="0"/>
                      <a:pt x="0" y="0"/>
                      <a:pt x="0" y="0"/>
                    </a:cubicBezTo>
                    <a:cubicBezTo>
                      <a:pt x="0" y="41"/>
                      <a:pt x="0" y="41"/>
                      <a:pt x="0" y="41"/>
                    </a:cubicBezTo>
                    <a:cubicBezTo>
                      <a:pt x="1" y="41"/>
                      <a:pt x="1" y="41"/>
                      <a:pt x="1" y="41"/>
                    </a:cubicBezTo>
                    <a:cubicBezTo>
                      <a:pt x="5" y="41"/>
                      <a:pt x="10" y="40"/>
                      <a:pt x="10" y="33"/>
                    </a:cubicBezTo>
                    <a:cubicBezTo>
                      <a:pt x="10" y="23"/>
                      <a:pt x="10" y="23"/>
                      <a:pt x="10" y="23"/>
                    </a:cubicBezTo>
                    <a:cubicBezTo>
                      <a:pt x="10" y="23"/>
                      <a:pt x="10" y="23"/>
                      <a:pt x="10" y="23"/>
                    </a:cubicBezTo>
                    <a:cubicBezTo>
                      <a:pt x="23" y="41"/>
                      <a:pt x="23" y="41"/>
                      <a:pt x="23" y="41"/>
                    </a:cubicBezTo>
                    <a:cubicBezTo>
                      <a:pt x="35" y="41"/>
                      <a:pt x="35" y="41"/>
                      <a:pt x="35" y="41"/>
                    </a:cubicBezTo>
                    <a:lnTo>
                      <a:pt x="18" y="19"/>
                    </a:lnTo>
                    <a:close/>
                  </a:path>
                </a:pathLst>
              </a:custGeom>
              <a:solidFill>
                <a:srgbClr val="E21E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90" name="Freeform 7131"/>
              <p:cNvSpPr>
                <a:spLocks/>
              </p:cNvSpPr>
              <p:nvPr/>
            </p:nvSpPr>
            <p:spPr bwMode="auto">
              <a:xfrm>
                <a:off x="6353681" y="2064774"/>
                <a:ext cx="38971" cy="55268"/>
              </a:xfrm>
              <a:custGeom>
                <a:avLst/>
                <a:gdLst>
                  <a:gd name="T0" fmla="*/ 10 w 23"/>
                  <a:gd name="T1" fmla="*/ 0 h 33"/>
                  <a:gd name="T2" fmla="*/ 1 w 23"/>
                  <a:gd name="T3" fmla="*/ 9 h 33"/>
                  <a:gd name="T4" fmla="*/ 5 w 23"/>
                  <a:gd name="T5" fmla="*/ 23 h 33"/>
                  <a:gd name="T6" fmla="*/ 0 w 23"/>
                  <a:gd name="T7" fmla="*/ 33 h 33"/>
                  <a:gd name="T8" fmla="*/ 4 w 23"/>
                  <a:gd name="T9" fmla="*/ 33 h 33"/>
                  <a:gd name="T10" fmla="*/ 8 w 23"/>
                  <a:gd name="T11" fmla="*/ 33 h 33"/>
                  <a:gd name="T12" fmla="*/ 23 w 23"/>
                  <a:gd name="T13" fmla="*/ 15 h 33"/>
                  <a:gd name="T14" fmla="*/ 10 w 23"/>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3">
                    <a:moveTo>
                      <a:pt x="10" y="0"/>
                    </a:moveTo>
                    <a:cubicBezTo>
                      <a:pt x="6" y="1"/>
                      <a:pt x="1" y="4"/>
                      <a:pt x="1" y="9"/>
                    </a:cubicBezTo>
                    <a:cubicBezTo>
                      <a:pt x="1" y="14"/>
                      <a:pt x="5" y="17"/>
                      <a:pt x="5" y="23"/>
                    </a:cubicBezTo>
                    <a:cubicBezTo>
                      <a:pt x="5" y="28"/>
                      <a:pt x="3" y="31"/>
                      <a:pt x="0" y="33"/>
                    </a:cubicBezTo>
                    <a:cubicBezTo>
                      <a:pt x="1" y="33"/>
                      <a:pt x="2" y="33"/>
                      <a:pt x="4" y="33"/>
                    </a:cubicBezTo>
                    <a:cubicBezTo>
                      <a:pt x="7" y="33"/>
                      <a:pt x="8" y="33"/>
                      <a:pt x="8" y="33"/>
                    </a:cubicBezTo>
                    <a:cubicBezTo>
                      <a:pt x="23" y="15"/>
                      <a:pt x="23" y="15"/>
                      <a:pt x="23" y="15"/>
                    </a:cubicBezTo>
                    <a:cubicBezTo>
                      <a:pt x="19" y="9"/>
                      <a:pt x="14" y="4"/>
                      <a:pt x="10" y="0"/>
                    </a:cubicBezTo>
                  </a:path>
                </a:pathLst>
              </a:custGeom>
              <a:solidFill>
                <a:srgbClr val="E21E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91" name="Freeform 7132"/>
              <p:cNvSpPr>
                <a:spLocks/>
              </p:cNvSpPr>
              <p:nvPr/>
            </p:nvSpPr>
            <p:spPr bwMode="auto">
              <a:xfrm>
                <a:off x="6379189" y="2089573"/>
                <a:ext cx="65188" cy="58811"/>
              </a:xfrm>
              <a:custGeom>
                <a:avLst/>
                <a:gdLst>
                  <a:gd name="T0" fmla="*/ 7 w 39"/>
                  <a:gd name="T1" fmla="*/ 35 h 35"/>
                  <a:gd name="T2" fmla="*/ 9 w 39"/>
                  <a:gd name="T3" fmla="*/ 22 h 35"/>
                  <a:gd name="T4" fmla="*/ 16 w 39"/>
                  <a:gd name="T5" fmla="*/ 15 h 35"/>
                  <a:gd name="T6" fmla="*/ 21 w 39"/>
                  <a:gd name="T7" fmla="*/ 15 h 35"/>
                  <a:gd name="T8" fmla="*/ 39 w 39"/>
                  <a:gd name="T9" fmla="*/ 10 h 35"/>
                  <a:gd name="T10" fmla="*/ 8 w 39"/>
                  <a:gd name="T11" fmla="*/ 0 h 35"/>
                  <a:gd name="T12" fmla="*/ 0 w 39"/>
                  <a:gd name="T13" fmla="*/ 22 h 35"/>
                  <a:gd name="T14" fmla="*/ 3 w 39"/>
                  <a:gd name="T15" fmla="*/ 26 h 35"/>
                  <a:gd name="T16" fmla="*/ 7 w 39"/>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5">
                    <a:moveTo>
                      <a:pt x="7" y="35"/>
                    </a:moveTo>
                    <a:cubicBezTo>
                      <a:pt x="9" y="32"/>
                      <a:pt x="9" y="27"/>
                      <a:pt x="9" y="22"/>
                    </a:cubicBezTo>
                    <a:cubicBezTo>
                      <a:pt x="10" y="18"/>
                      <a:pt x="10" y="15"/>
                      <a:pt x="16" y="15"/>
                    </a:cubicBezTo>
                    <a:cubicBezTo>
                      <a:pt x="18" y="14"/>
                      <a:pt x="19" y="15"/>
                      <a:pt x="21" y="15"/>
                    </a:cubicBezTo>
                    <a:cubicBezTo>
                      <a:pt x="30" y="15"/>
                      <a:pt x="35" y="12"/>
                      <a:pt x="39" y="10"/>
                    </a:cubicBezTo>
                    <a:cubicBezTo>
                      <a:pt x="32" y="5"/>
                      <a:pt x="21" y="0"/>
                      <a:pt x="8" y="0"/>
                    </a:cubicBezTo>
                    <a:cubicBezTo>
                      <a:pt x="8" y="2"/>
                      <a:pt x="1" y="21"/>
                      <a:pt x="0" y="22"/>
                    </a:cubicBezTo>
                    <a:cubicBezTo>
                      <a:pt x="1" y="22"/>
                      <a:pt x="2" y="23"/>
                      <a:pt x="3" y="26"/>
                    </a:cubicBezTo>
                    <a:cubicBezTo>
                      <a:pt x="5" y="29"/>
                      <a:pt x="6" y="32"/>
                      <a:pt x="7" y="35"/>
                    </a:cubicBezTo>
                  </a:path>
                </a:pathLst>
              </a:custGeom>
              <a:solidFill>
                <a:srgbClr val="E21E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92" name="Freeform 7133"/>
              <p:cNvSpPr>
                <a:spLocks/>
              </p:cNvSpPr>
              <p:nvPr/>
            </p:nvSpPr>
            <p:spPr bwMode="auto">
              <a:xfrm>
                <a:off x="6328881" y="2046351"/>
                <a:ext cx="38262" cy="76525"/>
              </a:xfrm>
              <a:custGeom>
                <a:avLst/>
                <a:gdLst>
                  <a:gd name="T0" fmla="*/ 6 w 23"/>
                  <a:gd name="T1" fmla="*/ 46 h 46"/>
                  <a:gd name="T2" fmla="*/ 5 w 23"/>
                  <a:gd name="T3" fmla="*/ 44 h 46"/>
                  <a:gd name="T4" fmla="*/ 0 w 23"/>
                  <a:gd name="T5" fmla="*/ 4 h 46"/>
                  <a:gd name="T6" fmla="*/ 0 w 23"/>
                  <a:gd name="T7" fmla="*/ 2 h 46"/>
                  <a:gd name="T8" fmla="*/ 1 w 23"/>
                  <a:gd name="T9" fmla="*/ 0 h 46"/>
                  <a:gd name="T10" fmla="*/ 23 w 23"/>
                  <a:gd name="T11" fmla="*/ 10 h 46"/>
                  <a:gd name="T12" fmla="*/ 14 w 23"/>
                  <a:gd name="T13" fmla="*/ 20 h 46"/>
                  <a:gd name="T14" fmla="*/ 18 w 23"/>
                  <a:gd name="T15" fmla="*/ 34 h 46"/>
                  <a:gd name="T16" fmla="*/ 6 w 23"/>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6">
                    <a:moveTo>
                      <a:pt x="6" y="46"/>
                    </a:moveTo>
                    <a:cubicBezTo>
                      <a:pt x="5" y="46"/>
                      <a:pt x="5" y="45"/>
                      <a:pt x="5" y="44"/>
                    </a:cubicBezTo>
                    <a:cubicBezTo>
                      <a:pt x="4" y="43"/>
                      <a:pt x="1" y="9"/>
                      <a:pt x="0" y="4"/>
                    </a:cubicBezTo>
                    <a:cubicBezTo>
                      <a:pt x="0" y="3"/>
                      <a:pt x="0" y="2"/>
                      <a:pt x="0" y="2"/>
                    </a:cubicBezTo>
                    <a:cubicBezTo>
                      <a:pt x="0" y="1"/>
                      <a:pt x="0" y="0"/>
                      <a:pt x="1" y="0"/>
                    </a:cubicBezTo>
                    <a:cubicBezTo>
                      <a:pt x="3" y="0"/>
                      <a:pt x="12" y="3"/>
                      <a:pt x="23" y="10"/>
                    </a:cubicBezTo>
                    <a:cubicBezTo>
                      <a:pt x="20" y="11"/>
                      <a:pt x="14" y="14"/>
                      <a:pt x="14" y="20"/>
                    </a:cubicBezTo>
                    <a:cubicBezTo>
                      <a:pt x="14" y="26"/>
                      <a:pt x="18" y="29"/>
                      <a:pt x="18" y="34"/>
                    </a:cubicBezTo>
                    <a:cubicBezTo>
                      <a:pt x="18" y="43"/>
                      <a:pt x="8" y="46"/>
                      <a:pt x="6" y="46"/>
                    </a:cubicBezTo>
                  </a:path>
                </a:pathLst>
              </a:custGeom>
              <a:solidFill>
                <a:srgbClr val="F480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93" name="Freeform 7134"/>
              <p:cNvSpPr>
                <a:spLocks/>
              </p:cNvSpPr>
              <p:nvPr/>
            </p:nvSpPr>
            <p:spPr bwMode="auto">
              <a:xfrm>
                <a:off x="6392652" y="2107996"/>
                <a:ext cx="70148" cy="46765"/>
              </a:xfrm>
              <a:custGeom>
                <a:avLst/>
                <a:gdLst>
                  <a:gd name="T0" fmla="*/ 0 w 42"/>
                  <a:gd name="T1" fmla="*/ 26 h 28"/>
                  <a:gd name="T2" fmla="*/ 0 w 42"/>
                  <a:gd name="T3" fmla="*/ 27 h 28"/>
                  <a:gd name="T4" fmla="*/ 1 w 42"/>
                  <a:gd name="T5" fmla="*/ 28 h 28"/>
                  <a:gd name="T6" fmla="*/ 2 w 42"/>
                  <a:gd name="T7" fmla="*/ 27 h 28"/>
                  <a:gd name="T8" fmla="*/ 39 w 42"/>
                  <a:gd name="T9" fmla="*/ 10 h 28"/>
                  <a:gd name="T10" fmla="*/ 41 w 42"/>
                  <a:gd name="T11" fmla="*/ 9 h 28"/>
                  <a:gd name="T12" fmla="*/ 42 w 42"/>
                  <a:gd name="T13" fmla="*/ 8 h 28"/>
                  <a:gd name="T14" fmla="*/ 42 w 42"/>
                  <a:gd name="T15" fmla="*/ 8 h 28"/>
                  <a:gd name="T16" fmla="*/ 33 w 42"/>
                  <a:gd name="T17" fmla="*/ 0 h 28"/>
                  <a:gd name="T18" fmla="*/ 13 w 42"/>
                  <a:gd name="T19" fmla="*/ 6 h 28"/>
                  <a:gd name="T20" fmla="*/ 9 w 42"/>
                  <a:gd name="T21" fmla="*/ 5 h 28"/>
                  <a:gd name="T22" fmla="*/ 3 w 42"/>
                  <a:gd name="T23" fmla="*/ 11 h 28"/>
                  <a:gd name="T24" fmla="*/ 3 w 42"/>
                  <a:gd name="T25" fmla="*/ 14 h 28"/>
                  <a:gd name="T26" fmla="*/ 0 w 42"/>
                  <a:gd name="T2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28">
                    <a:moveTo>
                      <a:pt x="0" y="26"/>
                    </a:moveTo>
                    <a:cubicBezTo>
                      <a:pt x="0" y="26"/>
                      <a:pt x="0" y="27"/>
                      <a:pt x="0" y="27"/>
                    </a:cubicBezTo>
                    <a:cubicBezTo>
                      <a:pt x="1" y="27"/>
                      <a:pt x="1" y="28"/>
                      <a:pt x="1" y="28"/>
                    </a:cubicBezTo>
                    <a:cubicBezTo>
                      <a:pt x="2" y="27"/>
                      <a:pt x="2" y="27"/>
                      <a:pt x="2" y="27"/>
                    </a:cubicBezTo>
                    <a:cubicBezTo>
                      <a:pt x="3" y="27"/>
                      <a:pt x="34" y="13"/>
                      <a:pt x="39" y="10"/>
                    </a:cubicBezTo>
                    <a:cubicBezTo>
                      <a:pt x="39" y="10"/>
                      <a:pt x="41" y="9"/>
                      <a:pt x="41" y="9"/>
                    </a:cubicBezTo>
                    <a:cubicBezTo>
                      <a:pt x="42" y="9"/>
                      <a:pt x="42" y="9"/>
                      <a:pt x="42" y="8"/>
                    </a:cubicBezTo>
                    <a:cubicBezTo>
                      <a:pt x="42" y="8"/>
                      <a:pt x="42" y="8"/>
                      <a:pt x="42" y="8"/>
                    </a:cubicBezTo>
                    <a:cubicBezTo>
                      <a:pt x="41" y="7"/>
                      <a:pt x="38" y="3"/>
                      <a:pt x="33" y="0"/>
                    </a:cubicBezTo>
                    <a:cubicBezTo>
                      <a:pt x="29" y="2"/>
                      <a:pt x="23" y="6"/>
                      <a:pt x="13" y="6"/>
                    </a:cubicBezTo>
                    <a:cubicBezTo>
                      <a:pt x="11" y="6"/>
                      <a:pt x="11" y="5"/>
                      <a:pt x="9" y="5"/>
                    </a:cubicBezTo>
                    <a:cubicBezTo>
                      <a:pt x="5" y="6"/>
                      <a:pt x="3" y="7"/>
                      <a:pt x="3" y="11"/>
                    </a:cubicBezTo>
                    <a:cubicBezTo>
                      <a:pt x="3" y="12"/>
                      <a:pt x="3" y="13"/>
                      <a:pt x="3" y="14"/>
                    </a:cubicBezTo>
                    <a:cubicBezTo>
                      <a:pt x="3" y="18"/>
                      <a:pt x="3" y="23"/>
                      <a:pt x="0" y="26"/>
                    </a:cubicBezTo>
                  </a:path>
                </a:pathLst>
              </a:custGeom>
              <a:solidFill>
                <a:srgbClr val="F4802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nvGrpSpPr>
          <p:cNvPr id="17" name="Group 7638"/>
          <p:cNvGrpSpPr/>
          <p:nvPr/>
        </p:nvGrpSpPr>
        <p:grpSpPr>
          <a:xfrm>
            <a:off x="4317953" y="1672389"/>
            <a:ext cx="425816" cy="417366"/>
            <a:chOff x="3992042" y="1500759"/>
            <a:chExt cx="535673" cy="525045"/>
          </a:xfrm>
        </p:grpSpPr>
        <p:sp>
          <p:nvSpPr>
            <p:cNvPr id="7677" name="Oval 1014"/>
            <p:cNvSpPr>
              <a:spLocks noChangeArrowheads="1"/>
            </p:cNvSpPr>
            <p:nvPr/>
          </p:nvSpPr>
          <p:spPr bwMode="auto">
            <a:xfrm>
              <a:off x="3992042" y="1500759"/>
              <a:ext cx="535673" cy="525045"/>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78" name="Freeform 7136"/>
            <p:cNvSpPr>
              <a:spLocks noEditPoints="1"/>
            </p:cNvSpPr>
            <p:nvPr/>
          </p:nvSpPr>
          <p:spPr bwMode="auto">
            <a:xfrm>
              <a:off x="4119583" y="1636093"/>
              <a:ext cx="272797" cy="272797"/>
            </a:xfrm>
            <a:custGeom>
              <a:avLst/>
              <a:gdLst>
                <a:gd name="T0" fmla="*/ 163 w 163"/>
                <a:gd name="T1" fmla="*/ 0 h 163"/>
                <a:gd name="T2" fmla="*/ 125 w 163"/>
                <a:gd name="T3" fmla="*/ 163 h 163"/>
                <a:gd name="T4" fmla="*/ 137 w 163"/>
                <a:gd name="T5" fmla="*/ 121 h 163"/>
                <a:gd name="T6" fmla="*/ 131 w 163"/>
                <a:gd name="T7" fmla="*/ 86 h 163"/>
                <a:gd name="T8" fmla="*/ 125 w 163"/>
                <a:gd name="T9" fmla="*/ 0 h 163"/>
                <a:gd name="T10" fmla="*/ 125 w 163"/>
                <a:gd name="T11" fmla="*/ 55 h 163"/>
                <a:gd name="T12" fmla="*/ 79 w 163"/>
                <a:gd name="T13" fmla="*/ 0 h 163"/>
                <a:gd name="T14" fmla="*/ 125 w 163"/>
                <a:gd name="T15" fmla="*/ 43 h 163"/>
                <a:gd name="T16" fmla="*/ 101 w 163"/>
                <a:gd name="T17" fmla="*/ 43 h 163"/>
                <a:gd name="T18" fmla="*/ 110 w 163"/>
                <a:gd name="T19" fmla="*/ 122 h 163"/>
                <a:gd name="T20" fmla="*/ 118 w 163"/>
                <a:gd name="T21" fmla="*/ 54 h 163"/>
                <a:gd name="T22" fmla="*/ 125 w 163"/>
                <a:gd name="T23" fmla="*/ 78 h 163"/>
                <a:gd name="T24" fmla="*/ 116 w 163"/>
                <a:gd name="T25" fmla="*/ 78 h 163"/>
                <a:gd name="T26" fmla="*/ 125 w 163"/>
                <a:gd name="T27" fmla="*/ 98 h 163"/>
                <a:gd name="T28" fmla="*/ 79 w 163"/>
                <a:gd name="T29" fmla="*/ 163 h 163"/>
                <a:gd name="T30" fmla="*/ 89 w 163"/>
                <a:gd name="T31" fmla="*/ 91 h 163"/>
                <a:gd name="T32" fmla="*/ 79 w 163"/>
                <a:gd name="T33" fmla="*/ 75 h 163"/>
                <a:gd name="T34" fmla="*/ 93 w 163"/>
                <a:gd name="T35" fmla="*/ 54 h 163"/>
                <a:gd name="T36" fmla="*/ 79 w 163"/>
                <a:gd name="T37" fmla="*/ 43 h 163"/>
                <a:gd name="T38" fmla="*/ 36 w 163"/>
                <a:gd name="T39" fmla="*/ 0 h 163"/>
                <a:gd name="T40" fmla="*/ 79 w 163"/>
                <a:gd name="T41" fmla="*/ 43 h 163"/>
                <a:gd name="T42" fmla="*/ 62 w 163"/>
                <a:gd name="T43" fmla="*/ 121 h 163"/>
                <a:gd name="T44" fmla="*/ 71 w 163"/>
                <a:gd name="T45" fmla="*/ 54 h 163"/>
                <a:gd name="T46" fmla="*/ 79 w 163"/>
                <a:gd name="T47" fmla="*/ 75 h 163"/>
                <a:gd name="T48" fmla="*/ 74 w 163"/>
                <a:gd name="T49" fmla="*/ 91 h 163"/>
                <a:gd name="T50" fmla="*/ 79 w 163"/>
                <a:gd name="T51" fmla="*/ 163 h 163"/>
                <a:gd name="T52" fmla="*/ 36 w 163"/>
                <a:gd name="T53" fmla="*/ 121 h 163"/>
                <a:gd name="T54" fmla="*/ 58 w 163"/>
                <a:gd name="T55" fmla="*/ 103 h 163"/>
                <a:gd name="T56" fmla="*/ 36 w 163"/>
                <a:gd name="T57" fmla="*/ 76 h 163"/>
                <a:gd name="T58" fmla="*/ 37 w 163"/>
                <a:gd name="T59" fmla="*/ 54 h 163"/>
                <a:gd name="T60" fmla="*/ 58 w 163"/>
                <a:gd name="T61" fmla="*/ 43 h 163"/>
                <a:gd name="T62" fmla="*/ 36 w 163"/>
                <a:gd name="T63" fmla="*/ 43 h 163"/>
                <a:gd name="T64" fmla="*/ 36 w 163"/>
                <a:gd name="T65" fmla="*/ 110 h 163"/>
                <a:gd name="T66" fmla="*/ 48 w 163"/>
                <a:gd name="T67" fmla="*/ 100 h 163"/>
                <a:gd name="T68" fmla="*/ 36 w 163"/>
                <a:gd name="T69" fmla="*/ 110 h 163"/>
                <a:gd name="T70" fmla="*/ 36 w 163"/>
                <a:gd name="T71" fmla="*/ 0 h 163"/>
                <a:gd name="T72" fmla="*/ 15 w 163"/>
                <a:gd name="T73" fmla="*/ 63 h 163"/>
                <a:gd name="T74" fmla="*/ 36 w 163"/>
                <a:gd name="T75" fmla="*/ 87 h 163"/>
                <a:gd name="T76" fmla="*/ 21 w 163"/>
                <a:gd name="T77" fmla="*/ 103 h 163"/>
                <a:gd name="T78" fmla="*/ 36 w 163"/>
                <a:gd name="T79" fmla="*/ 121 h 163"/>
                <a:gd name="T80" fmla="*/ 0 w 163"/>
                <a:gd name="T81" fmla="*/ 163 h 163"/>
                <a:gd name="T82" fmla="*/ 36 w 163"/>
                <a:gd name="T83" fmla="*/ 54 h 163"/>
                <a:gd name="T84" fmla="*/ 36 w 163"/>
                <a:gd name="T85" fmla="*/ 7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 h="163">
                  <a:moveTo>
                    <a:pt x="125" y="0"/>
                  </a:moveTo>
                  <a:cubicBezTo>
                    <a:pt x="163" y="0"/>
                    <a:pt x="163" y="0"/>
                    <a:pt x="163" y="0"/>
                  </a:cubicBezTo>
                  <a:cubicBezTo>
                    <a:pt x="163" y="163"/>
                    <a:pt x="163" y="163"/>
                    <a:pt x="163" y="163"/>
                  </a:cubicBezTo>
                  <a:cubicBezTo>
                    <a:pt x="125" y="163"/>
                    <a:pt x="125" y="163"/>
                    <a:pt x="125" y="163"/>
                  </a:cubicBezTo>
                  <a:cubicBezTo>
                    <a:pt x="125" y="98"/>
                    <a:pt x="125" y="98"/>
                    <a:pt x="125" y="98"/>
                  </a:cubicBezTo>
                  <a:cubicBezTo>
                    <a:pt x="137" y="121"/>
                    <a:pt x="137" y="121"/>
                    <a:pt x="137" y="121"/>
                  </a:cubicBezTo>
                  <a:cubicBezTo>
                    <a:pt x="149" y="121"/>
                    <a:pt x="149" y="121"/>
                    <a:pt x="149" y="121"/>
                  </a:cubicBezTo>
                  <a:cubicBezTo>
                    <a:pt x="131" y="86"/>
                    <a:pt x="131" y="86"/>
                    <a:pt x="131" y="86"/>
                  </a:cubicBezTo>
                  <a:cubicBezTo>
                    <a:pt x="150" y="81"/>
                    <a:pt x="156" y="46"/>
                    <a:pt x="125" y="43"/>
                  </a:cubicBezTo>
                  <a:lnTo>
                    <a:pt x="125" y="0"/>
                  </a:lnTo>
                  <a:close/>
                  <a:moveTo>
                    <a:pt x="125" y="78"/>
                  </a:moveTo>
                  <a:cubicBezTo>
                    <a:pt x="137" y="76"/>
                    <a:pt x="140" y="58"/>
                    <a:pt x="125" y="55"/>
                  </a:cubicBezTo>
                  <a:lnTo>
                    <a:pt x="125" y="78"/>
                  </a:lnTo>
                  <a:close/>
                  <a:moveTo>
                    <a:pt x="79" y="0"/>
                  </a:moveTo>
                  <a:cubicBezTo>
                    <a:pt x="125" y="0"/>
                    <a:pt x="125" y="0"/>
                    <a:pt x="125" y="0"/>
                  </a:cubicBezTo>
                  <a:cubicBezTo>
                    <a:pt x="125" y="43"/>
                    <a:pt x="125" y="43"/>
                    <a:pt x="125" y="43"/>
                  </a:cubicBezTo>
                  <a:cubicBezTo>
                    <a:pt x="123" y="43"/>
                    <a:pt x="122" y="43"/>
                    <a:pt x="120" y="43"/>
                  </a:cubicBezTo>
                  <a:cubicBezTo>
                    <a:pt x="101" y="43"/>
                    <a:pt x="101" y="43"/>
                    <a:pt x="101" y="43"/>
                  </a:cubicBezTo>
                  <a:cubicBezTo>
                    <a:pt x="101" y="122"/>
                    <a:pt x="101" y="122"/>
                    <a:pt x="101" y="122"/>
                  </a:cubicBezTo>
                  <a:cubicBezTo>
                    <a:pt x="110" y="122"/>
                    <a:pt x="110" y="122"/>
                    <a:pt x="110" y="122"/>
                  </a:cubicBezTo>
                  <a:cubicBezTo>
                    <a:pt x="110" y="54"/>
                    <a:pt x="110" y="54"/>
                    <a:pt x="110" y="54"/>
                  </a:cubicBezTo>
                  <a:cubicBezTo>
                    <a:pt x="118" y="54"/>
                    <a:pt x="118" y="54"/>
                    <a:pt x="118" y="54"/>
                  </a:cubicBezTo>
                  <a:cubicBezTo>
                    <a:pt x="121" y="54"/>
                    <a:pt x="123" y="54"/>
                    <a:pt x="125" y="55"/>
                  </a:cubicBezTo>
                  <a:cubicBezTo>
                    <a:pt x="125" y="78"/>
                    <a:pt x="125" y="78"/>
                    <a:pt x="125" y="78"/>
                  </a:cubicBezTo>
                  <a:cubicBezTo>
                    <a:pt x="124" y="78"/>
                    <a:pt x="123" y="78"/>
                    <a:pt x="122" y="78"/>
                  </a:cubicBezTo>
                  <a:cubicBezTo>
                    <a:pt x="116" y="78"/>
                    <a:pt x="116" y="78"/>
                    <a:pt x="116" y="78"/>
                  </a:cubicBezTo>
                  <a:cubicBezTo>
                    <a:pt x="116" y="81"/>
                    <a:pt x="116" y="81"/>
                    <a:pt x="116" y="81"/>
                  </a:cubicBezTo>
                  <a:cubicBezTo>
                    <a:pt x="125" y="98"/>
                    <a:pt x="125" y="98"/>
                    <a:pt x="125" y="98"/>
                  </a:cubicBezTo>
                  <a:cubicBezTo>
                    <a:pt x="125" y="163"/>
                    <a:pt x="125" y="163"/>
                    <a:pt x="125" y="163"/>
                  </a:cubicBezTo>
                  <a:cubicBezTo>
                    <a:pt x="79" y="163"/>
                    <a:pt x="79" y="163"/>
                    <a:pt x="79" y="163"/>
                  </a:cubicBezTo>
                  <a:cubicBezTo>
                    <a:pt x="79" y="91"/>
                    <a:pt x="79" y="91"/>
                    <a:pt x="79" y="91"/>
                  </a:cubicBezTo>
                  <a:cubicBezTo>
                    <a:pt x="89" y="91"/>
                    <a:pt x="89" y="91"/>
                    <a:pt x="89" y="91"/>
                  </a:cubicBezTo>
                  <a:cubicBezTo>
                    <a:pt x="89" y="75"/>
                    <a:pt x="89" y="75"/>
                    <a:pt x="89" y="75"/>
                  </a:cubicBezTo>
                  <a:cubicBezTo>
                    <a:pt x="79" y="75"/>
                    <a:pt x="79" y="75"/>
                    <a:pt x="79" y="75"/>
                  </a:cubicBezTo>
                  <a:cubicBezTo>
                    <a:pt x="79" y="54"/>
                    <a:pt x="79" y="54"/>
                    <a:pt x="79" y="54"/>
                  </a:cubicBezTo>
                  <a:cubicBezTo>
                    <a:pt x="93" y="54"/>
                    <a:pt x="93" y="54"/>
                    <a:pt x="93" y="54"/>
                  </a:cubicBezTo>
                  <a:cubicBezTo>
                    <a:pt x="97" y="43"/>
                    <a:pt x="97" y="43"/>
                    <a:pt x="97" y="43"/>
                  </a:cubicBezTo>
                  <a:cubicBezTo>
                    <a:pt x="79" y="43"/>
                    <a:pt x="79" y="43"/>
                    <a:pt x="79" y="43"/>
                  </a:cubicBezTo>
                  <a:lnTo>
                    <a:pt x="79" y="0"/>
                  </a:lnTo>
                  <a:close/>
                  <a:moveTo>
                    <a:pt x="36" y="0"/>
                  </a:moveTo>
                  <a:cubicBezTo>
                    <a:pt x="79" y="0"/>
                    <a:pt x="79" y="0"/>
                    <a:pt x="79" y="0"/>
                  </a:cubicBezTo>
                  <a:cubicBezTo>
                    <a:pt x="79" y="43"/>
                    <a:pt x="79" y="43"/>
                    <a:pt x="79" y="43"/>
                  </a:cubicBezTo>
                  <a:cubicBezTo>
                    <a:pt x="62" y="43"/>
                    <a:pt x="62" y="43"/>
                    <a:pt x="62" y="43"/>
                  </a:cubicBezTo>
                  <a:cubicBezTo>
                    <a:pt x="62" y="121"/>
                    <a:pt x="62" y="121"/>
                    <a:pt x="62" y="121"/>
                  </a:cubicBezTo>
                  <a:cubicBezTo>
                    <a:pt x="71" y="121"/>
                    <a:pt x="71" y="121"/>
                    <a:pt x="71" y="121"/>
                  </a:cubicBezTo>
                  <a:cubicBezTo>
                    <a:pt x="71" y="54"/>
                    <a:pt x="71" y="54"/>
                    <a:pt x="71" y="54"/>
                  </a:cubicBezTo>
                  <a:cubicBezTo>
                    <a:pt x="79" y="54"/>
                    <a:pt x="79" y="54"/>
                    <a:pt x="79" y="54"/>
                  </a:cubicBezTo>
                  <a:cubicBezTo>
                    <a:pt x="79" y="75"/>
                    <a:pt x="79" y="75"/>
                    <a:pt x="79" y="75"/>
                  </a:cubicBezTo>
                  <a:cubicBezTo>
                    <a:pt x="74" y="75"/>
                    <a:pt x="74" y="75"/>
                    <a:pt x="74" y="75"/>
                  </a:cubicBezTo>
                  <a:cubicBezTo>
                    <a:pt x="74" y="91"/>
                    <a:pt x="74" y="91"/>
                    <a:pt x="74" y="91"/>
                  </a:cubicBezTo>
                  <a:cubicBezTo>
                    <a:pt x="79" y="91"/>
                    <a:pt x="79" y="91"/>
                    <a:pt x="79" y="91"/>
                  </a:cubicBezTo>
                  <a:cubicBezTo>
                    <a:pt x="79" y="163"/>
                    <a:pt x="79" y="163"/>
                    <a:pt x="79" y="163"/>
                  </a:cubicBezTo>
                  <a:cubicBezTo>
                    <a:pt x="36" y="163"/>
                    <a:pt x="36" y="163"/>
                    <a:pt x="36" y="163"/>
                  </a:cubicBezTo>
                  <a:cubicBezTo>
                    <a:pt x="36" y="121"/>
                    <a:pt x="36" y="121"/>
                    <a:pt x="36" y="121"/>
                  </a:cubicBezTo>
                  <a:cubicBezTo>
                    <a:pt x="36" y="121"/>
                    <a:pt x="36" y="121"/>
                    <a:pt x="36" y="121"/>
                  </a:cubicBezTo>
                  <a:cubicBezTo>
                    <a:pt x="48" y="120"/>
                    <a:pt x="56" y="114"/>
                    <a:pt x="58" y="103"/>
                  </a:cubicBezTo>
                  <a:cubicBezTo>
                    <a:pt x="60" y="88"/>
                    <a:pt x="50" y="80"/>
                    <a:pt x="38" y="77"/>
                  </a:cubicBezTo>
                  <a:cubicBezTo>
                    <a:pt x="37" y="77"/>
                    <a:pt x="36" y="76"/>
                    <a:pt x="36" y="76"/>
                  </a:cubicBezTo>
                  <a:cubicBezTo>
                    <a:pt x="36" y="54"/>
                    <a:pt x="36" y="54"/>
                    <a:pt x="36" y="54"/>
                  </a:cubicBezTo>
                  <a:cubicBezTo>
                    <a:pt x="36" y="54"/>
                    <a:pt x="36" y="54"/>
                    <a:pt x="37" y="54"/>
                  </a:cubicBezTo>
                  <a:cubicBezTo>
                    <a:pt x="53" y="54"/>
                    <a:pt x="53" y="54"/>
                    <a:pt x="53" y="54"/>
                  </a:cubicBezTo>
                  <a:cubicBezTo>
                    <a:pt x="58" y="43"/>
                    <a:pt x="58" y="43"/>
                    <a:pt x="58" y="43"/>
                  </a:cubicBezTo>
                  <a:cubicBezTo>
                    <a:pt x="41" y="43"/>
                    <a:pt x="41" y="43"/>
                    <a:pt x="41" y="43"/>
                  </a:cubicBezTo>
                  <a:cubicBezTo>
                    <a:pt x="39" y="43"/>
                    <a:pt x="37" y="43"/>
                    <a:pt x="36" y="43"/>
                  </a:cubicBezTo>
                  <a:lnTo>
                    <a:pt x="36" y="0"/>
                  </a:lnTo>
                  <a:close/>
                  <a:moveTo>
                    <a:pt x="36" y="110"/>
                  </a:moveTo>
                  <a:cubicBezTo>
                    <a:pt x="36" y="110"/>
                    <a:pt x="36" y="110"/>
                    <a:pt x="36" y="110"/>
                  </a:cubicBezTo>
                  <a:cubicBezTo>
                    <a:pt x="42" y="110"/>
                    <a:pt x="48" y="107"/>
                    <a:pt x="48" y="100"/>
                  </a:cubicBezTo>
                  <a:cubicBezTo>
                    <a:pt x="48" y="92"/>
                    <a:pt x="42" y="89"/>
                    <a:pt x="36" y="87"/>
                  </a:cubicBezTo>
                  <a:lnTo>
                    <a:pt x="36" y="110"/>
                  </a:lnTo>
                  <a:close/>
                  <a:moveTo>
                    <a:pt x="0" y="0"/>
                  </a:moveTo>
                  <a:cubicBezTo>
                    <a:pt x="36" y="0"/>
                    <a:pt x="36" y="0"/>
                    <a:pt x="36" y="0"/>
                  </a:cubicBezTo>
                  <a:cubicBezTo>
                    <a:pt x="36" y="43"/>
                    <a:pt x="36" y="43"/>
                    <a:pt x="36" y="43"/>
                  </a:cubicBezTo>
                  <a:cubicBezTo>
                    <a:pt x="23" y="44"/>
                    <a:pt x="15" y="51"/>
                    <a:pt x="15" y="63"/>
                  </a:cubicBezTo>
                  <a:cubicBezTo>
                    <a:pt x="14" y="74"/>
                    <a:pt x="21" y="83"/>
                    <a:pt x="31" y="86"/>
                  </a:cubicBezTo>
                  <a:cubicBezTo>
                    <a:pt x="33" y="86"/>
                    <a:pt x="34" y="87"/>
                    <a:pt x="36" y="87"/>
                  </a:cubicBezTo>
                  <a:cubicBezTo>
                    <a:pt x="36" y="110"/>
                    <a:pt x="36" y="110"/>
                    <a:pt x="36" y="110"/>
                  </a:cubicBezTo>
                  <a:cubicBezTo>
                    <a:pt x="29" y="111"/>
                    <a:pt x="25" y="107"/>
                    <a:pt x="21" y="103"/>
                  </a:cubicBezTo>
                  <a:cubicBezTo>
                    <a:pt x="13" y="110"/>
                    <a:pt x="13" y="110"/>
                    <a:pt x="13" y="110"/>
                  </a:cubicBezTo>
                  <a:cubicBezTo>
                    <a:pt x="17" y="117"/>
                    <a:pt x="27" y="121"/>
                    <a:pt x="36" y="121"/>
                  </a:cubicBezTo>
                  <a:cubicBezTo>
                    <a:pt x="36" y="163"/>
                    <a:pt x="36" y="163"/>
                    <a:pt x="36" y="163"/>
                  </a:cubicBezTo>
                  <a:cubicBezTo>
                    <a:pt x="0" y="163"/>
                    <a:pt x="0" y="163"/>
                    <a:pt x="0" y="163"/>
                  </a:cubicBezTo>
                  <a:lnTo>
                    <a:pt x="0" y="0"/>
                  </a:lnTo>
                  <a:close/>
                  <a:moveTo>
                    <a:pt x="36" y="54"/>
                  </a:moveTo>
                  <a:cubicBezTo>
                    <a:pt x="30" y="54"/>
                    <a:pt x="25" y="58"/>
                    <a:pt x="25" y="65"/>
                  </a:cubicBezTo>
                  <a:cubicBezTo>
                    <a:pt x="26" y="72"/>
                    <a:pt x="30" y="74"/>
                    <a:pt x="36" y="76"/>
                  </a:cubicBezTo>
                  <a:lnTo>
                    <a:pt x="36" y="54"/>
                  </a:lnTo>
                  <a:close/>
                </a:path>
              </a:pathLst>
            </a:custGeom>
            <a:solidFill>
              <a:srgbClr val="C3161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8" name="Group 7639"/>
          <p:cNvGrpSpPr/>
          <p:nvPr/>
        </p:nvGrpSpPr>
        <p:grpSpPr>
          <a:xfrm>
            <a:off x="3996213" y="2879917"/>
            <a:ext cx="424690" cy="417932"/>
            <a:chOff x="3899928" y="2121460"/>
            <a:chExt cx="534256" cy="525754"/>
          </a:xfrm>
        </p:grpSpPr>
        <p:sp>
          <p:nvSpPr>
            <p:cNvPr id="7675" name="Oval 1012"/>
            <p:cNvSpPr>
              <a:spLocks noChangeArrowheads="1"/>
            </p:cNvSpPr>
            <p:nvPr/>
          </p:nvSpPr>
          <p:spPr bwMode="auto">
            <a:xfrm>
              <a:off x="3899928" y="2121460"/>
              <a:ext cx="534256"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7676" name="Picture 7137"/>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3966636" y="2279841"/>
              <a:ext cx="412888" cy="2104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19" name="Group 7640"/>
          <p:cNvGrpSpPr/>
          <p:nvPr/>
        </p:nvGrpSpPr>
        <p:grpSpPr>
          <a:xfrm>
            <a:off x="4945468" y="2018836"/>
            <a:ext cx="424130" cy="417932"/>
            <a:chOff x="4619828" y="1617672"/>
            <a:chExt cx="533548" cy="525754"/>
          </a:xfrm>
        </p:grpSpPr>
        <p:sp>
          <p:nvSpPr>
            <p:cNvPr id="7671" name="Oval 1020"/>
            <p:cNvSpPr>
              <a:spLocks noChangeArrowheads="1"/>
            </p:cNvSpPr>
            <p:nvPr/>
          </p:nvSpPr>
          <p:spPr bwMode="auto">
            <a:xfrm>
              <a:off x="4619828" y="1617672"/>
              <a:ext cx="533548"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72" name="Freeform 7138"/>
            <p:cNvSpPr>
              <a:spLocks/>
            </p:cNvSpPr>
            <p:nvPr/>
          </p:nvSpPr>
          <p:spPr bwMode="auto">
            <a:xfrm>
              <a:off x="4800512" y="1756549"/>
              <a:ext cx="189186" cy="252957"/>
            </a:xfrm>
            <a:custGeom>
              <a:avLst/>
              <a:gdLst>
                <a:gd name="T0" fmla="*/ 67 w 113"/>
                <a:gd name="T1" fmla="*/ 7 h 151"/>
                <a:gd name="T2" fmla="*/ 67 w 113"/>
                <a:gd name="T3" fmla="*/ 121 h 151"/>
                <a:gd name="T4" fmla="*/ 68 w 113"/>
                <a:gd name="T5" fmla="*/ 136 h 151"/>
                <a:gd name="T6" fmla="*/ 82 w 113"/>
                <a:gd name="T7" fmla="*/ 143 h 151"/>
                <a:gd name="T8" fmla="*/ 88 w 113"/>
                <a:gd name="T9" fmla="*/ 143 h 151"/>
                <a:gd name="T10" fmla="*/ 88 w 113"/>
                <a:gd name="T11" fmla="*/ 151 h 151"/>
                <a:gd name="T12" fmla="*/ 25 w 113"/>
                <a:gd name="T13" fmla="*/ 151 h 151"/>
                <a:gd name="T14" fmla="*/ 25 w 113"/>
                <a:gd name="T15" fmla="*/ 143 h 151"/>
                <a:gd name="T16" fmla="*/ 30 w 113"/>
                <a:gd name="T17" fmla="*/ 143 h 151"/>
                <a:gd name="T18" fmla="*/ 42 w 113"/>
                <a:gd name="T19" fmla="*/ 140 h 151"/>
                <a:gd name="T20" fmla="*/ 46 w 113"/>
                <a:gd name="T21" fmla="*/ 121 h 151"/>
                <a:gd name="T22" fmla="*/ 46 w 113"/>
                <a:gd name="T23" fmla="*/ 7 h 151"/>
                <a:gd name="T24" fmla="*/ 41 w 113"/>
                <a:gd name="T25" fmla="*/ 7 h 151"/>
                <a:gd name="T26" fmla="*/ 22 w 113"/>
                <a:gd name="T27" fmla="*/ 14 h 151"/>
                <a:gd name="T28" fmla="*/ 6 w 113"/>
                <a:gd name="T29" fmla="*/ 52 h 151"/>
                <a:gd name="T30" fmla="*/ 0 w 113"/>
                <a:gd name="T31" fmla="*/ 52 h 151"/>
                <a:gd name="T32" fmla="*/ 1 w 113"/>
                <a:gd name="T33" fmla="*/ 0 h 151"/>
                <a:gd name="T34" fmla="*/ 113 w 113"/>
                <a:gd name="T35" fmla="*/ 0 h 151"/>
                <a:gd name="T36" fmla="*/ 113 w 113"/>
                <a:gd name="T37" fmla="*/ 52 h 151"/>
                <a:gd name="T38" fmla="*/ 107 w 113"/>
                <a:gd name="T39" fmla="*/ 52 h 151"/>
                <a:gd name="T40" fmla="*/ 87 w 113"/>
                <a:gd name="T41" fmla="*/ 11 h 151"/>
                <a:gd name="T42" fmla="*/ 70 w 113"/>
                <a:gd name="T43" fmla="*/ 7 h 151"/>
                <a:gd name="T44" fmla="*/ 67 w 113"/>
                <a:gd name="T45" fmla="*/ 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3" h="151">
                  <a:moveTo>
                    <a:pt x="67" y="7"/>
                  </a:moveTo>
                  <a:cubicBezTo>
                    <a:pt x="67" y="121"/>
                    <a:pt x="67" y="121"/>
                    <a:pt x="67" y="121"/>
                  </a:cubicBezTo>
                  <a:cubicBezTo>
                    <a:pt x="67" y="129"/>
                    <a:pt x="67" y="134"/>
                    <a:pt x="68" y="136"/>
                  </a:cubicBezTo>
                  <a:cubicBezTo>
                    <a:pt x="70" y="141"/>
                    <a:pt x="74" y="143"/>
                    <a:pt x="82" y="143"/>
                  </a:cubicBezTo>
                  <a:cubicBezTo>
                    <a:pt x="88" y="143"/>
                    <a:pt x="88" y="143"/>
                    <a:pt x="88" y="143"/>
                  </a:cubicBezTo>
                  <a:cubicBezTo>
                    <a:pt x="88" y="151"/>
                    <a:pt x="88" y="151"/>
                    <a:pt x="88" y="151"/>
                  </a:cubicBezTo>
                  <a:cubicBezTo>
                    <a:pt x="25" y="151"/>
                    <a:pt x="25" y="151"/>
                    <a:pt x="25" y="151"/>
                  </a:cubicBezTo>
                  <a:cubicBezTo>
                    <a:pt x="25" y="143"/>
                    <a:pt x="25" y="143"/>
                    <a:pt x="25" y="143"/>
                  </a:cubicBezTo>
                  <a:cubicBezTo>
                    <a:pt x="30" y="143"/>
                    <a:pt x="30" y="143"/>
                    <a:pt x="30" y="143"/>
                  </a:cubicBezTo>
                  <a:cubicBezTo>
                    <a:pt x="36" y="143"/>
                    <a:pt x="40" y="142"/>
                    <a:pt x="42" y="140"/>
                  </a:cubicBezTo>
                  <a:cubicBezTo>
                    <a:pt x="45" y="137"/>
                    <a:pt x="46" y="131"/>
                    <a:pt x="46" y="121"/>
                  </a:cubicBezTo>
                  <a:cubicBezTo>
                    <a:pt x="46" y="7"/>
                    <a:pt x="46" y="7"/>
                    <a:pt x="46" y="7"/>
                  </a:cubicBezTo>
                  <a:cubicBezTo>
                    <a:pt x="41" y="7"/>
                    <a:pt x="41" y="7"/>
                    <a:pt x="41" y="7"/>
                  </a:cubicBezTo>
                  <a:cubicBezTo>
                    <a:pt x="34" y="7"/>
                    <a:pt x="27" y="10"/>
                    <a:pt x="22" y="14"/>
                  </a:cubicBezTo>
                  <a:cubicBezTo>
                    <a:pt x="13" y="20"/>
                    <a:pt x="8" y="33"/>
                    <a:pt x="6" y="52"/>
                  </a:cubicBezTo>
                  <a:cubicBezTo>
                    <a:pt x="0" y="52"/>
                    <a:pt x="0" y="52"/>
                    <a:pt x="0" y="52"/>
                  </a:cubicBezTo>
                  <a:cubicBezTo>
                    <a:pt x="1" y="0"/>
                    <a:pt x="1" y="0"/>
                    <a:pt x="1" y="0"/>
                  </a:cubicBezTo>
                  <a:cubicBezTo>
                    <a:pt x="113" y="0"/>
                    <a:pt x="113" y="0"/>
                    <a:pt x="113" y="0"/>
                  </a:cubicBezTo>
                  <a:cubicBezTo>
                    <a:pt x="113" y="52"/>
                    <a:pt x="113" y="52"/>
                    <a:pt x="113" y="52"/>
                  </a:cubicBezTo>
                  <a:cubicBezTo>
                    <a:pt x="107" y="52"/>
                    <a:pt x="107" y="52"/>
                    <a:pt x="107" y="52"/>
                  </a:cubicBezTo>
                  <a:cubicBezTo>
                    <a:pt x="104" y="30"/>
                    <a:pt x="97" y="16"/>
                    <a:pt x="87" y="11"/>
                  </a:cubicBezTo>
                  <a:cubicBezTo>
                    <a:pt x="82" y="9"/>
                    <a:pt x="77" y="7"/>
                    <a:pt x="70" y="7"/>
                  </a:cubicBezTo>
                  <a:lnTo>
                    <a:pt x="67" y="7"/>
                  </a:lnTo>
                  <a:close/>
                </a:path>
              </a:pathLst>
            </a:custGeom>
            <a:solidFill>
              <a:srgbClr val="EB008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73" name="Rectangle 7139"/>
            <p:cNvSpPr>
              <a:spLocks noChangeArrowheads="1"/>
            </p:cNvSpPr>
            <p:nvPr/>
          </p:nvSpPr>
          <p:spPr bwMode="auto">
            <a:xfrm>
              <a:off x="4800512" y="1867085"/>
              <a:ext cx="51725" cy="53851"/>
            </a:xfrm>
            <a:prstGeom prst="rect">
              <a:avLst/>
            </a:prstGeom>
            <a:solidFill>
              <a:srgbClr val="989A9D"/>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74" name="Rectangle 7140"/>
            <p:cNvSpPr>
              <a:spLocks noChangeArrowheads="1"/>
            </p:cNvSpPr>
            <p:nvPr/>
          </p:nvSpPr>
          <p:spPr bwMode="auto">
            <a:xfrm>
              <a:off x="4937973" y="1867085"/>
              <a:ext cx="51725" cy="53851"/>
            </a:xfrm>
            <a:prstGeom prst="rect">
              <a:avLst/>
            </a:prstGeom>
            <a:solidFill>
              <a:srgbClr val="989A9D"/>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0" name="Group 7641"/>
          <p:cNvGrpSpPr/>
          <p:nvPr/>
        </p:nvGrpSpPr>
        <p:grpSpPr>
          <a:xfrm>
            <a:off x="4825769" y="1122876"/>
            <a:ext cx="425818" cy="417932"/>
            <a:chOff x="4514252" y="775899"/>
            <a:chExt cx="535673" cy="525754"/>
          </a:xfrm>
        </p:grpSpPr>
        <p:sp>
          <p:nvSpPr>
            <p:cNvPr id="7669" name="Oval 1016"/>
            <p:cNvSpPr>
              <a:spLocks noChangeArrowheads="1"/>
            </p:cNvSpPr>
            <p:nvPr/>
          </p:nvSpPr>
          <p:spPr bwMode="auto">
            <a:xfrm>
              <a:off x="4514252" y="775899"/>
              <a:ext cx="535673"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7670" name="Picture 714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V="1">
              <a:off x="4622662" y="860217"/>
              <a:ext cx="319562" cy="3578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1" name="Group 7642"/>
          <p:cNvGrpSpPr/>
          <p:nvPr/>
        </p:nvGrpSpPr>
        <p:grpSpPr>
          <a:xfrm>
            <a:off x="6722656" y="3304294"/>
            <a:ext cx="425818" cy="417932"/>
            <a:chOff x="6293452" y="2832856"/>
            <a:chExt cx="535673" cy="525754"/>
          </a:xfrm>
        </p:grpSpPr>
        <p:sp>
          <p:nvSpPr>
            <p:cNvPr id="7667" name="Oval 1007"/>
            <p:cNvSpPr>
              <a:spLocks noChangeArrowheads="1"/>
            </p:cNvSpPr>
            <p:nvPr/>
          </p:nvSpPr>
          <p:spPr bwMode="auto">
            <a:xfrm>
              <a:off x="6293452" y="2832856"/>
              <a:ext cx="535673"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7668" name="Picture 714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flipV="1">
              <a:off x="6384149" y="2943391"/>
              <a:ext cx="345070" cy="3011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2" name="Group 7643"/>
          <p:cNvGrpSpPr/>
          <p:nvPr/>
        </p:nvGrpSpPr>
        <p:grpSpPr>
          <a:xfrm>
            <a:off x="7294166" y="2441757"/>
            <a:ext cx="425818" cy="417932"/>
            <a:chOff x="6827709" y="2019427"/>
            <a:chExt cx="535673" cy="525754"/>
          </a:xfrm>
        </p:grpSpPr>
        <p:sp>
          <p:nvSpPr>
            <p:cNvPr id="7660" name="Oval 1024"/>
            <p:cNvSpPr>
              <a:spLocks noChangeArrowheads="1"/>
            </p:cNvSpPr>
            <p:nvPr/>
          </p:nvSpPr>
          <p:spPr bwMode="auto">
            <a:xfrm>
              <a:off x="6827709" y="2019427"/>
              <a:ext cx="535673"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23" name="Group 7660"/>
            <p:cNvGrpSpPr/>
            <p:nvPr/>
          </p:nvGrpSpPr>
          <p:grpSpPr>
            <a:xfrm>
              <a:off x="6916279" y="2233412"/>
              <a:ext cx="357825" cy="110536"/>
              <a:chOff x="6916279" y="2233412"/>
              <a:chExt cx="357825" cy="110536"/>
            </a:xfrm>
          </p:grpSpPr>
          <p:sp>
            <p:nvSpPr>
              <p:cNvPr id="7662" name="Freeform 7424"/>
              <p:cNvSpPr>
                <a:spLocks/>
              </p:cNvSpPr>
              <p:nvPr/>
            </p:nvSpPr>
            <p:spPr bwMode="auto">
              <a:xfrm>
                <a:off x="7130265" y="2233412"/>
                <a:ext cx="102033" cy="34011"/>
              </a:xfrm>
              <a:custGeom>
                <a:avLst/>
                <a:gdLst>
                  <a:gd name="T0" fmla="*/ 61 w 61"/>
                  <a:gd name="T1" fmla="*/ 20 h 20"/>
                  <a:gd name="T2" fmla="*/ 27 w 61"/>
                  <a:gd name="T3" fmla="*/ 0 h 20"/>
                  <a:gd name="T4" fmla="*/ 3 w 61"/>
                  <a:gd name="T5" fmla="*/ 0 h 20"/>
                  <a:gd name="T6" fmla="*/ 0 w 61"/>
                  <a:gd name="T7" fmla="*/ 19 h 20"/>
                  <a:gd name="T8" fmla="*/ 61 w 61"/>
                  <a:gd name="T9" fmla="*/ 20 h 20"/>
                </a:gdLst>
                <a:ahLst/>
                <a:cxnLst>
                  <a:cxn ang="0">
                    <a:pos x="T0" y="T1"/>
                  </a:cxn>
                  <a:cxn ang="0">
                    <a:pos x="T2" y="T3"/>
                  </a:cxn>
                  <a:cxn ang="0">
                    <a:pos x="T4" y="T5"/>
                  </a:cxn>
                  <a:cxn ang="0">
                    <a:pos x="T6" y="T7"/>
                  </a:cxn>
                  <a:cxn ang="0">
                    <a:pos x="T8" y="T9"/>
                  </a:cxn>
                </a:cxnLst>
                <a:rect l="0" t="0" r="r" b="b"/>
                <a:pathLst>
                  <a:path w="61" h="20">
                    <a:moveTo>
                      <a:pt x="61" y="20"/>
                    </a:moveTo>
                    <a:cubicBezTo>
                      <a:pt x="58" y="6"/>
                      <a:pt x="45" y="0"/>
                      <a:pt x="27" y="0"/>
                    </a:cubicBezTo>
                    <a:cubicBezTo>
                      <a:pt x="3" y="0"/>
                      <a:pt x="3" y="0"/>
                      <a:pt x="3" y="0"/>
                    </a:cubicBezTo>
                    <a:cubicBezTo>
                      <a:pt x="0" y="19"/>
                      <a:pt x="0" y="19"/>
                      <a:pt x="0" y="19"/>
                    </a:cubicBezTo>
                    <a:cubicBezTo>
                      <a:pt x="21" y="17"/>
                      <a:pt x="41" y="18"/>
                      <a:pt x="61" y="20"/>
                    </a:cubicBezTo>
                  </a:path>
                </a:pathLst>
              </a:custGeom>
              <a:solidFill>
                <a:srgbClr val="1B32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63" name="Freeform 7425"/>
              <p:cNvSpPr>
                <a:spLocks/>
              </p:cNvSpPr>
              <p:nvPr/>
            </p:nvSpPr>
            <p:spPr bwMode="auto">
              <a:xfrm>
                <a:off x="7234424" y="2233412"/>
                <a:ext cx="39680" cy="40388"/>
              </a:xfrm>
              <a:custGeom>
                <a:avLst/>
                <a:gdLst>
                  <a:gd name="T0" fmla="*/ 20 w 24"/>
                  <a:gd name="T1" fmla="*/ 24 h 24"/>
                  <a:gd name="T2" fmla="*/ 24 w 24"/>
                  <a:gd name="T3" fmla="*/ 0 h 24"/>
                  <a:gd name="T4" fmla="*/ 3 w 24"/>
                  <a:gd name="T5" fmla="*/ 0 h 24"/>
                  <a:gd name="T6" fmla="*/ 0 w 24"/>
                  <a:gd name="T7" fmla="*/ 20 h 24"/>
                  <a:gd name="T8" fmla="*/ 20 w 24"/>
                  <a:gd name="T9" fmla="*/ 24 h 24"/>
                </a:gdLst>
                <a:ahLst/>
                <a:cxnLst>
                  <a:cxn ang="0">
                    <a:pos x="T0" y="T1"/>
                  </a:cxn>
                  <a:cxn ang="0">
                    <a:pos x="T2" y="T3"/>
                  </a:cxn>
                  <a:cxn ang="0">
                    <a:pos x="T4" y="T5"/>
                  </a:cxn>
                  <a:cxn ang="0">
                    <a:pos x="T6" y="T7"/>
                  </a:cxn>
                  <a:cxn ang="0">
                    <a:pos x="T8" y="T9"/>
                  </a:cxn>
                </a:cxnLst>
                <a:rect l="0" t="0" r="r" b="b"/>
                <a:pathLst>
                  <a:path w="24" h="24">
                    <a:moveTo>
                      <a:pt x="20" y="24"/>
                    </a:moveTo>
                    <a:cubicBezTo>
                      <a:pt x="24" y="0"/>
                      <a:pt x="24" y="0"/>
                      <a:pt x="24" y="0"/>
                    </a:cubicBezTo>
                    <a:cubicBezTo>
                      <a:pt x="3" y="0"/>
                      <a:pt x="3" y="0"/>
                      <a:pt x="3" y="0"/>
                    </a:cubicBezTo>
                    <a:cubicBezTo>
                      <a:pt x="0" y="20"/>
                      <a:pt x="0" y="20"/>
                      <a:pt x="0" y="20"/>
                    </a:cubicBezTo>
                    <a:cubicBezTo>
                      <a:pt x="7" y="21"/>
                      <a:pt x="13" y="23"/>
                      <a:pt x="20" y="24"/>
                    </a:cubicBezTo>
                  </a:path>
                </a:pathLst>
              </a:custGeom>
              <a:solidFill>
                <a:srgbClr val="1B32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64" name="Freeform 7426"/>
              <p:cNvSpPr>
                <a:spLocks/>
              </p:cNvSpPr>
              <p:nvPr/>
            </p:nvSpPr>
            <p:spPr bwMode="auto">
              <a:xfrm>
                <a:off x="6916279" y="2233412"/>
                <a:ext cx="212569" cy="110536"/>
              </a:xfrm>
              <a:custGeom>
                <a:avLst/>
                <a:gdLst>
                  <a:gd name="T0" fmla="*/ 23 w 127"/>
                  <a:gd name="T1" fmla="*/ 51 h 66"/>
                  <a:gd name="T2" fmla="*/ 25 w 127"/>
                  <a:gd name="T3" fmla="*/ 39 h 66"/>
                  <a:gd name="T4" fmla="*/ 29 w 127"/>
                  <a:gd name="T5" fmla="*/ 48 h 66"/>
                  <a:gd name="T6" fmla="*/ 48 w 127"/>
                  <a:gd name="T7" fmla="*/ 39 h 66"/>
                  <a:gd name="T8" fmla="*/ 45 w 127"/>
                  <a:gd name="T9" fmla="*/ 34 h 66"/>
                  <a:gd name="T10" fmla="*/ 68 w 127"/>
                  <a:gd name="T11" fmla="*/ 4 h 66"/>
                  <a:gd name="T12" fmla="*/ 64 w 127"/>
                  <a:gd name="T13" fmla="*/ 33 h 66"/>
                  <a:gd name="T14" fmla="*/ 85 w 127"/>
                  <a:gd name="T15" fmla="*/ 26 h 66"/>
                  <a:gd name="T16" fmla="*/ 87 w 127"/>
                  <a:gd name="T17" fmla="*/ 18 h 66"/>
                  <a:gd name="T18" fmla="*/ 92 w 127"/>
                  <a:gd name="T19" fmla="*/ 18 h 66"/>
                  <a:gd name="T20" fmla="*/ 104 w 127"/>
                  <a:gd name="T21" fmla="*/ 22 h 66"/>
                  <a:gd name="T22" fmla="*/ 119 w 127"/>
                  <a:gd name="T23" fmla="*/ 20 h 66"/>
                  <a:gd name="T24" fmla="*/ 127 w 127"/>
                  <a:gd name="T25" fmla="*/ 19 h 66"/>
                  <a:gd name="T26" fmla="*/ 93 w 127"/>
                  <a:gd name="T27" fmla="*/ 0 h 66"/>
                  <a:gd name="T28" fmla="*/ 47 w 127"/>
                  <a:gd name="T29" fmla="*/ 0 h 66"/>
                  <a:gd name="T30" fmla="*/ 28 w 127"/>
                  <a:gd name="T31" fmla="*/ 25 h 66"/>
                  <a:gd name="T32" fmla="*/ 32 w 127"/>
                  <a:gd name="T33" fmla="*/ 0 h 66"/>
                  <a:gd name="T34" fmla="*/ 11 w 127"/>
                  <a:gd name="T35" fmla="*/ 0 h 66"/>
                  <a:gd name="T36" fmla="*/ 0 w 127"/>
                  <a:gd name="T37" fmla="*/ 66 h 66"/>
                  <a:gd name="T38" fmla="*/ 23 w 127"/>
                  <a:gd name="T39" fmla="*/ 5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7" h="66">
                    <a:moveTo>
                      <a:pt x="23" y="51"/>
                    </a:moveTo>
                    <a:cubicBezTo>
                      <a:pt x="25" y="39"/>
                      <a:pt x="25" y="39"/>
                      <a:pt x="25" y="39"/>
                    </a:cubicBezTo>
                    <a:cubicBezTo>
                      <a:pt x="29" y="48"/>
                      <a:pt x="29" y="48"/>
                      <a:pt x="29" y="48"/>
                    </a:cubicBezTo>
                    <a:cubicBezTo>
                      <a:pt x="35" y="45"/>
                      <a:pt x="41" y="42"/>
                      <a:pt x="48" y="39"/>
                    </a:cubicBezTo>
                    <a:cubicBezTo>
                      <a:pt x="45" y="34"/>
                      <a:pt x="45" y="34"/>
                      <a:pt x="45" y="34"/>
                    </a:cubicBezTo>
                    <a:cubicBezTo>
                      <a:pt x="68" y="4"/>
                      <a:pt x="68" y="4"/>
                      <a:pt x="68" y="4"/>
                    </a:cubicBezTo>
                    <a:cubicBezTo>
                      <a:pt x="64" y="33"/>
                      <a:pt x="64" y="33"/>
                      <a:pt x="64" y="33"/>
                    </a:cubicBezTo>
                    <a:cubicBezTo>
                      <a:pt x="71" y="31"/>
                      <a:pt x="78" y="28"/>
                      <a:pt x="85" y="26"/>
                    </a:cubicBezTo>
                    <a:cubicBezTo>
                      <a:pt x="87" y="18"/>
                      <a:pt x="87" y="18"/>
                      <a:pt x="87" y="18"/>
                    </a:cubicBezTo>
                    <a:cubicBezTo>
                      <a:pt x="92" y="18"/>
                      <a:pt x="92" y="18"/>
                      <a:pt x="92" y="18"/>
                    </a:cubicBezTo>
                    <a:cubicBezTo>
                      <a:pt x="97" y="18"/>
                      <a:pt x="102" y="19"/>
                      <a:pt x="104" y="22"/>
                    </a:cubicBezTo>
                    <a:cubicBezTo>
                      <a:pt x="109" y="21"/>
                      <a:pt x="114" y="21"/>
                      <a:pt x="119" y="20"/>
                    </a:cubicBezTo>
                    <a:cubicBezTo>
                      <a:pt x="122" y="20"/>
                      <a:pt x="124" y="19"/>
                      <a:pt x="127" y="19"/>
                    </a:cubicBezTo>
                    <a:cubicBezTo>
                      <a:pt x="123" y="6"/>
                      <a:pt x="110" y="0"/>
                      <a:pt x="93" y="0"/>
                    </a:cubicBezTo>
                    <a:cubicBezTo>
                      <a:pt x="47" y="0"/>
                      <a:pt x="47" y="0"/>
                      <a:pt x="47" y="0"/>
                    </a:cubicBezTo>
                    <a:cubicBezTo>
                      <a:pt x="28" y="25"/>
                      <a:pt x="28" y="25"/>
                      <a:pt x="28" y="25"/>
                    </a:cubicBezTo>
                    <a:cubicBezTo>
                      <a:pt x="32" y="0"/>
                      <a:pt x="32" y="0"/>
                      <a:pt x="32" y="0"/>
                    </a:cubicBezTo>
                    <a:cubicBezTo>
                      <a:pt x="11" y="0"/>
                      <a:pt x="11" y="0"/>
                      <a:pt x="11" y="0"/>
                    </a:cubicBezTo>
                    <a:cubicBezTo>
                      <a:pt x="0" y="66"/>
                      <a:pt x="0" y="66"/>
                      <a:pt x="0" y="66"/>
                    </a:cubicBezTo>
                    <a:cubicBezTo>
                      <a:pt x="8" y="61"/>
                      <a:pt x="15" y="56"/>
                      <a:pt x="23" y="51"/>
                    </a:cubicBezTo>
                  </a:path>
                </a:pathLst>
              </a:custGeom>
              <a:solidFill>
                <a:srgbClr val="1B32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65" name="Freeform 7427"/>
              <p:cNvSpPr>
                <a:spLocks/>
              </p:cNvSpPr>
              <p:nvPr/>
            </p:nvSpPr>
            <p:spPr bwMode="auto">
              <a:xfrm>
                <a:off x="6936119" y="2332611"/>
                <a:ext cx="17006" cy="11337"/>
              </a:xfrm>
              <a:custGeom>
                <a:avLst/>
                <a:gdLst>
                  <a:gd name="T0" fmla="*/ 0 w 10"/>
                  <a:gd name="T1" fmla="*/ 7 h 7"/>
                  <a:gd name="T2" fmla="*/ 9 w 10"/>
                  <a:gd name="T3" fmla="*/ 7 h 7"/>
                  <a:gd name="T4" fmla="*/ 10 w 10"/>
                  <a:gd name="T5" fmla="*/ 0 h 7"/>
                  <a:gd name="T6" fmla="*/ 0 w 10"/>
                  <a:gd name="T7" fmla="*/ 7 h 7"/>
                </a:gdLst>
                <a:ahLst/>
                <a:cxnLst>
                  <a:cxn ang="0">
                    <a:pos x="T0" y="T1"/>
                  </a:cxn>
                  <a:cxn ang="0">
                    <a:pos x="T2" y="T3"/>
                  </a:cxn>
                  <a:cxn ang="0">
                    <a:pos x="T4" y="T5"/>
                  </a:cxn>
                  <a:cxn ang="0">
                    <a:pos x="T6" y="T7"/>
                  </a:cxn>
                </a:cxnLst>
                <a:rect l="0" t="0" r="r" b="b"/>
                <a:pathLst>
                  <a:path w="10" h="7">
                    <a:moveTo>
                      <a:pt x="0" y="7"/>
                    </a:moveTo>
                    <a:cubicBezTo>
                      <a:pt x="9" y="7"/>
                      <a:pt x="9" y="7"/>
                      <a:pt x="9" y="7"/>
                    </a:cubicBezTo>
                    <a:cubicBezTo>
                      <a:pt x="10" y="0"/>
                      <a:pt x="10" y="0"/>
                      <a:pt x="10" y="0"/>
                    </a:cubicBezTo>
                    <a:cubicBezTo>
                      <a:pt x="7" y="2"/>
                      <a:pt x="3" y="5"/>
                      <a:pt x="0" y="7"/>
                    </a:cubicBezTo>
                  </a:path>
                </a:pathLst>
              </a:custGeom>
              <a:solidFill>
                <a:srgbClr val="1B32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666" name="Freeform 7428"/>
              <p:cNvSpPr>
                <a:spLocks/>
              </p:cNvSpPr>
              <p:nvPr/>
            </p:nvSpPr>
            <p:spPr bwMode="auto">
              <a:xfrm>
                <a:off x="6968004" y="2268840"/>
                <a:ext cx="299722" cy="75108"/>
              </a:xfrm>
              <a:custGeom>
                <a:avLst/>
                <a:gdLst>
                  <a:gd name="T0" fmla="*/ 134 w 179"/>
                  <a:gd name="T1" fmla="*/ 0 h 45"/>
                  <a:gd name="T2" fmla="*/ 138 w 179"/>
                  <a:gd name="T3" fmla="*/ 13 h 45"/>
                  <a:gd name="T4" fmla="*/ 119 w 179"/>
                  <a:gd name="T5" fmla="*/ 27 h 45"/>
                  <a:gd name="T6" fmla="*/ 114 w 179"/>
                  <a:gd name="T7" fmla="*/ 27 h 45"/>
                  <a:gd name="T8" fmla="*/ 118 w 179"/>
                  <a:gd name="T9" fmla="*/ 0 h 45"/>
                  <a:gd name="T10" fmla="*/ 95 w 179"/>
                  <a:gd name="T11" fmla="*/ 1 h 45"/>
                  <a:gd name="T12" fmla="*/ 75 w 179"/>
                  <a:gd name="T13" fmla="*/ 5 h 45"/>
                  <a:gd name="T14" fmla="*/ 75 w 179"/>
                  <a:gd name="T15" fmla="*/ 13 h 45"/>
                  <a:gd name="T16" fmla="*/ 56 w 179"/>
                  <a:gd name="T17" fmla="*/ 27 h 45"/>
                  <a:gd name="T18" fmla="*/ 51 w 179"/>
                  <a:gd name="T19" fmla="*/ 27 h 45"/>
                  <a:gd name="T20" fmla="*/ 53 w 179"/>
                  <a:gd name="T21" fmla="*/ 10 h 45"/>
                  <a:gd name="T22" fmla="*/ 32 w 179"/>
                  <a:gd name="T23" fmla="*/ 17 h 45"/>
                  <a:gd name="T24" fmla="*/ 28 w 179"/>
                  <a:gd name="T25" fmla="*/ 41 h 45"/>
                  <a:gd name="T26" fmla="*/ 19 w 179"/>
                  <a:gd name="T27" fmla="*/ 23 h 45"/>
                  <a:gd name="T28" fmla="*/ 0 w 179"/>
                  <a:gd name="T29" fmla="*/ 32 h 45"/>
                  <a:gd name="T30" fmla="*/ 6 w 179"/>
                  <a:gd name="T31" fmla="*/ 45 h 45"/>
                  <a:gd name="T32" fmla="*/ 34 w 179"/>
                  <a:gd name="T33" fmla="*/ 45 h 45"/>
                  <a:gd name="T34" fmla="*/ 33 w 179"/>
                  <a:gd name="T35" fmla="*/ 45 h 45"/>
                  <a:gd name="T36" fmla="*/ 58 w 179"/>
                  <a:gd name="T37" fmla="*/ 45 h 45"/>
                  <a:gd name="T38" fmla="*/ 93 w 179"/>
                  <a:gd name="T39" fmla="*/ 24 h 45"/>
                  <a:gd name="T40" fmla="*/ 89 w 179"/>
                  <a:gd name="T41" fmla="*/ 45 h 45"/>
                  <a:gd name="T42" fmla="*/ 120 w 179"/>
                  <a:gd name="T43" fmla="*/ 45 h 45"/>
                  <a:gd name="T44" fmla="*/ 155 w 179"/>
                  <a:gd name="T45" fmla="*/ 24 h 45"/>
                  <a:gd name="T46" fmla="*/ 152 w 179"/>
                  <a:gd name="T47" fmla="*/ 45 h 45"/>
                  <a:gd name="T48" fmla="*/ 172 w 179"/>
                  <a:gd name="T49" fmla="*/ 45 h 45"/>
                  <a:gd name="T50" fmla="*/ 179 w 179"/>
                  <a:gd name="T51" fmla="*/ 5 h 45"/>
                  <a:gd name="T52" fmla="*/ 134 w 179"/>
                  <a:gd name="T5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9" h="45">
                    <a:moveTo>
                      <a:pt x="134" y="0"/>
                    </a:moveTo>
                    <a:cubicBezTo>
                      <a:pt x="138" y="2"/>
                      <a:pt x="139" y="6"/>
                      <a:pt x="138" y="13"/>
                    </a:cubicBezTo>
                    <a:cubicBezTo>
                      <a:pt x="137" y="23"/>
                      <a:pt x="129" y="27"/>
                      <a:pt x="119" y="27"/>
                    </a:cubicBezTo>
                    <a:cubicBezTo>
                      <a:pt x="114" y="27"/>
                      <a:pt x="114" y="27"/>
                      <a:pt x="114" y="27"/>
                    </a:cubicBezTo>
                    <a:cubicBezTo>
                      <a:pt x="118" y="0"/>
                      <a:pt x="118" y="0"/>
                      <a:pt x="118" y="0"/>
                    </a:cubicBezTo>
                    <a:cubicBezTo>
                      <a:pt x="111" y="0"/>
                      <a:pt x="103" y="0"/>
                      <a:pt x="95" y="1"/>
                    </a:cubicBezTo>
                    <a:cubicBezTo>
                      <a:pt x="88" y="2"/>
                      <a:pt x="82" y="3"/>
                      <a:pt x="75" y="5"/>
                    </a:cubicBezTo>
                    <a:cubicBezTo>
                      <a:pt x="76" y="7"/>
                      <a:pt x="76" y="10"/>
                      <a:pt x="75" y="13"/>
                    </a:cubicBezTo>
                    <a:cubicBezTo>
                      <a:pt x="74" y="23"/>
                      <a:pt x="66" y="27"/>
                      <a:pt x="56" y="27"/>
                    </a:cubicBezTo>
                    <a:cubicBezTo>
                      <a:pt x="51" y="27"/>
                      <a:pt x="51" y="27"/>
                      <a:pt x="51" y="27"/>
                    </a:cubicBezTo>
                    <a:cubicBezTo>
                      <a:pt x="53" y="10"/>
                      <a:pt x="53" y="10"/>
                      <a:pt x="53" y="10"/>
                    </a:cubicBezTo>
                    <a:cubicBezTo>
                      <a:pt x="46" y="12"/>
                      <a:pt x="39" y="15"/>
                      <a:pt x="32" y="17"/>
                    </a:cubicBezTo>
                    <a:cubicBezTo>
                      <a:pt x="28" y="41"/>
                      <a:pt x="28" y="41"/>
                      <a:pt x="28" y="41"/>
                    </a:cubicBezTo>
                    <a:cubicBezTo>
                      <a:pt x="19" y="23"/>
                      <a:pt x="19" y="23"/>
                      <a:pt x="19" y="23"/>
                    </a:cubicBezTo>
                    <a:cubicBezTo>
                      <a:pt x="13" y="26"/>
                      <a:pt x="6" y="29"/>
                      <a:pt x="0" y="32"/>
                    </a:cubicBezTo>
                    <a:cubicBezTo>
                      <a:pt x="6" y="45"/>
                      <a:pt x="6" y="45"/>
                      <a:pt x="6" y="45"/>
                    </a:cubicBezTo>
                    <a:cubicBezTo>
                      <a:pt x="34" y="45"/>
                      <a:pt x="34" y="45"/>
                      <a:pt x="34" y="45"/>
                    </a:cubicBezTo>
                    <a:cubicBezTo>
                      <a:pt x="33" y="45"/>
                      <a:pt x="33" y="45"/>
                      <a:pt x="33" y="45"/>
                    </a:cubicBezTo>
                    <a:cubicBezTo>
                      <a:pt x="58" y="45"/>
                      <a:pt x="58" y="45"/>
                      <a:pt x="58" y="45"/>
                    </a:cubicBezTo>
                    <a:cubicBezTo>
                      <a:pt x="73" y="45"/>
                      <a:pt x="86" y="37"/>
                      <a:pt x="93" y="24"/>
                    </a:cubicBezTo>
                    <a:cubicBezTo>
                      <a:pt x="89" y="45"/>
                      <a:pt x="89" y="45"/>
                      <a:pt x="89" y="45"/>
                    </a:cubicBezTo>
                    <a:cubicBezTo>
                      <a:pt x="120" y="45"/>
                      <a:pt x="120" y="45"/>
                      <a:pt x="120" y="45"/>
                    </a:cubicBezTo>
                    <a:cubicBezTo>
                      <a:pt x="135" y="45"/>
                      <a:pt x="149" y="37"/>
                      <a:pt x="155" y="24"/>
                    </a:cubicBezTo>
                    <a:cubicBezTo>
                      <a:pt x="152" y="45"/>
                      <a:pt x="152" y="45"/>
                      <a:pt x="152" y="45"/>
                    </a:cubicBezTo>
                    <a:cubicBezTo>
                      <a:pt x="172" y="45"/>
                      <a:pt x="172" y="45"/>
                      <a:pt x="172" y="45"/>
                    </a:cubicBezTo>
                    <a:cubicBezTo>
                      <a:pt x="179" y="5"/>
                      <a:pt x="179" y="5"/>
                      <a:pt x="179" y="5"/>
                    </a:cubicBezTo>
                    <a:cubicBezTo>
                      <a:pt x="164" y="2"/>
                      <a:pt x="150" y="0"/>
                      <a:pt x="134" y="0"/>
                    </a:cubicBezTo>
                  </a:path>
                </a:pathLst>
              </a:custGeom>
              <a:solidFill>
                <a:srgbClr val="1B32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nvGrpSpPr>
          <p:cNvPr id="24" name="Group 7644"/>
          <p:cNvGrpSpPr/>
          <p:nvPr/>
        </p:nvGrpSpPr>
        <p:grpSpPr>
          <a:xfrm>
            <a:off x="5294131" y="3989601"/>
            <a:ext cx="424126" cy="417366"/>
            <a:chOff x="4946475" y="3469145"/>
            <a:chExt cx="533548" cy="525045"/>
          </a:xfrm>
        </p:grpSpPr>
        <p:sp>
          <p:nvSpPr>
            <p:cNvPr id="7658" name="Oval 1005"/>
            <p:cNvSpPr>
              <a:spLocks noChangeArrowheads="1"/>
            </p:cNvSpPr>
            <p:nvPr/>
          </p:nvSpPr>
          <p:spPr bwMode="auto">
            <a:xfrm>
              <a:off x="4946475" y="3469145"/>
              <a:ext cx="533548" cy="525045"/>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7659" name="Picture 714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5029202" y="3594480"/>
              <a:ext cx="368094" cy="2574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5" name="Group 7645"/>
          <p:cNvGrpSpPr/>
          <p:nvPr/>
        </p:nvGrpSpPr>
        <p:grpSpPr>
          <a:xfrm>
            <a:off x="2826999" y="2327212"/>
            <a:ext cx="424692" cy="417366"/>
            <a:chOff x="2644355" y="1915976"/>
            <a:chExt cx="534256" cy="525045"/>
          </a:xfrm>
        </p:grpSpPr>
        <p:sp>
          <p:nvSpPr>
            <p:cNvPr id="7656" name="Oval 1001"/>
            <p:cNvSpPr>
              <a:spLocks noChangeArrowheads="1"/>
            </p:cNvSpPr>
            <p:nvPr/>
          </p:nvSpPr>
          <p:spPr bwMode="auto">
            <a:xfrm>
              <a:off x="2644355" y="1915976"/>
              <a:ext cx="534256" cy="525045"/>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7657" name="Picture 714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2721084" y="2136104"/>
              <a:ext cx="380798" cy="84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6" name="Group 7646"/>
          <p:cNvGrpSpPr/>
          <p:nvPr/>
        </p:nvGrpSpPr>
        <p:grpSpPr>
          <a:xfrm>
            <a:off x="1943800" y="2770872"/>
            <a:ext cx="425818" cy="417932"/>
            <a:chOff x="1807543" y="2329068"/>
            <a:chExt cx="535673" cy="525754"/>
          </a:xfrm>
        </p:grpSpPr>
        <p:sp>
          <p:nvSpPr>
            <p:cNvPr id="7654" name="Oval 1003"/>
            <p:cNvSpPr>
              <a:spLocks noChangeArrowheads="1"/>
            </p:cNvSpPr>
            <p:nvPr/>
          </p:nvSpPr>
          <p:spPr bwMode="auto">
            <a:xfrm>
              <a:off x="1807543" y="2329068"/>
              <a:ext cx="535673"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7655" name="Picture 714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1966661" y="2425171"/>
              <a:ext cx="217437" cy="3335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7" name="Group 7647"/>
          <p:cNvGrpSpPr/>
          <p:nvPr/>
        </p:nvGrpSpPr>
        <p:grpSpPr>
          <a:xfrm>
            <a:off x="1828064" y="2005372"/>
            <a:ext cx="425818" cy="417932"/>
            <a:chOff x="1701967" y="1604208"/>
            <a:chExt cx="535673" cy="525754"/>
          </a:xfrm>
        </p:grpSpPr>
        <p:sp>
          <p:nvSpPr>
            <p:cNvPr id="7652" name="Oval 999"/>
            <p:cNvSpPr>
              <a:spLocks noChangeArrowheads="1"/>
            </p:cNvSpPr>
            <p:nvPr/>
          </p:nvSpPr>
          <p:spPr bwMode="auto">
            <a:xfrm>
              <a:off x="1701967" y="1604208"/>
              <a:ext cx="535673"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7653" name="Picture 714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1861085" y="1700311"/>
              <a:ext cx="217437" cy="3335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8" name="Group 7648"/>
          <p:cNvGrpSpPr/>
          <p:nvPr/>
        </p:nvGrpSpPr>
        <p:grpSpPr>
          <a:xfrm>
            <a:off x="4844583" y="2669398"/>
            <a:ext cx="424690" cy="416804"/>
            <a:chOff x="4534092" y="2201526"/>
            <a:chExt cx="534256" cy="524336"/>
          </a:xfrm>
        </p:grpSpPr>
        <p:sp>
          <p:nvSpPr>
            <p:cNvPr id="7650" name="Oval 1009"/>
            <p:cNvSpPr>
              <a:spLocks noChangeArrowheads="1"/>
            </p:cNvSpPr>
            <p:nvPr/>
          </p:nvSpPr>
          <p:spPr bwMode="auto">
            <a:xfrm>
              <a:off x="4534092" y="2201526"/>
              <a:ext cx="534256" cy="524336"/>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7651" name="Picture 714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4692502" y="2296920"/>
              <a:ext cx="217437" cy="3335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9" name="Group 18"/>
          <p:cNvGrpSpPr/>
          <p:nvPr/>
        </p:nvGrpSpPr>
        <p:grpSpPr>
          <a:xfrm>
            <a:off x="5507742" y="1259871"/>
            <a:ext cx="425818" cy="417932"/>
            <a:chOff x="5226703" y="1168588"/>
            <a:chExt cx="535673" cy="525754"/>
          </a:xfrm>
        </p:grpSpPr>
        <p:sp>
          <p:nvSpPr>
            <p:cNvPr id="7635" name="Oval 1018"/>
            <p:cNvSpPr>
              <a:spLocks noChangeArrowheads="1"/>
            </p:cNvSpPr>
            <p:nvPr/>
          </p:nvSpPr>
          <p:spPr bwMode="auto">
            <a:xfrm>
              <a:off x="5226703" y="1168588"/>
              <a:ext cx="535673"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1031" name="Picture 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flipV="1">
              <a:off x="5344521" y="1281447"/>
              <a:ext cx="300037" cy="300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30" name="Group 19"/>
          <p:cNvGrpSpPr/>
          <p:nvPr/>
        </p:nvGrpSpPr>
        <p:grpSpPr>
          <a:xfrm>
            <a:off x="4323454" y="2311840"/>
            <a:ext cx="425818" cy="417932"/>
            <a:chOff x="4138935" y="2134197"/>
            <a:chExt cx="535673" cy="525754"/>
          </a:xfrm>
        </p:grpSpPr>
        <p:sp>
          <p:nvSpPr>
            <p:cNvPr id="1058" name="Oval 1022"/>
            <p:cNvSpPr>
              <a:spLocks noChangeArrowheads="1"/>
            </p:cNvSpPr>
            <p:nvPr/>
          </p:nvSpPr>
          <p:spPr bwMode="auto">
            <a:xfrm>
              <a:off x="4138935" y="2134197"/>
              <a:ext cx="535673"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1" name="Group 11"/>
            <p:cNvGrpSpPr>
              <a:grpSpLocks noChangeAspect="1"/>
            </p:cNvGrpSpPr>
            <p:nvPr/>
          </p:nvGrpSpPr>
          <p:grpSpPr bwMode="auto">
            <a:xfrm>
              <a:off x="4178300" y="2301940"/>
              <a:ext cx="456942" cy="190270"/>
              <a:chOff x="2568" y="1490"/>
              <a:chExt cx="622" cy="259"/>
            </a:xfrm>
          </p:grpSpPr>
          <p:sp>
            <p:nvSpPr>
              <p:cNvPr id="8" name="Freeform 12"/>
              <p:cNvSpPr>
                <a:spLocks noEditPoints="1"/>
              </p:cNvSpPr>
              <p:nvPr/>
            </p:nvSpPr>
            <p:spPr bwMode="auto">
              <a:xfrm>
                <a:off x="2568" y="1490"/>
                <a:ext cx="622" cy="167"/>
              </a:xfrm>
              <a:custGeom>
                <a:avLst/>
                <a:gdLst>
                  <a:gd name="T0" fmla="*/ 131 w 263"/>
                  <a:gd name="T1" fmla="*/ 71 h 71"/>
                  <a:gd name="T2" fmla="*/ 77 w 263"/>
                  <a:gd name="T3" fmla="*/ 32 h 71"/>
                  <a:gd name="T4" fmla="*/ 61 w 263"/>
                  <a:gd name="T5" fmla="*/ 35 h 71"/>
                  <a:gd name="T6" fmla="*/ 73 w 263"/>
                  <a:gd name="T7" fmla="*/ 15 h 71"/>
                  <a:gd name="T8" fmla="*/ 60 w 263"/>
                  <a:gd name="T9" fmla="*/ 46 h 71"/>
                  <a:gd name="T10" fmla="*/ 80 w 263"/>
                  <a:gd name="T11" fmla="*/ 50 h 71"/>
                  <a:gd name="T12" fmla="*/ 84 w 263"/>
                  <a:gd name="T13" fmla="*/ 33 h 71"/>
                  <a:gd name="T14" fmla="*/ 89 w 263"/>
                  <a:gd name="T15" fmla="*/ 7 h 71"/>
                  <a:gd name="T16" fmla="*/ 71 w 263"/>
                  <a:gd name="T17" fmla="*/ 18 h 71"/>
                  <a:gd name="T18" fmla="*/ 71 w 263"/>
                  <a:gd name="T19" fmla="*/ 18 h 71"/>
                  <a:gd name="T20" fmla="*/ 95 w 263"/>
                  <a:gd name="T21" fmla="*/ 46 h 71"/>
                  <a:gd name="T22" fmla="*/ 103 w 263"/>
                  <a:gd name="T23" fmla="*/ 55 h 71"/>
                  <a:gd name="T24" fmla="*/ 126 w 263"/>
                  <a:gd name="T25" fmla="*/ 19 h 71"/>
                  <a:gd name="T26" fmla="*/ 131 w 263"/>
                  <a:gd name="T27" fmla="*/ 46 h 71"/>
                  <a:gd name="T28" fmla="*/ 156 w 263"/>
                  <a:gd name="T29" fmla="*/ 20 h 71"/>
                  <a:gd name="T30" fmla="*/ 154 w 263"/>
                  <a:gd name="T31" fmla="*/ 46 h 71"/>
                  <a:gd name="T32" fmla="*/ 173 w 263"/>
                  <a:gd name="T33" fmla="*/ 22 h 71"/>
                  <a:gd name="T34" fmla="*/ 171 w 263"/>
                  <a:gd name="T35" fmla="*/ 49 h 71"/>
                  <a:gd name="T36" fmla="*/ 180 w 263"/>
                  <a:gd name="T37" fmla="*/ 19 h 71"/>
                  <a:gd name="T38" fmla="*/ 164 w 263"/>
                  <a:gd name="T39" fmla="*/ 18 h 71"/>
                  <a:gd name="T40" fmla="*/ 148 w 263"/>
                  <a:gd name="T41" fmla="*/ 19 h 71"/>
                  <a:gd name="T42" fmla="*/ 131 w 263"/>
                  <a:gd name="T43" fmla="*/ 39 h 71"/>
                  <a:gd name="T44" fmla="*/ 145 w 263"/>
                  <a:gd name="T45" fmla="*/ 16 h 71"/>
                  <a:gd name="T46" fmla="*/ 142 w 263"/>
                  <a:gd name="T47" fmla="*/ 3 h 71"/>
                  <a:gd name="T48" fmla="*/ 148 w 263"/>
                  <a:gd name="T49" fmla="*/ 13 h 71"/>
                  <a:gd name="T50" fmla="*/ 120 w 263"/>
                  <a:gd name="T51" fmla="*/ 16 h 71"/>
                  <a:gd name="T52" fmla="*/ 119 w 263"/>
                  <a:gd name="T53" fmla="*/ 19 h 71"/>
                  <a:gd name="T54" fmla="*/ 95 w 263"/>
                  <a:gd name="T55" fmla="*/ 39 h 71"/>
                  <a:gd name="T56" fmla="*/ 113 w 263"/>
                  <a:gd name="T57" fmla="*/ 19 h 71"/>
                  <a:gd name="T58" fmla="*/ 106 w 263"/>
                  <a:gd name="T59" fmla="*/ 18 h 71"/>
                  <a:gd name="T60" fmla="*/ 106 w 263"/>
                  <a:gd name="T61" fmla="*/ 18 h 71"/>
                  <a:gd name="T62" fmla="*/ 26 w 263"/>
                  <a:gd name="T63" fmla="*/ 18 h 71"/>
                  <a:gd name="T64" fmla="*/ 46 w 263"/>
                  <a:gd name="T65" fmla="*/ 17 h 71"/>
                  <a:gd name="T66" fmla="*/ 29 w 263"/>
                  <a:gd name="T67" fmla="*/ 56 h 71"/>
                  <a:gd name="T68" fmla="*/ 61 w 263"/>
                  <a:gd name="T69" fmla="*/ 5 h 71"/>
                  <a:gd name="T70" fmla="*/ 83 w 263"/>
                  <a:gd name="T71" fmla="*/ 0 h 71"/>
                  <a:gd name="T72" fmla="*/ 20 w 263"/>
                  <a:gd name="T73" fmla="*/ 14 h 71"/>
                  <a:gd name="T74" fmla="*/ 238 w 263"/>
                  <a:gd name="T75" fmla="*/ 19 h 71"/>
                  <a:gd name="T76" fmla="*/ 220 w 263"/>
                  <a:gd name="T77" fmla="*/ 40 h 71"/>
                  <a:gd name="T78" fmla="*/ 183 w 263"/>
                  <a:gd name="T79" fmla="*/ 46 h 71"/>
                  <a:gd name="T80" fmla="*/ 213 w 263"/>
                  <a:gd name="T81" fmla="*/ 40 h 71"/>
                  <a:gd name="T82" fmla="*/ 230 w 263"/>
                  <a:gd name="T83" fmla="*/ 39 h 71"/>
                  <a:gd name="T84" fmla="*/ 236 w 263"/>
                  <a:gd name="T85" fmla="*/ 49 h 71"/>
                  <a:gd name="T86" fmla="*/ 239 w 263"/>
                  <a:gd name="T87" fmla="*/ 16 h 71"/>
                  <a:gd name="T88" fmla="*/ 212 w 263"/>
                  <a:gd name="T89" fmla="*/ 38 h 71"/>
                  <a:gd name="T90" fmla="*/ 213 w 263"/>
                  <a:gd name="T91" fmla="*/ 18 h 71"/>
                  <a:gd name="T92" fmla="*/ 214 w 263"/>
                  <a:gd name="T93" fmla="*/ 25 h 71"/>
                  <a:gd name="T94" fmla="*/ 201 w 263"/>
                  <a:gd name="T95" fmla="*/ 22 h 71"/>
                  <a:gd name="T96" fmla="*/ 185 w 263"/>
                  <a:gd name="T97" fmla="*/ 41 h 71"/>
                  <a:gd name="T98" fmla="*/ 189 w 263"/>
                  <a:gd name="T99" fmla="*/ 17 h 71"/>
                  <a:gd name="T100" fmla="*/ 178 w 263"/>
                  <a:gd name="T101" fmla="*/ 42 h 71"/>
                  <a:gd name="T102" fmla="*/ 197 w 263"/>
                  <a:gd name="T103" fmla="*/ 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3" h="71">
                    <a:moveTo>
                      <a:pt x="131" y="68"/>
                    </a:moveTo>
                    <a:cubicBezTo>
                      <a:pt x="66" y="68"/>
                      <a:pt x="0" y="69"/>
                      <a:pt x="0" y="70"/>
                    </a:cubicBezTo>
                    <a:cubicBezTo>
                      <a:pt x="0" y="71"/>
                      <a:pt x="66" y="71"/>
                      <a:pt x="131" y="71"/>
                    </a:cubicBezTo>
                    <a:cubicBezTo>
                      <a:pt x="197" y="71"/>
                      <a:pt x="263" y="71"/>
                      <a:pt x="263" y="70"/>
                    </a:cubicBezTo>
                    <a:cubicBezTo>
                      <a:pt x="263" y="69"/>
                      <a:pt x="197" y="68"/>
                      <a:pt x="131" y="68"/>
                    </a:cubicBezTo>
                    <a:moveTo>
                      <a:pt x="77" y="32"/>
                    </a:moveTo>
                    <a:cubicBezTo>
                      <a:pt x="73" y="37"/>
                      <a:pt x="68" y="42"/>
                      <a:pt x="63" y="43"/>
                    </a:cubicBezTo>
                    <a:cubicBezTo>
                      <a:pt x="61" y="43"/>
                      <a:pt x="60" y="41"/>
                      <a:pt x="60" y="39"/>
                    </a:cubicBezTo>
                    <a:cubicBezTo>
                      <a:pt x="60" y="38"/>
                      <a:pt x="61" y="36"/>
                      <a:pt x="61" y="35"/>
                    </a:cubicBezTo>
                    <a:cubicBezTo>
                      <a:pt x="65" y="33"/>
                      <a:pt x="70" y="30"/>
                      <a:pt x="74" y="26"/>
                    </a:cubicBezTo>
                    <a:cubicBezTo>
                      <a:pt x="76" y="24"/>
                      <a:pt x="78" y="21"/>
                      <a:pt x="78" y="19"/>
                    </a:cubicBezTo>
                    <a:cubicBezTo>
                      <a:pt x="78" y="16"/>
                      <a:pt x="76" y="15"/>
                      <a:pt x="73" y="15"/>
                    </a:cubicBezTo>
                    <a:cubicBezTo>
                      <a:pt x="69" y="15"/>
                      <a:pt x="64" y="18"/>
                      <a:pt x="61" y="22"/>
                    </a:cubicBezTo>
                    <a:cubicBezTo>
                      <a:pt x="56" y="26"/>
                      <a:pt x="53" y="33"/>
                      <a:pt x="53" y="39"/>
                    </a:cubicBezTo>
                    <a:cubicBezTo>
                      <a:pt x="53" y="43"/>
                      <a:pt x="55" y="46"/>
                      <a:pt x="60" y="46"/>
                    </a:cubicBezTo>
                    <a:cubicBezTo>
                      <a:pt x="66" y="46"/>
                      <a:pt x="72" y="42"/>
                      <a:pt x="75" y="38"/>
                    </a:cubicBezTo>
                    <a:cubicBezTo>
                      <a:pt x="74" y="40"/>
                      <a:pt x="74" y="41"/>
                      <a:pt x="74" y="42"/>
                    </a:cubicBezTo>
                    <a:cubicBezTo>
                      <a:pt x="74" y="46"/>
                      <a:pt x="76" y="48"/>
                      <a:pt x="80" y="50"/>
                    </a:cubicBezTo>
                    <a:cubicBezTo>
                      <a:pt x="80" y="49"/>
                      <a:pt x="80" y="49"/>
                      <a:pt x="80" y="49"/>
                    </a:cubicBezTo>
                    <a:cubicBezTo>
                      <a:pt x="80" y="48"/>
                      <a:pt x="80" y="47"/>
                      <a:pt x="80" y="46"/>
                    </a:cubicBezTo>
                    <a:cubicBezTo>
                      <a:pt x="80" y="42"/>
                      <a:pt x="82" y="38"/>
                      <a:pt x="84" y="33"/>
                    </a:cubicBezTo>
                    <a:cubicBezTo>
                      <a:pt x="88" y="23"/>
                      <a:pt x="94" y="11"/>
                      <a:pt x="97" y="4"/>
                    </a:cubicBezTo>
                    <a:cubicBezTo>
                      <a:pt x="90" y="5"/>
                      <a:pt x="90" y="5"/>
                      <a:pt x="90" y="5"/>
                    </a:cubicBezTo>
                    <a:cubicBezTo>
                      <a:pt x="89" y="6"/>
                      <a:pt x="89" y="6"/>
                      <a:pt x="89" y="7"/>
                    </a:cubicBezTo>
                    <a:cubicBezTo>
                      <a:pt x="86" y="13"/>
                      <a:pt x="82" y="20"/>
                      <a:pt x="79" y="29"/>
                    </a:cubicBezTo>
                    <a:cubicBezTo>
                      <a:pt x="78" y="30"/>
                      <a:pt x="78" y="31"/>
                      <a:pt x="77" y="32"/>
                    </a:cubicBezTo>
                    <a:moveTo>
                      <a:pt x="71" y="18"/>
                    </a:moveTo>
                    <a:cubicBezTo>
                      <a:pt x="72" y="18"/>
                      <a:pt x="73" y="19"/>
                      <a:pt x="73" y="20"/>
                    </a:cubicBezTo>
                    <a:cubicBezTo>
                      <a:pt x="73" y="24"/>
                      <a:pt x="68" y="29"/>
                      <a:pt x="61" y="32"/>
                    </a:cubicBezTo>
                    <a:cubicBezTo>
                      <a:pt x="63" y="26"/>
                      <a:pt x="67" y="18"/>
                      <a:pt x="71" y="18"/>
                    </a:cubicBezTo>
                    <a:moveTo>
                      <a:pt x="95" y="22"/>
                    </a:moveTo>
                    <a:cubicBezTo>
                      <a:pt x="91" y="26"/>
                      <a:pt x="88" y="33"/>
                      <a:pt x="88" y="39"/>
                    </a:cubicBezTo>
                    <a:cubicBezTo>
                      <a:pt x="88" y="43"/>
                      <a:pt x="90" y="46"/>
                      <a:pt x="95" y="46"/>
                    </a:cubicBezTo>
                    <a:cubicBezTo>
                      <a:pt x="101" y="46"/>
                      <a:pt x="107" y="43"/>
                      <a:pt x="112" y="38"/>
                    </a:cubicBezTo>
                    <a:cubicBezTo>
                      <a:pt x="110" y="41"/>
                      <a:pt x="109" y="44"/>
                      <a:pt x="109" y="45"/>
                    </a:cubicBezTo>
                    <a:cubicBezTo>
                      <a:pt x="107" y="49"/>
                      <a:pt x="106" y="53"/>
                      <a:pt x="103" y="55"/>
                    </a:cubicBezTo>
                    <a:cubicBezTo>
                      <a:pt x="103" y="55"/>
                      <a:pt x="103" y="55"/>
                      <a:pt x="103" y="55"/>
                    </a:cubicBezTo>
                    <a:cubicBezTo>
                      <a:pt x="111" y="56"/>
                      <a:pt x="114" y="50"/>
                      <a:pt x="117" y="41"/>
                    </a:cubicBezTo>
                    <a:cubicBezTo>
                      <a:pt x="121" y="32"/>
                      <a:pt x="123" y="25"/>
                      <a:pt x="126" y="19"/>
                    </a:cubicBezTo>
                    <a:cubicBezTo>
                      <a:pt x="129" y="19"/>
                      <a:pt x="134" y="19"/>
                      <a:pt x="137" y="19"/>
                    </a:cubicBezTo>
                    <a:cubicBezTo>
                      <a:pt x="130" y="22"/>
                      <a:pt x="123" y="33"/>
                      <a:pt x="124" y="41"/>
                    </a:cubicBezTo>
                    <a:cubicBezTo>
                      <a:pt x="124" y="44"/>
                      <a:pt x="126" y="46"/>
                      <a:pt x="131" y="46"/>
                    </a:cubicBezTo>
                    <a:cubicBezTo>
                      <a:pt x="139" y="46"/>
                      <a:pt x="146" y="37"/>
                      <a:pt x="149" y="30"/>
                    </a:cubicBezTo>
                    <a:cubicBezTo>
                      <a:pt x="150" y="27"/>
                      <a:pt x="151" y="23"/>
                      <a:pt x="151" y="20"/>
                    </a:cubicBezTo>
                    <a:cubicBezTo>
                      <a:pt x="153" y="20"/>
                      <a:pt x="155" y="20"/>
                      <a:pt x="156" y="20"/>
                    </a:cubicBezTo>
                    <a:cubicBezTo>
                      <a:pt x="158" y="19"/>
                      <a:pt x="157" y="21"/>
                      <a:pt x="157" y="23"/>
                    </a:cubicBezTo>
                    <a:cubicBezTo>
                      <a:pt x="154" y="32"/>
                      <a:pt x="148" y="46"/>
                      <a:pt x="148" y="46"/>
                    </a:cubicBezTo>
                    <a:cubicBezTo>
                      <a:pt x="154" y="46"/>
                      <a:pt x="154" y="46"/>
                      <a:pt x="154" y="46"/>
                    </a:cubicBezTo>
                    <a:cubicBezTo>
                      <a:pt x="157" y="40"/>
                      <a:pt x="159" y="36"/>
                      <a:pt x="161" y="32"/>
                    </a:cubicBezTo>
                    <a:cubicBezTo>
                      <a:pt x="163" y="28"/>
                      <a:pt x="169" y="20"/>
                      <a:pt x="172" y="20"/>
                    </a:cubicBezTo>
                    <a:cubicBezTo>
                      <a:pt x="173" y="20"/>
                      <a:pt x="173" y="21"/>
                      <a:pt x="173" y="22"/>
                    </a:cubicBezTo>
                    <a:cubicBezTo>
                      <a:pt x="172" y="25"/>
                      <a:pt x="165" y="37"/>
                      <a:pt x="165" y="43"/>
                    </a:cubicBezTo>
                    <a:cubicBezTo>
                      <a:pt x="165" y="46"/>
                      <a:pt x="167" y="49"/>
                      <a:pt x="170" y="50"/>
                    </a:cubicBezTo>
                    <a:cubicBezTo>
                      <a:pt x="171" y="49"/>
                      <a:pt x="171" y="49"/>
                      <a:pt x="171" y="49"/>
                    </a:cubicBezTo>
                    <a:cubicBezTo>
                      <a:pt x="171" y="48"/>
                      <a:pt x="171" y="47"/>
                      <a:pt x="171" y="46"/>
                    </a:cubicBezTo>
                    <a:cubicBezTo>
                      <a:pt x="171" y="42"/>
                      <a:pt x="174" y="35"/>
                      <a:pt x="175" y="33"/>
                    </a:cubicBezTo>
                    <a:cubicBezTo>
                      <a:pt x="177" y="28"/>
                      <a:pt x="181" y="22"/>
                      <a:pt x="180" y="19"/>
                    </a:cubicBezTo>
                    <a:cubicBezTo>
                      <a:pt x="180" y="17"/>
                      <a:pt x="179" y="16"/>
                      <a:pt x="176" y="16"/>
                    </a:cubicBezTo>
                    <a:cubicBezTo>
                      <a:pt x="171" y="16"/>
                      <a:pt x="166" y="21"/>
                      <a:pt x="161" y="28"/>
                    </a:cubicBezTo>
                    <a:cubicBezTo>
                      <a:pt x="163" y="24"/>
                      <a:pt x="164" y="20"/>
                      <a:pt x="164" y="18"/>
                    </a:cubicBezTo>
                    <a:cubicBezTo>
                      <a:pt x="164" y="17"/>
                      <a:pt x="163" y="16"/>
                      <a:pt x="161" y="16"/>
                    </a:cubicBezTo>
                    <a:cubicBezTo>
                      <a:pt x="160" y="16"/>
                      <a:pt x="158" y="16"/>
                      <a:pt x="156" y="17"/>
                    </a:cubicBezTo>
                    <a:cubicBezTo>
                      <a:pt x="154" y="18"/>
                      <a:pt x="151" y="18"/>
                      <a:pt x="148" y="19"/>
                    </a:cubicBezTo>
                    <a:cubicBezTo>
                      <a:pt x="146" y="19"/>
                      <a:pt x="145" y="20"/>
                      <a:pt x="145" y="20"/>
                    </a:cubicBezTo>
                    <a:cubicBezTo>
                      <a:pt x="146" y="30"/>
                      <a:pt x="139" y="43"/>
                      <a:pt x="134" y="43"/>
                    </a:cubicBezTo>
                    <a:cubicBezTo>
                      <a:pt x="132" y="43"/>
                      <a:pt x="131" y="41"/>
                      <a:pt x="131" y="39"/>
                    </a:cubicBezTo>
                    <a:cubicBezTo>
                      <a:pt x="131" y="32"/>
                      <a:pt x="137" y="20"/>
                      <a:pt x="143" y="18"/>
                    </a:cubicBezTo>
                    <a:cubicBezTo>
                      <a:pt x="144" y="18"/>
                      <a:pt x="144" y="18"/>
                      <a:pt x="145" y="18"/>
                    </a:cubicBezTo>
                    <a:cubicBezTo>
                      <a:pt x="145" y="16"/>
                      <a:pt x="145" y="16"/>
                      <a:pt x="145" y="16"/>
                    </a:cubicBezTo>
                    <a:cubicBezTo>
                      <a:pt x="144" y="16"/>
                      <a:pt x="141" y="16"/>
                      <a:pt x="140" y="16"/>
                    </a:cubicBezTo>
                    <a:cubicBezTo>
                      <a:pt x="138" y="16"/>
                      <a:pt x="127" y="16"/>
                      <a:pt x="127" y="16"/>
                    </a:cubicBezTo>
                    <a:cubicBezTo>
                      <a:pt x="130" y="8"/>
                      <a:pt x="135" y="3"/>
                      <a:pt x="142" y="3"/>
                    </a:cubicBezTo>
                    <a:cubicBezTo>
                      <a:pt x="146" y="3"/>
                      <a:pt x="149" y="4"/>
                      <a:pt x="149" y="7"/>
                    </a:cubicBezTo>
                    <a:cubicBezTo>
                      <a:pt x="149" y="9"/>
                      <a:pt x="149" y="10"/>
                      <a:pt x="147" y="12"/>
                    </a:cubicBezTo>
                    <a:cubicBezTo>
                      <a:pt x="148" y="13"/>
                      <a:pt x="148" y="13"/>
                      <a:pt x="148" y="13"/>
                    </a:cubicBezTo>
                    <a:cubicBezTo>
                      <a:pt x="151" y="11"/>
                      <a:pt x="154" y="8"/>
                      <a:pt x="154" y="6"/>
                    </a:cubicBezTo>
                    <a:cubicBezTo>
                      <a:pt x="154" y="3"/>
                      <a:pt x="150" y="1"/>
                      <a:pt x="144" y="1"/>
                    </a:cubicBezTo>
                    <a:cubicBezTo>
                      <a:pt x="136" y="1"/>
                      <a:pt x="127" y="3"/>
                      <a:pt x="120" y="16"/>
                    </a:cubicBezTo>
                    <a:cubicBezTo>
                      <a:pt x="118" y="17"/>
                      <a:pt x="116" y="17"/>
                      <a:pt x="114" y="19"/>
                    </a:cubicBezTo>
                    <a:cubicBezTo>
                      <a:pt x="115" y="20"/>
                      <a:pt x="115" y="20"/>
                      <a:pt x="115" y="20"/>
                    </a:cubicBezTo>
                    <a:cubicBezTo>
                      <a:pt x="116" y="19"/>
                      <a:pt x="117" y="19"/>
                      <a:pt x="119" y="19"/>
                    </a:cubicBezTo>
                    <a:cubicBezTo>
                      <a:pt x="118" y="22"/>
                      <a:pt x="116" y="26"/>
                      <a:pt x="114" y="32"/>
                    </a:cubicBezTo>
                    <a:cubicBezTo>
                      <a:pt x="108" y="39"/>
                      <a:pt x="103" y="42"/>
                      <a:pt x="98" y="43"/>
                    </a:cubicBezTo>
                    <a:cubicBezTo>
                      <a:pt x="96" y="43"/>
                      <a:pt x="95" y="41"/>
                      <a:pt x="95" y="39"/>
                    </a:cubicBezTo>
                    <a:cubicBezTo>
                      <a:pt x="95" y="38"/>
                      <a:pt x="95" y="36"/>
                      <a:pt x="96" y="35"/>
                    </a:cubicBezTo>
                    <a:cubicBezTo>
                      <a:pt x="100" y="33"/>
                      <a:pt x="105" y="30"/>
                      <a:pt x="109" y="26"/>
                    </a:cubicBezTo>
                    <a:cubicBezTo>
                      <a:pt x="111" y="24"/>
                      <a:pt x="113" y="21"/>
                      <a:pt x="113" y="19"/>
                    </a:cubicBezTo>
                    <a:cubicBezTo>
                      <a:pt x="113" y="16"/>
                      <a:pt x="111" y="15"/>
                      <a:pt x="108" y="15"/>
                    </a:cubicBezTo>
                    <a:cubicBezTo>
                      <a:pt x="104" y="15"/>
                      <a:pt x="99" y="18"/>
                      <a:pt x="95" y="22"/>
                    </a:cubicBezTo>
                    <a:moveTo>
                      <a:pt x="106" y="18"/>
                    </a:moveTo>
                    <a:cubicBezTo>
                      <a:pt x="107" y="18"/>
                      <a:pt x="108" y="19"/>
                      <a:pt x="108" y="20"/>
                    </a:cubicBezTo>
                    <a:cubicBezTo>
                      <a:pt x="108" y="24"/>
                      <a:pt x="103" y="29"/>
                      <a:pt x="96" y="32"/>
                    </a:cubicBezTo>
                    <a:cubicBezTo>
                      <a:pt x="98" y="26"/>
                      <a:pt x="102" y="18"/>
                      <a:pt x="106" y="18"/>
                    </a:cubicBezTo>
                    <a:moveTo>
                      <a:pt x="26" y="22"/>
                    </a:moveTo>
                    <a:cubicBezTo>
                      <a:pt x="27" y="22"/>
                      <a:pt x="27" y="22"/>
                      <a:pt x="27" y="22"/>
                    </a:cubicBezTo>
                    <a:cubicBezTo>
                      <a:pt x="26" y="21"/>
                      <a:pt x="26" y="19"/>
                      <a:pt x="26" y="18"/>
                    </a:cubicBezTo>
                    <a:cubicBezTo>
                      <a:pt x="26" y="10"/>
                      <a:pt x="35" y="5"/>
                      <a:pt x="49" y="5"/>
                    </a:cubicBezTo>
                    <a:cubicBezTo>
                      <a:pt x="57" y="5"/>
                      <a:pt x="57" y="5"/>
                      <a:pt x="57" y="5"/>
                    </a:cubicBezTo>
                    <a:cubicBezTo>
                      <a:pt x="52" y="7"/>
                      <a:pt x="49" y="11"/>
                      <a:pt x="46" y="17"/>
                    </a:cubicBezTo>
                    <a:cubicBezTo>
                      <a:pt x="44" y="20"/>
                      <a:pt x="38" y="35"/>
                      <a:pt x="36" y="42"/>
                    </a:cubicBezTo>
                    <a:cubicBezTo>
                      <a:pt x="33" y="50"/>
                      <a:pt x="31" y="53"/>
                      <a:pt x="29" y="55"/>
                    </a:cubicBezTo>
                    <a:cubicBezTo>
                      <a:pt x="29" y="56"/>
                      <a:pt x="29" y="56"/>
                      <a:pt x="29" y="56"/>
                    </a:cubicBezTo>
                    <a:cubicBezTo>
                      <a:pt x="36" y="56"/>
                      <a:pt x="40" y="53"/>
                      <a:pt x="42" y="46"/>
                    </a:cubicBezTo>
                    <a:cubicBezTo>
                      <a:pt x="45" y="40"/>
                      <a:pt x="48" y="31"/>
                      <a:pt x="50" y="27"/>
                    </a:cubicBezTo>
                    <a:cubicBezTo>
                      <a:pt x="55" y="13"/>
                      <a:pt x="57" y="8"/>
                      <a:pt x="61" y="5"/>
                    </a:cubicBezTo>
                    <a:cubicBezTo>
                      <a:pt x="73" y="5"/>
                      <a:pt x="73" y="5"/>
                      <a:pt x="73" y="5"/>
                    </a:cubicBezTo>
                    <a:cubicBezTo>
                      <a:pt x="79" y="5"/>
                      <a:pt x="81" y="3"/>
                      <a:pt x="83" y="1"/>
                    </a:cubicBezTo>
                    <a:cubicBezTo>
                      <a:pt x="83" y="0"/>
                      <a:pt x="83" y="0"/>
                      <a:pt x="83" y="0"/>
                    </a:cubicBezTo>
                    <a:cubicBezTo>
                      <a:pt x="81" y="1"/>
                      <a:pt x="78" y="1"/>
                      <a:pt x="75" y="1"/>
                    </a:cubicBezTo>
                    <a:cubicBezTo>
                      <a:pt x="47" y="1"/>
                      <a:pt x="47" y="1"/>
                      <a:pt x="47" y="1"/>
                    </a:cubicBezTo>
                    <a:cubicBezTo>
                      <a:pt x="32" y="1"/>
                      <a:pt x="22" y="6"/>
                      <a:pt x="20" y="14"/>
                    </a:cubicBezTo>
                    <a:cubicBezTo>
                      <a:pt x="20" y="17"/>
                      <a:pt x="22" y="21"/>
                      <a:pt x="26" y="22"/>
                    </a:cubicBezTo>
                    <a:moveTo>
                      <a:pt x="233" y="19"/>
                    </a:moveTo>
                    <a:cubicBezTo>
                      <a:pt x="235" y="18"/>
                      <a:pt x="236" y="18"/>
                      <a:pt x="238" y="19"/>
                    </a:cubicBezTo>
                    <a:cubicBezTo>
                      <a:pt x="237" y="20"/>
                      <a:pt x="235" y="24"/>
                      <a:pt x="233" y="28"/>
                    </a:cubicBezTo>
                    <a:cubicBezTo>
                      <a:pt x="230" y="34"/>
                      <a:pt x="226" y="41"/>
                      <a:pt x="222" y="42"/>
                    </a:cubicBezTo>
                    <a:cubicBezTo>
                      <a:pt x="221" y="42"/>
                      <a:pt x="220" y="42"/>
                      <a:pt x="220" y="40"/>
                    </a:cubicBezTo>
                    <a:cubicBezTo>
                      <a:pt x="220" y="35"/>
                      <a:pt x="227" y="22"/>
                      <a:pt x="233" y="19"/>
                    </a:cubicBezTo>
                    <a:moveTo>
                      <a:pt x="178" y="42"/>
                    </a:moveTo>
                    <a:cubicBezTo>
                      <a:pt x="178" y="45"/>
                      <a:pt x="180" y="46"/>
                      <a:pt x="183" y="46"/>
                    </a:cubicBezTo>
                    <a:cubicBezTo>
                      <a:pt x="187" y="46"/>
                      <a:pt x="190" y="44"/>
                      <a:pt x="193" y="41"/>
                    </a:cubicBezTo>
                    <a:cubicBezTo>
                      <a:pt x="194" y="44"/>
                      <a:pt x="196" y="47"/>
                      <a:pt x="201" y="46"/>
                    </a:cubicBezTo>
                    <a:cubicBezTo>
                      <a:pt x="205" y="46"/>
                      <a:pt x="210" y="43"/>
                      <a:pt x="213" y="40"/>
                    </a:cubicBezTo>
                    <a:cubicBezTo>
                      <a:pt x="213" y="40"/>
                      <a:pt x="213" y="41"/>
                      <a:pt x="213" y="41"/>
                    </a:cubicBezTo>
                    <a:cubicBezTo>
                      <a:pt x="213" y="44"/>
                      <a:pt x="215" y="46"/>
                      <a:pt x="218" y="46"/>
                    </a:cubicBezTo>
                    <a:cubicBezTo>
                      <a:pt x="222" y="46"/>
                      <a:pt x="227" y="43"/>
                      <a:pt x="230" y="39"/>
                    </a:cubicBezTo>
                    <a:cubicBezTo>
                      <a:pt x="230" y="40"/>
                      <a:pt x="230" y="42"/>
                      <a:pt x="229" y="43"/>
                    </a:cubicBezTo>
                    <a:cubicBezTo>
                      <a:pt x="229" y="47"/>
                      <a:pt x="232" y="49"/>
                      <a:pt x="235" y="50"/>
                    </a:cubicBezTo>
                    <a:cubicBezTo>
                      <a:pt x="236" y="49"/>
                      <a:pt x="236" y="49"/>
                      <a:pt x="236" y="49"/>
                    </a:cubicBezTo>
                    <a:cubicBezTo>
                      <a:pt x="234" y="47"/>
                      <a:pt x="236" y="40"/>
                      <a:pt x="237" y="38"/>
                    </a:cubicBezTo>
                    <a:cubicBezTo>
                      <a:pt x="239" y="30"/>
                      <a:pt x="243" y="22"/>
                      <a:pt x="245" y="17"/>
                    </a:cubicBezTo>
                    <a:cubicBezTo>
                      <a:pt x="244" y="16"/>
                      <a:pt x="242" y="16"/>
                      <a:pt x="239" y="16"/>
                    </a:cubicBezTo>
                    <a:cubicBezTo>
                      <a:pt x="231" y="16"/>
                      <a:pt x="223" y="19"/>
                      <a:pt x="217" y="29"/>
                    </a:cubicBezTo>
                    <a:cubicBezTo>
                      <a:pt x="216" y="31"/>
                      <a:pt x="215" y="33"/>
                      <a:pt x="214" y="35"/>
                    </a:cubicBezTo>
                    <a:cubicBezTo>
                      <a:pt x="213" y="36"/>
                      <a:pt x="212" y="37"/>
                      <a:pt x="212" y="38"/>
                    </a:cubicBezTo>
                    <a:cubicBezTo>
                      <a:pt x="210" y="40"/>
                      <a:pt x="207" y="42"/>
                      <a:pt x="204" y="42"/>
                    </a:cubicBezTo>
                    <a:cubicBezTo>
                      <a:pt x="202" y="42"/>
                      <a:pt x="201" y="41"/>
                      <a:pt x="201" y="39"/>
                    </a:cubicBezTo>
                    <a:cubicBezTo>
                      <a:pt x="201" y="31"/>
                      <a:pt x="208" y="18"/>
                      <a:pt x="213" y="18"/>
                    </a:cubicBezTo>
                    <a:cubicBezTo>
                      <a:pt x="215" y="18"/>
                      <a:pt x="215" y="19"/>
                      <a:pt x="215" y="20"/>
                    </a:cubicBezTo>
                    <a:cubicBezTo>
                      <a:pt x="215" y="21"/>
                      <a:pt x="214" y="23"/>
                      <a:pt x="213" y="24"/>
                    </a:cubicBezTo>
                    <a:cubicBezTo>
                      <a:pt x="214" y="25"/>
                      <a:pt x="214" y="25"/>
                      <a:pt x="214" y="25"/>
                    </a:cubicBezTo>
                    <a:cubicBezTo>
                      <a:pt x="217" y="24"/>
                      <a:pt x="220" y="21"/>
                      <a:pt x="220" y="19"/>
                    </a:cubicBezTo>
                    <a:cubicBezTo>
                      <a:pt x="220" y="16"/>
                      <a:pt x="217" y="15"/>
                      <a:pt x="214" y="16"/>
                    </a:cubicBezTo>
                    <a:cubicBezTo>
                      <a:pt x="210" y="16"/>
                      <a:pt x="205" y="17"/>
                      <a:pt x="201" y="22"/>
                    </a:cubicBezTo>
                    <a:cubicBezTo>
                      <a:pt x="196" y="27"/>
                      <a:pt x="194" y="33"/>
                      <a:pt x="193" y="38"/>
                    </a:cubicBezTo>
                    <a:cubicBezTo>
                      <a:pt x="191" y="40"/>
                      <a:pt x="189" y="42"/>
                      <a:pt x="187" y="42"/>
                    </a:cubicBezTo>
                    <a:cubicBezTo>
                      <a:pt x="186" y="42"/>
                      <a:pt x="185" y="42"/>
                      <a:pt x="185" y="41"/>
                    </a:cubicBezTo>
                    <a:cubicBezTo>
                      <a:pt x="185" y="40"/>
                      <a:pt x="186" y="38"/>
                      <a:pt x="187" y="36"/>
                    </a:cubicBezTo>
                    <a:cubicBezTo>
                      <a:pt x="189" y="31"/>
                      <a:pt x="192" y="24"/>
                      <a:pt x="196" y="16"/>
                    </a:cubicBezTo>
                    <a:cubicBezTo>
                      <a:pt x="196" y="16"/>
                      <a:pt x="190" y="17"/>
                      <a:pt x="189" y="17"/>
                    </a:cubicBezTo>
                    <a:cubicBezTo>
                      <a:pt x="188" y="17"/>
                      <a:pt x="188" y="18"/>
                      <a:pt x="187" y="19"/>
                    </a:cubicBezTo>
                    <a:cubicBezTo>
                      <a:pt x="185" y="24"/>
                      <a:pt x="182" y="30"/>
                      <a:pt x="180" y="35"/>
                    </a:cubicBezTo>
                    <a:cubicBezTo>
                      <a:pt x="179" y="38"/>
                      <a:pt x="178" y="40"/>
                      <a:pt x="178" y="42"/>
                    </a:cubicBezTo>
                    <a:moveTo>
                      <a:pt x="196" y="11"/>
                    </a:moveTo>
                    <a:cubicBezTo>
                      <a:pt x="198" y="11"/>
                      <a:pt x="200" y="10"/>
                      <a:pt x="200" y="8"/>
                    </a:cubicBezTo>
                    <a:cubicBezTo>
                      <a:pt x="200" y="6"/>
                      <a:pt x="199" y="4"/>
                      <a:pt x="197" y="4"/>
                    </a:cubicBezTo>
                    <a:cubicBezTo>
                      <a:pt x="196" y="4"/>
                      <a:pt x="194" y="6"/>
                      <a:pt x="193" y="8"/>
                    </a:cubicBezTo>
                    <a:cubicBezTo>
                      <a:pt x="193" y="10"/>
                      <a:pt x="194" y="11"/>
                      <a:pt x="196" y="11"/>
                    </a:cubicBezTo>
                  </a:path>
                </a:pathLst>
              </a:custGeom>
              <a:solidFill>
                <a:srgbClr val="1C5BA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 name="Freeform 13"/>
              <p:cNvSpPr>
                <a:spLocks/>
              </p:cNvSpPr>
              <p:nvPr/>
            </p:nvSpPr>
            <p:spPr bwMode="auto">
              <a:xfrm>
                <a:off x="2861" y="1688"/>
                <a:ext cx="31" cy="61"/>
              </a:xfrm>
              <a:custGeom>
                <a:avLst/>
                <a:gdLst>
                  <a:gd name="T0" fmla="*/ 13 w 13"/>
                  <a:gd name="T1" fmla="*/ 25 h 26"/>
                  <a:gd name="T2" fmla="*/ 9 w 13"/>
                  <a:gd name="T3" fmla="*/ 26 h 26"/>
                  <a:gd name="T4" fmla="*/ 4 w 13"/>
                  <a:gd name="T5" fmla="*/ 24 h 26"/>
                  <a:gd name="T6" fmla="*/ 3 w 13"/>
                  <a:gd name="T7" fmla="*/ 19 h 26"/>
                  <a:gd name="T8" fmla="*/ 3 w 13"/>
                  <a:gd name="T9" fmla="*/ 8 h 26"/>
                  <a:gd name="T10" fmla="*/ 1 w 13"/>
                  <a:gd name="T11" fmla="*/ 8 h 26"/>
                  <a:gd name="T12" fmla="*/ 0 w 13"/>
                  <a:gd name="T13" fmla="*/ 7 h 26"/>
                  <a:gd name="T14" fmla="*/ 0 w 13"/>
                  <a:gd name="T15" fmla="*/ 6 h 26"/>
                  <a:gd name="T16" fmla="*/ 1 w 13"/>
                  <a:gd name="T17" fmla="*/ 6 h 26"/>
                  <a:gd name="T18" fmla="*/ 3 w 13"/>
                  <a:gd name="T19" fmla="*/ 6 h 26"/>
                  <a:gd name="T20" fmla="*/ 3 w 13"/>
                  <a:gd name="T21" fmla="*/ 1 h 26"/>
                  <a:gd name="T22" fmla="*/ 4 w 13"/>
                  <a:gd name="T23" fmla="*/ 0 h 26"/>
                  <a:gd name="T24" fmla="*/ 6 w 13"/>
                  <a:gd name="T25" fmla="*/ 0 h 26"/>
                  <a:gd name="T26" fmla="*/ 6 w 13"/>
                  <a:gd name="T27" fmla="*/ 0 h 26"/>
                  <a:gd name="T28" fmla="*/ 7 w 13"/>
                  <a:gd name="T29" fmla="*/ 0 h 26"/>
                  <a:gd name="T30" fmla="*/ 7 w 13"/>
                  <a:gd name="T31" fmla="*/ 6 h 26"/>
                  <a:gd name="T32" fmla="*/ 11 w 13"/>
                  <a:gd name="T33" fmla="*/ 6 h 26"/>
                  <a:gd name="T34" fmla="*/ 12 w 13"/>
                  <a:gd name="T35" fmla="*/ 6 h 26"/>
                  <a:gd name="T36" fmla="*/ 12 w 13"/>
                  <a:gd name="T37" fmla="*/ 7 h 26"/>
                  <a:gd name="T38" fmla="*/ 11 w 13"/>
                  <a:gd name="T39" fmla="*/ 8 h 26"/>
                  <a:gd name="T40" fmla="*/ 7 w 13"/>
                  <a:gd name="T41" fmla="*/ 8 h 26"/>
                  <a:gd name="T42" fmla="*/ 7 w 13"/>
                  <a:gd name="T43" fmla="*/ 19 h 26"/>
                  <a:gd name="T44" fmla="*/ 7 w 13"/>
                  <a:gd name="T45" fmla="*/ 22 h 26"/>
                  <a:gd name="T46" fmla="*/ 10 w 13"/>
                  <a:gd name="T47" fmla="*/ 23 h 26"/>
                  <a:gd name="T48" fmla="*/ 12 w 13"/>
                  <a:gd name="T49" fmla="*/ 23 h 26"/>
                  <a:gd name="T50" fmla="*/ 12 w 13"/>
                  <a:gd name="T51" fmla="*/ 23 h 26"/>
                  <a:gd name="T52" fmla="*/ 13 w 13"/>
                  <a:gd name="T53" fmla="*/ 23 h 26"/>
                  <a:gd name="T54" fmla="*/ 13 w 13"/>
                  <a:gd name="T55" fmla="*/ 24 h 26"/>
                  <a:gd name="T56" fmla="*/ 13 w 13"/>
                  <a:gd name="T57" fmla="*/ 24 h 26"/>
                  <a:gd name="T58" fmla="*/ 13 w 13"/>
                  <a:gd name="T5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26">
                    <a:moveTo>
                      <a:pt x="13" y="25"/>
                    </a:moveTo>
                    <a:cubicBezTo>
                      <a:pt x="12" y="25"/>
                      <a:pt x="10" y="26"/>
                      <a:pt x="9" y="26"/>
                    </a:cubicBezTo>
                    <a:cubicBezTo>
                      <a:pt x="7" y="26"/>
                      <a:pt x="5" y="25"/>
                      <a:pt x="4" y="24"/>
                    </a:cubicBezTo>
                    <a:cubicBezTo>
                      <a:pt x="3" y="23"/>
                      <a:pt x="3" y="21"/>
                      <a:pt x="3" y="19"/>
                    </a:cubicBezTo>
                    <a:cubicBezTo>
                      <a:pt x="3" y="8"/>
                      <a:pt x="3" y="8"/>
                      <a:pt x="3" y="8"/>
                    </a:cubicBezTo>
                    <a:cubicBezTo>
                      <a:pt x="1" y="8"/>
                      <a:pt x="1" y="8"/>
                      <a:pt x="1" y="8"/>
                    </a:cubicBezTo>
                    <a:cubicBezTo>
                      <a:pt x="0" y="8"/>
                      <a:pt x="0" y="8"/>
                      <a:pt x="0" y="7"/>
                    </a:cubicBezTo>
                    <a:cubicBezTo>
                      <a:pt x="0" y="6"/>
                      <a:pt x="0" y="6"/>
                      <a:pt x="0" y="6"/>
                    </a:cubicBezTo>
                    <a:cubicBezTo>
                      <a:pt x="0" y="6"/>
                      <a:pt x="0" y="6"/>
                      <a:pt x="1" y="6"/>
                    </a:cubicBezTo>
                    <a:cubicBezTo>
                      <a:pt x="3" y="6"/>
                      <a:pt x="3" y="6"/>
                      <a:pt x="3" y="6"/>
                    </a:cubicBezTo>
                    <a:cubicBezTo>
                      <a:pt x="3" y="1"/>
                      <a:pt x="3" y="1"/>
                      <a:pt x="3" y="1"/>
                    </a:cubicBezTo>
                    <a:cubicBezTo>
                      <a:pt x="3" y="0"/>
                      <a:pt x="3" y="0"/>
                      <a:pt x="4" y="0"/>
                    </a:cubicBezTo>
                    <a:cubicBezTo>
                      <a:pt x="6" y="0"/>
                      <a:pt x="6" y="0"/>
                      <a:pt x="6" y="0"/>
                    </a:cubicBezTo>
                    <a:cubicBezTo>
                      <a:pt x="6" y="0"/>
                      <a:pt x="6" y="0"/>
                      <a:pt x="6" y="0"/>
                    </a:cubicBezTo>
                    <a:cubicBezTo>
                      <a:pt x="6" y="0"/>
                      <a:pt x="7" y="0"/>
                      <a:pt x="7" y="0"/>
                    </a:cubicBezTo>
                    <a:cubicBezTo>
                      <a:pt x="7" y="6"/>
                      <a:pt x="7" y="6"/>
                      <a:pt x="7" y="6"/>
                    </a:cubicBezTo>
                    <a:cubicBezTo>
                      <a:pt x="11" y="6"/>
                      <a:pt x="11" y="6"/>
                      <a:pt x="11" y="6"/>
                    </a:cubicBezTo>
                    <a:cubicBezTo>
                      <a:pt x="12" y="6"/>
                      <a:pt x="12" y="6"/>
                      <a:pt x="12" y="6"/>
                    </a:cubicBezTo>
                    <a:cubicBezTo>
                      <a:pt x="12" y="7"/>
                      <a:pt x="12" y="7"/>
                      <a:pt x="12" y="7"/>
                    </a:cubicBezTo>
                    <a:cubicBezTo>
                      <a:pt x="12" y="8"/>
                      <a:pt x="12" y="8"/>
                      <a:pt x="11" y="8"/>
                    </a:cubicBezTo>
                    <a:cubicBezTo>
                      <a:pt x="7" y="8"/>
                      <a:pt x="7" y="8"/>
                      <a:pt x="7" y="8"/>
                    </a:cubicBezTo>
                    <a:cubicBezTo>
                      <a:pt x="7" y="19"/>
                      <a:pt x="7" y="19"/>
                      <a:pt x="7" y="19"/>
                    </a:cubicBezTo>
                    <a:cubicBezTo>
                      <a:pt x="7" y="20"/>
                      <a:pt x="7" y="22"/>
                      <a:pt x="7" y="22"/>
                    </a:cubicBezTo>
                    <a:cubicBezTo>
                      <a:pt x="8" y="23"/>
                      <a:pt x="8" y="23"/>
                      <a:pt x="10" y="23"/>
                    </a:cubicBezTo>
                    <a:cubicBezTo>
                      <a:pt x="11" y="23"/>
                      <a:pt x="11" y="23"/>
                      <a:pt x="12" y="23"/>
                    </a:cubicBezTo>
                    <a:cubicBezTo>
                      <a:pt x="12" y="23"/>
                      <a:pt x="12" y="23"/>
                      <a:pt x="12" y="23"/>
                    </a:cubicBezTo>
                    <a:cubicBezTo>
                      <a:pt x="13" y="23"/>
                      <a:pt x="13" y="23"/>
                      <a:pt x="13" y="23"/>
                    </a:cubicBezTo>
                    <a:cubicBezTo>
                      <a:pt x="13" y="24"/>
                      <a:pt x="13" y="24"/>
                      <a:pt x="13" y="24"/>
                    </a:cubicBezTo>
                    <a:cubicBezTo>
                      <a:pt x="13" y="24"/>
                      <a:pt x="13" y="24"/>
                      <a:pt x="13" y="24"/>
                    </a:cubicBezTo>
                    <a:cubicBezTo>
                      <a:pt x="13" y="25"/>
                      <a:pt x="13" y="25"/>
                      <a:pt x="13" y="25"/>
                    </a:cubicBezTo>
                  </a:path>
                </a:pathLst>
              </a:custGeom>
              <a:solidFill>
                <a:srgbClr val="1C5BA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 name="Freeform 14"/>
              <p:cNvSpPr>
                <a:spLocks noEditPoints="1"/>
              </p:cNvSpPr>
              <p:nvPr/>
            </p:nvSpPr>
            <p:spPr bwMode="auto">
              <a:xfrm>
                <a:off x="2894" y="1700"/>
                <a:ext cx="45" cy="49"/>
              </a:xfrm>
              <a:custGeom>
                <a:avLst/>
                <a:gdLst>
                  <a:gd name="T0" fmla="*/ 16 w 19"/>
                  <a:gd name="T1" fmla="*/ 9 h 21"/>
                  <a:gd name="T2" fmla="*/ 4 w 19"/>
                  <a:gd name="T3" fmla="*/ 9 h 21"/>
                  <a:gd name="T4" fmla="*/ 11 w 19"/>
                  <a:gd name="T5" fmla="*/ 3 h 21"/>
                  <a:gd name="T6" fmla="*/ 16 w 19"/>
                  <a:gd name="T7" fmla="*/ 8 h 21"/>
                  <a:gd name="T8" fmla="*/ 16 w 19"/>
                  <a:gd name="T9" fmla="*/ 9 h 21"/>
                  <a:gd name="T10" fmla="*/ 19 w 19"/>
                  <a:gd name="T11" fmla="*/ 10 h 21"/>
                  <a:gd name="T12" fmla="*/ 19 w 19"/>
                  <a:gd name="T13" fmla="*/ 9 h 21"/>
                  <a:gd name="T14" fmla="*/ 17 w 19"/>
                  <a:gd name="T15" fmla="*/ 2 h 21"/>
                  <a:gd name="T16" fmla="*/ 11 w 19"/>
                  <a:gd name="T17" fmla="*/ 0 h 21"/>
                  <a:gd name="T18" fmla="*/ 0 w 19"/>
                  <a:gd name="T19" fmla="*/ 10 h 21"/>
                  <a:gd name="T20" fmla="*/ 11 w 19"/>
                  <a:gd name="T21" fmla="*/ 21 h 21"/>
                  <a:gd name="T22" fmla="*/ 18 w 19"/>
                  <a:gd name="T23" fmla="*/ 20 h 21"/>
                  <a:gd name="T24" fmla="*/ 18 w 19"/>
                  <a:gd name="T25" fmla="*/ 19 h 21"/>
                  <a:gd name="T26" fmla="*/ 18 w 19"/>
                  <a:gd name="T27" fmla="*/ 19 h 21"/>
                  <a:gd name="T28" fmla="*/ 18 w 19"/>
                  <a:gd name="T29" fmla="*/ 17 h 21"/>
                  <a:gd name="T30" fmla="*/ 17 w 19"/>
                  <a:gd name="T31" fmla="*/ 17 h 21"/>
                  <a:gd name="T32" fmla="*/ 17 w 19"/>
                  <a:gd name="T33" fmla="*/ 17 h 21"/>
                  <a:gd name="T34" fmla="*/ 11 w 19"/>
                  <a:gd name="T35" fmla="*/ 18 h 21"/>
                  <a:gd name="T36" fmla="*/ 4 w 19"/>
                  <a:gd name="T37" fmla="*/ 11 h 21"/>
                  <a:gd name="T38" fmla="*/ 18 w 19"/>
                  <a:gd name="T39" fmla="*/ 11 h 21"/>
                  <a:gd name="T40" fmla="*/ 19 w 19"/>
                  <a:gd name="T41"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16" y="9"/>
                    </a:moveTo>
                    <a:cubicBezTo>
                      <a:pt x="4" y="9"/>
                      <a:pt x="4" y="9"/>
                      <a:pt x="4" y="9"/>
                    </a:cubicBezTo>
                    <a:cubicBezTo>
                      <a:pt x="5" y="6"/>
                      <a:pt x="7" y="3"/>
                      <a:pt x="11" y="3"/>
                    </a:cubicBezTo>
                    <a:cubicBezTo>
                      <a:pt x="14" y="3"/>
                      <a:pt x="16" y="5"/>
                      <a:pt x="16" y="8"/>
                    </a:cubicBezTo>
                    <a:lnTo>
                      <a:pt x="16" y="9"/>
                    </a:lnTo>
                    <a:close/>
                    <a:moveTo>
                      <a:pt x="19" y="10"/>
                    </a:moveTo>
                    <a:cubicBezTo>
                      <a:pt x="19" y="9"/>
                      <a:pt x="19" y="9"/>
                      <a:pt x="19" y="9"/>
                    </a:cubicBezTo>
                    <a:cubicBezTo>
                      <a:pt x="19" y="6"/>
                      <a:pt x="18" y="4"/>
                      <a:pt x="17" y="2"/>
                    </a:cubicBezTo>
                    <a:cubicBezTo>
                      <a:pt x="15" y="1"/>
                      <a:pt x="13" y="0"/>
                      <a:pt x="11" y="0"/>
                    </a:cubicBezTo>
                    <a:cubicBezTo>
                      <a:pt x="4" y="0"/>
                      <a:pt x="0" y="5"/>
                      <a:pt x="0" y="10"/>
                    </a:cubicBezTo>
                    <a:cubicBezTo>
                      <a:pt x="0" y="17"/>
                      <a:pt x="4" y="21"/>
                      <a:pt x="11" y="21"/>
                    </a:cubicBezTo>
                    <a:cubicBezTo>
                      <a:pt x="13" y="21"/>
                      <a:pt x="16" y="20"/>
                      <a:pt x="18" y="20"/>
                    </a:cubicBezTo>
                    <a:cubicBezTo>
                      <a:pt x="18" y="19"/>
                      <a:pt x="18" y="19"/>
                      <a:pt x="18" y="19"/>
                    </a:cubicBezTo>
                    <a:cubicBezTo>
                      <a:pt x="18" y="19"/>
                      <a:pt x="18" y="19"/>
                      <a:pt x="18" y="19"/>
                    </a:cubicBezTo>
                    <a:cubicBezTo>
                      <a:pt x="18" y="17"/>
                      <a:pt x="18" y="17"/>
                      <a:pt x="18" y="17"/>
                    </a:cubicBezTo>
                    <a:cubicBezTo>
                      <a:pt x="18" y="17"/>
                      <a:pt x="17" y="17"/>
                      <a:pt x="17" y="17"/>
                    </a:cubicBezTo>
                    <a:cubicBezTo>
                      <a:pt x="17" y="17"/>
                      <a:pt x="17" y="17"/>
                      <a:pt x="17" y="17"/>
                    </a:cubicBezTo>
                    <a:cubicBezTo>
                      <a:pt x="15" y="18"/>
                      <a:pt x="13" y="18"/>
                      <a:pt x="11" y="18"/>
                    </a:cubicBezTo>
                    <a:cubicBezTo>
                      <a:pt x="7" y="18"/>
                      <a:pt x="4" y="15"/>
                      <a:pt x="4" y="11"/>
                    </a:cubicBezTo>
                    <a:cubicBezTo>
                      <a:pt x="18" y="11"/>
                      <a:pt x="18" y="11"/>
                      <a:pt x="18" y="11"/>
                    </a:cubicBezTo>
                    <a:cubicBezTo>
                      <a:pt x="19" y="11"/>
                      <a:pt x="19" y="11"/>
                      <a:pt x="19" y="10"/>
                    </a:cubicBezTo>
                  </a:path>
                </a:pathLst>
              </a:custGeom>
              <a:solidFill>
                <a:srgbClr val="1C5BA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 name="Freeform 15"/>
              <p:cNvSpPr>
                <a:spLocks/>
              </p:cNvSpPr>
              <p:nvPr/>
            </p:nvSpPr>
            <p:spPr bwMode="auto">
              <a:xfrm>
                <a:off x="2946" y="1686"/>
                <a:ext cx="10" cy="61"/>
              </a:xfrm>
              <a:custGeom>
                <a:avLst/>
                <a:gdLst>
                  <a:gd name="T0" fmla="*/ 3 w 4"/>
                  <a:gd name="T1" fmla="*/ 26 h 26"/>
                  <a:gd name="T2" fmla="*/ 1 w 4"/>
                  <a:gd name="T3" fmla="*/ 26 h 26"/>
                  <a:gd name="T4" fmla="*/ 0 w 4"/>
                  <a:gd name="T5" fmla="*/ 26 h 26"/>
                  <a:gd name="T6" fmla="*/ 0 w 4"/>
                  <a:gd name="T7" fmla="*/ 1 h 26"/>
                  <a:gd name="T8" fmla="*/ 1 w 4"/>
                  <a:gd name="T9" fmla="*/ 0 h 26"/>
                  <a:gd name="T10" fmla="*/ 3 w 4"/>
                  <a:gd name="T11" fmla="*/ 0 h 26"/>
                  <a:gd name="T12" fmla="*/ 3 w 4"/>
                  <a:gd name="T13" fmla="*/ 0 h 26"/>
                  <a:gd name="T14" fmla="*/ 4 w 4"/>
                  <a:gd name="T15" fmla="*/ 1 h 26"/>
                  <a:gd name="T16" fmla="*/ 4 w 4"/>
                  <a:gd name="T17" fmla="*/ 25 h 26"/>
                  <a:gd name="T18" fmla="*/ 3 w 4"/>
                  <a:gd name="T1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6">
                    <a:moveTo>
                      <a:pt x="3" y="26"/>
                    </a:moveTo>
                    <a:cubicBezTo>
                      <a:pt x="1" y="26"/>
                      <a:pt x="1" y="26"/>
                      <a:pt x="1" y="26"/>
                    </a:cubicBezTo>
                    <a:cubicBezTo>
                      <a:pt x="1" y="26"/>
                      <a:pt x="0" y="26"/>
                      <a:pt x="0" y="26"/>
                    </a:cubicBezTo>
                    <a:cubicBezTo>
                      <a:pt x="0" y="1"/>
                      <a:pt x="0" y="1"/>
                      <a:pt x="0" y="1"/>
                    </a:cubicBezTo>
                    <a:cubicBezTo>
                      <a:pt x="0" y="1"/>
                      <a:pt x="0" y="0"/>
                      <a:pt x="1" y="0"/>
                    </a:cubicBezTo>
                    <a:cubicBezTo>
                      <a:pt x="3" y="0"/>
                      <a:pt x="3" y="0"/>
                      <a:pt x="3" y="0"/>
                    </a:cubicBezTo>
                    <a:cubicBezTo>
                      <a:pt x="3" y="0"/>
                      <a:pt x="3" y="0"/>
                      <a:pt x="3" y="0"/>
                    </a:cubicBezTo>
                    <a:cubicBezTo>
                      <a:pt x="4" y="0"/>
                      <a:pt x="4" y="0"/>
                      <a:pt x="4" y="1"/>
                    </a:cubicBezTo>
                    <a:cubicBezTo>
                      <a:pt x="4" y="25"/>
                      <a:pt x="4" y="25"/>
                      <a:pt x="4" y="25"/>
                    </a:cubicBezTo>
                    <a:cubicBezTo>
                      <a:pt x="4" y="26"/>
                      <a:pt x="4" y="26"/>
                      <a:pt x="3" y="26"/>
                    </a:cubicBezTo>
                  </a:path>
                </a:pathLst>
              </a:custGeom>
              <a:solidFill>
                <a:srgbClr val="1C5BA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2" name="Freeform 16"/>
              <p:cNvSpPr>
                <a:spLocks noEditPoints="1"/>
              </p:cNvSpPr>
              <p:nvPr/>
            </p:nvSpPr>
            <p:spPr bwMode="auto">
              <a:xfrm>
                <a:off x="2963" y="1700"/>
                <a:ext cx="45" cy="49"/>
              </a:xfrm>
              <a:custGeom>
                <a:avLst/>
                <a:gdLst>
                  <a:gd name="T0" fmla="*/ 16 w 19"/>
                  <a:gd name="T1" fmla="*/ 9 h 21"/>
                  <a:gd name="T2" fmla="*/ 4 w 19"/>
                  <a:gd name="T3" fmla="*/ 9 h 21"/>
                  <a:gd name="T4" fmla="*/ 10 w 19"/>
                  <a:gd name="T5" fmla="*/ 3 h 21"/>
                  <a:gd name="T6" fmla="*/ 16 w 19"/>
                  <a:gd name="T7" fmla="*/ 8 h 21"/>
                  <a:gd name="T8" fmla="*/ 16 w 19"/>
                  <a:gd name="T9" fmla="*/ 9 h 21"/>
                  <a:gd name="T10" fmla="*/ 19 w 19"/>
                  <a:gd name="T11" fmla="*/ 10 h 21"/>
                  <a:gd name="T12" fmla="*/ 19 w 19"/>
                  <a:gd name="T13" fmla="*/ 9 h 21"/>
                  <a:gd name="T14" fmla="*/ 17 w 19"/>
                  <a:gd name="T15" fmla="*/ 2 h 21"/>
                  <a:gd name="T16" fmla="*/ 11 w 19"/>
                  <a:gd name="T17" fmla="*/ 0 h 21"/>
                  <a:gd name="T18" fmla="*/ 0 w 19"/>
                  <a:gd name="T19" fmla="*/ 10 h 21"/>
                  <a:gd name="T20" fmla="*/ 11 w 19"/>
                  <a:gd name="T21" fmla="*/ 21 h 21"/>
                  <a:gd name="T22" fmla="*/ 18 w 19"/>
                  <a:gd name="T23" fmla="*/ 20 h 21"/>
                  <a:gd name="T24" fmla="*/ 18 w 19"/>
                  <a:gd name="T25" fmla="*/ 19 h 21"/>
                  <a:gd name="T26" fmla="*/ 18 w 19"/>
                  <a:gd name="T27" fmla="*/ 19 h 21"/>
                  <a:gd name="T28" fmla="*/ 18 w 19"/>
                  <a:gd name="T29" fmla="*/ 17 h 21"/>
                  <a:gd name="T30" fmla="*/ 17 w 19"/>
                  <a:gd name="T31" fmla="*/ 17 h 21"/>
                  <a:gd name="T32" fmla="*/ 17 w 19"/>
                  <a:gd name="T33" fmla="*/ 17 h 21"/>
                  <a:gd name="T34" fmla="*/ 11 w 19"/>
                  <a:gd name="T35" fmla="*/ 18 h 21"/>
                  <a:gd name="T36" fmla="*/ 4 w 19"/>
                  <a:gd name="T37" fmla="*/ 11 h 21"/>
                  <a:gd name="T38" fmla="*/ 18 w 19"/>
                  <a:gd name="T39" fmla="*/ 11 h 21"/>
                  <a:gd name="T40" fmla="*/ 19 w 19"/>
                  <a:gd name="T41"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21">
                    <a:moveTo>
                      <a:pt x="16" y="9"/>
                    </a:moveTo>
                    <a:cubicBezTo>
                      <a:pt x="4" y="9"/>
                      <a:pt x="4" y="9"/>
                      <a:pt x="4" y="9"/>
                    </a:cubicBezTo>
                    <a:cubicBezTo>
                      <a:pt x="5" y="6"/>
                      <a:pt x="7" y="3"/>
                      <a:pt x="10" y="3"/>
                    </a:cubicBezTo>
                    <a:cubicBezTo>
                      <a:pt x="14" y="3"/>
                      <a:pt x="16" y="5"/>
                      <a:pt x="16" y="8"/>
                    </a:cubicBezTo>
                    <a:lnTo>
                      <a:pt x="16" y="9"/>
                    </a:lnTo>
                    <a:close/>
                    <a:moveTo>
                      <a:pt x="19" y="10"/>
                    </a:moveTo>
                    <a:cubicBezTo>
                      <a:pt x="19" y="9"/>
                      <a:pt x="19" y="9"/>
                      <a:pt x="19" y="9"/>
                    </a:cubicBezTo>
                    <a:cubicBezTo>
                      <a:pt x="19" y="6"/>
                      <a:pt x="19" y="4"/>
                      <a:pt x="17" y="2"/>
                    </a:cubicBezTo>
                    <a:cubicBezTo>
                      <a:pt x="15" y="1"/>
                      <a:pt x="13" y="0"/>
                      <a:pt x="11" y="0"/>
                    </a:cubicBezTo>
                    <a:cubicBezTo>
                      <a:pt x="4" y="0"/>
                      <a:pt x="0" y="5"/>
                      <a:pt x="0" y="10"/>
                    </a:cubicBezTo>
                    <a:cubicBezTo>
                      <a:pt x="0" y="17"/>
                      <a:pt x="4" y="21"/>
                      <a:pt x="11" y="21"/>
                    </a:cubicBezTo>
                    <a:cubicBezTo>
                      <a:pt x="13" y="21"/>
                      <a:pt x="16" y="20"/>
                      <a:pt x="18" y="20"/>
                    </a:cubicBezTo>
                    <a:cubicBezTo>
                      <a:pt x="18" y="19"/>
                      <a:pt x="18" y="19"/>
                      <a:pt x="18" y="19"/>
                    </a:cubicBezTo>
                    <a:cubicBezTo>
                      <a:pt x="18" y="19"/>
                      <a:pt x="18" y="19"/>
                      <a:pt x="18" y="19"/>
                    </a:cubicBezTo>
                    <a:cubicBezTo>
                      <a:pt x="18" y="17"/>
                      <a:pt x="18" y="17"/>
                      <a:pt x="18" y="17"/>
                    </a:cubicBezTo>
                    <a:cubicBezTo>
                      <a:pt x="18" y="17"/>
                      <a:pt x="17" y="17"/>
                      <a:pt x="17" y="17"/>
                    </a:cubicBezTo>
                    <a:cubicBezTo>
                      <a:pt x="17" y="17"/>
                      <a:pt x="17" y="17"/>
                      <a:pt x="17" y="17"/>
                    </a:cubicBezTo>
                    <a:cubicBezTo>
                      <a:pt x="15" y="18"/>
                      <a:pt x="13" y="18"/>
                      <a:pt x="11" y="18"/>
                    </a:cubicBezTo>
                    <a:cubicBezTo>
                      <a:pt x="7" y="18"/>
                      <a:pt x="4" y="15"/>
                      <a:pt x="4" y="11"/>
                    </a:cubicBezTo>
                    <a:cubicBezTo>
                      <a:pt x="18" y="11"/>
                      <a:pt x="18" y="11"/>
                      <a:pt x="18" y="11"/>
                    </a:cubicBezTo>
                    <a:cubicBezTo>
                      <a:pt x="19" y="11"/>
                      <a:pt x="19" y="11"/>
                      <a:pt x="19" y="10"/>
                    </a:cubicBezTo>
                  </a:path>
                </a:pathLst>
              </a:custGeom>
              <a:solidFill>
                <a:srgbClr val="1C5BA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 name="Freeform 17"/>
              <p:cNvSpPr>
                <a:spLocks/>
              </p:cNvSpPr>
              <p:nvPr/>
            </p:nvSpPr>
            <p:spPr bwMode="auto">
              <a:xfrm>
                <a:off x="3015" y="1700"/>
                <a:ext cx="40" cy="49"/>
              </a:xfrm>
              <a:custGeom>
                <a:avLst/>
                <a:gdLst>
                  <a:gd name="T0" fmla="*/ 17 w 17"/>
                  <a:gd name="T1" fmla="*/ 20 h 21"/>
                  <a:gd name="T2" fmla="*/ 11 w 17"/>
                  <a:gd name="T3" fmla="*/ 21 h 21"/>
                  <a:gd name="T4" fmla="*/ 0 w 17"/>
                  <a:gd name="T5" fmla="*/ 10 h 21"/>
                  <a:gd name="T6" fmla="*/ 11 w 17"/>
                  <a:gd name="T7" fmla="*/ 0 h 21"/>
                  <a:gd name="T8" fmla="*/ 17 w 17"/>
                  <a:gd name="T9" fmla="*/ 1 h 21"/>
                  <a:gd name="T10" fmla="*/ 17 w 17"/>
                  <a:gd name="T11" fmla="*/ 2 h 21"/>
                  <a:gd name="T12" fmla="*/ 17 w 17"/>
                  <a:gd name="T13" fmla="*/ 2 h 21"/>
                  <a:gd name="T14" fmla="*/ 17 w 17"/>
                  <a:gd name="T15" fmla="*/ 3 h 21"/>
                  <a:gd name="T16" fmla="*/ 16 w 17"/>
                  <a:gd name="T17" fmla="*/ 4 h 21"/>
                  <a:gd name="T18" fmla="*/ 16 w 17"/>
                  <a:gd name="T19" fmla="*/ 4 h 21"/>
                  <a:gd name="T20" fmla="*/ 11 w 17"/>
                  <a:gd name="T21" fmla="*/ 3 h 21"/>
                  <a:gd name="T22" fmla="*/ 4 w 17"/>
                  <a:gd name="T23" fmla="*/ 10 h 21"/>
                  <a:gd name="T24" fmla="*/ 11 w 17"/>
                  <a:gd name="T25" fmla="*/ 18 h 21"/>
                  <a:gd name="T26" fmla="*/ 16 w 17"/>
                  <a:gd name="T27" fmla="*/ 17 h 21"/>
                  <a:gd name="T28" fmla="*/ 16 w 17"/>
                  <a:gd name="T29" fmla="*/ 17 h 21"/>
                  <a:gd name="T30" fmla="*/ 17 w 17"/>
                  <a:gd name="T31" fmla="*/ 17 h 21"/>
                  <a:gd name="T32" fmla="*/ 17 w 17"/>
                  <a:gd name="T33" fmla="*/ 19 h 21"/>
                  <a:gd name="T34" fmla="*/ 17 w 17"/>
                  <a:gd name="T35" fmla="*/ 19 h 21"/>
                  <a:gd name="T36" fmla="*/ 17 w 17"/>
                  <a:gd name="T3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1">
                    <a:moveTo>
                      <a:pt x="17" y="20"/>
                    </a:moveTo>
                    <a:cubicBezTo>
                      <a:pt x="15" y="20"/>
                      <a:pt x="13" y="21"/>
                      <a:pt x="11" y="21"/>
                    </a:cubicBezTo>
                    <a:cubicBezTo>
                      <a:pt x="3" y="21"/>
                      <a:pt x="0" y="17"/>
                      <a:pt x="0" y="10"/>
                    </a:cubicBezTo>
                    <a:cubicBezTo>
                      <a:pt x="0" y="4"/>
                      <a:pt x="4" y="0"/>
                      <a:pt x="11" y="0"/>
                    </a:cubicBezTo>
                    <a:cubicBezTo>
                      <a:pt x="13" y="0"/>
                      <a:pt x="15" y="1"/>
                      <a:pt x="17" y="1"/>
                    </a:cubicBezTo>
                    <a:cubicBezTo>
                      <a:pt x="17" y="1"/>
                      <a:pt x="17" y="2"/>
                      <a:pt x="17" y="2"/>
                    </a:cubicBezTo>
                    <a:cubicBezTo>
                      <a:pt x="17" y="2"/>
                      <a:pt x="17" y="2"/>
                      <a:pt x="17" y="2"/>
                    </a:cubicBezTo>
                    <a:cubicBezTo>
                      <a:pt x="17" y="3"/>
                      <a:pt x="17" y="3"/>
                      <a:pt x="17" y="3"/>
                    </a:cubicBezTo>
                    <a:cubicBezTo>
                      <a:pt x="17" y="4"/>
                      <a:pt x="16" y="4"/>
                      <a:pt x="16" y="4"/>
                    </a:cubicBezTo>
                    <a:cubicBezTo>
                      <a:pt x="16" y="4"/>
                      <a:pt x="16" y="4"/>
                      <a:pt x="16" y="4"/>
                    </a:cubicBezTo>
                    <a:cubicBezTo>
                      <a:pt x="14" y="3"/>
                      <a:pt x="13" y="3"/>
                      <a:pt x="11" y="3"/>
                    </a:cubicBezTo>
                    <a:cubicBezTo>
                      <a:pt x="7" y="3"/>
                      <a:pt x="4" y="6"/>
                      <a:pt x="4" y="10"/>
                    </a:cubicBezTo>
                    <a:cubicBezTo>
                      <a:pt x="4" y="15"/>
                      <a:pt x="6" y="18"/>
                      <a:pt x="11" y="18"/>
                    </a:cubicBezTo>
                    <a:cubicBezTo>
                      <a:pt x="13" y="18"/>
                      <a:pt x="15" y="18"/>
                      <a:pt x="16" y="17"/>
                    </a:cubicBezTo>
                    <a:cubicBezTo>
                      <a:pt x="16" y="17"/>
                      <a:pt x="16" y="17"/>
                      <a:pt x="16" y="17"/>
                    </a:cubicBezTo>
                    <a:cubicBezTo>
                      <a:pt x="17" y="17"/>
                      <a:pt x="17" y="17"/>
                      <a:pt x="17" y="17"/>
                    </a:cubicBezTo>
                    <a:cubicBezTo>
                      <a:pt x="17" y="19"/>
                      <a:pt x="17" y="19"/>
                      <a:pt x="17" y="19"/>
                    </a:cubicBezTo>
                    <a:cubicBezTo>
                      <a:pt x="17" y="19"/>
                      <a:pt x="17" y="19"/>
                      <a:pt x="17" y="19"/>
                    </a:cubicBezTo>
                    <a:cubicBezTo>
                      <a:pt x="17" y="19"/>
                      <a:pt x="17" y="19"/>
                      <a:pt x="17" y="20"/>
                    </a:cubicBezTo>
                  </a:path>
                </a:pathLst>
              </a:custGeom>
              <a:solidFill>
                <a:srgbClr val="1C5BA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 name="Freeform 18"/>
              <p:cNvSpPr>
                <a:spLocks noEditPoints="1"/>
              </p:cNvSpPr>
              <p:nvPr/>
            </p:nvSpPr>
            <p:spPr bwMode="auto">
              <a:xfrm>
                <a:off x="3060" y="1700"/>
                <a:ext cx="47" cy="49"/>
              </a:xfrm>
              <a:custGeom>
                <a:avLst/>
                <a:gdLst>
                  <a:gd name="T0" fmla="*/ 16 w 20"/>
                  <a:gd name="T1" fmla="*/ 10 h 21"/>
                  <a:gd name="T2" fmla="*/ 10 w 20"/>
                  <a:gd name="T3" fmla="*/ 18 h 21"/>
                  <a:gd name="T4" fmla="*/ 4 w 20"/>
                  <a:gd name="T5" fmla="*/ 10 h 21"/>
                  <a:gd name="T6" fmla="*/ 10 w 20"/>
                  <a:gd name="T7" fmla="*/ 3 h 21"/>
                  <a:gd name="T8" fmla="*/ 16 w 20"/>
                  <a:gd name="T9" fmla="*/ 10 h 21"/>
                  <a:gd name="T10" fmla="*/ 20 w 20"/>
                  <a:gd name="T11" fmla="*/ 10 h 21"/>
                  <a:gd name="T12" fmla="*/ 10 w 20"/>
                  <a:gd name="T13" fmla="*/ 0 h 21"/>
                  <a:gd name="T14" fmla="*/ 0 w 20"/>
                  <a:gd name="T15" fmla="*/ 10 h 21"/>
                  <a:gd name="T16" fmla="*/ 10 w 20"/>
                  <a:gd name="T17" fmla="*/ 21 h 21"/>
                  <a:gd name="T18" fmla="*/ 20 w 20"/>
                  <a:gd name="T1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1">
                    <a:moveTo>
                      <a:pt x="16" y="10"/>
                    </a:moveTo>
                    <a:cubicBezTo>
                      <a:pt x="16" y="14"/>
                      <a:pt x="15" y="18"/>
                      <a:pt x="10" y="18"/>
                    </a:cubicBezTo>
                    <a:cubicBezTo>
                      <a:pt x="5" y="18"/>
                      <a:pt x="4" y="14"/>
                      <a:pt x="4" y="10"/>
                    </a:cubicBezTo>
                    <a:cubicBezTo>
                      <a:pt x="4" y="7"/>
                      <a:pt x="5" y="3"/>
                      <a:pt x="10" y="3"/>
                    </a:cubicBezTo>
                    <a:cubicBezTo>
                      <a:pt x="15" y="3"/>
                      <a:pt x="16" y="7"/>
                      <a:pt x="16" y="10"/>
                    </a:cubicBezTo>
                    <a:moveTo>
                      <a:pt x="20" y="10"/>
                    </a:moveTo>
                    <a:cubicBezTo>
                      <a:pt x="20" y="4"/>
                      <a:pt x="17" y="0"/>
                      <a:pt x="10" y="0"/>
                    </a:cubicBezTo>
                    <a:cubicBezTo>
                      <a:pt x="4" y="0"/>
                      <a:pt x="0" y="5"/>
                      <a:pt x="0" y="10"/>
                    </a:cubicBezTo>
                    <a:cubicBezTo>
                      <a:pt x="0" y="16"/>
                      <a:pt x="3" y="21"/>
                      <a:pt x="10" y="21"/>
                    </a:cubicBezTo>
                    <a:cubicBezTo>
                      <a:pt x="17" y="21"/>
                      <a:pt x="20" y="16"/>
                      <a:pt x="20" y="10"/>
                    </a:cubicBezTo>
                  </a:path>
                </a:pathLst>
              </a:custGeom>
              <a:solidFill>
                <a:srgbClr val="1C5BA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5" name="Freeform 19"/>
              <p:cNvSpPr>
                <a:spLocks/>
              </p:cNvSpPr>
              <p:nvPr/>
            </p:nvSpPr>
            <p:spPr bwMode="auto">
              <a:xfrm>
                <a:off x="3114" y="1700"/>
                <a:ext cx="68" cy="47"/>
              </a:xfrm>
              <a:custGeom>
                <a:avLst/>
                <a:gdLst>
                  <a:gd name="T0" fmla="*/ 28 w 29"/>
                  <a:gd name="T1" fmla="*/ 20 h 20"/>
                  <a:gd name="T2" fmla="*/ 26 w 29"/>
                  <a:gd name="T3" fmla="*/ 20 h 20"/>
                  <a:gd name="T4" fmla="*/ 25 w 29"/>
                  <a:gd name="T5" fmla="*/ 19 h 20"/>
                  <a:gd name="T6" fmla="*/ 25 w 29"/>
                  <a:gd name="T7" fmla="*/ 8 h 20"/>
                  <a:gd name="T8" fmla="*/ 21 w 29"/>
                  <a:gd name="T9" fmla="*/ 3 h 20"/>
                  <a:gd name="T10" fmla="*/ 16 w 29"/>
                  <a:gd name="T11" fmla="*/ 5 h 20"/>
                  <a:gd name="T12" fmla="*/ 17 w 29"/>
                  <a:gd name="T13" fmla="*/ 9 h 20"/>
                  <a:gd name="T14" fmla="*/ 17 w 29"/>
                  <a:gd name="T15" fmla="*/ 19 h 20"/>
                  <a:gd name="T16" fmla="*/ 16 w 29"/>
                  <a:gd name="T17" fmla="*/ 20 h 20"/>
                  <a:gd name="T18" fmla="*/ 14 w 29"/>
                  <a:gd name="T19" fmla="*/ 20 h 20"/>
                  <a:gd name="T20" fmla="*/ 13 w 29"/>
                  <a:gd name="T21" fmla="*/ 19 h 20"/>
                  <a:gd name="T22" fmla="*/ 13 w 29"/>
                  <a:gd name="T23" fmla="*/ 8 h 20"/>
                  <a:gd name="T24" fmla="*/ 9 w 29"/>
                  <a:gd name="T25" fmla="*/ 3 h 20"/>
                  <a:gd name="T26" fmla="*/ 4 w 29"/>
                  <a:gd name="T27" fmla="*/ 5 h 20"/>
                  <a:gd name="T28" fmla="*/ 4 w 29"/>
                  <a:gd name="T29" fmla="*/ 19 h 20"/>
                  <a:gd name="T30" fmla="*/ 3 w 29"/>
                  <a:gd name="T31" fmla="*/ 20 h 20"/>
                  <a:gd name="T32" fmla="*/ 1 w 29"/>
                  <a:gd name="T33" fmla="*/ 20 h 20"/>
                  <a:gd name="T34" fmla="*/ 0 w 29"/>
                  <a:gd name="T35" fmla="*/ 19 h 20"/>
                  <a:gd name="T36" fmla="*/ 0 w 29"/>
                  <a:gd name="T37" fmla="*/ 1 h 20"/>
                  <a:gd name="T38" fmla="*/ 1 w 29"/>
                  <a:gd name="T39" fmla="*/ 1 h 20"/>
                  <a:gd name="T40" fmla="*/ 3 w 29"/>
                  <a:gd name="T41" fmla="*/ 1 h 20"/>
                  <a:gd name="T42" fmla="*/ 4 w 29"/>
                  <a:gd name="T43" fmla="*/ 1 h 20"/>
                  <a:gd name="T44" fmla="*/ 4 w 29"/>
                  <a:gd name="T45" fmla="*/ 3 h 20"/>
                  <a:gd name="T46" fmla="*/ 10 w 29"/>
                  <a:gd name="T47" fmla="*/ 0 h 20"/>
                  <a:gd name="T48" fmla="*/ 15 w 29"/>
                  <a:gd name="T49" fmla="*/ 3 h 20"/>
                  <a:gd name="T50" fmla="*/ 22 w 29"/>
                  <a:gd name="T51" fmla="*/ 0 h 20"/>
                  <a:gd name="T52" fmla="*/ 28 w 29"/>
                  <a:gd name="T53" fmla="*/ 3 h 20"/>
                  <a:gd name="T54" fmla="*/ 29 w 29"/>
                  <a:gd name="T55" fmla="*/ 8 h 20"/>
                  <a:gd name="T56" fmla="*/ 29 w 29"/>
                  <a:gd name="T57" fmla="*/ 19 h 20"/>
                  <a:gd name="T58" fmla="*/ 28 w 29"/>
                  <a:gd name="T5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 h="20">
                    <a:moveTo>
                      <a:pt x="28" y="20"/>
                    </a:moveTo>
                    <a:cubicBezTo>
                      <a:pt x="26" y="20"/>
                      <a:pt x="26" y="20"/>
                      <a:pt x="26" y="20"/>
                    </a:cubicBezTo>
                    <a:cubicBezTo>
                      <a:pt x="26" y="20"/>
                      <a:pt x="25" y="20"/>
                      <a:pt x="25" y="19"/>
                    </a:cubicBezTo>
                    <a:cubicBezTo>
                      <a:pt x="25" y="8"/>
                      <a:pt x="25" y="8"/>
                      <a:pt x="25" y="8"/>
                    </a:cubicBezTo>
                    <a:cubicBezTo>
                      <a:pt x="25" y="5"/>
                      <a:pt x="25" y="3"/>
                      <a:pt x="21" y="3"/>
                    </a:cubicBezTo>
                    <a:cubicBezTo>
                      <a:pt x="20" y="3"/>
                      <a:pt x="18" y="4"/>
                      <a:pt x="16" y="5"/>
                    </a:cubicBezTo>
                    <a:cubicBezTo>
                      <a:pt x="16" y="6"/>
                      <a:pt x="17" y="8"/>
                      <a:pt x="17" y="9"/>
                    </a:cubicBezTo>
                    <a:cubicBezTo>
                      <a:pt x="17" y="19"/>
                      <a:pt x="17" y="19"/>
                      <a:pt x="17" y="19"/>
                    </a:cubicBezTo>
                    <a:cubicBezTo>
                      <a:pt x="17" y="20"/>
                      <a:pt x="16" y="20"/>
                      <a:pt x="16" y="20"/>
                    </a:cubicBezTo>
                    <a:cubicBezTo>
                      <a:pt x="14" y="20"/>
                      <a:pt x="14" y="20"/>
                      <a:pt x="14" y="20"/>
                    </a:cubicBezTo>
                    <a:cubicBezTo>
                      <a:pt x="13" y="20"/>
                      <a:pt x="13" y="20"/>
                      <a:pt x="13" y="19"/>
                    </a:cubicBezTo>
                    <a:cubicBezTo>
                      <a:pt x="13" y="8"/>
                      <a:pt x="13" y="8"/>
                      <a:pt x="13" y="8"/>
                    </a:cubicBezTo>
                    <a:cubicBezTo>
                      <a:pt x="13" y="5"/>
                      <a:pt x="12" y="3"/>
                      <a:pt x="9" y="3"/>
                    </a:cubicBezTo>
                    <a:cubicBezTo>
                      <a:pt x="7" y="3"/>
                      <a:pt x="5" y="4"/>
                      <a:pt x="4" y="5"/>
                    </a:cubicBezTo>
                    <a:cubicBezTo>
                      <a:pt x="4" y="19"/>
                      <a:pt x="4" y="19"/>
                      <a:pt x="4" y="19"/>
                    </a:cubicBezTo>
                    <a:cubicBezTo>
                      <a:pt x="4" y="20"/>
                      <a:pt x="3" y="20"/>
                      <a:pt x="3" y="20"/>
                    </a:cubicBezTo>
                    <a:cubicBezTo>
                      <a:pt x="1" y="20"/>
                      <a:pt x="1" y="20"/>
                      <a:pt x="1" y="20"/>
                    </a:cubicBezTo>
                    <a:cubicBezTo>
                      <a:pt x="0" y="20"/>
                      <a:pt x="0" y="20"/>
                      <a:pt x="0" y="19"/>
                    </a:cubicBezTo>
                    <a:cubicBezTo>
                      <a:pt x="0" y="1"/>
                      <a:pt x="0" y="1"/>
                      <a:pt x="0" y="1"/>
                    </a:cubicBezTo>
                    <a:cubicBezTo>
                      <a:pt x="0" y="1"/>
                      <a:pt x="0" y="1"/>
                      <a:pt x="1" y="1"/>
                    </a:cubicBezTo>
                    <a:cubicBezTo>
                      <a:pt x="3" y="1"/>
                      <a:pt x="3" y="1"/>
                      <a:pt x="3" y="1"/>
                    </a:cubicBezTo>
                    <a:cubicBezTo>
                      <a:pt x="3" y="1"/>
                      <a:pt x="4" y="1"/>
                      <a:pt x="4" y="1"/>
                    </a:cubicBezTo>
                    <a:cubicBezTo>
                      <a:pt x="4" y="3"/>
                      <a:pt x="4" y="3"/>
                      <a:pt x="4" y="3"/>
                    </a:cubicBezTo>
                    <a:cubicBezTo>
                      <a:pt x="5" y="1"/>
                      <a:pt x="8" y="0"/>
                      <a:pt x="10" y="0"/>
                    </a:cubicBezTo>
                    <a:cubicBezTo>
                      <a:pt x="12" y="0"/>
                      <a:pt x="14" y="1"/>
                      <a:pt x="15" y="3"/>
                    </a:cubicBezTo>
                    <a:cubicBezTo>
                      <a:pt x="17" y="1"/>
                      <a:pt x="20" y="0"/>
                      <a:pt x="22" y="0"/>
                    </a:cubicBezTo>
                    <a:cubicBezTo>
                      <a:pt x="25" y="0"/>
                      <a:pt x="27" y="1"/>
                      <a:pt x="28" y="3"/>
                    </a:cubicBezTo>
                    <a:cubicBezTo>
                      <a:pt x="29" y="4"/>
                      <a:pt x="29" y="6"/>
                      <a:pt x="29" y="8"/>
                    </a:cubicBezTo>
                    <a:cubicBezTo>
                      <a:pt x="29" y="19"/>
                      <a:pt x="29" y="19"/>
                      <a:pt x="29" y="19"/>
                    </a:cubicBezTo>
                    <a:cubicBezTo>
                      <a:pt x="29" y="20"/>
                      <a:pt x="29" y="20"/>
                      <a:pt x="28" y="20"/>
                    </a:cubicBezTo>
                  </a:path>
                </a:pathLst>
              </a:custGeom>
              <a:solidFill>
                <a:srgbClr val="1C5BA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nvGrpSpPr>
          <p:cNvPr id="14553" name="Group 17"/>
          <p:cNvGrpSpPr/>
          <p:nvPr/>
        </p:nvGrpSpPr>
        <p:grpSpPr>
          <a:xfrm>
            <a:off x="5546887" y="2564993"/>
            <a:ext cx="425818" cy="417932"/>
            <a:chOff x="5260768" y="2367030"/>
            <a:chExt cx="535673" cy="525754"/>
          </a:xfrm>
        </p:grpSpPr>
        <p:sp>
          <p:nvSpPr>
            <p:cNvPr id="7636" name="Oval 1022"/>
            <p:cNvSpPr>
              <a:spLocks noChangeArrowheads="1"/>
            </p:cNvSpPr>
            <p:nvPr/>
          </p:nvSpPr>
          <p:spPr bwMode="auto">
            <a:xfrm>
              <a:off x="5260768" y="2367030"/>
              <a:ext cx="535673" cy="525754"/>
            </a:xfrm>
            <a:prstGeom prst="ellipse">
              <a:avLst/>
            </a:prstGeom>
            <a:solidFill>
              <a:srgbClr val="FFFFFF"/>
            </a:solidFill>
            <a:ln w="19050">
              <a:solidFill>
                <a:srgbClr val="004BAF"/>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pic>
          <p:nvPicPr>
            <p:cNvPr id="1048" name="Picture 24"/>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flipV="1">
              <a:off x="5315350" y="2520718"/>
              <a:ext cx="426509" cy="2183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14554" name="Group 1117"/>
          <p:cNvGrpSpPr/>
          <p:nvPr/>
        </p:nvGrpSpPr>
        <p:grpSpPr>
          <a:xfrm>
            <a:off x="852038" y="3388179"/>
            <a:ext cx="1656670" cy="1067836"/>
            <a:chOff x="4338320" y="820564"/>
            <a:chExt cx="3693160" cy="2380496"/>
          </a:xfrm>
        </p:grpSpPr>
        <p:sp>
          <p:nvSpPr>
            <p:cNvPr id="1119" name="Freeform 1118"/>
            <p:cNvSpPr>
              <a:spLocks/>
            </p:cNvSpPr>
            <p:nvPr/>
          </p:nvSpPr>
          <p:spPr bwMode="auto">
            <a:xfrm>
              <a:off x="4338320" y="820564"/>
              <a:ext cx="3693160" cy="2380496"/>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120" name="Rectangle 1119"/>
            <p:cNvSpPr/>
            <p:nvPr/>
          </p:nvSpPr>
          <p:spPr>
            <a:xfrm>
              <a:off x="4861411" y="1531668"/>
              <a:ext cx="2691577" cy="1440847"/>
            </a:xfrm>
            <a:prstGeom prst="rect">
              <a:avLst/>
            </a:prstGeom>
            <a:noFill/>
            <a:ln w="9525" cap="rnd" cmpd="sng" algn="ctr">
              <a:noFill/>
              <a:prstDash val="solid"/>
            </a:ln>
            <a:effectLst/>
          </p:spPr>
          <p:txBody>
            <a:bodyPr wrap="none" rtlCol="0" anchor="ctr" anchorCtr="0">
              <a:spAutoFit/>
            </a:bodyPr>
            <a:lstStyle/>
            <a:p>
              <a:pPr algn="ctr"/>
              <a:r>
                <a:rPr lang="en-US" sz="1200" b="1" kern="0" dirty="0" smtClean="0">
                  <a:solidFill>
                    <a:schemeClr val="tx2"/>
                  </a:solidFill>
                  <a:latin typeface="+mj-lt"/>
                </a:rPr>
                <a:t>CISCO</a:t>
              </a:r>
              <a:br>
                <a:rPr lang="en-US" sz="1200" b="1" kern="0" dirty="0" smtClean="0">
                  <a:solidFill>
                    <a:schemeClr val="tx2"/>
                  </a:solidFill>
                  <a:latin typeface="+mj-lt"/>
                </a:rPr>
              </a:br>
              <a:r>
                <a:rPr lang="en-US" sz="1200" b="1" kern="0" dirty="0" smtClean="0">
                  <a:solidFill>
                    <a:schemeClr val="tx2"/>
                  </a:solidFill>
                  <a:latin typeface="+mj-lt"/>
                </a:rPr>
                <a:t>Ultra Services</a:t>
              </a:r>
              <a:br>
                <a:rPr lang="en-US" sz="1200" b="1" kern="0" dirty="0" smtClean="0">
                  <a:solidFill>
                    <a:schemeClr val="tx2"/>
                  </a:solidFill>
                  <a:latin typeface="+mj-lt"/>
                </a:rPr>
              </a:br>
              <a:r>
                <a:rPr lang="en-US" sz="1200" b="1" kern="0" dirty="0" smtClean="0">
                  <a:solidFill>
                    <a:schemeClr val="tx2"/>
                  </a:solidFill>
                  <a:latin typeface="+mj-lt"/>
                </a:rPr>
                <a:t>Platform</a:t>
              </a:r>
              <a:endParaRPr lang="en-US" sz="1200" b="1" kern="0" dirty="0">
                <a:solidFill>
                  <a:schemeClr val="tx2"/>
                </a:solidFill>
                <a:latin typeface="+mj-lt"/>
              </a:endParaRPr>
            </a:p>
          </p:txBody>
        </p:sp>
      </p:grpSp>
      <p:sp>
        <p:nvSpPr>
          <p:cNvPr id="1123" name="Rectangle 1122"/>
          <p:cNvSpPr/>
          <p:nvPr/>
        </p:nvSpPr>
        <p:spPr>
          <a:xfrm flipH="1">
            <a:off x="7551506" y="1079500"/>
            <a:ext cx="1316269" cy="518944"/>
          </a:xfrm>
          <a:prstGeom prst="rect">
            <a:avLst/>
          </a:prstGeom>
          <a:solidFill>
            <a:srgbClr val="676767"/>
          </a:solidFill>
          <a:ln w="25400" cap="flat" cmpd="sng" algn="ctr">
            <a:noFill/>
            <a:prstDash val="solid"/>
          </a:ln>
          <a:effectLst/>
        </p:spPr>
        <p:txBody>
          <a:bodyPr rtlCol="0" anchor="ctr"/>
          <a:lstStyle/>
          <a:p>
            <a:pPr lvl="0" algn="ctr"/>
            <a:r>
              <a:rPr lang="en-US" sz="1600" b="1" dirty="0">
                <a:solidFill>
                  <a:srgbClr val="FFFFFF"/>
                </a:solidFill>
                <a:latin typeface="+mj-lt"/>
                <a:ea typeface="+mn-ea"/>
              </a:rPr>
              <a:t>35%</a:t>
            </a:r>
          </a:p>
          <a:p>
            <a:pPr lvl="0" algn="ctr"/>
            <a:r>
              <a:rPr lang="en-US" sz="1400" dirty="0" err="1" smtClean="0">
                <a:solidFill>
                  <a:srgbClr val="FFFFFF"/>
                </a:solidFill>
                <a:latin typeface="+mj-lt"/>
                <a:ea typeface="+mn-ea"/>
              </a:rPr>
              <a:t>OpEx</a:t>
            </a:r>
            <a:r>
              <a:rPr lang="en-US" sz="1400" dirty="0" smtClean="0">
                <a:solidFill>
                  <a:srgbClr val="FFFFFF"/>
                </a:solidFill>
                <a:latin typeface="+mj-lt"/>
                <a:ea typeface="+mn-ea"/>
              </a:rPr>
              <a:t> Savings</a:t>
            </a:r>
            <a:endParaRPr lang="en-US" sz="1400" dirty="0">
              <a:solidFill>
                <a:srgbClr val="FFFFFF"/>
              </a:solidFill>
              <a:latin typeface="+mj-lt"/>
              <a:ea typeface="+mn-ea"/>
            </a:endParaRPr>
          </a:p>
        </p:txBody>
      </p:sp>
    </p:spTree>
    <p:extLst>
      <p:ext uri="{BB962C8B-B14F-4D97-AF65-F5344CB8AC3E}">
        <p14:creationId xmlns:p14="http://schemas.microsoft.com/office/powerpoint/2010/main" val="717368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49"/>
          <p:cNvGrpSpPr/>
          <p:nvPr/>
        </p:nvGrpSpPr>
        <p:grpSpPr>
          <a:xfrm>
            <a:off x="1187352" y="2707046"/>
            <a:ext cx="6737448" cy="2025566"/>
            <a:chOff x="802850" y="2476190"/>
            <a:chExt cx="7506452" cy="2256762"/>
          </a:xfrm>
        </p:grpSpPr>
        <p:sp>
          <p:nvSpPr>
            <p:cNvPr id="293" name="Freeform 6"/>
            <p:cNvSpPr>
              <a:spLocks noEditPoints="1"/>
            </p:cNvSpPr>
            <p:nvPr/>
          </p:nvSpPr>
          <p:spPr bwMode="auto">
            <a:xfrm>
              <a:off x="802850" y="2476190"/>
              <a:ext cx="7491731" cy="2256762"/>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3" name="Group 293"/>
            <p:cNvGrpSpPr/>
            <p:nvPr/>
          </p:nvGrpSpPr>
          <p:grpSpPr>
            <a:xfrm>
              <a:off x="973526" y="3146785"/>
              <a:ext cx="7335776" cy="1586167"/>
              <a:chOff x="451344" y="2731115"/>
              <a:chExt cx="8416431" cy="1819830"/>
            </a:xfrm>
          </p:grpSpPr>
          <p:sp>
            <p:nvSpPr>
              <p:cNvPr id="295" name="Rectangle 294"/>
              <p:cNvSpPr/>
              <p:nvPr/>
            </p:nvSpPr>
            <p:spPr>
              <a:xfrm>
                <a:off x="7858125" y="4446347"/>
                <a:ext cx="1009650" cy="104598"/>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296" name="Freeform 29"/>
              <p:cNvSpPr>
                <a:spLocks noEditPoints="1"/>
              </p:cNvSpPr>
              <p:nvPr/>
            </p:nvSpPr>
            <p:spPr bwMode="auto">
              <a:xfrm>
                <a:off x="1138724" y="3295279"/>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4" name="Group 28"/>
              <p:cNvGrpSpPr/>
              <p:nvPr/>
            </p:nvGrpSpPr>
            <p:grpSpPr>
              <a:xfrm>
                <a:off x="907732" y="3834066"/>
                <a:ext cx="301657" cy="716879"/>
                <a:chOff x="1790700" y="2979738"/>
                <a:chExt cx="539750" cy="1282700"/>
              </a:xfrm>
            </p:grpSpPr>
            <p:sp>
              <p:nvSpPr>
                <p:cNvPr id="348"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9"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 name="Group 58"/>
              <p:cNvGrpSpPr/>
              <p:nvPr/>
            </p:nvGrpSpPr>
            <p:grpSpPr>
              <a:xfrm>
                <a:off x="451344" y="3433051"/>
                <a:ext cx="502539" cy="1117894"/>
                <a:chOff x="50589" y="3098960"/>
                <a:chExt cx="550863" cy="1225389"/>
              </a:xfrm>
            </p:grpSpPr>
            <p:sp>
              <p:nvSpPr>
                <p:cNvPr id="346"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7"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6" name="Group 56"/>
              <p:cNvGrpSpPr/>
              <p:nvPr/>
            </p:nvGrpSpPr>
            <p:grpSpPr>
              <a:xfrm>
                <a:off x="1436339" y="3816688"/>
                <a:ext cx="2870409" cy="734257"/>
                <a:chOff x="1130300" y="3522663"/>
                <a:chExt cx="3146425" cy="804862"/>
              </a:xfrm>
            </p:grpSpPr>
            <p:sp>
              <p:nvSpPr>
                <p:cNvPr id="344"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5"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7" name="Group 55"/>
              <p:cNvGrpSpPr/>
              <p:nvPr/>
            </p:nvGrpSpPr>
            <p:grpSpPr>
              <a:xfrm>
                <a:off x="4213209" y="3847101"/>
                <a:ext cx="1135885" cy="703844"/>
                <a:chOff x="4127500" y="2292350"/>
                <a:chExt cx="889000" cy="550863"/>
              </a:xfrm>
            </p:grpSpPr>
            <p:sp>
              <p:nvSpPr>
                <p:cNvPr id="340"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1"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2"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43"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01" name="Freeform 70"/>
              <p:cNvSpPr>
                <a:spLocks noEditPoints="1"/>
              </p:cNvSpPr>
              <p:nvPr/>
            </p:nvSpPr>
            <p:spPr bwMode="auto">
              <a:xfrm>
                <a:off x="6846414" y="2999956"/>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8" name="Group 89"/>
              <p:cNvGrpSpPr/>
              <p:nvPr/>
            </p:nvGrpSpPr>
            <p:grpSpPr>
              <a:xfrm>
                <a:off x="5349095" y="3441920"/>
                <a:ext cx="1542753" cy="1109025"/>
                <a:chOff x="5820057" y="3111857"/>
                <a:chExt cx="1691103" cy="1215668"/>
              </a:xfrm>
            </p:grpSpPr>
            <p:grpSp>
              <p:nvGrpSpPr>
                <p:cNvPr id="9" name="Group 81"/>
                <p:cNvGrpSpPr/>
                <p:nvPr/>
              </p:nvGrpSpPr>
              <p:grpSpPr>
                <a:xfrm>
                  <a:off x="5850148" y="3367629"/>
                  <a:ext cx="1642959" cy="959896"/>
                  <a:chOff x="9172575" y="1344613"/>
                  <a:chExt cx="1733551" cy="1012825"/>
                </a:xfrm>
                <a:solidFill>
                  <a:schemeClr val="bg1"/>
                </a:solidFill>
              </p:grpSpPr>
              <p:sp>
                <p:nvSpPr>
                  <p:cNvPr id="336" name="Rectangle 335"/>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0" name="Group 79"/>
                  <p:cNvGrpSpPr/>
                  <p:nvPr/>
                </p:nvGrpSpPr>
                <p:grpSpPr>
                  <a:xfrm>
                    <a:off x="9172575" y="1344613"/>
                    <a:ext cx="1733551" cy="1012825"/>
                    <a:chOff x="9172575" y="1344613"/>
                    <a:chExt cx="1733551" cy="1012825"/>
                  </a:xfrm>
                  <a:grpFill/>
                </p:grpSpPr>
                <p:sp>
                  <p:nvSpPr>
                    <p:cNvPr id="338"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9" name="Rectangle 338"/>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335"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1" name="Group 116"/>
              <p:cNvGrpSpPr/>
              <p:nvPr/>
            </p:nvGrpSpPr>
            <p:grpSpPr>
              <a:xfrm>
                <a:off x="7291388" y="2731115"/>
                <a:ext cx="655637" cy="1819275"/>
                <a:chOff x="7291388" y="2198688"/>
                <a:chExt cx="655637" cy="1819275"/>
              </a:xfrm>
            </p:grpSpPr>
            <p:sp>
              <p:nvSpPr>
                <p:cNvPr id="332"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3"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2" name="Group 109"/>
              <p:cNvGrpSpPr/>
              <p:nvPr/>
            </p:nvGrpSpPr>
            <p:grpSpPr>
              <a:xfrm>
                <a:off x="451344" y="2731115"/>
                <a:ext cx="8416431" cy="1819830"/>
                <a:chOff x="603744" y="2351088"/>
                <a:chExt cx="8416431" cy="1819830"/>
              </a:xfrm>
              <a:solidFill>
                <a:schemeClr val="accent1">
                  <a:lumMod val="20000"/>
                  <a:lumOff val="80000"/>
                  <a:alpha val="77000"/>
                </a:schemeClr>
              </a:solidFill>
            </p:grpSpPr>
            <p:sp>
              <p:nvSpPr>
                <p:cNvPr id="305" name="Rectangle 304"/>
                <p:cNvSpPr/>
                <p:nvPr/>
              </p:nvSpPr>
              <p:spPr>
                <a:xfrm>
                  <a:off x="8010525" y="4066320"/>
                  <a:ext cx="1009650" cy="10459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306" name="Freeform 29"/>
                <p:cNvSpPr>
                  <a:spLocks noEditPoints="1"/>
                </p:cNvSpPr>
                <p:nvPr/>
              </p:nvSpPr>
              <p:spPr bwMode="auto">
                <a:xfrm>
                  <a:off x="1291124" y="2915252"/>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3" name="Group 28"/>
                <p:cNvGrpSpPr/>
                <p:nvPr/>
              </p:nvGrpSpPr>
              <p:grpSpPr>
                <a:xfrm>
                  <a:off x="1060132" y="3454039"/>
                  <a:ext cx="301657" cy="716879"/>
                  <a:chOff x="1790700" y="2979738"/>
                  <a:chExt cx="539750" cy="1282700"/>
                </a:xfrm>
                <a:grpFill/>
              </p:grpSpPr>
              <p:sp>
                <p:nvSpPr>
                  <p:cNvPr id="330" name="Rectangle 23"/>
                  <p:cNvSpPr>
                    <a:spLocks noChangeArrowheads="1"/>
                  </p:cNvSpPr>
                  <p:nvPr/>
                </p:nvSpPr>
                <p:spPr bwMode="auto">
                  <a:xfrm>
                    <a:off x="1790700" y="2986088"/>
                    <a:ext cx="525463" cy="12763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31"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4" name="Group 58"/>
                <p:cNvGrpSpPr/>
                <p:nvPr/>
              </p:nvGrpSpPr>
              <p:grpSpPr>
                <a:xfrm>
                  <a:off x="603744" y="3053024"/>
                  <a:ext cx="502539" cy="1117894"/>
                  <a:chOff x="50589" y="3098960"/>
                  <a:chExt cx="550863" cy="1225389"/>
                </a:xfrm>
                <a:grpFill/>
              </p:grpSpPr>
              <p:sp>
                <p:nvSpPr>
                  <p:cNvPr id="328"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9"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5" name="Group 56"/>
                <p:cNvGrpSpPr/>
                <p:nvPr/>
              </p:nvGrpSpPr>
              <p:grpSpPr>
                <a:xfrm>
                  <a:off x="1588739" y="3436661"/>
                  <a:ext cx="2870409" cy="734257"/>
                  <a:chOff x="1130300" y="3522663"/>
                  <a:chExt cx="3146425" cy="804862"/>
                </a:xfrm>
                <a:grpFill/>
              </p:grpSpPr>
              <p:sp>
                <p:nvSpPr>
                  <p:cNvPr id="326"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7"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6" name="Group 55"/>
                <p:cNvGrpSpPr/>
                <p:nvPr/>
              </p:nvGrpSpPr>
              <p:grpSpPr>
                <a:xfrm>
                  <a:off x="4365609" y="3467074"/>
                  <a:ext cx="1135885" cy="703844"/>
                  <a:chOff x="4127500" y="2292350"/>
                  <a:chExt cx="889000" cy="550863"/>
                </a:xfrm>
                <a:grpFill/>
              </p:grpSpPr>
              <p:sp>
                <p:nvSpPr>
                  <p:cNvPr id="322"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3"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4"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5"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11" name="Freeform 70"/>
                <p:cNvSpPr>
                  <a:spLocks noEditPoints="1"/>
                </p:cNvSpPr>
                <p:nvPr/>
              </p:nvSpPr>
              <p:spPr bwMode="auto">
                <a:xfrm>
                  <a:off x="6998814" y="2619929"/>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7" name="Group 89"/>
                <p:cNvGrpSpPr/>
                <p:nvPr/>
              </p:nvGrpSpPr>
              <p:grpSpPr>
                <a:xfrm>
                  <a:off x="5501495" y="3061893"/>
                  <a:ext cx="1542753" cy="1109025"/>
                  <a:chOff x="5820057" y="3111857"/>
                  <a:chExt cx="1691103" cy="1215668"/>
                </a:xfrm>
                <a:grpFill/>
              </p:grpSpPr>
              <p:grpSp>
                <p:nvGrpSpPr>
                  <p:cNvPr id="18" name="Group 81"/>
                  <p:cNvGrpSpPr/>
                  <p:nvPr/>
                </p:nvGrpSpPr>
                <p:grpSpPr>
                  <a:xfrm>
                    <a:off x="5850148" y="3367629"/>
                    <a:ext cx="1642959" cy="959896"/>
                    <a:chOff x="9172575" y="1344613"/>
                    <a:chExt cx="1733551" cy="1012825"/>
                  </a:xfrm>
                  <a:grpFill/>
                </p:grpSpPr>
                <p:sp>
                  <p:nvSpPr>
                    <p:cNvPr id="318" name="Rectangle 317"/>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9" name="Group 79"/>
                    <p:cNvGrpSpPr/>
                    <p:nvPr/>
                  </p:nvGrpSpPr>
                  <p:grpSpPr>
                    <a:xfrm>
                      <a:off x="9172575" y="1344613"/>
                      <a:ext cx="1733551" cy="1012825"/>
                      <a:chOff x="9172575" y="1344613"/>
                      <a:chExt cx="1733551" cy="1012825"/>
                    </a:xfrm>
                    <a:grpFill/>
                  </p:grpSpPr>
                  <p:sp>
                    <p:nvSpPr>
                      <p:cNvPr id="320"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21" name="Rectangle 320"/>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317"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0" name="Group 116"/>
                <p:cNvGrpSpPr/>
                <p:nvPr/>
              </p:nvGrpSpPr>
              <p:grpSpPr>
                <a:xfrm>
                  <a:off x="7443788" y="2351088"/>
                  <a:ext cx="655637" cy="1819275"/>
                  <a:chOff x="7291388" y="2198688"/>
                  <a:chExt cx="655637" cy="1819275"/>
                </a:xfrm>
                <a:grpFill/>
              </p:grpSpPr>
              <p:sp>
                <p:nvSpPr>
                  <p:cNvPr id="314"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15"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grpSp>
      <p:sp>
        <p:nvSpPr>
          <p:cNvPr id="106" name="Rectangle 11"/>
          <p:cNvSpPr>
            <a:spLocks noChangeArrowheads="1"/>
          </p:cNvSpPr>
          <p:nvPr/>
        </p:nvSpPr>
        <p:spPr bwMode="auto">
          <a:xfrm>
            <a:off x="-3177" y="4723467"/>
            <a:ext cx="9147178" cy="420034"/>
          </a:xfrm>
          <a:prstGeom prst="rect">
            <a:avLst/>
          </a:prstGeom>
          <a:solidFill>
            <a:schemeClr val="bg1"/>
          </a:solidFill>
          <a:ln w="9525">
            <a:noFill/>
            <a:miter lim="800000"/>
            <a:headEnd/>
            <a:tailEnd/>
          </a:ln>
        </p:spPr>
        <p:txBody>
          <a:bodyPr vert="horz" wrap="square" lIns="91440" tIns="45720" rIns="91440" bIns="45720" numCol="2" anchor="t" anchorCtr="0" compatLnSpc="1">
            <a:prstTxWarp prst="textNoShape">
              <a:avLst/>
            </a:prstTxWarp>
          </a:bodyPr>
          <a:lstStyle/>
          <a:p>
            <a:pPr marL="173736" indent="-173736">
              <a:lnSpc>
                <a:spcPct val="110000"/>
              </a:lnSpc>
              <a:spcBef>
                <a:spcPts val="200"/>
              </a:spcBef>
              <a:buFont typeface="Wingdings" panose="05000000000000000000" pitchFamily="2" charset="2"/>
              <a:buChar char="§"/>
            </a:pPr>
            <a:endParaRPr lang="en-US" sz="1400" dirty="0" smtClean="0">
              <a:solidFill>
                <a:schemeClr val="bg1"/>
              </a:solidFill>
              <a:latin typeface="+mj-lt"/>
            </a:endParaRPr>
          </a:p>
        </p:txBody>
      </p:sp>
      <p:pic>
        <p:nvPicPr>
          <p:cNvPr id="17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77679" y="4802382"/>
            <a:ext cx="424180" cy="26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4" name="Rectangle 7"/>
          <p:cNvSpPr>
            <a:spLocks noChangeArrowheads="1"/>
          </p:cNvSpPr>
          <p:nvPr/>
        </p:nvSpPr>
        <p:spPr bwMode="ltGray">
          <a:xfrm>
            <a:off x="8566466" y="4919453"/>
            <a:ext cx="167655"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j-lt"/>
                <a:ea typeface="+mn-ea"/>
                <a:cs typeface="CiscoSans Thin"/>
              </a:rPr>
              <a:pPr algn="r" defTabSz="610744" fontAlgn="auto">
                <a:spcBef>
                  <a:spcPts val="0"/>
                </a:spcBef>
                <a:spcAft>
                  <a:spcPts val="0"/>
                </a:spcAft>
                <a:defRPr/>
              </a:pPr>
              <a:t>29</a:t>
            </a:fld>
            <a:endParaRPr lang="en-US" sz="600" dirty="0">
              <a:solidFill>
                <a:srgbClr val="000000">
                  <a:alpha val="25000"/>
                </a:srgbClr>
              </a:solidFill>
              <a:latin typeface="+mj-lt"/>
              <a:ea typeface="+mn-ea"/>
              <a:cs typeface="CiscoSans Thin"/>
            </a:endParaRPr>
          </a:p>
        </p:txBody>
      </p:sp>
      <p:sp>
        <p:nvSpPr>
          <p:cNvPr id="175" name="Rectangle 4"/>
          <p:cNvSpPr>
            <a:spLocks noChangeArrowheads="1"/>
          </p:cNvSpPr>
          <p:nvPr/>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rtl="0" fontAlgn="auto">
              <a:spcBef>
                <a:spcPts val="0"/>
              </a:spcBef>
              <a:spcAft>
                <a:spcPts val="0"/>
              </a:spcAft>
              <a:defRPr/>
            </a:pPr>
            <a:r>
              <a:rPr lang="en-US" sz="600" kern="1200" dirty="0" smtClean="0">
                <a:solidFill>
                  <a:srgbClr val="000000">
                    <a:alpha val="25000"/>
                  </a:srgbClr>
                </a:solidFill>
                <a:latin typeface="+mj-lt"/>
                <a:ea typeface="+mn-ea"/>
                <a:cs typeface="CiscoSans Thin"/>
              </a:rPr>
              <a:t>C97-738596-01 © 2017  Cisco and/or its affiliates. All rights reserved.   </a:t>
            </a:r>
          </a:p>
        </p:txBody>
      </p:sp>
      <p:sp>
        <p:nvSpPr>
          <p:cNvPr id="383" name="Oval 2"/>
          <p:cNvSpPr/>
          <p:nvPr/>
        </p:nvSpPr>
        <p:spPr>
          <a:xfrm>
            <a:off x="305857" y="3875658"/>
            <a:ext cx="1691133" cy="845567"/>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4" name="Oval 2"/>
          <p:cNvSpPr/>
          <p:nvPr/>
        </p:nvSpPr>
        <p:spPr>
          <a:xfrm>
            <a:off x="2727960" y="2309840"/>
            <a:ext cx="5608320" cy="2411385"/>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5" name="Oval 2"/>
          <p:cNvSpPr/>
          <p:nvPr/>
        </p:nvSpPr>
        <p:spPr>
          <a:xfrm>
            <a:off x="1173545" y="3258777"/>
            <a:ext cx="2924894" cy="1462448"/>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6" name="Oval 2"/>
          <p:cNvSpPr/>
          <p:nvPr/>
        </p:nvSpPr>
        <p:spPr>
          <a:xfrm>
            <a:off x="6323146" y="3951846"/>
            <a:ext cx="1538757" cy="76937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7" name="Oval 2"/>
          <p:cNvSpPr/>
          <p:nvPr/>
        </p:nvSpPr>
        <p:spPr>
          <a:xfrm>
            <a:off x="7649227" y="4110045"/>
            <a:ext cx="1222357" cy="61117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1" name="Group 417"/>
          <p:cNvGrpSpPr/>
          <p:nvPr/>
        </p:nvGrpSpPr>
        <p:grpSpPr>
          <a:xfrm>
            <a:off x="7861903" y="4026476"/>
            <a:ext cx="540365" cy="540365"/>
            <a:chOff x="6309991" y="3586785"/>
            <a:chExt cx="292608" cy="292608"/>
          </a:xfrm>
        </p:grpSpPr>
        <p:sp>
          <p:nvSpPr>
            <p:cNvPr id="419" name="Oval 418"/>
            <p:cNvSpPr/>
            <p:nvPr/>
          </p:nvSpPr>
          <p:spPr>
            <a:xfrm>
              <a:off x="6309991" y="3586785"/>
              <a:ext cx="292608" cy="292608"/>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20" name="Freeform 6"/>
            <p:cNvSpPr>
              <a:spLocks noEditPoints="1"/>
            </p:cNvSpPr>
            <p:nvPr/>
          </p:nvSpPr>
          <p:spPr bwMode="auto">
            <a:xfrm>
              <a:off x="6346601" y="3649137"/>
              <a:ext cx="196761" cy="150586"/>
            </a:xfrm>
            <a:custGeom>
              <a:avLst/>
              <a:gdLst/>
              <a:ahLst/>
              <a:cxnLst>
                <a:cxn ang="0">
                  <a:pos x="1949" y="744"/>
                </a:cxn>
                <a:cxn ang="0">
                  <a:pos x="1846" y="1024"/>
                </a:cxn>
                <a:cxn ang="0">
                  <a:pos x="1232" y="956"/>
                </a:cxn>
                <a:cxn ang="0">
                  <a:pos x="1090" y="834"/>
                </a:cxn>
                <a:cxn ang="0">
                  <a:pos x="1488" y="389"/>
                </a:cxn>
                <a:cxn ang="0">
                  <a:pos x="1300" y="194"/>
                </a:cxn>
                <a:cxn ang="0">
                  <a:pos x="1119" y="10"/>
                </a:cxn>
                <a:cxn ang="0">
                  <a:pos x="1071" y="10"/>
                </a:cxn>
                <a:cxn ang="0">
                  <a:pos x="88" y="983"/>
                </a:cxn>
                <a:cxn ang="0">
                  <a:pos x="122" y="1031"/>
                </a:cxn>
                <a:cxn ang="0">
                  <a:pos x="44" y="1123"/>
                </a:cxn>
                <a:cxn ang="0">
                  <a:pos x="80" y="1172"/>
                </a:cxn>
                <a:cxn ang="0">
                  <a:pos x="13" y="1287"/>
                </a:cxn>
                <a:cxn ang="0">
                  <a:pos x="232" y="1492"/>
                </a:cxn>
                <a:cxn ang="0">
                  <a:pos x="320" y="1413"/>
                </a:cxn>
                <a:cxn ang="0">
                  <a:pos x="368" y="1447"/>
                </a:cxn>
                <a:cxn ang="0">
                  <a:pos x="460" y="1369"/>
                </a:cxn>
                <a:cxn ang="0">
                  <a:pos x="508" y="1403"/>
                </a:cxn>
                <a:cxn ang="0">
                  <a:pos x="899" y="1026"/>
                </a:cxn>
                <a:cxn ang="0">
                  <a:pos x="1027" y="1160"/>
                </a:cxn>
                <a:cxn ang="0">
                  <a:pos x="1384" y="1297"/>
                </a:cxn>
                <a:cxn ang="0">
                  <a:pos x="1846" y="1468"/>
                </a:cxn>
                <a:cxn ang="0">
                  <a:pos x="2017" y="1570"/>
                </a:cxn>
                <a:cxn ang="0">
                  <a:pos x="2051" y="778"/>
                </a:cxn>
                <a:cxn ang="0">
                  <a:pos x="228" y="1406"/>
                </a:cxn>
                <a:cxn ang="0">
                  <a:pos x="129" y="1222"/>
                </a:cxn>
                <a:cxn ang="0">
                  <a:pos x="228" y="1406"/>
                </a:cxn>
                <a:cxn ang="0">
                  <a:pos x="249" y="1244"/>
                </a:cxn>
                <a:cxn ang="0">
                  <a:pos x="150" y="1144"/>
                </a:cxn>
                <a:cxn ang="0">
                  <a:pos x="170" y="1079"/>
                </a:cxn>
                <a:cxn ang="0">
                  <a:pos x="368" y="1365"/>
                </a:cxn>
                <a:cxn ang="0">
                  <a:pos x="484" y="1297"/>
                </a:cxn>
                <a:cxn ang="0">
                  <a:pos x="170" y="983"/>
                </a:cxn>
                <a:cxn ang="0">
                  <a:pos x="1228" y="219"/>
                </a:cxn>
                <a:cxn ang="0">
                  <a:pos x="1153" y="341"/>
                </a:cxn>
                <a:cxn ang="0">
                  <a:pos x="1201" y="341"/>
                </a:cxn>
                <a:cxn ang="0">
                  <a:pos x="1322" y="316"/>
                </a:cxn>
                <a:cxn ang="0">
                  <a:pos x="1201" y="485"/>
                </a:cxn>
                <a:cxn ang="0">
                  <a:pos x="1249" y="485"/>
                </a:cxn>
                <a:cxn ang="0">
                  <a:pos x="1416" y="413"/>
                </a:cxn>
                <a:cxn ang="0">
                  <a:pos x="1045" y="1076"/>
                </a:cxn>
                <a:cxn ang="0">
                  <a:pos x="1044" y="884"/>
                </a:cxn>
                <a:cxn ang="0">
                  <a:pos x="1045" y="1076"/>
                </a:cxn>
                <a:cxn ang="0">
                  <a:pos x="1368" y="1167"/>
                </a:cxn>
                <a:cxn ang="0">
                  <a:pos x="1368" y="1173"/>
                </a:cxn>
                <a:cxn ang="0">
                  <a:pos x="1367" y="1179"/>
                </a:cxn>
                <a:cxn ang="0">
                  <a:pos x="1366" y="1184"/>
                </a:cxn>
                <a:cxn ang="0">
                  <a:pos x="1232" y="1297"/>
                </a:cxn>
                <a:cxn ang="0">
                  <a:pos x="1175" y="1036"/>
                </a:cxn>
                <a:cxn ang="0">
                  <a:pos x="1210" y="1026"/>
                </a:cxn>
                <a:cxn ang="0">
                  <a:pos x="1345" y="1084"/>
                </a:cxn>
                <a:cxn ang="0">
                  <a:pos x="1367" y="1139"/>
                </a:cxn>
                <a:cxn ang="0">
                  <a:pos x="1367" y="1145"/>
                </a:cxn>
                <a:cxn ang="0">
                  <a:pos x="1368" y="1152"/>
                </a:cxn>
                <a:cxn ang="0">
                  <a:pos x="1368" y="1160"/>
                </a:cxn>
                <a:cxn ang="0">
                  <a:pos x="1846" y="1229"/>
                </a:cxn>
                <a:cxn ang="0">
                  <a:pos x="1440" y="1160"/>
                </a:cxn>
                <a:cxn ang="0">
                  <a:pos x="1846" y="1092"/>
                </a:cxn>
                <a:cxn ang="0">
                  <a:pos x="1983" y="1502"/>
                </a:cxn>
                <a:cxn ang="0">
                  <a:pos x="1914" y="1468"/>
                </a:cxn>
                <a:cxn ang="0">
                  <a:pos x="1949" y="812"/>
                </a:cxn>
                <a:cxn ang="0">
                  <a:pos x="1983" y="1502"/>
                </a:cxn>
              </a:cxnLst>
              <a:rect l="0" t="0" r="r" b="b"/>
              <a:pathLst>
                <a:path w="2051" h="1570">
                  <a:moveTo>
                    <a:pt x="2017" y="744"/>
                  </a:moveTo>
                  <a:cubicBezTo>
                    <a:pt x="1949" y="744"/>
                    <a:pt x="1949" y="744"/>
                    <a:pt x="1949" y="744"/>
                  </a:cubicBezTo>
                  <a:cubicBezTo>
                    <a:pt x="1891" y="744"/>
                    <a:pt x="1846" y="788"/>
                    <a:pt x="1846" y="846"/>
                  </a:cubicBezTo>
                  <a:cubicBezTo>
                    <a:pt x="1846" y="1024"/>
                    <a:pt x="1846" y="1024"/>
                    <a:pt x="1846" y="1024"/>
                  </a:cubicBezTo>
                  <a:cubicBezTo>
                    <a:pt x="1384" y="1024"/>
                    <a:pt x="1384" y="1024"/>
                    <a:pt x="1384" y="1024"/>
                  </a:cubicBezTo>
                  <a:cubicBezTo>
                    <a:pt x="1347" y="982"/>
                    <a:pt x="1292" y="956"/>
                    <a:pt x="1232" y="956"/>
                  </a:cubicBezTo>
                  <a:cubicBezTo>
                    <a:pt x="1225" y="956"/>
                    <a:pt x="1219" y="956"/>
                    <a:pt x="1212" y="957"/>
                  </a:cubicBezTo>
                  <a:cubicBezTo>
                    <a:pt x="1090" y="834"/>
                    <a:pt x="1090" y="834"/>
                    <a:pt x="1090" y="834"/>
                  </a:cubicBezTo>
                  <a:cubicBezTo>
                    <a:pt x="1488" y="437"/>
                    <a:pt x="1488" y="437"/>
                    <a:pt x="1488" y="437"/>
                  </a:cubicBezTo>
                  <a:cubicBezTo>
                    <a:pt x="1501" y="423"/>
                    <a:pt x="1501" y="403"/>
                    <a:pt x="1488" y="389"/>
                  </a:cubicBezTo>
                  <a:cubicBezTo>
                    <a:pt x="1306" y="202"/>
                    <a:pt x="1306" y="202"/>
                    <a:pt x="1306" y="202"/>
                  </a:cubicBezTo>
                  <a:cubicBezTo>
                    <a:pt x="1304" y="199"/>
                    <a:pt x="1302" y="197"/>
                    <a:pt x="1300" y="194"/>
                  </a:cubicBezTo>
                  <a:cubicBezTo>
                    <a:pt x="1298" y="192"/>
                    <a:pt x="1296" y="191"/>
                    <a:pt x="1293" y="189"/>
                  </a:cubicBezTo>
                  <a:cubicBezTo>
                    <a:pt x="1119" y="10"/>
                    <a:pt x="1119" y="10"/>
                    <a:pt x="1119" y="10"/>
                  </a:cubicBezTo>
                  <a:cubicBezTo>
                    <a:pt x="1112" y="3"/>
                    <a:pt x="1106" y="0"/>
                    <a:pt x="1095" y="0"/>
                  </a:cubicBezTo>
                  <a:cubicBezTo>
                    <a:pt x="1085" y="0"/>
                    <a:pt x="1078" y="3"/>
                    <a:pt x="1071" y="10"/>
                  </a:cubicBezTo>
                  <a:cubicBezTo>
                    <a:pt x="99" y="959"/>
                    <a:pt x="99" y="959"/>
                    <a:pt x="99" y="959"/>
                  </a:cubicBezTo>
                  <a:cubicBezTo>
                    <a:pt x="92" y="966"/>
                    <a:pt x="88" y="973"/>
                    <a:pt x="88" y="983"/>
                  </a:cubicBezTo>
                  <a:cubicBezTo>
                    <a:pt x="88" y="993"/>
                    <a:pt x="92" y="1000"/>
                    <a:pt x="99" y="1007"/>
                  </a:cubicBezTo>
                  <a:cubicBezTo>
                    <a:pt x="122" y="1031"/>
                    <a:pt x="122" y="1031"/>
                    <a:pt x="122" y="1031"/>
                  </a:cubicBezTo>
                  <a:cubicBezTo>
                    <a:pt x="54" y="1099"/>
                    <a:pt x="54" y="1099"/>
                    <a:pt x="54" y="1099"/>
                  </a:cubicBezTo>
                  <a:cubicBezTo>
                    <a:pt x="47" y="1106"/>
                    <a:pt x="44" y="1113"/>
                    <a:pt x="44" y="1123"/>
                  </a:cubicBezTo>
                  <a:cubicBezTo>
                    <a:pt x="44" y="1133"/>
                    <a:pt x="47" y="1140"/>
                    <a:pt x="54" y="1147"/>
                  </a:cubicBezTo>
                  <a:cubicBezTo>
                    <a:pt x="80" y="1172"/>
                    <a:pt x="80" y="1172"/>
                    <a:pt x="80" y="1172"/>
                  </a:cubicBezTo>
                  <a:cubicBezTo>
                    <a:pt x="13" y="1239"/>
                    <a:pt x="13" y="1239"/>
                    <a:pt x="13" y="1239"/>
                  </a:cubicBezTo>
                  <a:cubicBezTo>
                    <a:pt x="0" y="1253"/>
                    <a:pt x="0" y="1273"/>
                    <a:pt x="13" y="1287"/>
                  </a:cubicBezTo>
                  <a:cubicBezTo>
                    <a:pt x="208" y="1481"/>
                    <a:pt x="208" y="1481"/>
                    <a:pt x="208" y="1481"/>
                  </a:cubicBezTo>
                  <a:cubicBezTo>
                    <a:pt x="215" y="1488"/>
                    <a:pt x="221" y="1492"/>
                    <a:pt x="232" y="1492"/>
                  </a:cubicBezTo>
                  <a:cubicBezTo>
                    <a:pt x="239" y="1492"/>
                    <a:pt x="249" y="1488"/>
                    <a:pt x="252" y="1481"/>
                  </a:cubicBezTo>
                  <a:cubicBezTo>
                    <a:pt x="320" y="1413"/>
                    <a:pt x="320" y="1413"/>
                    <a:pt x="320" y="1413"/>
                  </a:cubicBezTo>
                  <a:cubicBezTo>
                    <a:pt x="344" y="1437"/>
                    <a:pt x="344" y="1437"/>
                    <a:pt x="344" y="1437"/>
                  </a:cubicBezTo>
                  <a:cubicBezTo>
                    <a:pt x="351" y="1444"/>
                    <a:pt x="358" y="1447"/>
                    <a:pt x="368" y="1447"/>
                  </a:cubicBezTo>
                  <a:cubicBezTo>
                    <a:pt x="378" y="1447"/>
                    <a:pt x="389" y="1444"/>
                    <a:pt x="392" y="1437"/>
                  </a:cubicBezTo>
                  <a:cubicBezTo>
                    <a:pt x="460" y="1369"/>
                    <a:pt x="460" y="1369"/>
                    <a:pt x="460" y="1369"/>
                  </a:cubicBezTo>
                  <a:cubicBezTo>
                    <a:pt x="484" y="1393"/>
                    <a:pt x="484" y="1393"/>
                    <a:pt x="484" y="1393"/>
                  </a:cubicBezTo>
                  <a:cubicBezTo>
                    <a:pt x="491" y="1399"/>
                    <a:pt x="498" y="1403"/>
                    <a:pt x="508" y="1403"/>
                  </a:cubicBezTo>
                  <a:cubicBezTo>
                    <a:pt x="518" y="1403"/>
                    <a:pt x="525" y="1399"/>
                    <a:pt x="532" y="1393"/>
                  </a:cubicBezTo>
                  <a:cubicBezTo>
                    <a:pt x="899" y="1026"/>
                    <a:pt x="899" y="1026"/>
                    <a:pt x="899" y="1026"/>
                  </a:cubicBezTo>
                  <a:cubicBezTo>
                    <a:pt x="1027" y="1154"/>
                    <a:pt x="1027" y="1154"/>
                    <a:pt x="1027" y="1154"/>
                  </a:cubicBezTo>
                  <a:cubicBezTo>
                    <a:pt x="1027" y="1156"/>
                    <a:pt x="1027" y="1158"/>
                    <a:pt x="1027" y="1160"/>
                  </a:cubicBezTo>
                  <a:cubicBezTo>
                    <a:pt x="1027" y="1273"/>
                    <a:pt x="1119" y="1365"/>
                    <a:pt x="1232" y="1365"/>
                  </a:cubicBezTo>
                  <a:cubicBezTo>
                    <a:pt x="1292" y="1365"/>
                    <a:pt x="1347" y="1339"/>
                    <a:pt x="1384" y="1297"/>
                  </a:cubicBezTo>
                  <a:cubicBezTo>
                    <a:pt x="1846" y="1297"/>
                    <a:pt x="1846" y="1297"/>
                    <a:pt x="1846" y="1297"/>
                  </a:cubicBezTo>
                  <a:cubicBezTo>
                    <a:pt x="1846" y="1468"/>
                    <a:pt x="1846" y="1468"/>
                    <a:pt x="1846" y="1468"/>
                  </a:cubicBezTo>
                  <a:cubicBezTo>
                    <a:pt x="1846" y="1526"/>
                    <a:pt x="1891" y="1570"/>
                    <a:pt x="1949" y="1570"/>
                  </a:cubicBezTo>
                  <a:cubicBezTo>
                    <a:pt x="2017" y="1570"/>
                    <a:pt x="2017" y="1570"/>
                    <a:pt x="2017" y="1570"/>
                  </a:cubicBezTo>
                  <a:cubicBezTo>
                    <a:pt x="2037" y="1570"/>
                    <a:pt x="2051" y="1556"/>
                    <a:pt x="2051" y="1536"/>
                  </a:cubicBezTo>
                  <a:cubicBezTo>
                    <a:pt x="2051" y="778"/>
                    <a:pt x="2051" y="778"/>
                    <a:pt x="2051" y="778"/>
                  </a:cubicBezTo>
                  <a:cubicBezTo>
                    <a:pt x="2051" y="758"/>
                    <a:pt x="2037" y="744"/>
                    <a:pt x="2017" y="744"/>
                  </a:cubicBezTo>
                  <a:close/>
                  <a:moveTo>
                    <a:pt x="228" y="1406"/>
                  </a:moveTo>
                  <a:cubicBezTo>
                    <a:pt x="85" y="1263"/>
                    <a:pt x="85" y="1263"/>
                    <a:pt x="85" y="1263"/>
                  </a:cubicBezTo>
                  <a:cubicBezTo>
                    <a:pt x="129" y="1222"/>
                    <a:pt x="129" y="1222"/>
                    <a:pt x="129" y="1222"/>
                  </a:cubicBezTo>
                  <a:cubicBezTo>
                    <a:pt x="273" y="1365"/>
                    <a:pt x="273" y="1365"/>
                    <a:pt x="273" y="1365"/>
                  </a:cubicBezTo>
                  <a:lnTo>
                    <a:pt x="228" y="1406"/>
                  </a:lnTo>
                  <a:close/>
                  <a:moveTo>
                    <a:pt x="368" y="1365"/>
                  </a:moveTo>
                  <a:cubicBezTo>
                    <a:pt x="249" y="1244"/>
                    <a:pt x="249" y="1244"/>
                    <a:pt x="249" y="1244"/>
                  </a:cubicBezTo>
                  <a:cubicBezTo>
                    <a:pt x="153" y="1147"/>
                    <a:pt x="153" y="1147"/>
                    <a:pt x="153" y="1147"/>
                  </a:cubicBezTo>
                  <a:cubicBezTo>
                    <a:pt x="152" y="1146"/>
                    <a:pt x="151" y="1145"/>
                    <a:pt x="150" y="1144"/>
                  </a:cubicBezTo>
                  <a:cubicBezTo>
                    <a:pt x="129" y="1123"/>
                    <a:pt x="129" y="1123"/>
                    <a:pt x="129" y="1123"/>
                  </a:cubicBezTo>
                  <a:cubicBezTo>
                    <a:pt x="170" y="1079"/>
                    <a:pt x="170" y="1079"/>
                    <a:pt x="170" y="1079"/>
                  </a:cubicBezTo>
                  <a:cubicBezTo>
                    <a:pt x="413" y="1321"/>
                    <a:pt x="413" y="1321"/>
                    <a:pt x="413" y="1321"/>
                  </a:cubicBezTo>
                  <a:lnTo>
                    <a:pt x="368" y="1365"/>
                  </a:lnTo>
                  <a:close/>
                  <a:moveTo>
                    <a:pt x="508" y="1321"/>
                  </a:moveTo>
                  <a:cubicBezTo>
                    <a:pt x="484" y="1297"/>
                    <a:pt x="484" y="1297"/>
                    <a:pt x="484" y="1297"/>
                  </a:cubicBezTo>
                  <a:cubicBezTo>
                    <a:pt x="194" y="1007"/>
                    <a:pt x="194" y="1007"/>
                    <a:pt x="194" y="1007"/>
                  </a:cubicBezTo>
                  <a:cubicBezTo>
                    <a:pt x="170" y="983"/>
                    <a:pt x="170" y="983"/>
                    <a:pt x="170" y="983"/>
                  </a:cubicBezTo>
                  <a:cubicBezTo>
                    <a:pt x="1095" y="82"/>
                    <a:pt x="1095" y="82"/>
                    <a:pt x="1095" y="82"/>
                  </a:cubicBezTo>
                  <a:cubicBezTo>
                    <a:pt x="1228" y="219"/>
                    <a:pt x="1228" y="219"/>
                    <a:pt x="1228" y="219"/>
                  </a:cubicBezTo>
                  <a:cubicBezTo>
                    <a:pt x="1153" y="293"/>
                    <a:pt x="1153" y="293"/>
                    <a:pt x="1153" y="293"/>
                  </a:cubicBezTo>
                  <a:cubicBezTo>
                    <a:pt x="1140" y="307"/>
                    <a:pt x="1140" y="328"/>
                    <a:pt x="1153" y="341"/>
                  </a:cubicBezTo>
                  <a:cubicBezTo>
                    <a:pt x="1160" y="348"/>
                    <a:pt x="1167" y="352"/>
                    <a:pt x="1177" y="352"/>
                  </a:cubicBezTo>
                  <a:cubicBezTo>
                    <a:pt x="1184" y="352"/>
                    <a:pt x="1194" y="348"/>
                    <a:pt x="1201" y="341"/>
                  </a:cubicBezTo>
                  <a:cubicBezTo>
                    <a:pt x="1275" y="267"/>
                    <a:pt x="1275" y="267"/>
                    <a:pt x="1275" y="267"/>
                  </a:cubicBezTo>
                  <a:cubicBezTo>
                    <a:pt x="1322" y="316"/>
                    <a:pt x="1322" y="316"/>
                    <a:pt x="1322" y="316"/>
                  </a:cubicBezTo>
                  <a:cubicBezTo>
                    <a:pt x="1201" y="437"/>
                    <a:pt x="1201" y="437"/>
                    <a:pt x="1201" y="437"/>
                  </a:cubicBezTo>
                  <a:cubicBezTo>
                    <a:pt x="1187" y="450"/>
                    <a:pt x="1187" y="471"/>
                    <a:pt x="1201" y="485"/>
                  </a:cubicBezTo>
                  <a:cubicBezTo>
                    <a:pt x="1208" y="491"/>
                    <a:pt x="1215" y="495"/>
                    <a:pt x="1225" y="495"/>
                  </a:cubicBezTo>
                  <a:cubicBezTo>
                    <a:pt x="1232" y="495"/>
                    <a:pt x="1242" y="491"/>
                    <a:pt x="1249" y="485"/>
                  </a:cubicBezTo>
                  <a:cubicBezTo>
                    <a:pt x="1369" y="364"/>
                    <a:pt x="1369" y="364"/>
                    <a:pt x="1369" y="364"/>
                  </a:cubicBezTo>
                  <a:cubicBezTo>
                    <a:pt x="1416" y="413"/>
                    <a:pt x="1416" y="413"/>
                    <a:pt x="1416" y="413"/>
                  </a:cubicBezTo>
                  <a:lnTo>
                    <a:pt x="508" y="1321"/>
                  </a:lnTo>
                  <a:close/>
                  <a:moveTo>
                    <a:pt x="1045" y="1076"/>
                  </a:moveTo>
                  <a:cubicBezTo>
                    <a:pt x="948" y="980"/>
                    <a:pt x="948" y="980"/>
                    <a:pt x="948" y="980"/>
                  </a:cubicBezTo>
                  <a:cubicBezTo>
                    <a:pt x="1044" y="884"/>
                    <a:pt x="1044" y="884"/>
                    <a:pt x="1044" y="884"/>
                  </a:cubicBezTo>
                  <a:cubicBezTo>
                    <a:pt x="1138" y="978"/>
                    <a:pt x="1138" y="978"/>
                    <a:pt x="1138" y="978"/>
                  </a:cubicBezTo>
                  <a:cubicBezTo>
                    <a:pt x="1097" y="1000"/>
                    <a:pt x="1064" y="1034"/>
                    <a:pt x="1045" y="1076"/>
                  </a:cubicBezTo>
                  <a:close/>
                  <a:moveTo>
                    <a:pt x="1368" y="1161"/>
                  </a:moveTo>
                  <a:cubicBezTo>
                    <a:pt x="1368" y="1163"/>
                    <a:pt x="1368" y="1165"/>
                    <a:pt x="1368" y="1167"/>
                  </a:cubicBezTo>
                  <a:cubicBezTo>
                    <a:pt x="1368" y="1168"/>
                    <a:pt x="1368" y="1168"/>
                    <a:pt x="1368" y="1169"/>
                  </a:cubicBezTo>
                  <a:cubicBezTo>
                    <a:pt x="1368" y="1170"/>
                    <a:pt x="1368" y="1172"/>
                    <a:pt x="1368" y="1173"/>
                  </a:cubicBezTo>
                  <a:cubicBezTo>
                    <a:pt x="1368" y="1174"/>
                    <a:pt x="1368" y="1175"/>
                    <a:pt x="1367" y="1176"/>
                  </a:cubicBezTo>
                  <a:cubicBezTo>
                    <a:pt x="1367" y="1177"/>
                    <a:pt x="1367" y="1178"/>
                    <a:pt x="1367" y="1179"/>
                  </a:cubicBezTo>
                  <a:cubicBezTo>
                    <a:pt x="1367" y="1180"/>
                    <a:pt x="1367" y="1181"/>
                    <a:pt x="1367" y="1182"/>
                  </a:cubicBezTo>
                  <a:cubicBezTo>
                    <a:pt x="1366" y="1183"/>
                    <a:pt x="1366" y="1184"/>
                    <a:pt x="1366" y="1184"/>
                  </a:cubicBezTo>
                  <a:cubicBezTo>
                    <a:pt x="1363" y="1203"/>
                    <a:pt x="1355" y="1221"/>
                    <a:pt x="1345" y="1237"/>
                  </a:cubicBezTo>
                  <a:cubicBezTo>
                    <a:pt x="1320" y="1273"/>
                    <a:pt x="1279" y="1297"/>
                    <a:pt x="1232" y="1297"/>
                  </a:cubicBezTo>
                  <a:cubicBezTo>
                    <a:pt x="1157" y="1297"/>
                    <a:pt x="1095" y="1236"/>
                    <a:pt x="1095" y="1160"/>
                  </a:cubicBezTo>
                  <a:cubicBezTo>
                    <a:pt x="1095" y="1105"/>
                    <a:pt x="1128" y="1058"/>
                    <a:pt x="1175" y="1036"/>
                  </a:cubicBezTo>
                  <a:cubicBezTo>
                    <a:pt x="1185" y="1032"/>
                    <a:pt x="1194" y="1029"/>
                    <a:pt x="1204" y="1027"/>
                  </a:cubicBezTo>
                  <a:cubicBezTo>
                    <a:pt x="1206" y="1027"/>
                    <a:pt x="1208" y="1026"/>
                    <a:pt x="1210" y="1026"/>
                  </a:cubicBezTo>
                  <a:cubicBezTo>
                    <a:pt x="1217" y="1025"/>
                    <a:pt x="1224" y="1024"/>
                    <a:pt x="1232" y="1024"/>
                  </a:cubicBezTo>
                  <a:cubicBezTo>
                    <a:pt x="1279" y="1024"/>
                    <a:pt x="1320" y="1048"/>
                    <a:pt x="1345" y="1084"/>
                  </a:cubicBezTo>
                  <a:cubicBezTo>
                    <a:pt x="1355" y="1100"/>
                    <a:pt x="1363" y="1118"/>
                    <a:pt x="1366" y="1137"/>
                  </a:cubicBezTo>
                  <a:cubicBezTo>
                    <a:pt x="1366" y="1137"/>
                    <a:pt x="1366" y="1138"/>
                    <a:pt x="1367" y="1139"/>
                  </a:cubicBezTo>
                  <a:cubicBezTo>
                    <a:pt x="1367" y="1140"/>
                    <a:pt x="1367" y="1141"/>
                    <a:pt x="1367" y="1142"/>
                  </a:cubicBezTo>
                  <a:cubicBezTo>
                    <a:pt x="1367" y="1143"/>
                    <a:pt x="1367" y="1144"/>
                    <a:pt x="1367" y="1145"/>
                  </a:cubicBezTo>
                  <a:cubicBezTo>
                    <a:pt x="1368" y="1146"/>
                    <a:pt x="1368" y="1147"/>
                    <a:pt x="1368" y="1148"/>
                  </a:cubicBezTo>
                  <a:cubicBezTo>
                    <a:pt x="1368" y="1149"/>
                    <a:pt x="1368" y="1151"/>
                    <a:pt x="1368" y="1152"/>
                  </a:cubicBezTo>
                  <a:cubicBezTo>
                    <a:pt x="1368" y="1153"/>
                    <a:pt x="1368" y="1153"/>
                    <a:pt x="1368" y="1154"/>
                  </a:cubicBezTo>
                  <a:cubicBezTo>
                    <a:pt x="1368" y="1156"/>
                    <a:pt x="1368" y="1158"/>
                    <a:pt x="1368" y="1160"/>
                  </a:cubicBezTo>
                  <a:lnTo>
                    <a:pt x="1368" y="1161"/>
                  </a:lnTo>
                  <a:close/>
                  <a:moveTo>
                    <a:pt x="1846" y="1229"/>
                  </a:moveTo>
                  <a:cubicBezTo>
                    <a:pt x="1426" y="1229"/>
                    <a:pt x="1426" y="1229"/>
                    <a:pt x="1426" y="1229"/>
                  </a:cubicBezTo>
                  <a:cubicBezTo>
                    <a:pt x="1433" y="1208"/>
                    <a:pt x="1440" y="1184"/>
                    <a:pt x="1440" y="1160"/>
                  </a:cubicBezTo>
                  <a:cubicBezTo>
                    <a:pt x="1440" y="1137"/>
                    <a:pt x="1433" y="1113"/>
                    <a:pt x="1426" y="1092"/>
                  </a:cubicBezTo>
                  <a:cubicBezTo>
                    <a:pt x="1846" y="1092"/>
                    <a:pt x="1846" y="1092"/>
                    <a:pt x="1846" y="1092"/>
                  </a:cubicBezTo>
                  <a:lnTo>
                    <a:pt x="1846" y="1229"/>
                  </a:lnTo>
                  <a:close/>
                  <a:moveTo>
                    <a:pt x="1983" y="1502"/>
                  </a:moveTo>
                  <a:cubicBezTo>
                    <a:pt x="1949" y="1502"/>
                    <a:pt x="1949" y="1502"/>
                    <a:pt x="1949" y="1502"/>
                  </a:cubicBezTo>
                  <a:cubicBezTo>
                    <a:pt x="1928" y="1502"/>
                    <a:pt x="1914" y="1488"/>
                    <a:pt x="1914" y="1468"/>
                  </a:cubicBezTo>
                  <a:cubicBezTo>
                    <a:pt x="1914" y="846"/>
                    <a:pt x="1914" y="846"/>
                    <a:pt x="1914" y="846"/>
                  </a:cubicBezTo>
                  <a:cubicBezTo>
                    <a:pt x="1914" y="826"/>
                    <a:pt x="1928" y="812"/>
                    <a:pt x="1949" y="812"/>
                  </a:cubicBezTo>
                  <a:cubicBezTo>
                    <a:pt x="1983" y="812"/>
                    <a:pt x="1983" y="812"/>
                    <a:pt x="1983" y="812"/>
                  </a:cubicBezTo>
                  <a:lnTo>
                    <a:pt x="1983" y="1502"/>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2" name="Group 447"/>
          <p:cNvGrpSpPr/>
          <p:nvPr/>
        </p:nvGrpSpPr>
        <p:grpSpPr>
          <a:xfrm>
            <a:off x="2971800" y="3636308"/>
            <a:ext cx="548640" cy="548640"/>
            <a:chOff x="2971800" y="3638550"/>
            <a:chExt cx="548640" cy="548640"/>
          </a:xfrm>
        </p:grpSpPr>
        <p:sp>
          <p:nvSpPr>
            <p:cNvPr id="435" name="Oval 434"/>
            <p:cNvSpPr/>
            <p:nvPr/>
          </p:nvSpPr>
          <p:spPr>
            <a:xfrm>
              <a:off x="2971800" y="3638550"/>
              <a:ext cx="548640" cy="548640"/>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0423" name="Freeform 7"/>
            <p:cNvSpPr>
              <a:spLocks noEditPoints="1"/>
            </p:cNvSpPr>
            <p:nvPr/>
          </p:nvSpPr>
          <p:spPr bwMode="auto">
            <a:xfrm>
              <a:off x="3080427" y="3748367"/>
              <a:ext cx="331387" cy="329007"/>
            </a:xfrm>
            <a:custGeom>
              <a:avLst/>
              <a:gdLst/>
              <a:ahLst/>
              <a:cxnLst>
                <a:cxn ang="0">
                  <a:pos x="1182" y="0"/>
                </a:cxn>
                <a:cxn ang="0">
                  <a:pos x="987" y="0"/>
                </a:cxn>
                <a:cxn ang="0">
                  <a:pos x="890" y="53"/>
                </a:cxn>
                <a:cxn ang="0">
                  <a:pos x="820" y="53"/>
                </a:cxn>
                <a:cxn ang="0">
                  <a:pos x="814" y="54"/>
                </a:cxn>
                <a:cxn ang="0">
                  <a:pos x="674" y="115"/>
                </a:cxn>
                <a:cxn ang="0">
                  <a:pos x="649" y="147"/>
                </a:cxn>
                <a:cxn ang="0">
                  <a:pos x="623" y="115"/>
                </a:cxn>
                <a:cxn ang="0">
                  <a:pos x="483" y="54"/>
                </a:cxn>
                <a:cxn ang="0">
                  <a:pos x="477" y="53"/>
                </a:cxn>
                <a:cxn ang="0">
                  <a:pos x="407" y="53"/>
                </a:cxn>
                <a:cxn ang="0">
                  <a:pos x="310" y="0"/>
                </a:cxn>
                <a:cxn ang="0">
                  <a:pos x="115" y="0"/>
                </a:cxn>
                <a:cxn ang="0">
                  <a:pos x="0" y="115"/>
                </a:cxn>
                <a:cxn ang="0">
                  <a:pos x="23" y="146"/>
                </a:cxn>
                <a:cxn ang="0">
                  <a:pos x="301" y="229"/>
                </a:cxn>
                <a:cxn ang="0">
                  <a:pos x="310" y="231"/>
                </a:cxn>
                <a:cxn ang="0">
                  <a:pos x="425" y="117"/>
                </a:cxn>
                <a:cxn ang="0">
                  <a:pos x="477" y="117"/>
                </a:cxn>
                <a:cxn ang="0">
                  <a:pos x="481" y="118"/>
                </a:cxn>
                <a:cxn ang="0">
                  <a:pos x="617" y="257"/>
                </a:cxn>
                <a:cxn ang="0">
                  <a:pos x="617" y="1206"/>
                </a:cxn>
                <a:cxn ang="0">
                  <a:pos x="519" y="1206"/>
                </a:cxn>
                <a:cxn ang="0">
                  <a:pos x="519" y="1287"/>
                </a:cxn>
                <a:cxn ang="0">
                  <a:pos x="778" y="1287"/>
                </a:cxn>
                <a:cxn ang="0">
                  <a:pos x="778" y="1206"/>
                </a:cxn>
                <a:cxn ang="0">
                  <a:pos x="681" y="1206"/>
                </a:cxn>
                <a:cxn ang="0">
                  <a:pos x="681" y="257"/>
                </a:cxn>
                <a:cxn ang="0">
                  <a:pos x="816" y="118"/>
                </a:cxn>
                <a:cxn ang="0">
                  <a:pos x="820" y="117"/>
                </a:cxn>
                <a:cxn ang="0">
                  <a:pos x="872" y="117"/>
                </a:cxn>
                <a:cxn ang="0">
                  <a:pos x="987" y="231"/>
                </a:cxn>
                <a:cxn ang="0">
                  <a:pos x="996" y="229"/>
                </a:cxn>
                <a:cxn ang="0">
                  <a:pos x="1274" y="146"/>
                </a:cxn>
                <a:cxn ang="0">
                  <a:pos x="1297" y="115"/>
                </a:cxn>
                <a:cxn ang="0">
                  <a:pos x="1182" y="0"/>
                </a:cxn>
                <a:cxn ang="0">
                  <a:pos x="314" y="167"/>
                </a:cxn>
                <a:cxn ang="0">
                  <a:pos x="69" y="93"/>
                </a:cxn>
                <a:cxn ang="0">
                  <a:pos x="115" y="64"/>
                </a:cxn>
                <a:cxn ang="0">
                  <a:pos x="310" y="64"/>
                </a:cxn>
                <a:cxn ang="0">
                  <a:pos x="361" y="115"/>
                </a:cxn>
                <a:cxn ang="0">
                  <a:pos x="314" y="167"/>
                </a:cxn>
                <a:cxn ang="0">
                  <a:pos x="983" y="167"/>
                </a:cxn>
                <a:cxn ang="0">
                  <a:pos x="936" y="115"/>
                </a:cxn>
                <a:cxn ang="0">
                  <a:pos x="987" y="64"/>
                </a:cxn>
                <a:cxn ang="0">
                  <a:pos x="1182" y="64"/>
                </a:cxn>
                <a:cxn ang="0">
                  <a:pos x="1228" y="93"/>
                </a:cxn>
                <a:cxn ang="0">
                  <a:pos x="983" y="167"/>
                </a:cxn>
              </a:cxnLst>
              <a:rect l="0" t="0" r="r" b="b"/>
              <a:pathLst>
                <a:path w="1297" h="1287">
                  <a:moveTo>
                    <a:pt x="1182" y="0"/>
                  </a:moveTo>
                  <a:cubicBezTo>
                    <a:pt x="987" y="0"/>
                    <a:pt x="987" y="0"/>
                    <a:pt x="987" y="0"/>
                  </a:cubicBezTo>
                  <a:cubicBezTo>
                    <a:pt x="946" y="0"/>
                    <a:pt x="910" y="21"/>
                    <a:pt x="890" y="53"/>
                  </a:cubicBezTo>
                  <a:cubicBezTo>
                    <a:pt x="820" y="53"/>
                    <a:pt x="820" y="53"/>
                    <a:pt x="820" y="53"/>
                  </a:cubicBezTo>
                  <a:cubicBezTo>
                    <a:pt x="818" y="53"/>
                    <a:pt x="816" y="53"/>
                    <a:pt x="814" y="54"/>
                  </a:cubicBezTo>
                  <a:cubicBezTo>
                    <a:pt x="761" y="55"/>
                    <a:pt x="711" y="77"/>
                    <a:pt x="674" y="115"/>
                  </a:cubicBezTo>
                  <a:cubicBezTo>
                    <a:pt x="664" y="125"/>
                    <a:pt x="656" y="136"/>
                    <a:pt x="649" y="147"/>
                  </a:cubicBezTo>
                  <a:cubicBezTo>
                    <a:pt x="641" y="136"/>
                    <a:pt x="633" y="125"/>
                    <a:pt x="623" y="115"/>
                  </a:cubicBezTo>
                  <a:cubicBezTo>
                    <a:pt x="586" y="77"/>
                    <a:pt x="536" y="55"/>
                    <a:pt x="483" y="54"/>
                  </a:cubicBezTo>
                  <a:cubicBezTo>
                    <a:pt x="481" y="53"/>
                    <a:pt x="479" y="53"/>
                    <a:pt x="477" y="53"/>
                  </a:cubicBezTo>
                  <a:cubicBezTo>
                    <a:pt x="407" y="53"/>
                    <a:pt x="407" y="53"/>
                    <a:pt x="407" y="53"/>
                  </a:cubicBezTo>
                  <a:cubicBezTo>
                    <a:pt x="387" y="21"/>
                    <a:pt x="351" y="0"/>
                    <a:pt x="310" y="0"/>
                  </a:cubicBezTo>
                  <a:cubicBezTo>
                    <a:pt x="115" y="0"/>
                    <a:pt x="115" y="0"/>
                    <a:pt x="115" y="0"/>
                  </a:cubicBezTo>
                  <a:cubicBezTo>
                    <a:pt x="52" y="0"/>
                    <a:pt x="0" y="52"/>
                    <a:pt x="0" y="115"/>
                  </a:cubicBezTo>
                  <a:cubicBezTo>
                    <a:pt x="0" y="129"/>
                    <a:pt x="9" y="142"/>
                    <a:pt x="23" y="146"/>
                  </a:cubicBezTo>
                  <a:cubicBezTo>
                    <a:pt x="301" y="229"/>
                    <a:pt x="301" y="229"/>
                    <a:pt x="301" y="229"/>
                  </a:cubicBezTo>
                  <a:cubicBezTo>
                    <a:pt x="304" y="230"/>
                    <a:pt x="307" y="231"/>
                    <a:pt x="310" y="231"/>
                  </a:cubicBezTo>
                  <a:cubicBezTo>
                    <a:pt x="373" y="231"/>
                    <a:pt x="424" y="180"/>
                    <a:pt x="425" y="117"/>
                  </a:cubicBezTo>
                  <a:cubicBezTo>
                    <a:pt x="477" y="117"/>
                    <a:pt x="477" y="117"/>
                    <a:pt x="477" y="117"/>
                  </a:cubicBezTo>
                  <a:cubicBezTo>
                    <a:pt x="478" y="117"/>
                    <a:pt x="480" y="117"/>
                    <a:pt x="481" y="118"/>
                  </a:cubicBezTo>
                  <a:cubicBezTo>
                    <a:pt x="557" y="120"/>
                    <a:pt x="617" y="181"/>
                    <a:pt x="617" y="257"/>
                  </a:cubicBezTo>
                  <a:cubicBezTo>
                    <a:pt x="617" y="1206"/>
                    <a:pt x="617" y="1206"/>
                    <a:pt x="617" y="1206"/>
                  </a:cubicBezTo>
                  <a:cubicBezTo>
                    <a:pt x="519" y="1206"/>
                    <a:pt x="519" y="1206"/>
                    <a:pt x="519" y="1206"/>
                  </a:cubicBezTo>
                  <a:cubicBezTo>
                    <a:pt x="519" y="1287"/>
                    <a:pt x="519" y="1287"/>
                    <a:pt x="519" y="1287"/>
                  </a:cubicBezTo>
                  <a:cubicBezTo>
                    <a:pt x="778" y="1287"/>
                    <a:pt x="778" y="1287"/>
                    <a:pt x="778" y="1287"/>
                  </a:cubicBezTo>
                  <a:cubicBezTo>
                    <a:pt x="778" y="1206"/>
                    <a:pt x="778" y="1206"/>
                    <a:pt x="778" y="1206"/>
                  </a:cubicBezTo>
                  <a:cubicBezTo>
                    <a:pt x="681" y="1206"/>
                    <a:pt x="681" y="1206"/>
                    <a:pt x="681" y="1206"/>
                  </a:cubicBezTo>
                  <a:cubicBezTo>
                    <a:pt x="681" y="257"/>
                    <a:pt x="681" y="257"/>
                    <a:pt x="681" y="257"/>
                  </a:cubicBezTo>
                  <a:cubicBezTo>
                    <a:pt x="681" y="181"/>
                    <a:pt x="740" y="120"/>
                    <a:pt x="816" y="118"/>
                  </a:cubicBezTo>
                  <a:cubicBezTo>
                    <a:pt x="817" y="117"/>
                    <a:pt x="819" y="117"/>
                    <a:pt x="820" y="117"/>
                  </a:cubicBezTo>
                  <a:cubicBezTo>
                    <a:pt x="872" y="117"/>
                    <a:pt x="872" y="117"/>
                    <a:pt x="872" y="117"/>
                  </a:cubicBezTo>
                  <a:cubicBezTo>
                    <a:pt x="873" y="180"/>
                    <a:pt x="924" y="231"/>
                    <a:pt x="987" y="231"/>
                  </a:cubicBezTo>
                  <a:cubicBezTo>
                    <a:pt x="990" y="231"/>
                    <a:pt x="993" y="230"/>
                    <a:pt x="996" y="229"/>
                  </a:cubicBezTo>
                  <a:cubicBezTo>
                    <a:pt x="1274" y="146"/>
                    <a:pt x="1274" y="146"/>
                    <a:pt x="1274" y="146"/>
                  </a:cubicBezTo>
                  <a:cubicBezTo>
                    <a:pt x="1288" y="142"/>
                    <a:pt x="1297" y="129"/>
                    <a:pt x="1297" y="115"/>
                  </a:cubicBezTo>
                  <a:cubicBezTo>
                    <a:pt x="1297" y="52"/>
                    <a:pt x="1245" y="0"/>
                    <a:pt x="1182" y="0"/>
                  </a:cubicBezTo>
                  <a:close/>
                  <a:moveTo>
                    <a:pt x="314" y="167"/>
                  </a:moveTo>
                  <a:cubicBezTo>
                    <a:pt x="69" y="93"/>
                    <a:pt x="69" y="93"/>
                    <a:pt x="69" y="93"/>
                  </a:cubicBezTo>
                  <a:cubicBezTo>
                    <a:pt x="77" y="76"/>
                    <a:pt x="95" y="64"/>
                    <a:pt x="115" y="64"/>
                  </a:cubicBezTo>
                  <a:cubicBezTo>
                    <a:pt x="310" y="64"/>
                    <a:pt x="310" y="64"/>
                    <a:pt x="310" y="64"/>
                  </a:cubicBezTo>
                  <a:cubicBezTo>
                    <a:pt x="338" y="64"/>
                    <a:pt x="361" y="87"/>
                    <a:pt x="361" y="115"/>
                  </a:cubicBezTo>
                  <a:cubicBezTo>
                    <a:pt x="361" y="142"/>
                    <a:pt x="341" y="164"/>
                    <a:pt x="314" y="167"/>
                  </a:cubicBezTo>
                  <a:close/>
                  <a:moveTo>
                    <a:pt x="983" y="167"/>
                  </a:moveTo>
                  <a:cubicBezTo>
                    <a:pt x="956" y="164"/>
                    <a:pt x="936" y="142"/>
                    <a:pt x="936" y="115"/>
                  </a:cubicBezTo>
                  <a:cubicBezTo>
                    <a:pt x="936" y="87"/>
                    <a:pt x="959" y="64"/>
                    <a:pt x="987" y="64"/>
                  </a:cubicBezTo>
                  <a:cubicBezTo>
                    <a:pt x="1182" y="64"/>
                    <a:pt x="1182" y="64"/>
                    <a:pt x="1182" y="64"/>
                  </a:cubicBezTo>
                  <a:cubicBezTo>
                    <a:pt x="1202" y="64"/>
                    <a:pt x="1220" y="76"/>
                    <a:pt x="1228" y="93"/>
                  </a:cubicBezTo>
                  <a:lnTo>
                    <a:pt x="983" y="167"/>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3" name="Group 448"/>
          <p:cNvGrpSpPr/>
          <p:nvPr/>
        </p:nvGrpSpPr>
        <p:grpSpPr>
          <a:xfrm>
            <a:off x="2102026" y="3483908"/>
            <a:ext cx="548640" cy="548640"/>
            <a:chOff x="2102026" y="3486150"/>
            <a:chExt cx="548640" cy="548640"/>
          </a:xfrm>
        </p:grpSpPr>
        <p:sp>
          <p:nvSpPr>
            <p:cNvPr id="432" name="Oval 431"/>
            <p:cNvSpPr/>
            <p:nvPr/>
          </p:nvSpPr>
          <p:spPr>
            <a:xfrm>
              <a:off x="2102026" y="3486150"/>
              <a:ext cx="548640" cy="548640"/>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0428" name="Freeform 12"/>
            <p:cNvSpPr>
              <a:spLocks noEditPoints="1"/>
            </p:cNvSpPr>
            <p:nvPr/>
          </p:nvSpPr>
          <p:spPr bwMode="auto">
            <a:xfrm>
              <a:off x="2187412" y="3571497"/>
              <a:ext cx="377868" cy="377946"/>
            </a:xfrm>
            <a:custGeom>
              <a:avLst/>
              <a:gdLst/>
              <a:ahLst/>
              <a:cxnLst>
                <a:cxn ang="0">
                  <a:pos x="779" y="475"/>
                </a:cxn>
                <a:cxn ang="0">
                  <a:pos x="819" y="416"/>
                </a:cxn>
                <a:cxn ang="0">
                  <a:pos x="698" y="236"/>
                </a:cxn>
                <a:cxn ang="0">
                  <a:pos x="740" y="449"/>
                </a:cxn>
                <a:cxn ang="0">
                  <a:pos x="379" y="997"/>
                </a:cxn>
                <a:cxn ang="0">
                  <a:pos x="166" y="1040"/>
                </a:cxn>
                <a:cxn ang="0">
                  <a:pos x="379" y="1082"/>
                </a:cxn>
                <a:cxn ang="0">
                  <a:pos x="1253" y="472"/>
                </a:cxn>
                <a:cxn ang="0">
                  <a:pos x="1308" y="449"/>
                </a:cxn>
                <a:cxn ang="0">
                  <a:pos x="1351" y="236"/>
                </a:cxn>
                <a:cxn ang="0">
                  <a:pos x="1230" y="416"/>
                </a:cxn>
                <a:cxn ang="0">
                  <a:pos x="1576" y="795"/>
                </a:cxn>
                <a:cxn ang="0">
                  <a:pos x="1632" y="818"/>
                </a:cxn>
                <a:cxn ang="0">
                  <a:pos x="1812" y="697"/>
                </a:cxn>
                <a:cxn ang="0">
                  <a:pos x="1599" y="740"/>
                </a:cxn>
                <a:cxn ang="0">
                  <a:pos x="1019" y="443"/>
                </a:cxn>
                <a:cxn ang="0">
                  <a:pos x="1062" y="229"/>
                </a:cxn>
                <a:cxn ang="0">
                  <a:pos x="976" y="229"/>
                </a:cxn>
                <a:cxn ang="0">
                  <a:pos x="1019" y="443"/>
                </a:cxn>
                <a:cxn ang="0">
                  <a:pos x="259" y="1295"/>
                </a:cxn>
                <a:cxn ang="0">
                  <a:pos x="275" y="1377"/>
                </a:cxn>
                <a:cxn ang="0">
                  <a:pos x="449" y="1308"/>
                </a:cxn>
                <a:cxn ang="0">
                  <a:pos x="416" y="1229"/>
                </a:cxn>
                <a:cxn ang="0">
                  <a:pos x="0" y="1024"/>
                </a:cxn>
                <a:cxn ang="0">
                  <a:pos x="2048" y="1024"/>
                </a:cxn>
                <a:cxn ang="0">
                  <a:pos x="1024" y="1963"/>
                </a:cxn>
                <a:cxn ang="0">
                  <a:pos x="1024" y="85"/>
                </a:cxn>
                <a:cxn ang="0">
                  <a:pos x="1024" y="1963"/>
                </a:cxn>
                <a:cxn ang="0">
                  <a:pos x="292" y="674"/>
                </a:cxn>
                <a:cxn ang="0">
                  <a:pos x="259" y="753"/>
                </a:cxn>
                <a:cxn ang="0">
                  <a:pos x="433" y="822"/>
                </a:cxn>
                <a:cxn ang="0">
                  <a:pos x="449" y="740"/>
                </a:cxn>
                <a:cxn ang="0">
                  <a:pos x="1632" y="1229"/>
                </a:cxn>
                <a:cxn ang="0">
                  <a:pos x="1599" y="1308"/>
                </a:cxn>
                <a:cxn ang="0">
                  <a:pos x="1773" y="1377"/>
                </a:cxn>
                <a:cxn ang="0">
                  <a:pos x="1789" y="1295"/>
                </a:cxn>
                <a:cxn ang="0">
                  <a:pos x="1664" y="981"/>
                </a:cxn>
                <a:cxn ang="0">
                  <a:pos x="1664" y="1067"/>
                </a:cxn>
                <a:cxn ang="0">
                  <a:pos x="1877" y="1024"/>
                </a:cxn>
                <a:cxn ang="0">
                  <a:pos x="1567" y="481"/>
                </a:cxn>
                <a:cxn ang="0">
                  <a:pos x="1111" y="877"/>
                </a:cxn>
                <a:cxn ang="0">
                  <a:pos x="853" y="1024"/>
                </a:cxn>
                <a:cxn ang="0">
                  <a:pos x="1195" y="1024"/>
                </a:cxn>
                <a:cxn ang="0">
                  <a:pos x="1567" y="541"/>
                </a:cxn>
                <a:cxn ang="0">
                  <a:pos x="1024" y="1109"/>
                </a:cxn>
                <a:cxn ang="0">
                  <a:pos x="1024" y="939"/>
                </a:cxn>
                <a:cxn ang="0">
                  <a:pos x="1024" y="1109"/>
                </a:cxn>
                <a:cxn ang="0">
                  <a:pos x="481" y="421"/>
                </a:cxn>
                <a:cxn ang="0">
                  <a:pos x="421" y="481"/>
                </a:cxn>
                <a:cxn ang="0">
                  <a:pos x="571" y="614"/>
                </a:cxn>
                <a:cxn ang="0">
                  <a:pos x="602" y="541"/>
                </a:cxn>
                <a:cxn ang="0">
                  <a:pos x="640" y="1365"/>
                </a:cxn>
                <a:cxn ang="0">
                  <a:pos x="597" y="1664"/>
                </a:cxn>
                <a:cxn ang="0">
                  <a:pos x="1408" y="1707"/>
                </a:cxn>
                <a:cxn ang="0">
                  <a:pos x="1451" y="1408"/>
                </a:cxn>
                <a:cxn ang="0">
                  <a:pos x="1365" y="1621"/>
                </a:cxn>
                <a:cxn ang="0">
                  <a:pos x="683" y="1451"/>
                </a:cxn>
                <a:cxn ang="0">
                  <a:pos x="1365" y="1621"/>
                </a:cxn>
              </a:cxnLst>
              <a:rect l="0" t="0" r="r" b="b"/>
              <a:pathLst>
                <a:path w="2048" h="2048">
                  <a:moveTo>
                    <a:pt x="740" y="449"/>
                  </a:moveTo>
                  <a:cubicBezTo>
                    <a:pt x="746" y="465"/>
                    <a:pt x="762" y="475"/>
                    <a:pt x="779" y="475"/>
                  </a:cubicBezTo>
                  <a:cubicBezTo>
                    <a:pt x="785" y="475"/>
                    <a:pt x="790" y="474"/>
                    <a:pt x="795" y="472"/>
                  </a:cubicBezTo>
                  <a:cubicBezTo>
                    <a:pt x="817" y="463"/>
                    <a:pt x="828" y="438"/>
                    <a:pt x="819" y="416"/>
                  </a:cubicBezTo>
                  <a:cubicBezTo>
                    <a:pt x="753" y="259"/>
                    <a:pt x="753" y="259"/>
                    <a:pt x="753" y="259"/>
                  </a:cubicBezTo>
                  <a:cubicBezTo>
                    <a:pt x="744" y="237"/>
                    <a:pt x="719" y="227"/>
                    <a:pt x="698" y="236"/>
                  </a:cubicBezTo>
                  <a:cubicBezTo>
                    <a:pt x="676" y="245"/>
                    <a:pt x="665" y="270"/>
                    <a:pt x="674" y="291"/>
                  </a:cubicBezTo>
                  <a:lnTo>
                    <a:pt x="740" y="449"/>
                  </a:lnTo>
                  <a:close/>
                  <a:moveTo>
                    <a:pt x="422" y="1040"/>
                  </a:moveTo>
                  <a:cubicBezTo>
                    <a:pt x="422" y="1016"/>
                    <a:pt x="403" y="997"/>
                    <a:pt x="379" y="997"/>
                  </a:cubicBezTo>
                  <a:cubicBezTo>
                    <a:pt x="208" y="997"/>
                    <a:pt x="208" y="997"/>
                    <a:pt x="208" y="997"/>
                  </a:cubicBezTo>
                  <a:cubicBezTo>
                    <a:pt x="185" y="997"/>
                    <a:pt x="166" y="1016"/>
                    <a:pt x="166" y="1040"/>
                  </a:cubicBezTo>
                  <a:cubicBezTo>
                    <a:pt x="166" y="1063"/>
                    <a:pt x="185" y="1082"/>
                    <a:pt x="208" y="1082"/>
                  </a:cubicBezTo>
                  <a:cubicBezTo>
                    <a:pt x="379" y="1082"/>
                    <a:pt x="379" y="1082"/>
                    <a:pt x="379" y="1082"/>
                  </a:cubicBezTo>
                  <a:cubicBezTo>
                    <a:pt x="403" y="1082"/>
                    <a:pt x="422" y="1063"/>
                    <a:pt x="422" y="1040"/>
                  </a:cubicBezTo>
                  <a:close/>
                  <a:moveTo>
                    <a:pt x="1253" y="472"/>
                  </a:moveTo>
                  <a:cubicBezTo>
                    <a:pt x="1258" y="474"/>
                    <a:pt x="1263" y="475"/>
                    <a:pt x="1269" y="475"/>
                  </a:cubicBezTo>
                  <a:cubicBezTo>
                    <a:pt x="1286" y="475"/>
                    <a:pt x="1302" y="465"/>
                    <a:pt x="1308" y="449"/>
                  </a:cubicBezTo>
                  <a:cubicBezTo>
                    <a:pt x="1374" y="291"/>
                    <a:pt x="1374" y="291"/>
                    <a:pt x="1374" y="291"/>
                  </a:cubicBezTo>
                  <a:cubicBezTo>
                    <a:pt x="1383" y="270"/>
                    <a:pt x="1372" y="245"/>
                    <a:pt x="1351" y="236"/>
                  </a:cubicBezTo>
                  <a:cubicBezTo>
                    <a:pt x="1329" y="227"/>
                    <a:pt x="1304" y="237"/>
                    <a:pt x="1295" y="259"/>
                  </a:cubicBezTo>
                  <a:cubicBezTo>
                    <a:pt x="1230" y="416"/>
                    <a:pt x="1230" y="416"/>
                    <a:pt x="1230" y="416"/>
                  </a:cubicBezTo>
                  <a:cubicBezTo>
                    <a:pt x="1221" y="438"/>
                    <a:pt x="1231" y="463"/>
                    <a:pt x="1253" y="472"/>
                  </a:cubicBezTo>
                  <a:close/>
                  <a:moveTo>
                    <a:pt x="1576" y="795"/>
                  </a:moveTo>
                  <a:cubicBezTo>
                    <a:pt x="1583" y="812"/>
                    <a:pt x="1599" y="822"/>
                    <a:pt x="1615" y="822"/>
                  </a:cubicBezTo>
                  <a:cubicBezTo>
                    <a:pt x="1621" y="822"/>
                    <a:pt x="1626" y="821"/>
                    <a:pt x="1632" y="818"/>
                  </a:cubicBezTo>
                  <a:cubicBezTo>
                    <a:pt x="1789" y="753"/>
                    <a:pt x="1789" y="753"/>
                    <a:pt x="1789" y="753"/>
                  </a:cubicBezTo>
                  <a:cubicBezTo>
                    <a:pt x="1811" y="744"/>
                    <a:pt x="1821" y="719"/>
                    <a:pt x="1812" y="697"/>
                  </a:cubicBezTo>
                  <a:cubicBezTo>
                    <a:pt x="1803" y="676"/>
                    <a:pt x="1778" y="665"/>
                    <a:pt x="1757" y="674"/>
                  </a:cubicBezTo>
                  <a:cubicBezTo>
                    <a:pt x="1599" y="740"/>
                    <a:pt x="1599" y="740"/>
                    <a:pt x="1599" y="740"/>
                  </a:cubicBezTo>
                  <a:cubicBezTo>
                    <a:pt x="1577" y="749"/>
                    <a:pt x="1567" y="774"/>
                    <a:pt x="1576" y="795"/>
                  </a:cubicBezTo>
                  <a:close/>
                  <a:moveTo>
                    <a:pt x="1019" y="443"/>
                  </a:moveTo>
                  <a:cubicBezTo>
                    <a:pt x="1043" y="443"/>
                    <a:pt x="1062" y="423"/>
                    <a:pt x="1062" y="400"/>
                  </a:cubicBezTo>
                  <a:cubicBezTo>
                    <a:pt x="1062" y="229"/>
                    <a:pt x="1062" y="229"/>
                    <a:pt x="1062" y="229"/>
                  </a:cubicBezTo>
                  <a:cubicBezTo>
                    <a:pt x="1062" y="206"/>
                    <a:pt x="1043" y="187"/>
                    <a:pt x="1019" y="187"/>
                  </a:cubicBezTo>
                  <a:cubicBezTo>
                    <a:pt x="996" y="187"/>
                    <a:pt x="976" y="206"/>
                    <a:pt x="976" y="229"/>
                  </a:cubicBezTo>
                  <a:cubicBezTo>
                    <a:pt x="976" y="400"/>
                    <a:pt x="976" y="400"/>
                    <a:pt x="976" y="400"/>
                  </a:cubicBezTo>
                  <a:cubicBezTo>
                    <a:pt x="976" y="423"/>
                    <a:pt x="996" y="443"/>
                    <a:pt x="1019" y="443"/>
                  </a:cubicBezTo>
                  <a:close/>
                  <a:moveTo>
                    <a:pt x="416" y="1229"/>
                  </a:moveTo>
                  <a:cubicBezTo>
                    <a:pt x="259" y="1295"/>
                    <a:pt x="259" y="1295"/>
                    <a:pt x="259" y="1295"/>
                  </a:cubicBezTo>
                  <a:cubicBezTo>
                    <a:pt x="237" y="1304"/>
                    <a:pt x="227" y="1329"/>
                    <a:pt x="236" y="1350"/>
                  </a:cubicBezTo>
                  <a:cubicBezTo>
                    <a:pt x="242" y="1367"/>
                    <a:pt x="258" y="1377"/>
                    <a:pt x="275" y="1377"/>
                  </a:cubicBezTo>
                  <a:cubicBezTo>
                    <a:pt x="281" y="1377"/>
                    <a:pt x="286" y="1376"/>
                    <a:pt x="291" y="1374"/>
                  </a:cubicBezTo>
                  <a:cubicBezTo>
                    <a:pt x="449" y="1308"/>
                    <a:pt x="449" y="1308"/>
                    <a:pt x="449" y="1308"/>
                  </a:cubicBezTo>
                  <a:cubicBezTo>
                    <a:pt x="471" y="1299"/>
                    <a:pt x="481" y="1274"/>
                    <a:pt x="472" y="1253"/>
                  </a:cubicBezTo>
                  <a:cubicBezTo>
                    <a:pt x="463" y="1231"/>
                    <a:pt x="438" y="1220"/>
                    <a:pt x="416" y="1229"/>
                  </a:cubicBezTo>
                  <a:close/>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024" y="1963"/>
                  </a:moveTo>
                  <a:cubicBezTo>
                    <a:pt x="506" y="1963"/>
                    <a:pt x="85" y="1542"/>
                    <a:pt x="85" y="1024"/>
                  </a:cubicBezTo>
                  <a:cubicBezTo>
                    <a:pt x="85" y="506"/>
                    <a:pt x="506" y="85"/>
                    <a:pt x="1024" y="85"/>
                  </a:cubicBezTo>
                  <a:cubicBezTo>
                    <a:pt x="1542" y="85"/>
                    <a:pt x="1963" y="506"/>
                    <a:pt x="1963" y="1024"/>
                  </a:cubicBezTo>
                  <a:cubicBezTo>
                    <a:pt x="1963" y="1542"/>
                    <a:pt x="1542" y="1963"/>
                    <a:pt x="1024" y="1963"/>
                  </a:cubicBezTo>
                  <a:close/>
                  <a:moveTo>
                    <a:pt x="449" y="740"/>
                  </a:moveTo>
                  <a:cubicBezTo>
                    <a:pt x="292" y="674"/>
                    <a:pt x="292" y="674"/>
                    <a:pt x="292" y="674"/>
                  </a:cubicBezTo>
                  <a:cubicBezTo>
                    <a:pt x="270" y="665"/>
                    <a:pt x="245" y="676"/>
                    <a:pt x="236" y="697"/>
                  </a:cubicBezTo>
                  <a:cubicBezTo>
                    <a:pt x="227" y="719"/>
                    <a:pt x="237" y="744"/>
                    <a:pt x="259" y="753"/>
                  </a:cubicBezTo>
                  <a:cubicBezTo>
                    <a:pt x="416" y="818"/>
                    <a:pt x="416" y="818"/>
                    <a:pt x="416" y="818"/>
                  </a:cubicBezTo>
                  <a:cubicBezTo>
                    <a:pt x="422" y="821"/>
                    <a:pt x="427" y="822"/>
                    <a:pt x="433" y="822"/>
                  </a:cubicBezTo>
                  <a:cubicBezTo>
                    <a:pt x="449" y="822"/>
                    <a:pt x="465" y="812"/>
                    <a:pt x="472" y="795"/>
                  </a:cubicBezTo>
                  <a:cubicBezTo>
                    <a:pt x="481" y="774"/>
                    <a:pt x="471" y="749"/>
                    <a:pt x="449" y="740"/>
                  </a:cubicBezTo>
                  <a:close/>
                  <a:moveTo>
                    <a:pt x="1789" y="1295"/>
                  </a:moveTo>
                  <a:cubicBezTo>
                    <a:pt x="1632" y="1229"/>
                    <a:pt x="1632" y="1229"/>
                    <a:pt x="1632" y="1229"/>
                  </a:cubicBezTo>
                  <a:cubicBezTo>
                    <a:pt x="1610" y="1220"/>
                    <a:pt x="1585" y="1231"/>
                    <a:pt x="1576" y="1253"/>
                  </a:cubicBezTo>
                  <a:cubicBezTo>
                    <a:pt x="1567" y="1274"/>
                    <a:pt x="1577" y="1299"/>
                    <a:pt x="1599" y="1308"/>
                  </a:cubicBezTo>
                  <a:cubicBezTo>
                    <a:pt x="1757" y="1374"/>
                    <a:pt x="1757" y="1374"/>
                    <a:pt x="1757" y="1374"/>
                  </a:cubicBezTo>
                  <a:cubicBezTo>
                    <a:pt x="1762" y="1376"/>
                    <a:pt x="1767" y="1377"/>
                    <a:pt x="1773" y="1377"/>
                  </a:cubicBezTo>
                  <a:cubicBezTo>
                    <a:pt x="1790" y="1377"/>
                    <a:pt x="1805" y="1367"/>
                    <a:pt x="1812" y="1351"/>
                  </a:cubicBezTo>
                  <a:cubicBezTo>
                    <a:pt x="1821" y="1329"/>
                    <a:pt x="1811" y="1304"/>
                    <a:pt x="1789" y="1295"/>
                  </a:cubicBezTo>
                  <a:close/>
                  <a:moveTo>
                    <a:pt x="1835" y="981"/>
                  </a:moveTo>
                  <a:cubicBezTo>
                    <a:pt x="1664" y="981"/>
                    <a:pt x="1664" y="981"/>
                    <a:pt x="1664" y="981"/>
                  </a:cubicBezTo>
                  <a:cubicBezTo>
                    <a:pt x="1640" y="981"/>
                    <a:pt x="1621" y="1000"/>
                    <a:pt x="1621" y="1024"/>
                  </a:cubicBezTo>
                  <a:cubicBezTo>
                    <a:pt x="1621" y="1048"/>
                    <a:pt x="1640" y="1067"/>
                    <a:pt x="1664" y="1067"/>
                  </a:cubicBezTo>
                  <a:cubicBezTo>
                    <a:pt x="1835" y="1067"/>
                    <a:pt x="1835" y="1067"/>
                    <a:pt x="1835" y="1067"/>
                  </a:cubicBezTo>
                  <a:cubicBezTo>
                    <a:pt x="1858" y="1067"/>
                    <a:pt x="1877" y="1048"/>
                    <a:pt x="1877" y="1024"/>
                  </a:cubicBezTo>
                  <a:cubicBezTo>
                    <a:pt x="1877" y="1001"/>
                    <a:pt x="1858" y="981"/>
                    <a:pt x="1835" y="981"/>
                  </a:cubicBezTo>
                  <a:close/>
                  <a:moveTo>
                    <a:pt x="1567" y="481"/>
                  </a:moveTo>
                  <a:cubicBezTo>
                    <a:pt x="1550" y="464"/>
                    <a:pt x="1523" y="464"/>
                    <a:pt x="1507" y="481"/>
                  </a:cubicBezTo>
                  <a:cubicBezTo>
                    <a:pt x="1111" y="877"/>
                    <a:pt x="1111" y="877"/>
                    <a:pt x="1111" y="877"/>
                  </a:cubicBezTo>
                  <a:cubicBezTo>
                    <a:pt x="1085" y="862"/>
                    <a:pt x="1056" y="853"/>
                    <a:pt x="1024" y="853"/>
                  </a:cubicBezTo>
                  <a:cubicBezTo>
                    <a:pt x="930" y="853"/>
                    <a:pt x="853" y="930"/>
                    <a:pt x="853" y="1024"/>
                  </a:cubicBezTo>
                  <a:cubicBezTo>
                    <a:pt x="853" y="1118"/>
                    <a:pt x="930" y="1195"/>
                    <a:pt x="1024" y="1195"/>
                  </a:cubicBezTo>
                  <a:cubicBezTo>
                    <a:pt x="1118" y="1195"/>
                    <a:pt x="1195" y="1118"/>
                    <a:pt x="1195" y="1024"/>
                  </a:cubicBezTo>
                  <a:cubicBezTo>
                    <a:pt x="1195" y="992"/>
                    <a:pt x="1186" y="963"/>
                    <a:pt x="1171" y="937"/>
                  </a:cubicBezTo>
                  <a:cubicBezTo>
                    <a:pt x="1567" y="541"/>
                    <a:pt x="1567" y="541"/>
                    <a:pt x="1567" y="541"/>
                  </a:cubicBezTo>
                  <a:cubicBezTo>
                    <a:pt x="1584" y="525"/>
                    <a:pt x="1584" y="498"/>
                    <a:pt x="1567" y="481"/>
                  </a:cubicBezTo>
                  <a:close/>
                  <a:moveTo>
                    <a:pt x="1024" y="1109"/>
                  </a:moveTo>
                  <a:cubicBezTo>
                    <a:pt x="977" y="1109"/>
                    <a:pt x="939" y="1071"/>
                    <a:pt x="939" y="1024"/>
                  </a:cubicBezTo>
                  <a:cubicBezTo>
                    <a:pt x="939" y="977"/>
                    <a:pt x="977" y="939"/>
                    <a:pt x="1024" y="939"/>
                  </a:cubicBezTo>
                  <a:cubicBezTo>
                    <a:pt x="1071" y="939"/>
                    <a:pt x="1109" y="977"/>
                    <a:pt x="1109" y="1024"/>
                  </a:cubicBezTo>
                  <a:cubicBezTo>
                    <a:pt x="1109" y="1071"/>
                    <a:pt x="1071" y="1109"/>
                    <a:pt x="1024" y="1109"/>
                  </a:cubicBezTo>
                  <a:close/>
                  <a:moveTo>
                    <a:pt x="602" y="541"/>
                  </a:moveTo>
                  <a:cubicBezTo>
                    <a:pt x="481" y="421"/>
                    <a:pt x="481" y="421"/>
                    <a:pt x="481" y="421"/>
                  </a:cubicBezTo>
                  <a:cubicBezTo>
                    <a:pt x="464" y="404"/>
                    <a:pt x="437" y="404"/>
                    <a:pt x="421" y="421"/>
                  </a:cubicBezTo>
                  <a:cubicBezTo>
                    <a:pt x="404" y="437"/>
                    <a:pt x="404" y="464"/>
                    <a:pt x="421" y="481"/>
                  </a:cubicBezTo>
                  <a:cubicBezTo>
                    <a:pt x="541" y="602"/>
                    <a:pt x="541" y="602"/>
                    <a:pt x="541" y="602"/>
                  </a:cubicBezTo>
                  <a:cubicBezTo>
                    <a:pt x="550" y="610"/>
                    <a:pt x="560" y="614"/>
                    <a:pt x="571" y="614"/>
                  </a:cubicBezTo>
                  <a:cubicBezTo>
                    <a:pt x="582" y="614"/>
                    <a:pt x="593" y="610"/>
                    <a:pt x="602" y="602"/>
                  </a:cubicBezTo>
                  <a:cubicBezTo>
                    <a:pt x="618" y="585"/>
                    <a:pt x="618" y="558"/>
                    <a:pt x="602" y="541"/>
                  </a:cubicBezTo>
                  <a:close/>
                  <a:moveTo>
                    <a:pt x="1408" y="1365"/>
                  </a:moveTo>
                  <a:cubicBezTo>
                    <a:pt x="640" y="1365"/>
                    <a:pt x="640" y="1365"/>
                    <a:pt x="640" y="1365"/>
                  </a:cubicBezTo>
                  <a:cubicBezTo>
                    <a:pt x="616" y="1365"/>
                    <a:pt x="597" y="1384"/>
                    <a:pt x="597" y="1408"/>
                  </a:cubicBezTo>
                  <a:cubicBezTo>
                    <a:pt x="597" y="1664"/>
                    <a:pt x="597" y="1664"/>
                    <a:pt x="597" y="1664"/>
                  </a:cubicBezTo>
                  <a:cubicBezTo>
                    <a:pt x="597" y="1688"/>
                    <a:pt x="616" y="1707"/>
                    <a:pt x="640" y="1707"/>
                  </a:cubicBezTo>
                  <a:cubicBezTo>
                    <a:pt x="1408" y="1707"/>
                    <a:pt x="1408" y="1707"/>
                    <a:pt x="1408" y="1707"/>
                  </a:cubicBezTo>
                  <a:cubicBezTo>
                    <a:pt x="1432" y="1707"/>
                    <a:pt x="1451" y="1688"/>
                    <a:pt x="1451" y="1664"/>
                  </a:cubicBezTo>
                  <a:cubicBezTo>
                    <a:pt x="1451" y="1408"/>
                    <a:pt x="1451" y="1408"/>
                    <a:pt x="1451" y="1408"/>
                  </a:cubicBezTo>
                  <a:cubicBezTo>
                    <a:pt x="1451" y="1384"/>
                    <a:pt x="1432" y="1365"/>
                    <a:pt x="1408" y="1365"/>
                  </a:cubicBezTo>
                  <a:close/>
                  <a:moveTo>
                    <a:pt x="1365" y="1621"/>
                  </a:moveTo>
                  <a:cubicBezTo>
                    <a:pt x="683" y="1621"/>
                    <a:pt x="683" y="1621"/>
                    <a:pt x="683" y="1621"/>
                  </a:cubicBezTo>
                  <a:cubicBezTo>
                    <a:pt x="683" y="1451"/>
                    <a:pt x="683" y="1451"/>
                    <a:pt x="683" y="1451"/>
                  </a:cubicBezTo>
                  <a:cubicBezTo>
                    <a:pt x="1365" y="1451"/>
                    <a:pt x="1365" y="1451"/>
                    <a:pt x="1365" y="1451"/>
                  </a:cubicBezTo>
                  <a:lnTo>
                    <a:pt x="1365" y="1621"/>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4" name="Group 420"/>
          <p:cNvGrpSpPr/>
          <p:nvPr/>
        </p:nvGrpSpPr>
        <p:grpSpPr>
          <a:xfrm>
            <a:off x="4448543" y="2575327"/>
            <a:ext cx="540365" cy="540365"/>
            <a:chOff x="8376516" y="3864204"/>
            <a:chExt cx="292608" cy="292608"/>
          </a:xfrm>
        </p:grpSpPr>
        <p:sp>
          <p:nvSpPr>
            <p:cNvPr id="422" name="Oval 421"/>
            <p:cNvSpPr/>
            <p:nvPr/>
          </p:nvSpPr>
          <p:spPr>
            <a:xfrm>
              <a:off x="8376516" y="3864204"/>
              <a:ext cx="292608" cy="292608"/>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23" name="Freeform 11"/>
            <p:cNvSpPr>
              <a:spLocks noEditPoints="1"/>
            </p:cNvSpPr>
            <p:nvPr/>
          </p:nvSpPr>
          <p:spPr bwMode="auto">
            <a:xfrm>
              <a:off x="8413012" y="3952154"/>
              <a:ext cx="219617" cy="147607"/>
            </a:xfrm>
            <a:custGeom>
              <a:avLst/>
              <a:gdLst/>
              <a:ahLst/>
              <a:cxnLst>
                <a:cxn ang="0">
                  <a:pos x="1184" y="960"/>
                </a:cxn>
                <a:cxn ang="0">
                  <a:pos x="864" y="960"/>
                </a:cxn>
                <a:cxn ang="0">
                  <a:pos x="1024" y="864"/>
                </a:cxn>
                <a:cxn ang="0">
                  <a:pos x="1024" y="1056"/>
                </a:cxn>
                <a:cxn ang="0">
                  <a:pos x="1024" y="864"/>
                </a:cxn>
                <a:cxn ang="0">
                  <a:pos x="0" y="64"/>
                </a:cxn>
                <a:cxn ang="0">
                  <a:pos x="160" y="384"/>
                </a:cxn>
                <a:cxn ang="0">
                  <a:pos x="288" y="512"/>
                </a:cxn>
                <a:cxn ang="0">
                  <a:pos x="320" y="672"/>
                </a:cxn>
                <a:cxn ang="0">
                  <a:pos x="1728" y="672"/>
                </a:cxn>
                <a:cxn ang="0">
                  <a:pos x="1760" y="512"/>
                </a:cxn>
                <a:cxn ang="0">
                  <a:pos x="1888" y="384"/>
                </a:cxn>
                <a:cxn ang="0">
                  <a:pos x="2048" y="64"/>
                </a:cxn>
                <a:cxn ang="0">
                  <a:pos x="0" y="0"/>
                </a:cxn>
                <a:cxn ang="0">
                  <a:pos x="1024" y="1312"/>
                </a:cxn>
                <a:cxn ang="0">
                  <a:pos x="384" y="512"/>
                </a:cxn>
                <a:cxn ang="0">
                  <a:pos x="1664" y="672"/>
                </a:cxn>
                <a:cxn ang="0">
                  <a:pos x="352" y="448"/>
                </a:cxn>
                <a:cxn ang="0">
                  <a:pos x="1696" y="384"/>
                </a:cxn>
                <a:cxn ang="0">
                  <a:pos x="1824" y="320"/>
                </a:cxn>
                <a:cxn ang="0">
                  <a:pos x="224" y="64"/>
                </a:cxn>
                <a:cxn ang="0">
                  <a:pos x="1824" y="320"/>
                </a:cxn>
                <a:cxn ang="0">
                  <a:pos x="1033" y="905"/>
                </a:cxn>
                <a:cxn ang="0">
                  <a:pos x="1015" y="1015"/>
                </a:cxn>
                <a:cxn ang="0">
                  <a:pos x="928" y="160"/>
                </a:cxn>
                <a:cxn ang="0">
                  <a:pos x="864" y="224"/>
                </a:cxn>
                <a:cxn ang="0">
                  <a:pos x="928" y="160"/>
                </a:cxn>
                <a:cxn ang="0">
                  <a:pos x="1312" y="960"/>
                </a:cxn>
                <a:cxn ang="0">
                  <a:pos x="736" y="960"/>
                </a:cxn>
                <a:cxn ang="0">
                  <a:pos x="1024" y="736"/>
                </a:cxn>
                <a:cxn ang="0">
                  <a:pos x="1024" y="1184"/>
                </a:cxn>
                <a:cxn ang="0">
                  <a:pos x="1024" y="736"/>
                </a:cxn>
                <a:cxn ang="0">
                  <a:pos x="1120" y="160"/>
                </a:cxn>
                <a:cxn ang="0">
                  <a:pos x="1184" y="224"/>
                </a:cxn>
                <a:cxn ang="0">
                  <a:pos x="1056" y="160"/>
                </a:cxn>
                <a:cxn ang="0">
                  <a:pos x="992" y="224"/>
                </a:cxn>
                <a:cxn ang="0">
                  <a:pos x="1056" y="160"/>
                </a:cxn>
              </a:cxnLst>
              <a:rect l="0" t="0" r="r" b="b"/>
              <a:pathLst>
                <a:path w="2048" h="1376">
                  <a:moveTo>
                    <a:pt x="1024" y="1120"/>
                  </a:moveTo>
                  <a:cubicBezTo>
                    <a:pt x="1112" y="1120"/>
                    <a:pt x="1184" y="1048"/>
                    <a:pt x="1184" y="960"/>
                  </a:cubicBezTo>
                  <a:cubicBezTo>
                    <a:pt x="1184" y="872"/>
                    <a:pt x="1112" y="800"/>
                    <a:pt x="1024" y="800"/>
                  </a:cubicBezTo>
                  <a:cubicBezTo>
                    <a:pt x="936" y="800"/>
                    <a:pt x="864" y="872"/>
                    <a:pt x="864" y="960"/>
                  </a:cubicBezTo>
                  <a:cubicBezTo>
                    <a:pt x="864" y="1048"/>
                    <a:pt x="936" y="1120"/>
                    <a:pt x="1024" y="1120"/>
                  </a:cubicBezTo>
                  <a:close/>
                  <a:moveTo>
                    <a:pt x="1024" y="864"/>
                  </a:moveTo>
                  <a:cubicBezTo>
                    <a:pt x="1077" y="864"/>
                    <a:pt x="1120" y="907"/>
                    <a:pt x="1120" y="960"/>
                  </a:cubicBezTo>
                  <a:cubicBezTo>
                    <a:pt x="1120" y="1013"/>
                    <a:pt x="1077" y="1056"/>
                    <a:pt x="1024" y="1056"/>
                  </a:cubicBezTo>
                  <a:cubicBezTo>
                    <a:pt x="971" y="1056"/>
                    <a:pt x="928" y="1013"/>
                    <a:pt x="928" y="960"/>
                  </a:cubicBezTo>
                  <a:cubicBezTo>
                    <a:pt x="928" y="907"/>
                    <a:pt x="971" y="864"/>
                    <a:pt x="1024" y="864"/>
                  </a:cubicBezTo>
                  <a:close/>
                  <a:moveTo>
                    <a:pt x="0" y="0"/>
                  </a:moveTo>
                  <a:cubicBezTo>
                    <a:pt x="0" y="64"/>
                    <a:pt x="0" y="64"/>
                    <a:pt x="0" y="64"/>
                  </a:cubicBezTo>
                  <a:cubicBezTo>
                    <a:pt x="160" y="64"/>
                    <a:pt x="160" y="64"/>
                    <a:pt x="160" y="64"/>
                  </a:cubicBezTo>
                  <a:cubicBezTo>
                    <a:pt x="160" y="384"/>
                    <a:pt x="160" y="384"/>
                    <a:pt x="160" y="384"/>
                  </a:cubicBezTo>
                  <a:cubicBezTo>
                    <a:pt x="288" y="384"/>
                    <a:pt x="288" y="384"/>
                    <a:pt x="288" y="384"/>
                  </a:cubicBezTo>
                  <a:cubicBezTo>
                    <a:pt x="288" y="512"/>
                    <a:pt x="288" y="512"/>
                    <a:pt x="288" y="512"/>
                  </a:cubicBezTo>
                  <a:cubicBezTo>
                    <a:pt x="320" y="512"/>
                    <a:pt x="320" y="512"/>
                    <a:pt x="320" y="512"/>
                  </a:cubicBezTo>
                  <a:cubicBezTo>
                    <a:pt x="320" y="672"/>
                    <a:pt x="320" y="672"/>
                    <a:pt x="320" y="672"/>
                  </a:cubicBezTo>
                  <a:cubicBezTo>
                    <a:pt x="320" y="1060"/>
                    <a:pt x="636" y="1376"/>
                    <a:pt x="1024" y="1376"/>
                  </a:cubicBezTo>
                  <a:cubicBezTo>
                    <a:pt x="1412" y="1376"/>
                    <a:pt x="1728" y="1060"/>
                    <a:pt x="1728" y="672"/>
                  </a:cubicBezTo>
                  <a:cubicBezTo>
                    <a:pt x="1728" y="512"/>
                    <a:pt x="1728" y="512"/>
                    <a:pt x="1728" y="512"/>
                  </a:cubicBezTo>
                  <a:cubicBezTo>
                    <a:pt x="1760" y="512"/>
                    <a:pt x="1760" y="512"/>
                    <a:pt x="1760" y="512"/>
                  </a:cubicBezTo>
                  <a:cubicBezTo>
                    <a:pt x="1760" y="384"/>
                    <a:pt x="1760" y="384"/>
                    <a:pt x="1760" y="384"/>
                  </a:cubicBezTo>
                  <a:cubicBezTo>
                    <a:pt x="1888" y="384"/>
                    <a:pt x="1888" y="384"/>
                    <a:pt x="1888" y="384"/>
                  </a:cubicBezTo>
                  <a:cubicBezTo>
                    <a:pt x="1888" y="64"/>
                    <a:pt x="1888" y="64"/>
                    <a:pt x="1888" y="64"/>
                  </a:cubicBezTo>
                  <a:cubicBezTo>
                    <a:pt x="2048" y="64"/>
                    <a:pt x="2048" y="64"/>
                    <a:pt x="2048" y="64"/>
                  </a:cubicBezTo>
                  <a:cubicBezTo>
                    <a:pt x="2048" y="0"/>
                    <a:pt x="2048" y="0"/>
                    <a:pt x="2048" y="0"/>
                  </a:cubicBezTo>
                  <a:lnTo>
                    <a:pt x="0" y="0"/>
                  </a:lnTo>
                  <a:close/>
                  <a:moveTo>
                    <a:pt x="1664" y="672"/>
                  </a:moveTo>
                  <a:cubicBezTo>
                    <a:pt x="1664" y="1025"/>
                    <a:pt x="1377" y="1312"/>
                    <a:pt x="1024" y="1312"/>
                  </a:cubicBezTo>
                  <a:cubicBezTo>
                    <a:pt x="671" y="1312"/>
                    <a:pt x="384" y="1025"/>
                    <a:pt x="384" y="672"/>
                  </a:cubicBezTo>
                  <a:cubicBezTo>
                    <a:pt x="384" y="512"/>
                    <a:pt x="384" y="512"/>
                    <a:pt x="384" y="512"/>
                  </a:cubicBezTo>
                  <a:cubicBezTo>
                    <a:pt x="1664" y="512"/>
                    <a:pt x="1664" y="512"/>
                    <a:pt x="1664" y="512"/>
                  </a:cubicBezTo>
                  <a:lnTo>
                    <a:pt x="1664" y="672"/>
                  </a:lnTo>
                  <a:close/>
                  <a:moveTo>
                    <a:pt x="1696" y="448"/>
                  </a:moveTo>
                  <a:cubicBezTo>
                    <a:pt x="352" y="448"/>
                    <a:pt x="352" y="448"/>
                    <a:pt x="352" y="448"/>
                  </a:cubicBezTo>
                  <a:cubicBezTo>
                    <a:pt x="352" y="384"/>
                    <a:pt x="352" y="384"/>
                    <a:pt x="352" y="384"/>
                  </a:cubicBezTo>
                  <a:cubicBezTo>
                    <a:pt x="1696" y="384"/>
                    <a:pt x="1696" y="384"/>
                    <a:pt x="1696" y="384"/>
                  </a:cubicBezTo>
                  <a:lnTo>
                    <a:pt x="1696" y="448"/>
                  </a:lnTo>
                  <a:close/>
                  <a:moveTo>
                    <a:pt x="1824" y="320"/>
                  </a:moveTo>
                  <a:cubicBezTo>
                    <a:pt x="224" y="320"/>
                    <a:pt x="224" y="320"/>
                    <a:pt x="224" y="320"/>
                  </a:cubicBezTo>
                  <a:cubicBezTo>
                    <a:pt x="224" y="64"/>
                    <a:pt x="224" y="64"/>
                    <a:pt x="224" y="64"/>
                  </a:cubicBezTo>
                  <a:cubicBezTo>
                    <a:pt x="1824" y="64"/>
                    <a:pt x="1824" y="64"/>
                    <a:pt x="1824" y="64"/>
                  </a:cubicBezTo>
                  <a:lnTo>
                    <a:pt x="1824" y="320"/>
                  </a:lnTo>
                  <a:close/>
                  <a:moveTo>
                    <a:pt x="1079" y="951"/>
                  </a:moveTo>
                  <a:cubicBezTo>
                    <a:pt x="1033" y="905"/>
                    <a:pt x="1033" y="905"/>
                    <a:pt x="1033" y="905"/>
                  </a:cubicBezTo>
                  <a:cubicBezTo>
                    <a:pt x="969" y="969"/>
                    <a:pt x="969" y="969"/>
                    <a:pt x="969" y="969"/>
                  </a:cubicBezTo>
                  <a:cubicBezTo>
                    <a:pt x="1015" y="1015"/>
                    <a:pt x="1015" y="1015"/>
                    <a:pt x="1015" y="1015"/>
                  </a:cubicBezTo>
                  <a:lnTo>
                    <a:pt x="1079" y="951"/>
                  </a:lnTo>
                  <a:close/>
                  <a:moveTo>
                    <a:pt x="928" y="160"/>
                  </a:moveTo>
                  <a:cubicBezTo>
                    <a:pt x="864" y="160"/>
                    <a:pt x="864" y="160"/>
                    <a:pt x="864" y="160"/>
                  </a:cubicBezTo>
                  <a:cubicBezTo>
                    <a:pt x="864" y="224"/>
                    <a:pt x="864" y="224"/>
                    <a:pt x="864" y="224"/>
                  </a:cubicBezTo>
                  <a:cubicBezTo>
                    <a:pt x="928" y="224"/>
                    <a:pt x="928" y="224"/>
                    <a:pt x="928" y="224"/>
                  </a:cubicBezTo>
                  <a:lnTo>
                    <a:pt x="928" y="160"/>
                  </a:lnTo>
                  <a:close/>
                  <a:moveTo>
                    <a:pt x="1024" y="1248"/>
                  </a:moveTo>
                  <a:cubicBezTo>
                    <a:pt x="1183" y="1248"/>
                    <a:pt x="1312" y="1119"/>
                    <a:pt x="1312" y="960"/>
                  </a:cubicBezTo>
                  <a:cubicBezTo>
                    <a:pt x="1312" y="801"/>
                    <a:pt x="1183" y="672"/>
                    <a:pt x="1024" y="672"/>
                  </a:cubicBezTo>
                  <a:cubicBezTo>
                    <a:pt x="865" y="672"/>
                    <a:pt x="736" y="801"/>
                    <a:pt x="736" y="960"/>
                  </a:cubicBezTo>
                  <a:cubicBezTo>
                    <a:pt x="736" y="1119"/>
                    <a:pt x="865" y="1248"/>
                    <a:pt x="1024" y="1248"/>
                  </a:cubicBezTo>
                  <a:close/>
                  <a:moveTo>
                    <a:pt x="1024" y="736"/>
                  </a:moveTo>
                  <a:cubicBezTo>
                    <a:pt x="1148" y="736"/>
                    <a:pt x="1248" y="836"/>
                    <a:pt x="1248" y="960"/>
                  </a:cubicBezTo>
                  <a:cubicBezTo>
                    <a:pt x="1248" y="1084"/>
                    <a:pt x="1148" y="1184"/>
                    <a:pt x="1024" y="1184"/>
                  </a:cubicBezTo>
                  <a:cubicBezTo>
                    <a:pt x="900" y="1184"/>
                    <a:pt x="800" y="1084"/>
                    <a:pt x="800" y="960"/>
                  </a:cubicBezTo>
                  <a:cubicBezTo>
                    <a:pt x="800" y="836"/>
                    <a:pt x="900" y="736"/>
                    <a:pt x="1024" y="736"/>
                  </a:cubicBezTo>
                  <a:close/>
                  <a:moveTo>
                    <a:pt x="1184" y="160"/>
                  </a:moveTo>
                  <a:cubicBezTo>
                    <a:pt x="1120" y="160"/>
                    <a:pt x="1120" y="160"/>
                    <a:pt x="1120" y="160"/>
                  </a:cubicBezTo>
                  <a:cubicBezTo>
                    <a:pt x="1120" y="224"/>
                    <a:pt x="1120" y="224"/>
                    <a:pt x="1120" y="224"/>
                  </a:cubicBezTo>
                  <a:cubicBezTo>
                    <a:pt x="1184" y="224"/>
                    <a:pt x="1184" y="224"/>
                    <a:pt x="1184" y="224"/>
                  </a:cubicBezTo>
                  <a:lnTo>
                    <a:pt x="1184" y="160"/>
                  </a:lnTo>
                  <a:close/>
                  <a:moveTo>
                    <a:pt x="1056" y="160"/>
                  </a:moveTo>
                  <a:cubicBezTo>
                    <a:pt x="992" y="160"/>
                    <a:pt x="992" y="160"/>
                    <a:pt x="992" y="160"/>
                  </a:cubicBezTo>
                  <a:cubicBezTo>
                    <a:pt x="992" y="224"/>
                    <a:pt x="992" y="224"/>
                    <a:pt x="992" y="224"/>
                  </a:cubicBezTo>
                  <a:cubicBezTo>
                    <a:pt x="1056" y="224"/>
                    <a:pt x="1056" y="224"/>
                    <a:pt x="1056" y="224"/>
                  </a:cubicBezTo>
                  <a:lnTo>
                    <a:pt x="1056" y="16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5" name="Group 440"/>
          <p:cNvGrpSpPr/>
          <p:nvPr/>
        </p:nvGrpSpPr>
        <p:grpSpPr>
          <a:xfrm>
            <a:off x="5313332" y="2417108"/>
            <a:ext cx="540365" cy="540365"/>
            <a:chOff x="5181600" y="2419350"/>
            <a:chExt cx="540365" cy="540365"/>
          </a:xfrm>
        </p:grpSpPr>
        <p:sp>
          <p:nvSpPr>
            <p:cNvPr id="426" name="Oval 425"/>
            <p:cNvSpPr/>
            <p:nvPr/>
          </p:nvSpPr>
          <p:spPr>
            <a:xfrm>
              <a:off x="5181600" y="2419350"/>
              <a:ext cx="540365" cy="540365"/>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40" name="Freeform 6"/>
            <p:cNvSpPr>
              <a:spLocks noEditPoints="1"/>
            </p:cNvSpPr>
            <p:nvPr/>
          </p:nvSpPr>
          <p:spPr bwMode="auto">
            <a:xfrm>
              <a:off x="5322143" y="2513007"/>
              <a:ext cx="259278" cy="353050"/>
            </a:xfrm>
            <a:custGeom>
              <a:avLst/>
              <a:gdLst/>
              <a:ahLst/>
              <a:cxnLst>
                <a:cxn ang="0">
                  <a:pos x="1013" y="218"/>
                </a:cxn>
                <a:cxn ang="0">
                  <a:pos x="1013" y="153"/>
                </a:cxn>
                <a:cxn ang="0">
                  <a:pos x="458" y="185"/>
                </a:cxn>
                <a:cxn ang="0">
                  <a:pos x="213" y="1284"/>
                </a:cxn>
                <a:cxn ang="0">
                  <a:pos x="541" y="1274"/>
                </a:cxn>
                <a:cxn ang="0">
                  <a:pos x="324" y="1025"/>
                </a:cxn>
                <a:cxn ang="0">
                  <a:pos x="291" y="371"/>
                </a:cxn>
                <a:cxn ang="0">
                  <a:pos x="1246" y="1025"/>
                </a:cxn>
                <a:cxn ang="0">
                  <a:pos x="954" y="1251"/>
                </a:cxn>
                <a:cxn ang="0">
                  <a:pos x="987" y="1284"/>
                </a:cxn>
                <a:cxn ang="0">
                  <a:pos x="1314" y="1273"/>
                </a:cxn>
                <a:cxn ang="0">
                  <a:pos x="1313" y="1056"/>
                </a:cxn>
                <a:cxn ang="0">
                  <a:pos x="1277" y="336"/>
                </a:cxn>
                <a:cxn ang="0">
                  <a:pos x="260" y="305"/>
                </a:cxn>
                <a:cxn ang="0">
                  <a:pos x="191" y="1055"/>
                </a:cxn>
                <a:cxn ang="0">
                  <a:pos x="181" y="1249"/>
                </a:cxn>
                <a:cxn ang="0">
                  <a:pos x="213" y="1284"/>
                </a:cxn>
                <a:cxn ang="0">
                  <a:pos x="1023" y="1218"/>
                </a:cxn>
                <a:cxn ang="0">
                  <a:pos x="1250" y="1090"/>
                </a:cxn>
                <a:cxn ang="0">
                  <a:pos x="254" y="1090"/>
                </a:cxn>
                <a:cxn ang="0">
                  <a:pos x="481" y="1218"/>
                </a:cxn>
                <a:cxn ang="0">
                  <a:pos x="254" y="1090"/>
                </a:cxn>
                <a:cxn ang="0">
                  <a:pos x="1327" y="1504"/>
                </a:cxn>
                <a:cxn ang="0">
                  <a:pos x="145" y="1536"/>
                </a:cxn>
                <a:cxn ang="0">
                  <a:pos x="1327" y="1569"/>
                </a:cxn>
                <a:cxn ang="0">
                  <a:pos x="1492" y="1992"/>
                </a:cxn>
                <a:cxn ang="0">
                  <a:pos x="1284" y="1784"/>
                </a:cxn>
                <a:cxn ang="0">
                  <a:pos x="1490" y="1535"/>
                </a:cxn>
                <a:cxn ang="0">
                  <a:pos x="1164" y="0"/>
                </a:cxn>
                <a:cxn ang="0">
                  <a:pos x="79" y="249"/>
                </a:cxn>
                <a:cxn ang="0">
                  <a:pos x="79" y="1712"/>
                </a:cxn>
                <a:cxn ang="0">
                  <a:pos x="143" y="1861"/>
                </a:cxn>
                <a:cxn ang="0">
                  <a:pos x="5" y="2028"/>
                </a:cxn>
                <a:cxn ang="0">
                  <a:pos x="1469" y="2048"/>
                </a:cxn>
                <a:cxn ang="0">
                  <a:pos x="1492" y="1992"/>
                </a:cxn>
                <a:cxn ang="0">
                  <a:pos x="79" y="1538"/>
                </a:cxn>
                <a:cxn ang="0">
                  <a:pos x="340" y="65"/>
                </a:cxn>
                <a:cxn ang="0">
                  <a:pos x="1360" y="252"/>
                </a:cxn>
                <a:cxn ang="0">
                  <a:pos x="1378" y="1667"/>
                </a:cxn>
                <a:cxn ang="0">
                  <a:pos x="253" y="1721"/>
                </a:cxn>
                <a:cxn ang="0">
                  <a:pos x="1259" y="1852"/>
                </a:cxn>
                <a:cxn ang="0">
                  <a:pos x="310" y="1787"/>
                </a:cxn>
                <a:cxn ang="0">
                  <a:pos x="1259" y="1852"/>
                </a:cxn>
                <a:cxn ang="0">
                  <a:pos x="180" y="1917"/>
                </a:cxn>
                <a:cxn ang="0">
                  <a:pos x="1390" y="1983"/>
                </a:cxn>
                <a:cxn ang="0">
                  <a:pos x="1174" y="883"/>
                </a:cxn>
                <a:cxn ang="0">
                  <a:pos x="363" y="850"/>
                </a:cxn>
                <a:cxn ang="0">
                  <a:pos x="363" y="916"/>
                </a:cxn>
                <a:cxn ang="0">
                  <a:pos x="1174" y="883"/>
                </a:cxn>
                <a:cxn ang="0">
                  <a:pos x="615" y="1251"/>
                </a:cxn>
                <a:cxn ang="0">
                  <a:pos x="856" y="1284"/>
                </a:cxn>
                <a:cxn ang="0">
                  <a:pos x="856" y="1218"/>
                </a:cxn>
              </a:cxnLst>
              <a:rect l="0" t="0" r="r" b="b"/>
              <a:pathLst>
                <a:path w="1504" h="2048">
                  <a:moveTo>
                    <a:pt x="491" y="218"/>
                  </a:moveTo>
                  <a:cubicBezTo>
                    <a:pt x="1013" y="218"/>
                    <a:pt x="1013" y="218"/>
                    <a:pt x="1013" y="218"/>
                  </a:cubicBezTo>
                  <a:cubicBezTo>
                    <a:pt x="1032" y="218"/>
                    <a:pt x="1046" y="203"/>
                    <a:pt x="1046" y="185"/>
                  </a:cubicBezTo>
                  <a:cubicBezTo>
                    <a:pt x="1046" y="167"/>
                    <a:pt x="1032" y="153"/>
                    <a:pt x="1013" y="153"/>
                  </a:cubicBezTo>
                  <a:cubicBezTo>
                    <a:pt x="491" y="153"/>
                    <a:pt x="491" y="153"/>
                    <a:pt x="491" y="153"/>
                  </a:cubicBezTo>
                  <a:cubicBezTo>
                    <a:pt x="473" y="153"/>
                    <a:pt x="458" y="167"/>
                    <a:pt x="458" y="185"/>
                  </a:cubicBezTo>
                  <a:cubicBezTo>
                    <a:pt x="458" y="203"/>
                    <a:pt x="473" y="218"/>
                    <a:pt x="491" y="218"/>
                  </a:cubicBezTo>
                  <a:close/>
                  <a:moveTo>
                    <a:pt x="213" y="1284"/>
                  </a:moveTo>
                  <a:cubicBezTo>
                    <a:pt x="517" y="1284"/>
                    <a:pt x="517" y="1284"/>
                    <a:pt x="517" y="1284"/>
                  </a:cubicBezTo>
                  <a:cubicBezTo>
                    <a:pt x="526" y="1284"/>
                    <a:pt x="534" y="1280"/>
                    <a:pt x="541" y="1274"/>
                  </a:cubicBezTo>
                  <a:cubicBezTo>
                    <a:pt x="547" y="1268"/>
                    <a:pt x="550" y="1259"/>
                    <a:pt x="550" y="1251"/>
                  </a:cubicBezTo>
                  <a:cubicBezTo>
                    <a:pt x="550" y="1126"/>
                    <a:pt x="449" y="1025"/>
                    <a:pt x="324" y="1025"/>
                  </a:cubicBezTo>
                  <a:cubicBezTo>
                    <a:pt x="258" y="1025"/>
                    <a:pt x="258" y="1025"/>
                    <a:pt x="258" y="1025"/>
                  </a:cubicBezTo>
                  <a:cubicBezTo>
                    <a:pt x="291" y="371"/>
                    <a:pt x="291" y="371"/>
                    <a:pt x="291" y="371"/>
                  </a:cubicBezTo>
                  <a:cubicBezTo>
                    <a:pt x="1213" y="371"/>
                    <a:pt x="1213" y="371"/>
                    <a:pt x="1213" y="371"/>
                  </a:cubicBezTo>
                  <a:cubicBezTo>
                    <a:pt x="1246" y="1025"/>
                    <a:pt x="1246" y="1025"/>
                    <a:pt x="1246" y="1025"/>
                  </a:cubicBezTo>
                  <a:cubicBezTo>
                    <a:pt x="1180" y="1025"/>
                    <a:pt x="1180" y="1025"/>
                    <a:pt x="1180" y="1025"/>
                  </a:cubicBezTo>
                  <a:cubicBezTo>
                    <a:pt x="1055" y="1025"/>
                    <a:pt x="954" y="1126"/>
                    <a:pt x="954" y="1251"/>
                  </a:cubicBezTo>
                  <a:cubicBezTo>
                    <a:pt x="954" y="1259"/>
                    <a:pt x="957" y="1268"/>
                    <a:pt x="963" y="1274"/>
                  </a:cubicBezTo>
                  <a:cubicBezTo>
                    <a:pt x="970" y="1280"/>
                    <a:pt x="978" y="1284"/>
                    <a:pt x="987" y="1284"/>
                  </a:cubicBezTo>
                  <a:cubicBezTo>
                    <a:pt x="1291" y="1284"/>
                    <a:pt x="1291" y="1284"/>
                    <a:pt x="1291" y="1284"/>
                  </a:cubicBezTo>
                  <a:cubicBezTo>
                    <a:pt x="1300" y="1284"/>
                    <a:pt x="1308" y="1280"/>
                    <a:pt x="1314" y="1273"/>
                  </a:cubicBezTo>
                  <a:cubicBezTo>
                    <a:pt x="1320" y="1267"/>
                    <a:pt x="1324" y="1258"/>
                    <a:pt x="1323" y="1249"/>
                  </a:cubicBezTo>
                  <a:cubicBezTo>
                    <a:pt x="1313" y="1056"/>
                    <a:pt x="1313" y="1056"/>
                    <a:pt x="1313" y="1056"/>
                  </a:cubicBezTo>
                  <a:cubicBezTo>
                    <a:pt x="1313" y="1056"/>
                    <a:pt x="1313" y="1055"/>
                    <a:pt x="1313" y="1055"/>
                  </a:cubicBezTo>
                  <a:cubicBezTo>
                    <a:pt x="1277" y="336"/>
                    <a:pt x="1277" y="336"/>
                    <a:pt x="1277" y="336"/>
                  </a:cubicBezTo>
                  <a:cubicBezTo>
                    <a:pt x="1276" y="319"/>
                    <a:pt x="1262" y="305"/>
                    <a:pt x="1244" y="305"/>
                  </a:cubicBezTo>
                  <a:cubicBezTo>
                    <a:pt x="260" y="305"/>
                    <a:pt x="260" y="305"/>
                    <a:pt x="260" y="305"/>
                  </a:cubicBezTo>
                  <a:cubicBezTo>
                    <a:pt x="242" y="305"/>
                    <a:pt x="228" y="319"/>
                    <a:pt x="227" y="336"/>
                  </a:cubicBezTo>
                  <a:cubicBezTo>
                    <a:pt x="191" y="1055"/>
                    <a:pt x="191" y="1055"/>
                    <a:pt x="191" y="1055"/>
                  </a:cubicBezTo>
                  <a:cubicBezTo>
                    <a:pt x="191" y="1055"/>
                    <a:pt x="191" y="1056"/>
                    <a:pt x="191" y="1056"/>
                  </a:cubicBezTo>
                  <a:cubicBezTo>
                    <a:pt x="181" y="1249"/>
                    <a:pt x="181" y="1249"/>
                    <a:pt x="181" y="1249"/>
                  </a:cubicBezTo>
                  <a:cubicBezTo>
                    <a:pt x="180" y="1258"/>
                    <a:pt x="184" y="1267"/>
                    <a:pt x="190" y="1273"/>
                  </a:cubicBezTo>
                  <a:cubicBezTo>
                    <a:pt x="196" y="1280"/>
                    <a:pt x="204" y="1284"/>
                    <a:pt x="213" y="1284"/>
                  </a:cubicBezTo>
                  <a:close/>
                  <a:moveTo>
                    <a:pt x="1256" y="1218"/>
                  </a:moveTo>
                  <a:cubicBezTo>
                    <a:pt x="1023" y="1218"/>
                    <a:pt x="1023" y="1218"/>
                    <a:pt x="1023" y="1218"/>
                  </a:cubicBezTo>
                  <a:cubicBezTo>
                    <a:pt x="1038" y="1145"/>
                    <a:pt x="1103" y="1090"/>
                    <a:pt x="1180" y="1090"/>
                  </a:cubicBezTo>
                  <a:cubicBezTo>
                    <a:pt x="1250" y="1090"/>
                    <a:pt x="1250" y="1090"/>
                    <a:pt x="1250" y="1090"/>
                  </a:cubicBezTo>
                  <a:lnTo>
                    <a:pt x="1256" y="1218"/>
                  </a:lnTo>
                  <a:close/>
                  <a:moveTo>
                    <a:pt x="254" y="1090"/>
                  </a:moveTo>
                  <a:cubicBezTo>
                    <a:pt x="324" y="1090"/>
                    <a:pt x="324" y="1090"/>
                    <a:pt x="324" y="1090"/>
                  </a:cubicBezTo>
                  <a:cubicBezTo>
                    <a:pt x="401" y="1090"/>
                    <a:pt x="466" y="1145"/>
                    <a:pt x="481" y="1218"/>
                  </a:cubicBezTo>
                  <a:cubicBezTo>
                    <a:pt x="248" y="1218"/>
                    <a:pt x="248" y="1218"/>
                    <a:pt x="248" y="1218"/>
                  </a:cubicBezTo>
                  <a:lnTo>
                    <a:pt x="254" y="1090"/>
                  </a:lnTo>
                  <a:close/>
                  <a:moveTo>
                    <a:pt x="1359" y="1536"/>
                  </a:moveTo>
                  <a:cubicBezTo>
                    <a:pt x="1359" y="1518"/>
                    <a:pt x="1345" y="1504"/>
                    <a:pt x="1327" y="1504"/>
                  </a:cubicBezTo>
                  <a:cubicBezTo>
                    <a:pt x="177" y="1504"/>
                    <a:pt x="177" y="1504"/>
                    <a:pt x="177" y="1504"/>
                  </a:cubicBezTo>
                  <a:cubicBezTo>
                    <a:pt x="159" y="1504"/>
                    <a:pt x="145" y="1518"/>
                    <a:pt x="145" y="1536"/>
                  </a:cubicBezTo>
                  <a:cubicBezTo>
                    <a:pt x="145" y="1554"/>
                    <a:pt x="159" y="1569"/>
                    <a:pt x="177" y="1569"/>
                  </a:cubicBezTo>
                  <a:cubicBezTo>
                    <a:pt x="1327" y="1569"/>
                    <a:pt x="1327" y="1569"/>
                    <a:pt x="1327" y="1569"/>
                  </a:cubicBezTo>
                  <a:cubicBezTo>
                    <a:pt x="1345" y="1569"/>
                    <a:pt x="1359" y="1554"/>
                    <a:pt x="1359" y="1536"/>
                  </a:cubicBezTo>
                  <a:close/>
                  <a:moveTo>
                    <a:pt x="1492" y="1992"/>
                  </a:moveTo>
                  <a:cubicBezTo>
                    <a:pt x="1361" y="1861"/>
                    <a:pt x="1361" y="1861"/>
                    <a:pt x="1361" y="1861"/>
                  </a:cubicBezTo>
                  <a:cubicBezTo>
                    <a:pt x="1361" y="1861"/>
                    <a:pt x="1284" y="1784"/>
                    <a:pt x="1284" y="1784"/>
                  </a:cubicBezTo>
                  <a:cubicBezTo>
                    <a:pt x="1338" y="1777"/>
                    <a:pt x="1387" y="1752"/>
                    <a:pt x="1425" y="1712"/>
                  </a:cubicBezTo>
                  <a:cubicBezTo>
                    <a:pt x="1471" y="1665"/>
                    <a:pt x="1494" y="1602"/>
                    <a:pt x="1490" y="1535"/>
                  </a:cubicBezTo>
                  <a:cubicBezTo>
                    <a:pt x="1425" y="249"/>
                    <a:pt x="1425" y="249"/>
                    <a:pt x="1425" y="249"/>
                  </a:cubicBezTo>
                  <a:cubicBezTo>
                    <a:pt x="1418" y="112"/>
                    <a:pt x="1301" y="0"/>
                    <a:pt x="1164" y="0"/>
                  </a:cubicBezTo>
                  <a:cubicBezTo>
                    <a:pt x="340" y="0"/>
                    <a:pt x="340" y="0"/>
                    <a:pt x="340" y="0"/>
                  </a:cubicBezTo>
                  <a:cubicBezTo>
                    <a:pt x="203" y="0"/>
                    <a:pt x="86" y="112"/>
                    <a:pt x="79" y="249"/>
                  </a:cubicBezTo>
                  <a:cubicBezTo>
                    <a:pt x="14" y="1535"/>
                    <a:pt x="14" y="1535"/>
                    <a:pt x="14" y="1535"/>
                  </a:cubicBezTo>
                  <a:cubicBezTo>
                    <a:pt x="10" y="1602"/>
                    <a:pt x="33" y="1665"/>
                    <a:pt x="79" y="1712"/>
                  </a:cubicBezTo>
                  <a:cubicBezTo>
                    <a:pt x="117" y="1752"/>
                    <a:pt x="166" y="1777"/>
                    <a:pt x="220" y="1784"/>
                  </a:cubicBezTo>
                  <a:cubicBezTo>
                    <a:pt x="143" y="1861"/>
                    <a:pt x="143" y="1861"/>
                    <a:pt x="143" y="1861"/>
                  </a:cubicBezTo>
                  <a:cubicBezTo>
                    <a:pt x="143" y="1861"/>
                    <a:pt x="12" y="1992"/>
                    <a:pt x="12" y="1992"/>
                  </a:cubicBezTo>
                  <a:cubicBezTo>
                    <a:pt x="3" y="2002"/>
                    <a:pt x="0" y="2016"/>
                    <a:pt x="5" y="2028"/>
                  </a:cubicBezTo>
                  <a:cubicBezTo>
                    <a:pt x="10" y="2040"/>
                    <a:pt x="22" y="2048"/>
                    <a:pt x="35" y="2048"/>
                  </a:cubicBezTo>
                  <a:cubicBezTo>
                    <a:pt x="1469" y="2048"/>
                    <a:pt x="1469" y="2048"/>
                    <a:pt x="1469" y="2048"/>
                  </a:cubicBezTo>
                  <a:cubicBezTo>
                    <a:pt x="1482" y="2048"/>
                    <a:pt x="1494" y="2040"/>
                    <a:pt x="1499" y="2028"/>
                  </a:cubicBezTo>
                  <a:cubicBezTo>
                    <a:pt x="1504" y="2016"/>
                    <a:pt x="1501" y="2002"/>
                    <a:pt x="1492" y="1992"/>
                  </a:cubicBezTo>
                  <a:close/>
                  <a:moveTo>
                    <a:pt x="126" y="1667"/>
                  </a:moveTo>
                  <a:cubicBezTo>
                    <a:pt x="93" y="1633"/>
                    <a:pt x="76" y="1587"/>
                    <a:pt x="79" y="1538"/>
                  </a:cubicBezTo>
                  <a:cubicBezTo>
                    <a:pt x="144" y="252"/>
                    <a:pt x="144" y="252"/>
                    <a:pt x="144" y="252"/>
                  </a:cubicBezTo>
                  <a:cubicBezTo>
                    <a:pt x="149" y="149"/>
                    <a:pt x="237" y="65"/>
                    <a:pt x="340" y="65"/>
                  </a:cubicBezTo>
                  <a:cubicBezTo>
                    <a:pt x="1164" y="65"/>
                    <a:pt x="1164" y="65"/>
                    <a:pt x="1164" y="65"/>
                  </a:cubicBezTo>
                  <a:cubicBezTo>
                    <a:pt x="1267" y="65"/>
                    <a:pt x="1355" y="149"/>
                    <a:pt x="1360" y="252"/>
                  </a:cubicBezTo>
                  <a:cubicBezTo>
                    <a:pt x="1425" y="1538"/>
                    <a:pt x="1425" y="1538"/>
                    <a:pt x="1425" y="1538"/>
                  </a:cubicBezTo>
                  <a:cubicBezTo>
                    <a:pt x="1428" y="1587"/>
                    <a:pt x="1411" y="1633"/>
                    <a:pt x="1378" y="1667"/>
                  </a:cubicBezTo>
                  <a:cubicBezTo>
                    <a:pt x="1345" y="1702"/>
                    <a:pt x="1300" y="1721"/>
                    <a:pt x="1251" y="1721"/>
                  </a:cubicBezTo>
                  <a:cubicBezTo>
                    <a:pt x="253" y="1721"/>
                    <a:pt x="253" y="1721"/>
                    <a:pt x="253" y="1721"/>
                  </a:cubicBezTo>
                  <a:cubicBezTo>
                    <a:pt x="204" y="1721"/>
                    <a:pt x="159" y="1702"/>
                    <a:pt x="126" y="1667"/>
                  </a:cubicBezTo>
                  <a:close/>
                  <a:moveTo>
                    <a:pt x="1259" y="1852"/>
                  </a:moveTo>
                  <a:cubicBezTo>
                    <a:pt x="245" y="1852"/>
                    <a:pt x="245" y="1852"/>
                    <a:pt x="245" y="1852"/>
                  </a:cubicBezTo>
                  <a:cubicBezTo>
                    <a:pt x="310" y="1787"/>
                    <a:pt x="310" y="1787"/>
                    <a:pt x="310" y="1787"/>
                  </a:cubicBezTo>
                  <a:cubicBezTo>
                    <a:pt x="1194" y="1787"/>
                    <a:pt x="1194" y="1787"/>
                    <a:pt x="1194" y="1787"/>
                  </a:cubicBezTo>
                  <a:lnTo>
                    <a:pt x="1259" y="1852"/>
                  </a:lnTo>
                  <a:close/>
                  <a:moveTo>
                    <a:pt x="114" y="1983"/>
                  </a:moveTo>
                  <a:cubicBezTo>
                    <a:pt x="180" y="1917"/>
                    <a:pt x="180" y="1917"/>
                    <a:pt x="180" y="1917"/>
                  </a:cubicBezTo>
                  <a:cubicBezTo>
                    <a:pt x="1324" y="1917"/>
                    <a:pt x="1324" y="1917"/>
                    <a:pt x="1324" y="1917"/>
                  </a:cubicBezTo>
                  <a:cubicBezTo>
                    <a:pt x="1390" y="1983"/>
                    <a:pt x="1390" y="1983"/>
                    <a:pt x="1390" y="1983"/>
                  </a:cubicBezTo>
                  <a:lnTo>
                    <a:pt x="114" y="1983"/>
                  </a:lnTo>
                  <a:close/>
                  <a:moveTo>
                    <a:pt x="1174" y="883"/>
                  </a:moveTo>
                  <a:cubicBezTo>
                    <a:pt x="1174" y="865"/>
                    <a:pt x="1159" y="850"/>
                    <a:pt x="1141" y="850"/>
                  </a:cubicBezTo>
                  <a:cubicBezTo>
                    <a:pt x="363" y="850"/>
                    <a:pt x="363" y="850"/>
                    <a:pt x="363" y="850"/>
                  </a:cubicBezTo>
                  <a:cubicBezTo>
                    <a:pt x="345" y="850"/>
                    <a:pt x="330" y="865"/>
                    <a:pt x="330" y="883"/>
                  </a:cubicBezTo>
                  <a:cubicBezTo>
                    <a:pt x="330" y="901"/>
                    <a:pt x="345" y="916"/>
                    <a:pt x="363" y="916"/>
                  </a:cubicBezTo>
                  <a:cubicBezTo>
                    <a:pt x="1141" y="916"/>
                    <a:pt x="1141" y="916"/>
                    <a:pt x="1141" y="916"/>
                  </a:cubicBezTo>
                  <a:cubicBezTo>
                    <a:pt x="1159" y="916"/>
                    <a:pt x="1174" y="901"/>
                    <a:pt x="1174" y="883"/>
                  </a:cubicBezTo>
                  <a:close/>
                  <a:moveTo>
                    <a:pt x="648" y="1218"/>
                  </a:moveTo>
                  <a:cubicBezTo>
                    <a:pt x="630" y="1218"/>
                    <a:pt x="615" y="1233"/>
                    <a:pt x="615" y="1251"/>
                  </a:cubicBezTo>
                  <a:cubicBezTo>
                    <a:pt x="615" y="1269"/>
                    <a:pt x="630" y="1284"/>
                    <a:pt x="648" y="1284"/>
                  </a:cubicBezTo>
                  <a:cubicBezTo>
                    <a:pt x="856" y="1284"/>
                    <a:pt x="856" y="1284"/>
                    <a:pt x="856" y="1284"/>
                  </a:cubicBezTo>
                  <a:cubicBezTo>
                    <a:pt x="874" y="1284"/>
                    <a:pt x="889" y="1269"/>
                    <a:pt x="889" y="1251"/>
                  </a:cubicBezTo>
                  <a:cubicBezTo>
                    <a:pt x="889" y="1233"/>
                    <a:pt x="874" y="1218"/>
                    <a:pt x="856" y="1218"/>
                  </a:cubicBezTo>
                  <a:lnTo>
                    <a:pt x="648" y="121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6" name="Group 446"/>
          <p:cNvGrpSpPr/>
          <p:nvPr/>
        </p:nvGrpSpPr>
        <p:grpSpPr>
          <a:xfrm>
            <a:off x="6075332" y="2569508"/>
            <a:ext cx="540365" cy="540365"/>
            <a:chOff x="6075332" y="2571750"/>
            <a:chExt cx="540365" cy="540365"/>
          </a:xfrm>
        </p:grpSpPr>
        <p:sp>
          <p:nvSpPr>
            <p:cNvPr id="429" name="Oval 428"/>
            <p:cNvSpPr/>
            <p:nvPr/>
          </p:nvSpPr>
          <p:spPr>
            <a:xfrm>
              <a:off x="6075332" y="2571750"/>
              <a:ext cx="540365" cy="540365"/>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0433" name="Freeform 17"/>
            <p:cNvSpPr>
              <a:spLocks noEditPoints="1"/>
            </p:cNvSpPr>
            <p:nvPr/>
          </p:nvSpPr>
          <p:spPr bwMode="auto">
            <a:xfrm>
              <a:off x="6149167" y="2731272"/>
              <a:ext cx="392694" cy="221321"/>
            </a:xfrm>
            <a:custGeom>
              <a:avLst/>
              <a:gdLst/>
              <a:ahLst/>
              <a:cxnLst>
                <a:cxn ang="0">
                  <a:pos x="338" y="250"/>
                </a:cxn>
                <a:cxn ang="0">
                  <a:pos x="414" y="447"/>
                </a:cxn>
                <a:cxn ang="0">
                  <a:pos x="390" y="493"/>
                </a:cxn>
                <a:cxn ang="0">
                  <a:pos x="422" y="583"/>
                </a:cxn>
                <a:cxn ang="0">
                  <a:pos x="453" y="507"/>
                </a:cxn>
                <a:cxn ang="0">
                  <a:pos x="478" y="327"/>
                </a:cxn>
                <a:cxn ang="0">
                  <a:pos x="312" y="187"/>
                </a:cxn>
                <a:cxn ang="0">
                  <a:pos x="172" y="447"/>
                </a:cxn>
                <a:cxn ang="0">
                  <a:pos x="196" y="593"/>
                </a:cxn>
                <a:cxn ang="0">
                  <a:pos x="0" y="769"/>
                </a:cxn>
                <a:cxn ang="0">
                  <a:pos x="32" y="883"/>
                </a:cxn>
                <a:cxn ang="0">
                  <a:pos x="321" y="851"/>
                </a:cxn>
                <a:cxn ang="0">
                  <a:pos x="63" y="820"/>
                </a:cxn>
                <a:cxn ang="0">
                  <a:pos x="73" y="748"/>
                </a:cxn>
                <a:cxn ang="0">
                  <a:pos x="259" y="609"/>
                </a:cxn>
                <a:cxn ang="0">
                  <a:pos x="245" y="466"/>
                </a:cxn>
                <a:cxn ang="0">
                  <a:pos x="235" y="327"/>
                </a:cxn>
                <a:cxn ang="0">
                  <a:pos x="1157" y="662"/>
                </a:cxn>
                <a:cxn ang="0">
                  <a:pos x="942" y="402"/>
                </a:cxn>
                <a:cxn ang="0">
                  <a:pos x="974" y="173"/>
                </a:cxn>
                <a:cxn ang="0">
                  <a:pos x="768" y="0"/>
                </a:cxn>
                <a:cxn ang="0">
                  <a:pos x="596" y="328"/>
                </a:cxn>
                <a:cxn ang="0">
                  <a:pos x="628" y="522"/>
                </a:cxn>
                <a:cxn ang="0">
                  <a:pos x="374" y="744"/>
                </a:cxn>
                <a:cxn ang="0">
                  <a:pos x="406" y="883"/>
                </a:cxn>
                <a:cxn ang="0">
                  <a:pos x="1196" y="851"/>
                </a:cxn>
                <a:cxn ang="0">
                  <a:pos x="1157" y="662"/>
                </a:cxn>
                <a:cxn ang="0">
                  <a:pos x="438" y="820"/>
                </a:cxn>
                <a:cxn ang="0">
                  <a:pos x="454" y="711"/>
                </a:cxn>
                <a:cxn ang="0">
                  <a:pos x="691" y="537"/>
                </a:cxn>
                <a:cxn ang="0">
                  <a:pos x="677" y="361"/>
                </a:cxn>
                <a:cxn ang="0">
                  <a:pos x="660" y="173"/>
                </a:cxn>
                <a:cxn ang="0">
                  <a:pos x="802" y="64"/>
                </a:cxn>
                <a:cxn ang="0">
                  <a:pos x="911" y="329"/>
                </a:cxn>
                <a:cxn ang="0">
                  <a:pos x="880" y="387"/>
                </a:cxn>
                <a:cxn ang="0">
                  <a:pos x="901" y="572"/>
                </a:cxn>
                <a:cxn ang="0">
                  <a:pos x="1133" y="744"/>
                </a:cxn>
                <a:cxn ang="0">
                  <a:pos x="1535" y="699"/>
                </a:cxn>
                <a:cxn ang="0">
                  <a:pos x="1372" y="507"/>
                </a:cxn>
                <a:cxn ang="0">
                  <a:pos x="1396" y="327"/>
                </a:cxn>
                <a:cxn ang="0">
                  <a:pos x="1230" y="186"/>
                </a:cxn>
                <a:cxn ang="0">
                  <a:pos x="1090" y="447"/>
                </a:cxn>
                <a:cxn ang="0">
                  <a:pos x="1114" y="548"/>
                </a:cxn>
                <a:cxn ang="0">
                  <a:pos x="1178" y="548"/>
                </a:cxn>
                <a:cxn ang="0">
                  <a:pos x="1164" y="466"/>
                </a:cxn>
                <a:cxn ang="0">
                  <a:pos x="1153" y="327"/>
                </a:cxn>
                <a:cxn ang="0">
                  <a:pos x="1256" y="250"/>
                </a:cxn>
                <a:cxn ang="0">
                  <a:pos x="1333" y="447"/>
                </a:cxn>
                <a:cxn ang="0">
                  <a:pos x="1308" y="493"/>
                </a:cxn>
                <a:cxn ang="0">
                  <a:pos x="1329" y="642"/>
                </a:cxn>
                <a:cxn ang="0">
                  <a:pos x="1504" y="769"/>
                </a:cxn>
                <a:cxn ang="0">
                  <a:pos x="1282" y="820"/>
                </a:cxn>
                <a:cxn ang="0">
                  <a:pos x="1282" y="883"/>
                </a:cxn>
                <a:cxn ang="0">
                  <a:pos x="1568" y="851"/>
                </a:cxn>
                <a:cxn ang="0">
                  <a:pos x="1535" y="699"/>
                </a:cxn>
              </a:cxnLst>
              <a:rect l="0" t="0" r="r" b="b"/>
              <a:pathLst>
                <a:path w="1568" h="883">
                  <a:moveTo>
                    <a:pt x="312" y="250"/>
                  </a:moveTo>
                  <a:cubicBezTo>
                    <a:pt x="338" y="250"/>
                    <a:pt x="338" y="250"/>
                    <a:pt x="338" y="250"/>
                  </a:cubicBezTo>
                  <a:cubicBezTo>
                    <a:pt x="380" y="250"/>
                    <a:pt x="414" y="285"/>
                    <a:pt x="414" y="327"/>
                  </a:cubicBezTo>
                  <a:cubicBezTo>
                    <a:pt x="414" y="447"/>
                    <a:pt x="414" y="447"/>
                    <a:pt x="414" y="447"/>
                  </a:cubicBezTo>
                  <a:cubicBezTo>
                    <a:pt x="414" y="455"/>
                    <a:pt x="411" y="462"/>
                    <a:pt x="404" y="466"/>
                  </a:cubicBezTo>
                  <a:cubicBezTo>
                    <a:pt x="395" y="472"/>
                    <a:pt x="390" y="482"/>
                    <a:pt x="390" y="493"/>
                  </a:cubicBezTo>
                  <a:cubicBezTo>
                    <a:pt x="390" y="551"/>
                    <a:pt x="390" y="551"/>
                    <a:pt x="390" y="551"/>
                  </a:cubicBezTo>
                  <a:cubicBezTo>
                    <a:pt x="390" y="568"/>
                    <a:pt x="404" y="583"/>
                    <a:pt x="422" y="583"/>
                  </a:cubicBezTo>
                  <a:cubicBezTo>
                    <a:pt x="439" y="583"/>
                    <a:pt x="453" y="568"/>
                    <a:pt x="453" y="551"/>
                  </a:cubicBezTo>
                  <a:cubicBezTo>
                    <a:pt x="453" y="507"/>
                    <a:pt x="453" y="507"/>
                    <a:pt x="453" y="507"/>
                  </a:cubicBezTo>
                  <a:cubicBezTo>
                    <a:pt x="469" y="491"/>
                    <a:pt x="478" y="470"/>
                    <a:pt x="478" y="447"/>
                  </a:cubicBezTo>
                  <a:cubicBezTo>
                    <a:pt x="478" y="327"/>
                    <a:pt x="478" y="327"/>
                    <a:pt x="478" y="327"/>
                  </a:cubicBezTo>
                  <a:cubicBezTo>
                    <a:pt x="478" y="249"/>
                    <a:pt x="415" y="187"/>
                    <a:pt x="338" y="187"/>
                  </a:cubicBezTo>
                  <a:cubicBezTo>
                    <a:pt x="312" y="187"/>
                    <a:pt x="312" y="187"/>
                    <a:pt x="312" y="187"/>
                  </a:cubicBezTo>
                  <a:cubicBezTo>
                    <a:pt x="234" y="187"/>
                    <a:pt x="172" y="250"/>
                    <a:pt x="172" y="327"/>
                  </a:cubicBezTo>
                  <a:cubicBezTo>
                    <a:pt x="172" y="447"/>
                    <a:pt x="172" y="447"/>
                    <a:pt x="172" y="447"/>
                  </a:cubicBezTo>
                  <a:cubicBezTo>
                    <a:pt x="172" y="470"/>
                    <a:pt x="180" y="491"/>
                    <a:pt x="196" y="507"/>
                  </a:cubicBezTo>
                  <a:cubicBezTo>
                    <a:pt x="196" y="593"/>
                    <a:pt x="196" y="593"/>
                    <a:pt x="196" y="593"/>
                  </a:cubicBezTo>
                  <a:cubicBezTo>
                    <a:pt x="164" y="609"/>
                    <a:pt x="97" y="647"/>
                    <a:pt x="33" y="699"/>
                  </a:cubicBezTo>
                  <a:cubicBezTo>
                    <a:pt x="12" y="717"/>
                    <a:pt x="0" y="742"/>
                    <a:pt x="0" y="769"/>
                  </a:cubicBezTo>
                  <a:cubicBezTo>
                    <a:pt x="0" y="851"/>
                    <a:pt x="0" y="851"/>
                    <a:pt x="0" y="851"/>
                  </a:cubicBezTo>
                  <a:cubicBezTo>
                    <a:pt x="0" y="869"/>
                    <a:pt x="14" y="883"/>
                    <a:pt x="32" y="883"/>
                  </a:cubicBezTo>
                  <a:cubicBezTo>
                    <a:pt x="289" y="883"/>
                    <a:pt x="289" y="883"/>
                    <a:pt x="289" y="883"/>
                  </a:cubicBezTo>
                  <a:cubicBezTo>
                    <a:pt x="307" y="883"/>
                    <a:pt x="321" y="869"/>
                    <a:pt x="321" y="851"/>
                  </a:cubicBezTo>
                  <a:cubicBezTo>
                    <a:pt x="321" y="834"/>
                    <a:pt x="307" y="820"/>
                    <a:pt x="289" y="820"/>
                  </a:cubicBezTo>
                  <a:cubicBezTo>
                    <a:pt x="63" y="820"/>
                    <a:pt x="63" y="820"/>
                    <a:pt x="63" y="820"/>
                  </a:cubicBezTo>
                  <a:cubicBezTo>
                    <a:pt x="63" y="769"/>
                    <a:pt x="63" y="769"/>
                    <a:pt x="63" y="769"/>
                  </a:cubicBezTo>
                  <a:cubicBezTo>
                    <a:pt x="63" y="761"/>
                    <a:pt x="67" y="753"/>
                    <a:pt x="73" y="748"/>
                  </a:cubicBezTo>
                  <a:cubicBezTo>
                    <a:pt x="145" y="689"/>
                    <a:pt x="223" y="649"/>
                    <a:pt x="238" y="642"/>
                  </a:cubicBezTo>
                  <a:cubicBezTo>
                    <a:pt x="251" y="636"/>
                    <a:pt x="259" y="623"/>
                    <a:pt x="259" y="609"/>
                  </a:cubicBezTo>
                  <a:cubicBezTo>
                    <a:pt x="259" y="493"/>
                    <a:pt x="259" y="493"/>
                    <a:pt x="259" y="493"/>
                  </a:cubicBezTo>
                  <a:cubicBezTo>
                    <a:pt x="259" y="482"/>
                    <a:pt x="254" y="472"/>
                    <a:pt x="245" y="466"/>
                  </a:cubicBezTo>
                  <a:cubicBezTo>
                    <a:pt x="239" y="462"/>
                    <a:pt x="235" y="455"/>
                    <a:pt x="235" y="447"/>
                  </a:cubicBezTo>
                  <a:cubicBezTo>
                    <a:pt x="235" y="327"/>
                    <a:pt x="235" y="327"/>
                    <a:pt x="235" y="327"/>
                  </a:cubicBezTo>
                  <a:cubicBezTo>
                    <a:pt x="235" y="285"/>
                    <a:pt x="269" y="250"/>
                    <a:pt x="312" y="250"/>
                  </a:cubicBezTo>
                  <a:close/>
                  <a:moveTo>
                    <a:pt x="1157" y="662"/>
                  </a:moveTo>
                  <a:cubicBezTo>
                    <a:pt x="1071" y="591"/>
                    <a:pt x="980" y="541"/>
                    <a:pt x="942" y="522"/>
                  </a:cubicBezTo>
                  <a:cubicBezTo>
                    <a:pt x="942" y="402"/>
                    <a:pt x="942" y="402"/>
                    <a:pt x="942" y="402"/>
                  </a:cubicBezTo>
                  <a:cubicBezTo>
                    <a:pt x="963" y="383"/>
                    <a:pt x="974" y="357"/>
                    <a:pt x="974" y="328"/>
                  </a:cubicBezTo>
                  <a:cubicBezTo>
                    <a:pt x="974" y="173"/>
                    <a:pt x="974" y="173"/>
                    <a:pt x="974" y="173"/>
                  </a:cubicBezTo>
                  <a:cubicBezTo>
                    <a:pt x="974" y="78"/>
                    <a:pt x="897" y="0"/>
                    <a:pt x="802" y="0"/>
                  </a:cubicBezTo>
                  <a:cubicBezTo>
                    <a:pt x="768" y="0"/>
                    <a:pt x="768" y="0"/>
                    <a:pt x="768" y="0"/>
                  </a:cubicBezTo>
                  <a:cubicBezTo>
                    <a:pt x="673" y="0"/>
                    <a:pt x="596" y="78"/>
                    <a:pt x="596" y="173"/>
                  </a:cubicBezTo>
                  <a:cubicBezTo>
                    <a:pt x="596" y="328"/>
                    <a:pt x="596" y="328"/>
                    <a:pt x="596" y="328"/>
                  </a:cubicBezTo>
                  <a:cubicBezTo>
                    <a:pt x="596" y="357"/>
                    <a:pt x="608" y="383"/>
                    <a:pt x="628" y="402"/>
                  </a:cubicBezTo>
                  <a:cubicBezTo>
                    <a:pt x="628" y="522"/>
                    <a:pt x="628" y="522"/>
                    <a:pt x="628" y="522"/>
                  </a:cubicBezTo>
                  <a:cubicBezTo>
                    <a:pt x="590" y="541"/>
                    <a:pt x="499" y="591"/>
                    <a:pt x="413" y="662"/>
                  </a:cubicBezTo>
                  <a:cubicBezTo>
                    <a:pt x="388" y="682"/>
                    <a:pt x="374" y="712"/>
                    <a:pt x="374" y="744"/>
                  </a:cubicBezTo>
                  <a:cubicBezTo>
                    <a:pt x="374" y="851"/>
                    <a:pt x="374" y="851"/>
                    <a:pt x="374" y="851"/>
                  </a:cubicBezTo>
                  <a:cubicBezTo>
                    <a:pt x="374" y="869"/>
                    <a:pt x="388" y="883"/>
                    <a:pt x="406" y="883"/>
                  </a:cubicBezTo>
                  <a:cubicBezTo>
                    <a:pt x="1164" y="883"/>
                    <a:pt x="1164" y="883"/>
                    <a:pt x="1164" y="883"/>
                  </a:cubicBezTo>
                  <a:cubicBezTo>
                    <a:pt x="1182" y="883"/>
                    <a:pt x="1196" y="869"/>
                    <a:pt x="1196" y="851"/>
                  </a:cubicBezTo>
                  <a:cubicBezTo>
                    <a:pt x="1196" y="744"/>
                    <a:pt x="1196" y="744"/>
                    <a:pt x="1196" y="744"/>
                  </a:cubicBezTo>
                  <a:cubicBezTo>
                    <a:pt x="1196" y="712"/>
                    <a:pt x="1182" y="682"/>
                    <a:pt x="1157" y="662"/>
                  </a:cubicBezTo>
                  <a:close/>
                  <a:moveTo>
                    <a:pt x="1133" y="820"/>
                  </a:moveTo>
                  <a:cubicBezTo>
                    <a:pt x="438" y="820"/>
                    <a:pt x="438" y="820"/>
                    <a:pt x="438" y="820"/>
                  </a:cubicBezTo>
                  <a:cubicBezTo>
                    <a:pt x="438" y="744"/>
                    <a:pt x="438" y="744"/>
                    <a:pt x="438" y="744"/>
                  </a:cubicBezTo>
                  <a:cubicBezTo>
                    <a:pt x="438" y="731"/>
                    <a:pt x="444" y="719"/>
                    <a:pt x="454" y="711"/>
                  </a:cubicBezTo>
                  <a:cubicBezTo>
                    <a:pt x="548" y="633"/>
                    <a:pt x="650" y="582"/>
                    <a:pt x="669" y="572"/>
                  </a:cubicBezTo>
                  <a:cubicBezTo>
                    <a:pt x="683" y="566"/>
                    <a:pt x="691" y="552"/>
                    <a:pt x="691" y="537"/>
                  </a:cubicBezTo>
                  <a:cubicBezTo>
                    <a:pt x="691" y="387"/>
                    <a:pt x="691" y="387"/>
                    <a:pt x="691" y="387"/>
                  </a:cubicBezTo>
                  <a:cubicBezTo>
                    <a:pt x="691" y="376"/>
                    <a:pt x="686" y="367"/>
                    <a:pt x="677" y="361"/>
                  </a:cubicBezTo>
                  <a:cubicBezTo>
                    <a:pt x="666" y="353"/>
                    <a:pt x="660" y="342"/>
                    <a:pt x="660" y="329"/>
                  </a:cubicBezTo>
                  <a:cubicBezTo>
                    <a:pt x="660" y="173"/>
                    <a:pt x="660" y="173"/>
                    <a:pt x="660" y="173"/>
                  </a:cubicBezTo>
                  <a:cubicBezTo>
                    <a:pt x="660" y="113"/>
                    <a:pt x="709" y="64"/>
                    <a:pt x="769" y="64"/>
                  </a:cubicBezTo>
                  <a:cubicBezTo>
                    <a:pt x="802" y="64"/>
                    <a:pt x="802" y="64"/>
                    <a:pt x="802" y="64"/>
                  </a:cubicBezTo>
                  <a:cubicBezTo>
                    <a:pt x="862" y="64"/>
                    <a:pt x="911" y="113"/>
                    <a:pt x="911" y="173"/>
                  </a:cubicBezTo>
                  <a:cubicBezTo>
                    <a:pt x="911" y="329"/>
                    <a:pt x="911" y="329"/>
                    <a:pt x="911" y="329"/>
                  </a:cubicBezTo>
                  <a:cubicBezTo>
                    <a:pt x="911" y="342"/>
                    <a:pt x="905" y="354"/>
                    <a:pt x="894" y="361"/>
                  </a:cubicBezTo>
                  <a:cubicBezTo>
                    <a:pt x="885" y="367"/>
                    <a:pt x="880" y="376"/>
                    <a:pt x="880" y="387"/>
                  </a:cubicBezTo>
                  <a:cubicBezTo>
                    <a:pt x="880" y="537"/>
                    <a:pt x="880" y="537"/>
                    <a:pt x="880" y="537"/>
                  </a:cubicBezTo>
                  <a:cubicBezTo>
                    <a:pt x="880" y="552"/>
                    <a:pt x="888" y="566"/>
                    <a:pt x="901" y="572"/>
                  </a:cubicBezTo>
                  <a:cubicBezTo>
                    <a:pt x="921" y="582"/>
                    <a:pt x="1023" y="633"/>
                    <a:pt x="1117" y="711"/>
                  </a:cubicBezTo>
                  <a:cubicBezTo>
                    <a:pt x="1127" y="719"/>
                    <a:pt x="1133" y="731"/>
                    <a:pt x="1133" y="744"/>
                  </a:cubicBezTo>
                  <a:lnTo>
                    <a:pt x="1133" y="820"/>
                  </a:lnTo>
                  <a:close/>
                  <a:moveTo>
                    <a:pt x="1535" y="699"/>
                  </a:moveTo>
                  <a:cubicBezTo>
                    <a:pt x="1471" y="647"/>
                    <a:pt x="1403" y="609"/>
                    <a:pt x="1372" y="592"/>
                  </a:cubicBezTo>
                  <a:cubicBezTo>
                    <a:pt x="1372" y="507"/>
                    <a:pt x="1372" y="507"/>
                    <a:pt x="1372" y="507"/>
                  </a:cubicBezTo>
                  <a:cubicBezTo>
                    <a:pt x="1387" y="491"/>
                    <a:pt x="1396" y="470"/>
                    <a:pt x="1396" y="447"/>
                  </a:cubicBezTo>
                  <a:cubicBezTo>
                    <a:pt x="1396" y="327"/>
                    <a:pt x="1396" y="327"/>
                    <a:pt x="1396" y="327"/>
                  </a:cubicBezTo>
                  <a:cubicBezTo>
                    <a:pt x="1396" y="249"/>
                    <a:pt x="1333" y="186"/>
                    <a:pt x="1256" y="186"/>
                  </a:cubicBezTo>
                  <a:cubicBezTo>
                    <a:pt x="1230" y="186"/>
                    <a:pt x="1230" y="186"/>
                    <a:pt x="1230" y="186"/>
                  </a:cubicBezTo>
                  <a:cubicBezTo>
                    <a:pt x="1153" y="187"/>
                    <a:pt x="1090" y="249"/>
                    <a:pt x="1090" y="327"/>
                  </a:cubicBezTo>
                  <a:cubicBezTo>
                    <a:pt x="1090" y="447"/>
                    <a:pt x="1090" y="447"/>
                    <a:pt x="1090" y="447"/>
                  </a:cubicBezTo>
                  <a:cubicBezTo>
                    <a:pt x="1090" y="470"/>
                    <a:pt x="1099" y="491"/>
                    <a:pt x="1114" y="507"/>
                  </a:cubicBezTo>
                  <a:cubicBezTo>
                    <a:pt x="1114" y="548"/>
                    <a:pt x="1114" y="548"/>
                    <a:pt x="1114" y="548"/>
                  </a:cubicBezTo>
                  <a:cubicBezTo>
                    <a:pt x="1114" y="566"/>
                    <a:pt x="1128" y="580"/>
                    <a:pt x="1146" y="580"/>
                  </a:cubicBezTo>
                  <a:cubicBezTo>
                    <a:pt x="1164" y="580"/>
                    <a:pt x="1178" y="566"/>
                    <a:pt x="1178" y="548"/>
                  </a:cubicBezTo>
                  <a:cubicBezTo>
                    <a:pt x="1178" y="493"/>
                    <a:pt x="1178" y="493"/>
                    <a:pt x="1178" y="493"/>
                  </a:cubicBezTo>
                  <a:cubicBezTo>
                    <a:pt x="1178" y="482"/>
                    <a:pt x="1172" y="472"/>
                    <a:pt x="1164" y="466"/>
                  </a:cubicBezTo>
                  <a:cubicBezTo>
                    <a:pt x="1157" y="462"/>
                    <a:pt x="1153" y="455"/>
                    <a:pt x="1153" y="447"/>
                  </a:cubicBezTo>
                  <a:cubicBezTo>
                    <a:pt x="1153" y="327"/>
                    <a:pt x="1153" y="327"/>
                    <a:pt x="1153" y="327"/>
                  </a:cubicBezTo>
                  <a:cubicBezTo>
                    <a:pt x="1153" y="285"/>
                    <a:pt x="1188" y="250"/>
                    <a:pt x="1230" y="250"/>
                  </a:cubicBezTo>
                  <a:cubicBezTo>
                    <a:pt x="1256" y="250"/>
                    <a:pt x="1256" y="250"/>
                    <a:pt x="1256" y="250"/>
                  </a:cubicBezTo>
                  <a:cubicBezTo>
                    <a:pt x="1298" y="250"/>
                    <a:pt x="1333" y="285"/>
                    <a:pt x="1333" y="327"/>
                  </a:cubicBezTo>
                  <a:cubicBezTo>
                    <a:pt x="1333" y="447"/>
                    <a:pt x="1333" y="447"/>
                    <a:pt x="1333" y="447"/>
                  </a:cubicBezTo>
                  <a:cubicBezTo>
                    <a:pt x="1333" y="455"/>
                    <a:pt x="1329" y="462"/>
                    <a:pt x="1323" y="466"/>
                  </a:cubicBezTo>
                  <a:cubicBezTo>
                    <a:pt x="1314" y="472"/>
                    <a:pt x="1308" y="482"/>
                    <a:pt x="1308" y="493"/>
                  </a:cubicBezTo>
                  <a:cubicBezTo>
                    <a:pt x="1308" y="609"/>
                    <a:pt x="1308" y="609"/>
                    <a:pt x="1308" y="609"/>
                  </a:cubicBezTo>
                  <a:cubicBezTo>
                    <a:pt x="1308" y="623"/>
                    <a:pt x="1317" y="636"/>
                    <a:pt x="1329" y="642"/>
                  </a:cubicBezTo>
                  <a:cubicBezTo>
                    <a:pt x="1344" y="649"/>
                    <a:pt x="1422" y="689"/>
                    <a:pt x="1495" y="748"/>
                  </a:cubicBezTo>
                  <a:cubicBezTo>
                    <a:pt x="1501" y="753"/>
                    <a:pt x="1504" y="760"/>
                    <a:pt x="1504" y="769"/>
                  </a:cubicBezTo>
                  <a:cubicBezTo>
                    <a:pt x="1504" y="820"/>
                    <a:pt x="1504" y="820"/>
                    <a:pt x="1504" y="820"/>
                  </a:cubicBezTo>
                  <a:cubicBezTo>
                    <a:pt x="1282" y="820"/>
                    <a:pt x="1282" y="820"/>
                    <a:pt x="1282" y="820"/>
                  </a:cubicBezTo>
                  <a:cubicBezTo>
                    <a:pt x="1265" y="820"/>
                    <a:pt x="1251" y="834"/>
                    <a:pt x="1251" y="851"/>
                  </a:cubicBezTo>
                  <a:cubicBezTo>
                    <a:pt x="1251" y="869"/>
                    <a:pt x="1265" y="883"/>
                    <a:pt x="1282" y="883"/>
                  </a:cubicBezTo>
                  <a:cubicBezTo>
                    <a:pt x="1536" y="883"/>
                    <a:pt x="1536" y="883"/>
                    <a:pt x="1536" y="883"/>
                  </a:cubicBezTo>
                  <a:cubicBezTo>
                    <a:pt x="1554" y="883"/>
                    <a:pt x="1568" y="869"/>
                    <a:pt x="1568" y="851"/>
                  </a:cubicBezTo>
                  <a:cubicBezTo>
                    <a:pt x="1568" y="769"/>
                    <a:pt x="1568" y="769"/>
                    <a:pt x="1568" y="769"/>
                  </a:cubicBezTo>
                  <a:cubicBezTo>
                    <a:pt x="1568" y="742"/>
                    <a:pt x="1556" y="716"/>
                    <a:pt x="1535" y="699"/>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3" name="Title 92"/>
          <p:cNvSpPr>
            <a:spLocks noGrp="1"/>
          </p:cNvSpPr>
          <p:nvPr>
            <p:ph type="title"/>
          </p:nvPr>
        </p:nvSpPr>
        <p:spPr/>
        <p:txBody>
          <a:bodyPr/>
          <a:lstStyle/>
          <a:p>
            <a:r>
              <a:rPr lang="en-US" dirty="0" smtClean="0"/>
              <a:t>Cisco and Operators Can Help Customers </a:t>
            </a:r>
            <a:br>
              <a:rPr lang="en-US" dirty="0" smtClean="0"/>
            </a:br>
            <a:r>
              <a:rPr lang="en-US" dirty="0" smtClean="0"/>
              <a:t>On the </a:t>
            </a:r>
            <a:r>
              <a:rPr lang="en-US" dirty="0" err="1" smtClean="0"/>
              <a:t>IoT</a:t>
            </a:r>
            <a:r>
              <a:rPr lang="en-US" dirty="0" smtClean="0"/>
              <a:t> Journey</a:t>
            </a:r>
            <a:endParaRPr lang="en-US" dirty="0"/>
          </a:p>
        </p:txBody>
      </p:sp>
      <p:sp>
        <p:nvSpPr>
          <p:cNvPr id="94" name="TextBox 93"/>
          <p:cNvSpPr txBox="1"/>
          <p:nvPr/>
        </p:nvSpPr>
        <p:spPr>
          <a:xfrm>
            <a:off x="276716" y="2485406"/>
            <a:ext cx="1928435" cy="523220"/>
          </a:xfrm>
          <a:prstGeom prst="rect">
            <a:avLst/>
          </a:prstGeom>
          <a:noFill/>
        </p:spPr>
        <p:txBody>
          <a:bodyPr wrap="square" rtlCol="0">
            <a:spAutoFit/>
          </a:bodyPr>
          <a:lstStyle/>
          <a:p>
            <a:pPr algn="ctr"/>
            <a:r>
              <a:rPr lang="en-US" sz="1400" dirty="0" smtClean="0">
                <a:solidFill>
                  <a:schemeClr val="accent1"/>
                </a:solidFill>
                <a:latin typeface="+mj-lt"/>
              </a:rPr>
              <a:t>Digital Business</a:t>
            </a:r>
            <a:br>
              <a:rPr lang="en-US" sz="1400" dirty="0" smtClean="0">
                <a:solidFill>
                  <a:schemeClr val="accent1"/>
                </a:solidFill>
                <a:latin typeface="+mj-lt"/>
              </a:rPr>
            </a:br>
            <a:r>
              <a:rPr lang="en-US" sz="1400" dirty="0" smtClean="0">
                <a:solidFill>
                  <a:schemeClr val="accent1"/>
                </a:solidFill>
                <a:latin typeface="+mj-lt"/>
              </a:rPr>
              <a:t>Transformation</a:t>
            </a:r>
            <a:endParaRPr lang="en-US" sz="1400" dirty="0">
              <a:solidFill>
                <a:schemeClr val="accent1"/>
              </a:solidFill>
              <a:latin typeface="+mj-lt"/>
            </a:endParaRPr>
          </a:p>
        </p:txBody>
      </p:sp>
      <p:sp>
        <p:nvSpPr>
          <p:cNvPr id="95" name="TextBox 94"/>
          <p:cNvSpPr txBox="1"/>
          <p:nvPr/>
        </p:nvSpPr>
        <p:spPr>
          <a:xfrm>
            <a:off x="7204488" y="2485406"/>
            <a:ext cx="1667096" cy="523220"/>
          </a:xfrm>
          <a:prstGeom prst="rect">
            <a:avLst/>
          </a:prstGeom>
          <a:noFill/>
        </p:spPr>
        <p:txBody>
          <a:bodyPr wrap="square" rtlCol="0">
            <a:spAutoFit/>
          </a:bodyPr>
          <a:lstStyle/>
          <a:p>
            <a:pPr algn="ctr"/>
            <a:r>
              <a:rPr lang="en-US" sz="1400" dirty="0" smtClean="0">
                <a:solidFill>
                  <a:schemeClr val="accent1"/>
                </a:solidFill>
                <a:latin typeface="+mj-lt"/>
              </a:rPr>
              <a:t>Service Centric</a:t>
            </a:r>
            <a:br>
              <a:rPr lang="en-US" sz="1400" dirty="0" smtClean="0">
                <a:solidFill>
                  <a:schemeClr val="accent1"/>
                </a:solidFill>
                <a:latin typeface="+mj-lt"/>
              </a:rPr>
            </a:br>
            <a:r>
              <a:rPr lang="en-US" sz="1400" dirty="0" smtClean="0">
                <a:solidFill>
                  <a:schemeClr val="accent1"/>
                </a:solidFill>
                <a:latin typeface="+mj-lt"/>
              </a:rPr>
              <a:t>Business</a:t>
            </a:r>
            <a:endParaRPr lang="en-US" sz="1400" dirty="0">
              <a:solidFill>
                <a:schemeClr val="accent1"/>
              </a:solidFill>
              <a:latin typeface="+mj-lt"/>
            </a:endParaRPr>
          </a:p>
        </p:txBody>
      </p:sp>
      <p:sp>
        <p:nvSpPr>
          <p:cNvPr id="96" name="TextBox 95"/>
          <p:cNvSpPr txBox="1"/>
          <p:nvPr/>
        </p:nvSpPr>
        <p:spPr>
          <a:xfrm>
            <a:off x="3815482" y="1045493"/>
            <a:ext cx="1513036" cy="307777"/>
          </a:xfrm>
          <a:prstGeom prst="rect">
            <a:avLst/>
          </a:prstGeom>
          <a:noFill/>
        </p:spPr>
        <p:txBody>
          <a:bodyPr wrap="square" rtlCol="0">
            <a:spAutoFit/>
          </a:bodyPr>
          <a:lstStyle/>
          <a:p>
            <a:pPr algn="ctr"/>
            <a:r>
              <a:rPr lang="en-US" sz="1400" dirty="0" smtClean="0">
                <a:solidFill>
                  <a:schemeClr val="accent1"/>
                </a:solidFill>
                <a:latin typeface="+mj-lt"/>
              </a:rPr>
              <a:t>Cisco Ultra IoT</a:t>
            </a:r>
            <a:endParaRPr lang="en-US" sz="1400" dirty="0">
              <a:solidFill>
                <a:schemeClr val="accent1"/>
              </a:solidFill>
              <a:latin typeface="+mj-lt"/>
            </a:endParaRPr>
          </a:p>
        </p:txBody>
      </p:sp>
      <p:sp>
        <p:nvSpPr>
          <p:cNvPr id="97" name="Arc 96"/>
          <p:cNvSpPr/>
          <p:nvPr/>
        </p:nvSpPr>
        <p:spPr>
          <a:xfrm>
            <a:off x="1181100" y="1552575"/>
            <a:ext cx="6848475" cy="2266950"/>
          </a:xfrm>
          <a:prstGeom prst="arc">
            <a:avLst>
              <a:gd name="adj1" fmla="val 11045911"/>
              <a:gd name="adj2" fmla="val 21476574"/>
            </a:avLst>
          </a:prstGeom>
          <a:ln w="28575">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mj-lt"/>
            </a:endParaRPr>
          </a:p>
        </p:txBody>
      </p:sp>
      <p:grpSp>
        <p:nvGrpSpPr>
          <p:cNvPr id="27" name="Group 301"/>
          <p:cNvGrpSpPr/>
          <p:nvPr/>
        </p:nvGrpSpPr>
        <p:grpSpPr>
          <a:xfrm>
            <a:off x="3942538" y="1307989"/>
            <a:ext cx="1258925" cy="805771"/>
            <a:chOff x="3759145" y="1336675"/>
            <a:chExt cx="1258925" cy="805771"/>
          </a:xfrm>
        </p:grpSpPr>
        <p:sp>
          <p:nvSpPr>
            <p:cNvPr id="99" name="Freeform 6"/>
            <p:cNvSpPr>
              <a:spLocks/>
            </p:cNvSpPr>
            <p:nvPr/>
          </p:nvSpPr>
          <p:spPr bwMode="auto">
            <a:xfrm>
              <a:off x="3759145" y="1336675"/>
              <a:ext cx="1258925" cy="805771"/>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0" name="Rectangle 99"/>
            <p:cNvSpPr/>
            <p:nvPr/>
          </p:nvSpPr>
          <p:spPr>
            <a:xfrm>
              <a:off x="3855206" y="1577525"/>
              <a:ext cx="1066802" cy="507831"/>
            </a:xfrm>
            <a:prstGeom prst="rect">
              <a:avLst/>
            </a:prstGeom>
          </p:spPr>
          <p:txBody>
            <a:bodyPr wrap="square" lIns="0" tIns="0" rIns="0" bIns="0">
              <a:spAutoFit/>
            </a:bodyPr>
            <a:lstStyle/>
            <a:p>
              <a:pPr lvl="0" algn="ctr"/>
              <a:r>
                <a:rPr lang="en-US" sz="1100" b="1" kern="0" dirty="0" smtClean="0">
                  <a:solidFill>
                    <a:schemeClr val="tx2"/>
                  </a:solidFill>
                  <a:latin typeface="+mj-lt"/>
                </a:rPr>
                <a:t>Cisco</a:t>
              </a:r>
              <a:br>
                <a:rPr lang="en-US" sz="1100" b="1" kern="0" dirty="0" smtClean="0">
                  <a:solidFill>
                    <a:schemeClr val="tx2"/>
                  </a:solidFill>
                  <a:latin typeface="+mj-lt"/>
                </a:rPr>
              </a:br>
              <a:r>
                <a:rPr lang="en-US" sz="1100" b="1" kern="0" dirty="0" smtClean="0">
                  <a:solidFill>
                    <a:schemeClr val="tx2"/>
                  </a:solidFill>
                  <a:latin typeface="+mj-lt"/>
                </a:rPr>
                <a:t>Ultra Services</a:t>
              </a:r>
              <a:br>
                <a:rPr lang="en-US" sz="1100" b="1" kern="0" dirty="0" smtClean="0">
                  <a:solidFill>
                    <a:schemeClr val="tx2"/>
                  </a:solidFill>
                  <a:latin typeface="+mj-lt"/>
                </a:rPr>
              </a:br>
              <a:r>
                <a:rPr lang="en-US" sz="1100" b="1" kern="0" dirty="0" smtClean="0">
                  <a:solidFill>
                    <a:schemeClr val="tx2"/>
                  </a:solidFill>
                  <a:latin typeface="+mj-lt"/>
                </a:rPr>
                <a:t>Platform</a:t>
              </a:r>
              <a:endParaRPr lang="en-US" sz="1100" b="1" kern="0" dirty="0">
                <a:solidFill>
                  <a:schemeClr val="tx2"/>
                </a:solidFill>
                <a:latin typeface="+mj-lt"/>
              </a:endParaRPr>
            </a:p>
          </p:txBody>
        </p:sp>
      </p:grpSp>
      <p:grpSp>
        <p:nvGrpSpPr>
          <p:cNvPr id="28" name="Group 144"/>
          <p:cNvGrpSpPr/>
          <p:nvPr/>
        </p:nvGrpSpPr>
        <p:grpSpPr>
          <a:xfrm>
            <a:off x="6852879" y="4034572"/>
            <a:ext cx="548640" cy="548640"/>
            <a:chOff x="6852879" y="4034572"/>
            <a:chExt cx="548640" cy="548640"/>
          </a:xfrm>
        </p:grpSpPr>
        <p:sp>
          <p:nvSpPr>
            <p:cNvPr id="413" name="Oval 412"/>
            <p:cNvSpPr/>
            <p:nvPr/>
          </p:nvSpPr>
          <p:spPr>
            <a:xfrm>
              <a:off x="6852879" y="4034572"/>
              <a:ext cx="548640" cy="548640"/>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35" name="Freeform 10"/>
            <p:cNvSpPr>
              <a:spLocks noEditPoints="1"/>
            </p:cNvSpPr>
            <p:nvPr/>
          </p:nvSpPr>
          <p:spPr bwMode="auto">
            <a:xfrm>
              <a:off x="6906099" y="4216400"/>
              <a:ext cx="343514" cy="277813"/>
            </a:xfrm>
            <a:custGeom>
              <a:avLst/>
              <a:gdLst/>
              <a:ahLst/>
              <a:cxnLst>
                <a:cxn ang="0">
                  <a:pos x="1413" y="976"/>
                </a:cxn>
                <a:cxn ang="0">
                  <a:pos x="2053" y="42"/>
                </a:cxn>
                <a:cxn ang="0">
                  <a:pos x="2012" y="1"/>
                </a:cxn>
                <a:cxn ang="0">
                  <a:pos x="1075" y="636"/>
                </a:cxn>
                <a:cxn ang="0">
                  <a:pos x="532" y="1264"/>
                </a:cxn>
                <a:cxn ang="0">
                  <a:pos x="553" y="1046"/>
                </a:cxn>
                <a:cxn ang="0">
                  <a:pos x="615" y="78"/>
                </a:cxn>
                <a:cxn ang="0">
                  <a:pos x="267" y="571"/>
                </a:cxn>
                <a:cxn ang="0">
                  <a:pos x="436" y="1185"/>
                </a:cxn>
                <a:cxn ang="0">
                  <a:pos x="353" y="1354"/>
                </a:cxn>
                <a:cxn ang="0">
                  <a:pos x="28" y="1517"/>
                </a:cxn>
                <a:cxn ang="0">
                  <a:pos x="43" y="1590"/>
                </a:cxn>
                <a:cxn ang="0">
                  <a:pos x="569" y="1330"/>
                </a:cxn>
                <a:cxn ang="0">
                  <a:pos x="1013" y="1381"/>
                </a:cxn>
                <a:cxn ang="0">
                  <a:pos x="1442" y="1661"/>
                </a:cxn>
                <a:cxn ang="0">
                  <a:pos x="1896" y="1408"/>
                </a:cxn>
                <a:cxn ang="0">
                  <a:pos x="1145" y="1174"/>
                </a:cxn>
                <a:cxn ang="0">
                  <a:pos x="772" y="1208"/>
                </a:cxn>
                <a:cxn ang="0">
                  <a:pos x="1348" y="982"/>
                </a:cxn>
                <a:cxn ang="0">
                  <a:pos x="342" y="576"/>
                </a:cxn>
                <a:cxn ang="0">
                  <a:pos x="775" y="603"/>
                </a:cxn>
                <a:cxn ang="0">
                  <a:pos x="567" y="969"/>
                </a:cxn>
                <a:cxn ang="0">
                  <a:pos x="553" y="557"/>
                </a:cxn>
                <a:cxn ang="0">
                  <a:pos x="491" y="961"/>
                </a:cxn>
                <a:cxn ang="0">
                  <a:pos x="1424" y="1350"/>
                </a:cxn>
                <a:cxn ang="0">
                  <a:pos x="1181" y="1241"/>
                </a:cxn>
                <a:cxn ang="0">
                  <a:pos x="1814" y="1426"/>
                </a:cxn>
                <a:cxn ang="0">
                  <a:pos x="1159" y="1501"/>
                </a:cxn>
                <a:cxn ang="0">
                  <a:pos x="1423" y="1426"/>
                </a:cxn>
                <a:cxn ang="0">
                  <a:pos x="1461" y="1389"/>
                </a:cxn>
                <a:cxn ang="0">
                  <a:pos x="1149" y="651"/>
                </a:cxn>
                <a:cxn ang="0">
                  <a:pos x="1972" y="82"/>
                </a:cxn>
                <a:cxn ang="0">
                  <a:pos x="1399" y="902"/>
                </a:cxn>
                <a:cxn ang="0">
                  <a:pos x="1473" y="645"/>
                </a:cxn>
                <a:cxn ang="0">
                  <a:pos x="1416" y="595"/>
                </a:cxn>
                <a:cxn ang="0">
                  <a:pos x="1149" y="651"/>
                </a:cxn>
              </a:cxnLst>
              <a:rect l="0" t="0" r="r" b="b"/>
              <a:pathLst>
                <a:path w="2054" h="1661">
                  <a:moveTo>
                    <a:pt x="1348" y="982"/>
                  </a:moveTo>
                  <a:cubicBezTo>
                    <a:pt x="1369" y="982"/>
                    <a:pt x="1391" y="980"/>
                    <a:pt x="1413" y="976"/>
                  </a:cubicBezTo>
                  <a:cubicBezTo>
                    <a:pt x="1523" y="955"/>
                    <a:pt x="1639" y="883"/>
                    <a:pt x="1761" y="762"/>
                  </a:cubicBezTo>
                  <a:cubicBezTo>
                    <a:pt x="2013" y="511"/>
                    <a:pt x="2051" y="61"/>
                    <a:pt x="2053" y="42"/>
                  </a:cubicBezTo>
                  <a:cubicBezTo>
                    <a:pt x="2054" y="31"/>
                    <a:pt x="2050" y="20"/>
                    <a:pt x="2042" y="12"/>
                  </a:cubicBezTo>
                  <a:cubicBezTo>
                    <a:pt x="2034" y="4"/>
                    <a:pt x="2023" y="0"/>
                    <a:pt x="2012" y="1"/>
                  </a:cubicBezTo>
                  <a:cubicBezTo>
                    <a:pt x="1993" y="2"/>
                    <a:pt x="1544" y="40"/>
                    <a:pt x="1292" y="291"/>
                  </a:cubicBezTo>
                  <a:cubicBezTo>
                    <a:pt x="1170" y="412"/>
                    <a:pt x="1098" y="528"/>
                    <a:pt x="1075" y="636"/>
                  </a:cubicBezTo>
                  <a:cubicBezTo>
                    <a:pt x="1057" y="723"/>
                    <a:pt x="1073" y="803"/>
                    <a:pt x="1122" y="868"/>
                  </a:cubicBezTo>
                  <a:cubicBezTo>
                    <a:pt x="919" y="1032"/>
                    <a:pt x="703" y="1167"/>
                    <a:pt x="532" y="1264"/>
                  </a:cubicBezTo>
                  <a:cubicBezTo>
                    <a:pt x="512" y="1276"/>
                    <a:pt x="492" y="1287"/>
                    <a:pt x="473" y="1297"/>
                  </a:cubicBezTo>
                  <a:cubicBezTo>
                    <a:pt x="499" y="1240"/>
                    <a:pt x="529" y="1158"/>
                    <a:pt x="553" y="1046"/>
                  </a:cubicBezTo>
                  <a:cubicBezTo>
                    <a:pt x="691" y="1041"/>
                    <a:pt x="832" y="907"/>
                    <a:pt x="850" y="608"/>
                  </a:cubicBezTo>
                  <a:cubicBezTo>
                    <a:pt x="868" y="326"/>
                    <a:pt x="625" y="88"/>
                    <a:pt x="615" y="78"/>
                  </a:cubicBezTo>
                  <a:cubicBezTo>
                    <a:pt x="602" y="65"/>
                    <a:pt x="581" y="63"/>
                    <a:pt x="566" y="75"/>
                  </a:cubicBezTo>
                  <a:cubicBezTo>
                    <a:pt x="555" y="83"/>
                    <a:pt x="284" y="289"/>
                    <a:pt x="267" y="571"/>
                  </a:cubicBezTo>
                  <a:cubicBezTo>
                    <a:pt x="249" y="848"/>
                    <a:pt x="353" y="997"/>
                    <a:pt x="477" y="1036"/>
                  </a:cubicBezTo>
                  <a:cubicBezTo>
                    <a:pt x="464" y="1097"/>
                    <a:pt x="450" y="1146"/>
                    <a:pt x="436" y="1185"/>
                  </a:cubicBezTo>
                  <a:cubicBezTo>
                    <a:pt x="396" y="1302"/>
                    <a:pt x="354" y="1353"/>
                    <a:pt x="353" y="1354"/>
                  </a:cubicBezTo>
                  <a:cubicBezTo>
                    <a:pt x="353" y="1354"/>
                    <a:pt x="353" y="1354"/>
                    <a:pt x="353" y="1354"/>
                  </a:cubicBezTo>
                  <a:cubicBezTo>
                    <a:pt x="344" y="1364"/>
                    <a:pt x="334" y="1372"/>
                    <a:pt x="323" y="1377"/>
                  </a:cubicBezTo>
                  <a:cubicBezTo>
                    <a:pt x="149" y="1467"/>
                    <a:pt x="30" y="1517"/>
                    <a:pt x="28" y="1517"/>
                  </a:cubicBezTo>
                  <a:cubicBezTo>
                    <a:pt x="9" y="1525"/>
                    <a:pt x="0" y="1547"/>
                    <a:pt x="8" y="1567"/>
                  </a:cubicBezTo>
                  <a:cubicBezTo>
                    <a:pt x="14" y="1581"/>
                    <a:pt x="28" y="1590"/>
                    <a:pt x="43" y="1590"/>
                  </a:cubicBezTo>
                  <a:cubicBezTo>
                    <a:pt x="48" y="1590"/>
                    <a:pt x="53" y="1589"/>
                    <a:pt x="57" y="1587"/>
                  </a:cubicBezTo>
                  <a:cubicBezTo>
                    <a:pt x="60" y="1586"/>
                    <a:pt x="284" y="1492"/>
                    <a:pt x="569" y="1330"/>
                  </a:cubicBezTo>
                  <a:cubicBezTo>
                    <a:pt x="611" y="1307"/>
                    <a:pt x="655" y="1280"/>
                    <a:pt x="702" y="1252"/>
                  </a:cubicBezTo>
                  <a:cubicBezTo>
                    <a:pt x="729" y="1273"/>
                    <a:pt x="822" y="1337"/>
                    <a:pt x="1013" y="1381"/>
                  </a:cubicBezTo>
                  <a:cubicBezTo>
                    <a:pt x="1017" y="1507"/>
                    <a:pt x="1136" y="1637"/>
                    <a:pt x="1406" y="1660"/>
                  </a:cubicBezTo>
                  <a:cubicBezTo>
                    <a:pt x="1418" y="1661"/>
                    <a:pt x="1430" y="1661"/>
                    <a:pt x="1442" y="1661"/>
                  </a:cubicBezTo>
                  <a:cubicBezTo>
                    <a:pt x="1682" y="1661"/>
                    <a:pt x="1883" y="1466"/>
                    <a:pt x="1892" y="1457"/>
                  </a:cubicBezTo>
                  <a:cubicBezTo>
                    <a:pt x="1905" y="1444"/>
                    <a:pt x="1907" y="1423"/>
                    <a:pt x="1896" y="1408"/>
                  </a:cubicBezTo>
                  <a:cubicBezTo>
                    <a:pt x="1889" y="1397"/>
                    <a:pt x="1707" y="1148"/>
                    <a:pt x="1451" y="1126"/>
                  </a:cubicBezTo>
                  <a:cubicBezTo>
                    <a:pt x="1329" y="1116"/>
                    <a:pt x="1223" y="1132"/>
                    <a:pt x="1145" y="1174"/>
                  </a:cubicBezTo>
                  <a:cubicBezTo>
                    <a:pt x="1085" y="1206"/>
                    <a:pt x="1044" y="1252"/>
                    <a:pt x="1025" y="1306"/>
                  </a:cubicBezTo>
                  <a:cubicBezTo>
                    <a:pt x="890" y="1274"/>
                    <a:pt x="810" y="1232"/>
                    <a:pt x="772" y="1208"/>
                  </a:cubicBezTo>
                  <a:cubicBezTo>
                    <a:pt x="901" y="1127"/>
                    <a:pt x="1041" y="1031"/>
                    <a:pt x="1175" y="922"/>
                  </a:cubicBezTo>
                  <a:cubicBezTo>
                    <a:pt x="1224" y="962"/>
                    <a:pt x="1283" y="982"/>
                    <a:pt x="1348" y="982"/>
                  </a:cubicBezTo>
                  <a:close/>
                  <a:moveTo>
                    <a:pt x="392" y="870"/>
                  </a:moveTo>
                  <a:cubicBezTo>
                    <a:pt x="352" y="797"/>
                    <a:pt x="335" y="696"/>
                    <a:pt x="342" y="576"/>
                  </a:cubicBezTo>
                  <a:cubicBezTo>
                    <a:pt x="355" y="377"/>
                    <a:pt x="521" y="214"/>
                    <a:pt x="586" y="157"/>
                  </a:cubicBezTo>
                  <a:cubicBezTo>
                    <a:pt x="643" y="221"/>
                    <a:pt x="787" y="404"/>
                    <a:pt x="775" y="603"/>
                  </a:cubicBezTo>
                  <a:cubicBezTo>
                    <a:pt x="767" y="723"/>
                    <a:pt x="738" y="822"/>
                    <a:pt x="688" y="888"/>
                  </a:cubicBezTo>
                  <a:cubicBezTo>
                    <a:pt x="654" y="935"/>
                    <a:pt x="612" y="963"/>
                    <a:pt x="567" y="969"/>
                  </a:cubicBezTo>
                  <a:cubicBezTo>
                    <a:pt x="583" y="866"/>
                    <a:pt x="593" y="742"/>
                    <a:pt x="591" y="595"/>
                  </a:cubicBezTo>
                  <a:cubicBezTo>
                    <a:pt x="591" y="574"/>
                    <a:pt x="574" y="557"/>
                    <a:pt x="553" y="557"/>
                  </a:cubicBezTo>
                  <a:cubicBezTo>
                    <a:pt x="532" y="558"/>
                    <a:pt x="515" y="575"/>
                    <a:pt x="516" y="596"/>
                  </a:cubicBezTo>
                  <a:cubicBezTo>
                    <a:pt x="517" y="742"/>
                    <a:pt x="507" y="863"/>
                    <a:pt x="491" y="961"/>
                  </a:cubicBezTo>
                  <a:cubicBezTo>
                    <a:pt x="452" y="947"/>
                    <a:pt x="418" y="916"/>
                    <a:pt x="392" y="870"/>
                  </a:cubicBezTo>
                  <a:close/>
                  <a:moveTo>
                    <a:pt x="1424" y="1350"/>
                  </a:moveTo>
                  <a:cubicBezTo>
                    <a:pt x="1295" y="1349"/>
                    <a:pt x="1188" y="1338"/>
                    <a:pt x="1100" y="1322"/>
                  </a:cubicBezTo>
                  <a:cubicBezTo>
                    <a:pt x="1114" y="1289"/>
                    <a:pt x="1141" y="1262"/>
                    <a:pt x="1181" y="1241"/>
                  </a:cubicBezTo>
                  <a:cubicBezTo>
                    <a:pt x="1246" y="1206"/>
                    <a:pt x="1337" y="1192"/>
                    <a:pt x="1445" y="1202"/>
                  </a:cubicBezTo>
                  <a:cubicBezTo>
                    <a:pt x="1620" y="1216"/>
                    <a:pt x="1762" y="1364"/>
                    <a:pt x="1814" y="1426"/>
                  </a:cubicBezTo>
                  <a:cubicBezTo>
                    <a:pt x="1752" y="1477"/>
                    <a:pt x="1588" y="1599"/>
                    <a:pt x="1412" y="1584"/>
                  </a:cubicBezTo>
                  <a:cubicBezTo>
                    <a:pt x="1305" y="1575"/>
                    <a:pt x="1217" y="1547"/>
                    <a:pt x="1159" y="1501"/>
                  </a:cubicBezTo>
                  <a:cubicBezTo>
                    <a:pt x="1120" y="1471"/>
                    <a:pt x="1096" y="1436"/>
                    <a:pt x="1090" y="1397"/>
                  </a:cubicBezTo>
                  <a:cubicBezTo>
                    <a:pt x="1182" y="1413"/>
                    <a:pt x="1292" y="1425"/>
                    <a:pt x="1423" y="1426"/>
                  </a:cubicBezTo>
                  <a:cubicBezTo>
                    <a:pt x="1423" y="1426"/>
                    <a:pt x="1423" y="1426"/>
                    <a:pt x="1423" y="1426"/>
                  </a:cubicBezTo>
                  <a:cubicBezTo>
                    <a:pt x="1444" y="1426"/>
                    <a:pt x="1461" y="1409"/>
                    <a:pt x="1461" y="1389"/>
                  </a:cubicBezTo>
                  <a:cubicBezTo>
                    <a:pt x="1462" y="1368"/>
                    <a:pt x="1445" y="1351"/>
                    <a:pt x="1424" y="1350"/>
                  </a:cubicBezTo>
                  <a:close/>
                  <a:moveTo>
                    <a:pt x="1149" y="651"/>
                  </a:moveTo>
                  <a:cubicBezTo>
                    <a:pt x="1168" y="559"/>
                    <a:pt x="1236" y="453"/>
                    <a:pt x="1345" y="344"/>
                  </a:cubicBezTo>
                  <a:cubicBezTo>
                    <a:pt x="1533" y="158"/>
                    <a:pt x="1853" y="98"/>
                    <a:pt x="1972" y="82"/>
                  </a:cubicBezTo>
                  <a:cubicBezTo>
                    <a:pt x="1956" y="201"/>
                    <a:pt x="1895" y="522"/>
                    <a:pt x="1708" y="709"/>
                  </a:cubicBezTo>
                  <a:cubicBezTo>
                    <a:pt x="1599" y="817"/>
                    <a:pt x="1492" y="884"/>
                    <a:pt x="1399" y="902"/>
                  </a:cubicBezTo>
                  <a:cubicBezTo>
                    <a:pt x="1336" y="914"/>
                    <a:pt x="1281" y="904"/>
                    <a:pt x="1235" y="872"/>
                  </a:cubicBezTo>
                  <a:cubicBezTo>
                    <a:pt x="1318" y="801"/>
                    <a:pt x="1399" y="725"/>
                    <a:pt x="1473" y="645"/>
                  </a:cubicBezTo>
                  <a:cubicBezTo>
                    <a:pt x="1487" y="629"/>
                    <a:pt x="1485" y="604"/>
                    <a:pt x="1468" y="590"/>
                  </a:cubicBezTo>
                  <a:cubicBezTo>
                    <a:pt x="1452" y="577"/>
                    <a:pt x="1429" y="580"/>
                    <a:pt x="1416" y="595"/>
                  </a:cubicBezTo>
                  <a:cubicBezTo>
                    <a:pt x="1343" y="674"/>
                    <a:pt x="1263" y="749"/>
                    <a:pt x="1180" y="819"/>
                  </a:cubicBezTo>
                  <a:cubicBezTo>
                    <a:pt x="1147" y="772"/>
                    <a:pt x="1136" y="716"/>
                    <a:pt x="1149" y="651"/>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29" name="Group 145"/>
          <p:cNvGrpSpPr/>
          <p:nvPr/>
        </p:nvGrpSpPr>
        <p:grpSpPr>
          <a:xfrm>
            <a:off x="638712" y="4093358"/>
            <a:ext cx="548640" cy="548640"/>
            <a:chOff x="638712" y="4093358"/>
            <a:chExt cx="548640" cy="548640"/>
          </a:xfrm>
        </p:grpSpPr>
        <p:sp>
          <p:nvSpPr>
            <p:cNvPr id="395" name="Oval 394"/>
            <p:cNvSpPr/>
            <p:nvPr/>
          </p:nvSpPr>
          <p:spPr>
            <a:xfrm>
              <a:off x="638712" y="4093358"/>
              <a:ext cx="548640" cy="548640"/>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44" name="Freeform 28"/>
            <p:cNvSpPr>
              <a:spLocks noEditPoints="1"/>
            </p:cNvSpPr>
            <p:nvPr/>
          </p:nvSpPr>
          <p:spPr bwMode="auto">
            <a:xfrm>
              <a:off x="814743" y="4241075"/>
              <a:ext cx="196578" cy="253207"/>
            </a:xfrm>
            <a:custGeom>
              <a:avLst/>
              <a:gdLst/>
              <a:ahLst/>
              <a:cxnLst>
                <a:cxn ang="0">
                  <a:pos x="2613" y="1778"/>
                </a:cxn>
                <a:cxn ang="0">
                  <a:pos x="2247" y="1778"/>
                </a:cxn>
                <a:cxn ang="0">
                  <a:pos x="2247" y="4167"/>
                </a:cxn>
                <a:cxn ang="0">
                  <a:pos x="2613" y="4167"/>
                </a:cxn>
                <a:cxn ang="0">
                  <a:pos x="2613" y="1778"/>
                </a:cxn>
                <a:cxn ang="0">
                  <a:pos x="1509" y="1778"/>
                </a:cxn>
                <a:cxn ang="0">
                  <a:pos x="1143" y="1778"/>
                </a:cxn>
                <a:cxn ang="0">
                  <a:pos x="1143" y="4167"/>
                </a:cxn>
                <a:cxn ang="0">
                  <a:pos x="1509" y="4167"/>
                </a:cxn>
                <a:cxn ang="0">
                  <a:pos x="1509" y="1778"/>
                </a:cxn>
                <a:cxn ang="0">
                  <a:pos x="2901" y="309"/>
                </a:cxn>
                <a:cxn ang="0">
                  <a:pos x="2901" y="0"/>
                </a:cxn>
                <a:cxn ang="0">
                  <a:pos x="855" y="0"/>
                </a:cxn>
                <a:cxn ang="0">
                  <a:pos x="855" y="309"/>
                </a:cxn>
                <a:cxn ang="0">
                  <a:pos x="0" y="309"/>
                </a:cxn>
                <a:cxn ang="0">
                  <a:pos x="0" y="1478"/>
                </a:cxn>
                <a:cxn ang="0">
                  <a:pos x="257" y="1478"/>
                </a:cxn>
                <a:cxn ang="0">
                  <a:pos x="257" y="4838"/>
                </a:cxn>
                <a:cxn ang="0">
                  <a:pos x="3499" y="4838"/>
                </a:cxn>
                <a:cxn ang="0">
                  <a:pos x="3499" y="1478"/>
                </a:cxn>
                <a:cxn ang="0">
                  <a:pos x="3756" y="1478"/>
                </a:cxn>
                <a:cxn ang="0">
                  <a:pos x="3756" y="309"/>
                </a:cxn>
                <a:cxn ang="0">
                  <a:pos x="2901" y="309"/>
                </a:cxn>
                <a:cxn ang="0">
                  <a:pos x="3130" y="4469"/>
                </a:cxn>
                <a:cxn ang="0">
                  <a:pos x="626" y="4469"/>
                </a:cxn>
                <a:cxn ang="0">
                  <a:pos x="626" y="1478"/>
                </a:cxn>
                <a:cxn ang="0">
                  <a:pos x="3130" y="1478"/>
                </a:cxn>
                <a:cxn ang="0">
                  <a:pos x="3130" y="4469"/>
                </a:cxn>
                <a:cxn ang="0">
                  <a:pos x="3388" y="1108"/>
                </a:cxn>
                <a:cxn ang="0">
                  <a:pos x="368" y="1108"/>
                </a:cxn>
                <a:cxn ang="0">
                  <a:pos x="368" y="675"/>
                </a:cxn>
                <a:cxn ang="0">
                  <a:pos x="1221" y="675"/>
                </a:cxn>
                <a:cxn ang="0">
                  <a:pos x="1221" y="368"/>
                </a:cxn>
                <a:cxn ang="0">
                  <a:pos x="2535" y="368"/>
                </a:cxn>
                <a:cxn ang="0">
                  <a:pos x="2535" y="675"/>
                </a:cxn>
                <a:cxn ang="0">
                  <a:pos x="3388" y="675"/>
                </a:cxn>
                <a:cxn ang="0">
                  <a:pos x="3388" y="1108"/>
                </a:cxn>
              </a:cxnLst>
              <a:rect l="0" t="0" r="r" b="b"/>
              <a:pathLst>
                <a:path w="3756" h="4838">
                  <a:moveTo>
                    <a:pt x="2613" y="1778"/>
                  </a:moveTo>
                  <a:lnTo>
                    <a:pt x="2247" y="1778"/>
                  </a:lnTo>
                  <a:lnTo>
                    <a:pt x="2247" y="4167"/>
                  </a:lnTo>
                  <a:lnTo>
                    <a:pt x="2613" y="4167"/>
                  </a:lnTo>
                  <a:lnTo>
                    <a:pt x="2613" y="1778"/>
                  </a:lnTo>
                  <a:close/>
                  <a:moveTo>
                    <a:pt x="1509" y="1778"/>
                  </a:moveTo>
                  <a:lnTo>
                    <a:pt x="1143" y="1778"/>
                  </a:lnTo>
                  <a:lnTo>
                    <a:pt x="1143" y="4167"/>
                  </a:lnTo>
                  <a:lnTo>
                    <a:pt x="1509" y="4167"/>
                  </a:lnTo>
                  <a:lnTo>
                    <a:pt x="1509" y="1778"/>
                  </a:lnTo>
                  <a:close/>
                  <a:moveTo>
                    <a:pt x="2901" y="309"/>
                  </a:moveTo>
                  <a:lnTo>
                    <a:pt x="2901" y="0"/>
                  </a:lnTo>
                  <a:lnTo>
                    <a:pt x="855" y="0"/>
                  </a:lnTo>
                  <a:lnTo>
                    <a:pt x="855" y="309"/>
                  </a:lnTo>
                  <a:lnTo>
                    <a:pt x="0" y="309"/>
                  </a:lnTo>
                  <a:lnTo>
                    <a:pt x="0" y="1478"/>
                  </a:lnTo>
                  <a:lnTo>
                    <a:pt x="257" y="1478"/>
                  </a:lnTo>
                  <a:lnTo>
                    <a:pt x="257" y="4838"/>
                  </a:lnTo>
                  <a:lnTo>
                    <a:pt x="3499" y="4838"/>
                  </a:lnTo>
                  <a:lnTo>
                    <a:pt x="3499" y="1478"/>
                  </a:lnTo>
                  <a:lnTo>
                    <a:pt x="3756" y="1478"/>
                  </a:lnTo>
                  <a:lnTo>
                    <a:pt x="3756" y="309"/>
                  </a:lnTo>
                  <a:lnTo>
                    <a:pt x="2901" y="309"/>
                  </a:lnTo>
                  <a:close/>
                  <a:moveTo>
                    <a:pt x="3130" y="4469"/>
                  </a:moveTo>
                  <a:lnTo>
                    <a:pt x="626" y="4469"/>
                  </a:lnTo>
                  <a:lnTo>
                    <a:pt x="626" y="1478"/>
                  </a:lnTo>
                  <a:lnTo>
                    <a:pt x="3130" y="1478"/>
                  </a:lnTo>
                  <a:lnTo>
                    <a:pt x="3130" y="4469"/>
                  </a:lnTo>
                  <a:close/>
                  <a:moveTo>
                    <a:pt x="3388" y="1108"/>
                  </a:moveTo>
                  <a:lnTo>
                    <a:pt x="368" y="1108"/>
                  </a:lnTo>
                  <a:lnTo>
                    <a:pt x="368" y="675"/>
                  </a:lnTo>
                  <a:lnTo>
                    <a:pt x="1221" y="675"/>
                  </a:lnTo>
                  <a:lnTo>
                    <a:pt x="1221" y="368"/>
                  </a:lnTo>
                  <a:lnTo>
                    <a:pt x="2535" y="368"/>
                  </a:lnTo>
                  <a:lnTo>
                    <a:pt x="2535" y="675"/>
                  </a:lnTo>
                  <a:lnTo>
                    <a:pt x="3388" y="675"/>
                  </a:lnTo>
                  <a:lnTo>
                    <a:pt x="3388" y="1108"/>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spTree>
    <p:extLst>
      <p:ext uri="{BB962C8B-B14F-4D97-AF65-F5344CB8AC3E}">
        <p14:creationId xmlns:p14="http://schemas.microsoft.com/office/powerpoint/2010/main" val="282463930"/>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Oval 132"/>
          <p:cNvSpPr/>
          <p:nvPr/>
        </p:nvSpPr>
        <p:spPr>
          <a:xfrm>
            <a:off x="1344627" y="3062595"/>
            <a:ext cx="2024736" cy="792666"/>
          </a:xfrm>
          <a:custGeom>
            <a:avLst/>
            <a:gdLst/>
            <a:ahLst/>
            <a:cxnLst/>
            <a:rect l="l" t="t" r="r" b="b"/>
            <a:pathLst>
              <a:path w="9144000" h="2349500">
                <a:moveTo>
                  <a:pt x="4572001" y="0"/>
                </a:moveTo>
                <a:cubicBezTo>
                  <a:pt x="6178885" y="0"/>
                  <a:pt x="7719132" y="236148"/>
                  <a:pt x="9144000" y="671150"/>
                </a:cubicBezTo>
                <a:lnTo>
                  <a:pt x="9144000" y="2349500"/>
                </a:lnTo>
                <a:lnTo>
                  <a:pt x="0" y="2349500"/>
                </a:lnTo>
                <a:lnTo>
                  <a:pt x="0" y="671150"/>
                </a:lnTo>
                <a:cubicBezTo>
                  <a:pt x="1424869" y="236148"/>
                  <a:pt x="2965117" y="0"/>
                  <a:pt x="4572001" y="0"/>
                </a:cubicBezTo>
                <a:close/>
              </a:path>
            </a:pathLst>
          </a:custGeom>
          <a:gradFill flip="none" rotWithShape="1">
            <a:gsLst>
              <a:gs pos="0">
                <a:srgbClr val="004990"/>
              </a:gs>
              <a:gs pos="75000">
                <a:srgbClr val="004BAF"/>
              </a:gs>
            </a:gsLst>
            <a:lin ang="54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11"/>
          <p:cNvSpPr>
            <a:spLocks noEditPoints="1"/>
          </p:cNvSpPr>
          <p:nvPr/>
        </p:nvSpPr>
        <p:spPr bwMode="auto">
          <a:xfrm>
            <a:off x="1479533" y="3196158"/>
            <a:ext cx="1988721" cy="655849"/>
          </a:xfrm>
          <a:custGeom>
            <a:avLst/>
            <a:gdLst>
              <a:gd name="T0" fmla="*/ 251 w 5010"/>
              <a:gd name="T1" fmla="*/ 1324 h 1365"/>
              <a:gd name="T2" fmla="*/ 619 w 5010"/>
              <a:gd name="T3" fmla="*/ 1284 h 1365"/>
              <a:gd name="T4" fmla="*/ 957 w 5010"/>
              <a:gd name="T5" fmla="*/ 1254 h 1365"/>
              <a:gd name="T6" fmla="*/ 1103 w 5010"/>
              <a:gd name="T7" fmla="*/ 1225 h 1365"/>
              <a:gd name="T8" fmla="*/ 2303 w 5010"/>
              <a:gd name="T9" fmla="*/ 1205 h 1365"/>
              <a:gd name="T10" fmla="*/ 2378 w 5010"/>
              <a:gd name="T11" fmla="*/ 1185 h 1365"/>
              <a:gd name="T12" fmla="*/ 2452 w 5010"/>
              <a:gd name="T13" fmla="*/ 1145 h 1365"/>
              <a:gd name="T14" fmla="*/ 2686 w 5010"/>
              <a:gd name="T15" fmla="*/ 1105 h 1365"/>
              <a:gd name="T16" fmla="*/ 2811 w 5010"/>
              <a:gd name="T17" fmla="*/ 1075 h 1365"/>
              <a:gd name="T18" fmla="*/ 2808 w 5010"/>
              <a:gd name="T19" fmla="*/ 1045 h 1365"/>
              <a:gd name="T20" fmla="*/ 2780 w 5010"/>
              <a:gd name="T21" fmla="*/ 1026 h 1365"/>
              <a:gd name="T22" fmla="*/ 2721 w 5010"/>
              <a:gd name="T23" fmla="*/ 1007 h 1365"/>
              <a:gd name="T24" fmla="*/ 3455 w 5010"/>
              <a:gd name="T25" fmla="*/ 968 h 1365"/>
              <a:gd name="T26" fmla="*/ 3456 w 5010"/>
              <a:gd name="T27" fmla="*/ 928 h 1365"/>
              <a:gd name="T28" fmla="*/ 2955 w 5010"/>
              <a:gd name="T29" fmla="*/ 899 h 1365"/>
              <a:gd name="T30" fmla="*/ 2508 w 5010"/>
              <a:gd name="T31" fmla="*/ 871 h 1365"/>
              <a:gd name="T32" fmla="*/ 2321 w 5010"/>
              <a:gd name="T33" fmla="*/ 854 h 1365"/>
              <a:gd name="T34" fmla="*/ 1948 w 5010"/>
              <a:gd name="T35" fmla="*/ 836 h 1365"/>
              <a:gd name="T36" fmla="*/ 3925 w 5010"/>
              <a:gd name="T37" fmla="*/ 816 h 1365"/>
              <a:gd name="T38" fmla="*/ 3292 w 5010"/>
              <a:gd name="T39" fmla="*/ 780 h 1365"/>
              <a:gd name="T40" fmla="*/ 2275 w 5010"/>
              <a:gd name="T41" fmla="*/ 754 h 1365"/>
              <a:gd name="T42" fmla="*/ 232 w 5010"/>
              <a:gd name="T43" fmla="*/ 739 h 1365"/>
              <a:gd name="T44" fmla="*/ 3214 w 5010"/>
              <a:gd name="T45" fmla="*/ 732 h 1365"/>
              <a:gd name="T46" fmla="*/ 2046 w 5010"/>
              <a:gd name="T47" fmla="*/ 718 h 1365"/>
              <a:gd name="T48" fmla="*/ 3908 w 5010"/>
              <a:gd name="T49" fmla="*/ 701 h 1365"/>
              <a:gd name="T50" fmla="*/ 2808 w 5010"/>
              <a:gd name="T51" fmla="*/ 665 h 1365"/>
              <a:gd name="T52" fmla="*/ 263 w 5010"/>
              <a:gd name="T53" fmla="*/ 651 h 1365"/>
              <a:gd name="T54" fmla="*/ 3401 w 5010"/>
              <a:gd name="T55" fmla="*/ 633 h 1365"/>
              <a:gd name="T56" fmla="*/ 2851 w 5010"/>
              <a:gd name="T57" fmla="*/ 617 h 1365"/>
              <a:gd name="T58" fmla="*/ 143 w 5010"/>
              <a:gd name="T59" fmla="*/ 615 h 1365"/>
              <a:gd name="T60" fmla="*/ 3152 w 5010"/>
              <a:gd name="T61" fmla="*/ 585 h 1365"/>
              <a:gd name="T62" fmla="*/ 732 w 5010"/>
              <a:gd name="T63" fmla="*/ 561 h 1365"/>
              <a:gd name="T64" fmla="*/ 3445 w 5010"/>
              <a:gd name="T65" fmla="*/ 544 h 1365"/>
              <a:gd name="T66" fmla="*/ 2076 w 5010"/>
              <a:gd name="T67" fmla="*/ 521 h 1365"/>
              <a:gd name="T68" fmla="*/ 3955 w 5010"/>
              <a:gd name="T69" fmla="*/ 522 h 1365"/>
              <a:gd name="T70" fmla="*/ 2756 w 5010"/>
              <a:gd name="T71" fmla="*/ 511 h 1365"/>
              <a:gd name="T72" fmla="*/ 343 w 5010"/>
              <a:gd name="T73" fmla="*/ 486 h 1365"/>
              <a:gd name="T74" fmla="*/ 2786 w 5010"/>
              <a:gd name="T75" fmla="*/ 459 h 1365"/>
              <a:gd name="T76" fmla="*/ 491 w 5010"/>
              <a:gd name="T77" fmla="*/ 447 h 1365"/>
              <a:gd name="T78" fmla="*/ 2540 w 5010"/>
              <a:gd name="T79" fmla="*/ 430 h 1365"/>
              <a:gd name="T80" fmla="*/ 447 w 5010"/>
              <a:gd name="T81" fmla="*/ 429 h 1365"/>
              <a:gd name="T82" fmla="*/ 2783 w 5010"/>
              <a:gd name="T83" fmla="*/ 421 h 1365"/>
              <a:gd name="T84" fmla="*/ 515 w 5010"/>
              <a:gd name="T85" fmla="*/ 398 h 1365"/>
              <a:gd name="T86" fmla="*/ 2539 w 5010"/>
              <a:gd name="T87" fmla="*/ 373 h 1365"/>
              <a:gd name="T88" fmla="*/ 453 w 5010"/>
              <a:gd name="T89" fmla="*/ 359 h 1365"/>
              <a:gd name="T90" fmla="*/ 2707 w 5010"/>
              <a:gd name="T91" fmla="*/ 343 h 1365"/>
              <a:gd name="T92" fmla="*/ 478 w 5010"/>
              <a:gd name="T93" fmla="*/ 343 h 1365"/>
              <a:gd name="T94" fmla="*/ 2972 w 5010"/>
              <a:gd name="T95" fmla="*/ 334 h 1365"/>
              <a:gd name="T96" fmla="*/ 776 w 5010"/>
              <a:gd name="T97" fmla="*/ 311 h 1365"/>
              <a:gd name="T98" fmla="*/ 3391 w 5010"/>
              <a:gd name="T99" fmla="*/ 280 h 1365"/>
              <a:gd name="T100" fmla="*/ 1563 w 5010"/>
              <a:gd name="T101" fmla="*/ 265 h 1365"/>
              <a:gd name="T102" fmla="*/ 3544 w 5010"/>
              <a:gd name="T103" fmla="*/ 251 h 1365"/>
              <a:gd name="T104" fmla="*/ 1320 w 5010"/>
              <a:gd name="T105" fmla="*/ 250 h 1365"/>
              <a:gd name="T106" fmla="*/ 3443 w 5010"/>
              <a:gd name="T107" fmla="*/ 242 h 1365"/>
              <a:gd name="T108" fmla="*/ 832 w 5010"/>
              <a:gd name="T109" fmla="*/ 223 h 1365"/>
              <a:gd name="T110" fmla="*/ 3012 w 5010"/>
              <a:gd name="T111" fmla="*/ 194 h 1365"/>
              <a:gd name="T112" fmla="*/ 679 w 5010"/>
              <a:gd name="T113" fmla="*/ 186 h 1365"/>
              <a:gd name="T114" fmla="*/ 2663 w 5010"/>
              <a:gd name="T115" fmla="*/ 168 h 1365"/>
              <a:gd name="T116" fmla="*/ 3808 w 5010"/>
              <a:gd name="T117" fmla="*/ 168 h 1365"/>
              <a:gd name="T118" fmla="*/ 2757 w 5010"/>
              <a:gd name="T119" fmla="*/ 159 h 1365"/>
              <a:gd name="T120" fmla="*/ 1289 w 5010"/>
              <a:gd name="T121" fmla="*/ 135 h 1365"/>
              <a:gd name="T122" fmla="*/ 1773 w 5010"/>
              <a:gd name="T123" fmla="*/ 89 h 1365"/>
              <a:gd name="T124" fmla="*/ 1436 w 5010"/>
              <a:gd name="T125" fmla="*/ 33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10" h="1365">
                <a:moveTo>
                  <a:pt x="4603" y="1364"/>
                </a:moveTo>
                <a:cubicBezTo>
                  <a:pt x="4601" y="1364"/>
                  <a:pt x="4599" y="1365"/>
                  <a:pt x="4597" y="1365"/>
                </a:cubicBezTo>
                <a:cubicBezTo>
                  <a:pt x="4609" y="1365"/>
                  <a:pt x="4609" y="1365"/>
                  <a:pt x="4609" y="1365"/>
                </a:cubicBezTo>
                <a:cubicBezTo>
                  <a:pt x="4607" y="1365"/>
                  <a:pt x="4605" y="1364"/>
                  <a:pt x="4603" y="1364"/>
                </a:cubicBezTo>
                <a:cubicBezTo>
                  <a:pt x="4603" y="1364"/>
                  <a:pt x="4603" y="1364"/>
                  <a:pt x="4603" y="1364"/>
                </a:cubicBezTo>
                <a:moveTo>
                  <a:pt x="4653" y="1364"/>
                </a:moveTo>
                <a:cubicBezTo>
                  <a:pt x="4651" y="1364"/>
                  <a:pt x="4649" y="1365"/>
                  <a:pt x="4647" y="1365"/>
                </a:cubicBezTo>
                <a:cubicBezTo>
                  <a:pt x="4659" y="1365"/>
                  <a:pt x="4659" y="1365"/>
                  <a:pt x="4659" y="1365"/>
                </a:cubicBezTo>
                <a:cubicBezTo>
                  <a:pt x="4657" y="1365"/>
                  <a:pt x="4655" y="1364"/>
                  <a:pt x="4653" y="1364"/>
                </a:cubicBezTo>
                <a:cubicBezTo>
                  <a:pt x="4653" y="1364"/>
                  <a:pt x="4653" y="1364"/>
                  <a:pt x="4653" y="1364"/>
                </a:cubicBezTo>
                <a:moveTo>
                  <a:pt x="4700" y="1364"/>
                </a:moveTo>
                <a:cubicBezTo>
                  <a:pt x="4698" y="1364"/>
                  <a:pt x="4696" y="1364"/>
                  <a:pt x="4694" y="1365"/>
                </a:cubicBezTo>
                <a:cubicBezTo>
                  <a:pt x="4707" y="1365"/>
                  <a:pt x="4707" y="1365"/>
                  <a:pt x="4707" y="1365"/>
                </a:cubicBezTo>
                <a:cubicBezTo>
                  <a:pt x="4704" y="1364"/>
                  <a:pt x="4702" y="1364"/>
                  <a:pt x="4700" y="1364"/>
                </a:cubicBezTo>
                <a:cubicBezTo>
                  <a:pt x="4700" y="1364"/>
                  <a:pt x="4700" y="1364"/>
                  <a:pt x="4700" y="1364"/>
                </a:cubicBezTo>
                <a:moveTo>
                  <a:pt x="4747" y="1364"/>
                </a:moveTo>
                <a:cubicBezTo>
                  <a:pt x="4745" y="1364"/>
                  <a:pt x="4743" y="1364"/>
                  <a:pt x="4741" y="1365"/>
                </a:cubicBezTo>
                <a:cubicBezTo>
                  <a:pt x="4754" y="1365"/>
                  <a:pt x="4754" y="1365"/>
                  <a:pt x="4754" y="1365"/>
                </a:cubicBezTo>
                <a:cubicBezTo>
                  <a:pt x="4752" y="1364"/>
                  <a:pt x="4749" y="1364"/>
                  <a:pt x="4747" y="1364"/>
                </a:cubicBezTo>
                <a:cubicBezTo>
                  <a:pt x="4747" y="1364"/>
                  <a:pt x="4747" y="1364"/>
                  <a:pt x="4747" y="1364"/>
                </a:cubicBezTo>
                <a:moveTo>
                  <a:pt x="4794" y="1364"/>
                </a:moveTo>
                <a:cubicBezTo>
                  <a:pt x="4792" y="1364"/>
                  <a:pt x="4790" y="1364"/>
                  <a:pt x="4788" y="1365"/>
                </a:cubicBezTo>
                <a:cubicBezTo>
                  <a:pt x="4802" y="1365"/>
                  <a:pt x="4802" y="1365"/>
                  <a:pt x="4802" y="1365"/>
                </a:cubicBezTo>
                <a:cubicBezTo>
                  <a:pt x="4800" y="1364"/>
                  <a:pt x="4797" y="1364"/>
                  <a:pt x="4795" y="1364"/>
                </a:cubicBezTo>
                <a:cubicBezTo>
                  <a:pt x="4795" y="1364"/>
                  <a:pt x="4794" y="1364"/>
                  <a:pt x="4794" y="1364"/>
                </a:cubicBezTo>
                <a:moveTo>
                  <a:pt x="4842" y="1364"/>
                </a:moveTo>
                <a:cubicBezTo>
                  <a:pt x="4840" y="1364"/>
                  <a:pt x="4838" y="1364"/>
                  <a:pt x="4836" y="1365"/>
                </a:cubicBezTo>
                <a:cubicBezTo>
                  <a:pt x="4851" y="1365"/>
                  <a:pt x="4851" y="1365"/>
                  <a:pt x="4851" y="1365"/>
                </a:cubicBezTo>
                <a:cubicBezTo>
                  <a:pt x="4848" y="1364"/>
                  <a:pt x="4845" y="1364"/>
                  <a:pt x="4842" y="1364"/>
                </a:cubicBezTo>
                <a:cubicBezTo>
                  <a:pt x="4842" y="1364"/>
                  <a:pt x="4842" y="1364"/>
                  <a:pt x="4842" y="1364"/>
                </a:cubicBezTo>
                <a:moveTo>
                  <a:pt x="4988" y="1364"/>
                </a:moveTo>
                <a:cubicBezTo>
                  <a:pt x="4985" y="1364"/>
                  <a:pt x="4983" y="1364"/>
                  <a:pt x="4981" y="1365"/>
                </a:cubicBezTo>
                <a:cubicBezTo>
                  <a:pt x="4997" y="1365"/>
                  <a:pt x="4997" y="1365"/>
                  <a:pt x="4997" y="1365"/>
                </a:cubicBezTo>
                <a:cubicBezTo>
                  <a:pt x="4994" y="1364"/>
                  <a:pt x="4991" y="1364"/>
                  <a:pt x="4988" y="1364"/>
                </a:cubicBezTo>
                <a:cubicBezTo>
                  <a:pt x="4988" y="1364"/>
                  <a:pt x="4988" y="1364"/>
                  <a:pt x="4988" y="1364"/>
                </a:cubicBezTo>
                <a:moveTo>
                  <a:pt x="254" y="1343"/>
                </a:moveTo>
                <a:cubicBezTo>
                  <a:pt x="245" y="1343"/>
                  <a:pt x="234" y="1348"/>
                  <a:pt x="230" y="1353"/>
                </a:cubicBezTo>
                <a:cubicBezTo>
                  <a:pt x="226" y="1359"/>
                  <a:pt x="230" y="1363"/>
                  <a:pt x="240" y="1363"/>
                </a:cubicBezTo>
                <a:cubicBezTo>
                  <a:pt x="249" y="1363"/>
                  <a:pt x="259" y="1359"/>
                  <a:pt x="263" y="1353"/>
                </a:cubicBezTo>
                <a:cubicBezTo>
                  <a:pt x="267" y="1348"/>
                  <a:pt x="263" y="1343"/>
                  <a:pt x="254" y="1343"/>
                </a:cubicBezTo>
                <a:cubicBezTo>
                  <a:pt x="254" y="1343"/>
                  <a:pt x="254" y="1343"/>
                  <a:pt x="254" y="1343"/>
                </a:cubicBezTo>
                <a:moveTo>
                  <a:pt x="301" y="1343"/>
                </a:moveTo>
                <a:cubicBezTo>
                  <a:pt x="291" y="1343"/>
                  <a:pt x="281" y="1348"/>
                  <a:pt x="277" y="1353"/>
                </a:cubicBezTo>
                <a:cubicBezTo>
                  <a:pt x="273" y="1359"/>
                  <a:pt x="278" y="1363"/>
                  <a:pt x="287" y="1363"/>
                </a:cubicBezTo>
                <a:cubicBezTo>
                  <a:pt x="296" y="1363"/>
                  <a:pt x="306" y="1359"/>
                  <a:pt x="310" y="1353"/>
                </a:cubicBezTo>
                <a:cubicBezTo>
                  <a:pt x="314" y="1348"/>
                  <a:pt x="310" y="1343"/>
                  <a:pt x="301" y="1343"/>
                </a:cubicBezTo>
                <a:cubicBezTo>
                  <a:pt x="301" y="1343"/>
                  <a:pt x="301" y="1343"/>
                  <a:pt x="301" y="1343"/>
                </a:cubicBezTo>
                <a:moveTo>
                  <a:pt x="348" y="1343"/>
                </a:moveTo>
                <a:cubicBezTo>
                  <a:pt x="339" y="1343"/>
                  <a:pt x="328" y="1348"/>
                  <a:pt x="324" y="1353"/>
                </a:cubicBezTo>
                <a:cubicBezTo>
                  <a:pt x="321" y="1359"/>
                  <a:pt x="325" y="1363"/>
                  <a:pt x="334" y="1363"/>
                </a:cubicBezTo>
                <a:cubicBezTo>
                  <a:pt x="343" y="1363"/>
                  <a:pt x="354" y="1359"/>
                  <a:pt x="358" y="1353"/>
                </a:cubicBezTo>
                <a:cubicBezTo>
                  <a:pt x="361" y="1348"/>
                  <a:pt x="357" y="1343"/>
                  <a:pt x="348" y="1343"/>
                </a:cubicBezTo>
                <a:cubicBezTo>
                  <a:pt x="348" y="1343"/>
                  <a:pt x="348" y="1343"/>
                  <a:pt x="348" y="1343"/>
                </a:cubicBezTo>
                <a:moveTo>
                  <a:pt x="396" y="1343"/>
                </a:moveTo>
                <a:cubicBezTo>
                  <a:pt x="387" y="1343"/>
                  <a:pt x="377" y="1347"/>
                  <a:pt x="373" y="1353"/>
                </a:cubicBezTo>
                <a:cubicBezTo>
                  <a:pt x="370" y="1359"/>
                  <a:pt x="374" y="1363"/>
                  <a:pt x="383" y="1363"/>
                </a:cubicBezTo>
                <a:cubicBezTo>
                  <a:pt x="392" y="1363"/>
                  <a:pt x="403" y="1359"/>
                  <a:pt x="406" y="1353"/>
                </a:cubicBezTo>
                <a:cubicBezTo>
                  <a:pt x="410" y="1347"/>
                  <a:pt x="405" y="1343"/>
                  <a:pt x="396" y="1343"/>
                </a:cubicBezTo>
                <a:cubicBezTo>
                  <a:pt x="396" y="1343"/>
                  <a:pt x="396" y="1343"/>
                  <a:pt x="396" y="1343"/>
                </a:cubicBezTo>
                <a:moveTo>
                  <a:pt x="443" y="1343"/>
                </a:moveTo>
                <a:cubicBezTo>
                  <a:pt x="434" y="1343"/>
                  <a:pt x="424" y="1347"/>
                  <a:pt x="420" y="1353"/>
                </a:cubicBezTo>
                <a:cubicBezTo>
                  <a:pt x="417" y="1359"/>
                  <a:pt x="421" y="1363"/>
                  <a:pt x="430" y="1363"/>
                </a:cubicBezTo>
                <a:cubicBezTo>
                  <a:pt x="439" y="1363"/>
                  <a:pt x="450" y="1359"/>
                  <a:pt x="453" y="1353"/>
                </a:cubicBezTo>
                <a:cubicBezTo>
                  <a:pt x="457" y="1347"/>
                  <a:pt x="452" y="1343"/>
                  <a:pt x="443" y="1343"/>
                </a:cubicBezTo>
                <a:cubicBezTo>
                  <a:pt x="443" y="1343"/>
                  <a:pt x="443" y="1343"/>
                  <a:pt x="443" y="1343"/>
                </a:cubicBezTo>
                <a:moveTo>
                  <a:pt x="490" y="1343"/>
                </a:moveTo>
                <a:cubicBezTo>
                  <a:pt x="481" y="1343"/>
                  <a:pt x="471" y="1347"/>
                  <a:pt x="468" y="1353"/>
                </a:cubicBezTo>
                <a:cubicBezTo>
                  <a:pt x="464" y="1358"/>
                  <a:pt x="469" y="1363"/>
                  <a:pt x="478" y="1363"/>
                </a:cubicBezTo>
                <a:cubicBezTo>
                  <a:pt x="487" y="1363"/>
                  <a:pt x="497" y="1358"/>
                  <a:pt x="501" y="1353"/>
                </a:cubicBezTo>
                <a:cubicBezTo>
                  <a:pt x="504" y="1347"/>
                  <a:pt x="500" y="1343"/>
                  <a:pt x="490" y="1343"/>
                </a:cubicBezTo>
                <a:cubicBezTo>
                  <a:pt x="490" y="1343"/>
                  <a:pt x="490" y="1343"/>
                  <a:pt x="490" y="1343"/>
                </a:cubicBezTo>
                <a:moveTo>
                  <a:pt x="538" y="1343"/>
                </a:moveTo>
                <a:cubicBezTo>
                  <a:pt x="529" y="1343"/>
                  <a:pt x="519" y="1347"/>
                  <a:pt x="515" y="1353"/>
                </a:cubicBezTo>
                <a:cubicBezTo>
                  <a:pt x="512" y="1358"/>
                  <a:pt x="517" y="1363"/>
                  <a:pt x="526" y="1363"/>
                </a:cubicBezTo>
                <a:cubicBezTo>
                  <a:pt x="535" y="1363"/>
                  <a:pt x="545" y="1358"/>
                  <a:pt x="548" y="1353"/>
                </a:cubicBezTo>
                <a:cubicBezTo>
                  <a:pt x="552" y="1347"/>
                  <a:pt x="547" y="1343"/>
                  <a:pt x="538" y="1343"/>
                </a:cubicBezTo>
                <a:cubicBezTo>
                  <a:pt x="538" y="1343"/>
                  <a:pt x="538" y="1343"/>
                  <a:pt x="538" y="1343"/>
                </a:cubicBezTo>
                <a:moveTo>
                  <a:pt x="585" y="1342"/>
                </a:moveTo>
                <a:cubicBezTo>
                  <a:pt x="576" y="1343"/>
                  <a:pt x="566" y="1347"/>
                  <a:pt x="562" y="1353"/>
                </a:cubicBezTo>
                <a:cubicBezTo>
                  <a:pt x="559" y="1358"/>
                  <a:pt x="564" y="1363"/>
                  <a:pt x="573" y="1363"/>
                </a:cubicBezTo>
                <a:cubicBezTo>
                  <a:pt x="582" y="1363"/>
                  <a:pt x="592" y="1358"/>
                  <a:pt x="595" y="1353"/>
                </a:cubicBezTo>
                <a:cubicBezTo>
                  <a:pt x="599" y="1347"/>
                  <a:pt x="594" y="1342"/>
                  <a:pt x="585" y="1342"/>
                </a:cubicBezTo>
                <a:cubicBezTo>
                  <a:pt x="585" y="1342"/>
                  <a:pt x="585" y="1342"/>
                  <a:pt x="585" y="1342"/>
                </a:cubicBezTo>
                <a:moveTo>
                  <a:pt x="632" y="1342"/>
                </a:moveTo>
                <a:cubicBezTo>
                  <a:pt x="623" y="1342"/>
                  <a:pt x="613" y="1347"/>
                  <a:pt x="610" y="1353"/>
                </a:cubicBezTo>
                <a:cubicBezTo>
                  <a:pt x="606" y="1358"/>
                  <a:pt x="611" y="1363"/>
                  <a:pt x="620" y="1363"/>
                </a:cubicBezTo>
                <a:cubicBezTo>
                  <a:pt x="629" y="1363"/>
                  <a:pt x="639" y="1358"/>
                  <a:pt x="643" y="1353"/>
                </a:cubicBezTo>
                <a:cubicBezTo>
                  <a:pt x="646" y="1347"/>
                  <a:pt x="641" y="1342"/>
                  <a:pt x="632" y="1342"/>
                </a:cubicBezTo>
                <a:cubicBezTo>
                  <a:pt x="632" y="1342"/>
                  <a:pt x="632" y="1342"/>
                  <a:pt x="632" y="1342"/>
                </a:cubicBezTo>
                <a:moveTo>
                  <a:pt x="679" y="1342"/>
                </a:moveTo>
                <a:cubicBezTo>
                  <a:pt x="670" y="1342"/>
                  <a:pt x="660" y="1347"/>
                  <a:pt x="657" y="1352"/>
                </a:cubicBezTo>
                <a:cubicBezTo>
                  <a:pt x="653" y="1358"/>
                  <a:pt x="658" y="1363"/>
                  <a:pt x="667" y="1363"/>
                </a:cubicBezTo>
                <a:cubicBezTo>
                  <a:pt x="677" y="1363"/>
                  <a:pt x="687" y="1358"/>
                  <a:pt x="690" y="1352"/>
                </a:cubicBezTo>
                <a:cubicBezTo>
                  <a:pt x="693" y="1347"/>
                  <a:pt x="688" y="1342"/>
                  <a:pt x="679" y="1342"/>
                </a:cubicBezTo>
                <a:cubicBezTo>
                  <a:pt x="679" y="1342"/>
                  <a:pt x="679" y="1342"/>
                  <a:pt x="679" y="1342"/>
                </a:cubicBezTo>
                <a:moveTo>
                  <a:pt x="726" y="1342"/>
                </a:moveTo>
                <a:cubicBezTo>
                  <a:pt x="717" y="1342"/>
                  <a:pt x="707" y="1347"/>
                  <a:pt x="704" y="1352"/>
                </a:cubicBezTo>
                <a:cubicBezTo>
                  <a:pt x="701" y="1358"/>
                  <a:pt x="706" y="1363"/>
                  <a:pt x="715" y="1363"/>
                </a:cubicBezTo>
                <a:cubicBezTo>
                  <a:pt x="724" y="1363"/>
                  <a:pt x="734" y="1358"/>
                  <a:pt x="737" y="1352"/>
                </a:cubicBezTo>
                <a:cubicBezTo>
                  <a:pt x="740" y="1347"/>
                  <a:pt x="735" y="1342"/>
                  <a:pt x="726" y="1342"/>
                </a:cubicBezTo>
                <a:cubicBezTo>
                  <a:pt x="726" y="1342"/>
                  <a:pt x="726" y="1342"/>
                  <a:pt x="726" y="1342"/>
                </a:cubicBezTo>
                <a:moveTo>
                  <a:pt x="774" y="1342"/>
                </a:moveTo>
                <a:cubicBezTo>
                  <a:pt x="765" y="1342"/>
                  <a:pt x="755" y="1347"/>
                  <a:pt x="752" y="1352"/>
                </a:cubicBezTo>
                <a:cubicBezTo>
                  <a:pt x="749" y="1358"/>
                  <a:pt x="754" y="1362"/>
                  <a:pt x="763" y="1362"/>
                </a:cubicBezTo>
                <a:cubicBezTo>
                  <a:pt x="772" y="1362"/>
                  <a:pt x="782" y="1358"/>
                  <a:pt x="785" y="1352"/>
                </a:cubicBezTo>
                <a:cubicBezTo>
                  <a:pt x="788" y="1347"/>
                  <a:pt x="783" y="1342"/>
                  <a:pt x="774" y="1342"/>
                </a:cubicBezTo>
                <a:cubicBezTo>
                  <a:pt x="774" y="1342"/>
                  <a:pt x="774" y="1342"/>
                  <a:pt x="774" y="1342"/>
                </a:cubicBezTo>
                <a:moveTo>
                  <a:pt x="820" y="1342"/>
                </a:moveTo>
                <a:cubicBezTo>
                  <a:pt x="811" y="1342"/>
                  <a:pt x="802" y="1347"/>
                  <a:pt x="799" y="1352"/>
                </a:cubicBezTo>
                <a:cubicBezTo>
                  <a:pt x="796" y="1358"/>
                  <a:pt x="801" y="1362"/>
                  <a:pt x="810" y="1362"/>
                </a:cubicBezTo>
                <a:cubicBezTo>
                  <a:pt x="819" y="1362"/>
                  <a:pt x="829" y="1358"/>
                  <a:pt x="832" y="1352"/>
                </a:cubicBezTo>
                <a:cubicBezTo>
                  <a:pt x="835" y="1347"/>
                  <a:pt x="830" y="1342"/>
                  <a:pt x="821" y="1342"/>
                </a:cubicBezTo>
                <a:cubicBezTo>
                  <a:pt x="821" y="1342"/>
                  <a:pt x="821" y="1342"/>
                  <a:pt x="820" y="1342"/>
                </a:cubicBezTo>
                <a:moveTo>
                  <a:pt x="868" y="1342"/>
                </a:moveTo>
                <a:cubicBezTo>
                  <a:pt x="858" y="1342"/>
                  <a:pt x="849" y="1346"/>
                  <a:pt x="846" y="1352"/>
                </a:cubicBezTo>
                <a:cubicBezTo>
                  <a:pt x="843" y="1358"/>
                  <a:pt x="848" y="1362"/>
                  <a:pt x="857" y="1362"/>
                </a:cubicBezTo>
                <a:cubicBezTo>
                  <a:pt x="867" y="1362"/>
                  <a:pt x="876" y="1358"/>
                  <a:pt x="879" y="1352"/>
                </a:cubicBezTo>
                <a:cubicBezTo>
                  <a:pt x="882" y="1346"/>
                  <a:pt x="877" y="1342"/>
                  <a:pt x="868" y="1342"/>
                </a:cubicBezTo>
                <a:cubicBezTo>
                  <a:pt x="868" y="1342"/>
                  <a:pt x="868" y="1342"/>
                  <a:pt x="868" y="1342"/>
                </a:cubicBezTo>
                <a:moveTo>
                  <a:pt x="914" y="1342"/>
                </a:moveTo>
                <a:cubicBezTo>
                  <a:pt x="905" y="1342"/>
                  <a:pt x="896" y="1346"/>
                  <a:pt x="893" y="1352"/>
                </a:cubicBezTo>
                <a:cubicBezTo>
                  <a:pt x="890" y="1358"/>
                  <a:pt x="895" y="1362"/>
                  <a:pt x="905" y="1362"/>
                </a:cubicBezTo>
                <a:cubicBezTo>
                  <a:pt x="914" y="1362"/>
                  <a:pt x="923" y="1358"/>
                  <a:pt x="926" y="1352"/>
                </a:cubicBezTo>
                <a:cubicBezTo>
                  <a:pt x="929" y="1346"/>
                  <a:pt x="924" y="1342"/>
                  <a:pt x="914" y="1342"/>
                </a:cubicBezTo>
                <a:cubicBezTo>
                  <a:pt x="914" y="1342"/>
                  <a:pt x="914" y="1342"/>
                  <a:pt x="914" y="1342"/>
                </a:cubicBezTo>
                <a:moveTo>
                  <a:pt x="962" y="1342"/>
                </a:moveTo>
                <a:cubicBezTo>
                  <a:pt x="953" y="1342"/>
                  <a:pt x="943" y="1346"/>
                  <a:pt x="940" y="1352"/>
                </a:cubicBezTo>
                <a:cubicBezTo>
                  <a:pt x="938" y="1358"/>
                  <a:pt x="943" y="1362"/>
                  <a:pt x="952" y="1362"/>
                </a:cubicBezTo>
                <a:cubicBezTo>
                  <a:pt x="961" y="1362"/>
                  <a:pt x="971" y="1357"/>
                  <a:pt x="973" y="1352"/>
                </a:cubicBezTo>
                <a:cubicBezTo>
                  <a:pt x="976" y="1346"/>
                  <a:pt x="971" y="1342"/>
                  <a:pt x="962" y="1342"/>
                </a:cubicBezTo>
                <a:cubicBezTo>
                  <a:pt x="962" y="1342"/>
                  <a:pt x="962" y="1342"/>
                  <a:pt x="962" y="1342"/>
                </a:cubicBezTo>
                <a:moveTo>
                  <a:pt x="1009" y="1342"/>
                </a:moveTo>
                <a:cubicBezTo>
                  <a:pt x="1000" y="1342"/>
                  <a:pt x="991" y="1346"/>
                  <a:pt x="988" y="1352"/>
                </a:cubicBezTo>
                <a:cubicBezTo>
                  <a:pt x="985" y="1357"/>
                  <a:pt x="991" y="1362"/>
                  <a:pt x="1000" y="1362"/>
                </a:cubicBezTo>
                <a:cubicBezTo>
                  <a:pt x="1009" y="1362"/>
                  <a:pt x="1019" y="1357"/>
                  <a:pt x="1021" y="1352"/>
                </a:cubicBezTo>
                <a:cubicBezTo>
                  <a:pt x="1024" y="1346"/>
                  <a:pt x="1018" y="1342"/>
                  <a:pt x="1009" y="1342"/>
                </a:cubicBezTo>
                <a:cubicBezTo>
                  <a:pt x="1009" y="1342"/>
                  <a:pt x="1009" y="1342"/>
                  <a:pt x="1009" y="1342"/>
                </a:cubicBezTo>
                <a:moveTo>
                  <a:pt x="2185" y="1340"/>
                </a:moveTo>
                <a:cubicBezTo>
                  <a:pt x="2176" y="1340"/>
                  <a:pt x="2168" y="1345"/>
                  <a:pt x="2167" y="1351"/>
                </a:cubicBezTo>
                <a:cubicBezTo>
                  <a:pt x="2167" y="1356"/>
                  <a:pt x="2174" y="1361"/>
                  <a:pt x="2183" y="1361"/>
                </a:cubicBezTo>
                <a:cubicBezTo>
                  <a:pt x="2192" y="1361"/>
                  <a:pt x="2200" y="1356"/>
                  <a:pt x="2200" y="1351"/>
                </a:cubicBezTo>
                <a:cubicBezTo>
                  <a:pt x="2201" y="1345"/>
                  <a:pt x="2194" y="1340"/>
                  <a:pt x="2185" y="1340"/>
                </a:cubicBezTo>
                <a:cubicBezTo>
                  <a:pt x="2185" y="1340"/>
                  <a:pt x="2185" y="1340"/>
                  <a:pt x="2185" y="1340"/>
                </a:cubicBezTo>
                <a:moveTo>
                  <a:pt x="2231" y="1340"/>
                </a:moveTo>
                <a:cubicBezTo>
                  <a:pt x="2222" y="1340"/>
                  <a:pt x="2215" y="1345"/>
                  <a:pt x="2214" y="1351"/>
                </a:cubicBezTo>
                <a:cubicBezTo>
                  <a:pt x="2214" y="1356"/>
                  <a:pt x="2221" y="1361"/>
                  <a:pt x="2230" y="1361"/>
                </a:cubicBezTo>
                <a:cubicBezTo>
                  <a:pt x="2239" y="1361"/>
                  <a:pt x="2247" y="1356"/>
                  <a:pt x="2247" y="1350"/>
                </a:cubicBezTo>
                <a:cubicBezTo>
                  <a:pt x="2248" y="1345"/>
                  <a:pt x="2241" y="1340"/>
                  <a:pt x="2232" y="1340"/>
                </a:cubicBezTo>
                <a:cubicBezTo>
                  <a:pt x="2231" y="1340"/>
                  <a:pt x="2231" y="1340"/>
                  <a:pt x="2231" y="1340"/>
                </a:cubicBezTo>
                <a:moveTo>
                  <a:pt x="2279" y="1340"/>
                </a:moveTo>
                <a:cubicBezTo>
                  <a:pt x="2270" y="1340"/>
                  <a:pt x="2262" y="1345"/>
                  <a:pt x="2262" y="1350"/>
                </a:cubicBezTo>
                <a:cubicBezTo>
                  <a:pt x="2261" y="1356"/>
                  <a:pt x="2268" y="1361"/>
                  <a:pt x="2277" y="1361"/>
                </a:cubicBezTo>
                <a:cubicBezTo>
                  <a:pt x="2287" y="1361"/>
                  <a:pt x="2294" y="1356"/>
                  <a:pt x="2295" y="1350"/>
                </a:cubicBezTo>
                <a:cubicBezTo>
                  <a:pt x="2295" y="1345"/>
                  <a:pt x="2288" y="1340"/>
                  <a:pt x="2279" y="1340"/>
                </a:cubicBezTo>
                <a:cubicBezTo>
                  <a:pt x="2279" y="1340"/>
                  <a:pt x="2279" y="1340"/>
                  <a:pt x="2279" y="1340"/>
                </a:cubicBezTo>
                <a:moveTo>
                  <a:pt x="2325" y="1340"/>
                </a:moveTo>
                <a:cubicBezTo>
                  <a:pt x="2316" y="1340"/>
                  <a:pt x="2308" y="1345"/>
                  <a:pt x="2308" y="1350"/>
                </a:cubicBezTo>
                <a:cubicBezTo>
                  <a:pt x="2308" y="1356"/>
                  <a:pt x="2315" y="1361"/>
                  <a:pt x="2324" y="1361"/>
                </a:cubicBezTo>
                <a:cubicBezTo>
                  <a:pt x="2333" y="1361"/>
                  <a:pt x="2341" y="1356"/>
                  <a:pt x="2341" y="1350"/>
                </a:cubicBezTo>
                <a:cubicBezTo>
                  <a:pt x="2341" y="1345"/>
                  <a:pt x="2334" y="1340"/>
                  <a:pt x="2325" y="1340"/>
                </a:cubicBezTo>
                <a:cubicBezTo>
                  <a:pt x="2325" y="1340"/>
                  <a:pt x="2325" y="1340"/>
                  <a:pt x="2325" y="1340"/>
                </a:cubicBezTo>
                <a:moveTo>
                  <a:pt x="2372" y="1340"/>
                </a:moveTo>
                <a:cubicBezTo>
                  <a:pt x="2363" y="1340"/>
                  <a:pt x="2355" y="1345"/>
                  <a:pt x="2355" y="1350"/>
                </a:cubicBezTo>
                <a:cubicBezTo>
                  <a:pt x="2355" y="1356"/>
                  <a:pt x="2362" y="1360"/>
                  <a:pt x="2371" y="1360"/>
                </a:cubicBezTo>
                <a:cubicBezTo>
                  <a:pt x="2380" y="1360"/>
                  <a:pt x="2388" y="1356"/>
                  <a:pt x="2388" y="1350"/>
                </a:cubicBezTo>
                <a:cubicBezTo>
                  <a:pt x="2388" y="1345"/>
                  <a:pt x="2381" y="1340"/>
                  <a:pt x="2372" y="1340"/>
                </a:cubicBezTo>
                <a:cubicBezTo>
                  <a:pt x="2372" y="1340"/>
                  <a:pt x="2372" y="1340"/>
                  <a:pt x="2372" y="1340"/>
                </a:cubicBezTo>
                <a:moveTo>
                  <a:pt x="2419" y="1340"/>
                </a:moveTo>
                <a:cubicBezTo>
                  <a:pt x="2410" y="1340"/>
                  <a:pt x="2403" y="1345"/>
                  <a:pt x="2402" y="1350"/>
                </a:cubicBezTo>
                <a:cubicBezTo>
                  <a:pt x="2402" y="1356"/>
                  <a:pt x="2410" y="1360"/>
                  <a:pt x="2419" y="1360"/>
                </a:cubicBezTo>
                <a:cubicBezTo>
                  <a:pt x="2428" y="1360"/>
                  <a:pt x="2435" y="1356"/>
                  <a:pt x="2435" y="1350"/>
                </a:cubicBezTo>
                <a:cubicBezTo>
                  <a:pt x="2435" y="1344"/>
                  <a:pt x="2428" y="1340"/>
                  <a:pt x="2419" y="1340"/>
                </a:cubicBezTo>
                <a:cubicBezTo>
                  <a:pt x="2419" y="1340"/>
                  <a:pt x="2419" y="1340"/>
                  <a:pt x="2419" y="1340"/>
                </a:cubicBezTo>
                <a:moveTo>
                  <a:pt x="2468" y="1340"/>
                </a:moveTo>
                <a:cubicBezTo>
                  <a:pt x="2459" y="1340"/>
                  <a:pt x="2451" y="1344"/>
                  <a:pt x="2451" y="1350"/>
                </a:cubicBezTo>
                <a:cubicBezTo>
                  <a:pt x="2451" y="1356"/>
                  <a:pt x="2459" y="1360"/>
                  <a:pt x="2468" y="1360"/>
                </a:cubicBezTo>
                <a:cubicBezTo>
                  <a:pt x="2477" y="1360"/>
                  <a:pt x="2484" y="1356"/>
                  <a:pt x="2484" y="1350"/>
                </a:cubicBezTo>
                <a:cubicBezTo>
                  <a:pt x="2484" y="1344"/>
                  <a:pt x="2477" y="1340"/>
                  <a:pt x="2468" y="1340"/>
                </a:cubicBezTo>
                <a:cubicBezTo>
                  <a:pt x="2468" y="1340"/>
                  <a:pt x="2468" y="1340"/>
                  <a:pt x="2468" y="1340"/>
                </a:cubicBezTo>
                <a:moveTo>
                  <a:pt x="2514" y="1340"/>
                </a:moveTo>
                <a:cubicBezTo>
                  <a:pt x="2505" y="1340"/>
                  <a:pt x="2498" y="1344"/>
                  <a:pt x="2498" y="1350"/>
                </a:cubicBezTo>
                <a:cubicBezTo>
                  <a:pt x="2498" y="1356"/>
                  <a:pt x="2506" y="1360"/>
                  <a:pt x="2515" y="1360"/>
                </a:cubicBezTo>
                <a:cubicBezTo>
                  <a:pt x="2524" y="1360"/>
                  <a:pt x="2531" y="1356"/>
                  <a:pt x="2531" y="1350"/>
                </a:cubicBezTo>
                <a:cubicBezTo>
                  <a:pt x="2531" y="1344"/>
                  <a:pt x="2524" y="1340"/>
                  <a:pt x="2514" y="1340"/>
                </a:cubicBezTo>
                <a:cubicBezTo>
                  <a:pt x="2514" y="1340"/>
                  <a:pt x="2514" y="1340"/>
                  <a:pt x="2514" y="1340"/>
                </a:cubicBezTo>
                <a:moveTo>
                  <a:pt x="2562" y="1340"/>
                </a:moveTo>
                <a:cubicBezTo>
                  <a:pt x="2553" y="1340"/>
                  <a:pt x="2545" y="1344"/>
                  <a:pt x="2545" y="1350"/>
                </a:cubicBezTo>
                <a:cubicBezTo>
                  <a:pt x="2546" y="1356"/>
                  <a:pt x="2553" y="1360"/>
                  <a:pt x="2562" y="1360"/>
                </a:cubicBezTo>
                <a:cubicBezTo>
                  <a:pt x="2571" y="1360"/>
                  <a:pt x="2579" y="1355"/>
                  <a:pt x="2578" y="1350"/>
                </a:cubicBezTo>
                <a:cubicBezTo>
                  <a:pt x="2578" y="1344"/>
                  <a:pt x="2571" y="1340"/>
                  <a:pt x="2562" y="1340"/>
                </a:cubicBezTo>
                <a:cubicBezTo>
                  <a:pt x="2562" y="1340"/>
                  <a:pt x="2562" y="1340"/>
                  <a:pt x="2562" y="1340"/>
                </a:cubicBezTo>
                <a:moveTo>
                  <a:pt x="2609" y="1340"/>
                </a:moveTo>
                <a:cubicBezTo>
                  <a:pt x="2600" y="1340"/>
                  <a:pt x="2593" y="1344"/>
                  <a:pt x="2593" y="1350"/>
                </a:cubicBezTo>
                <a:cubicBezTo>
                  <a:pt x="2593" y="1355"/>
                  <a:pt x="2601" y="1360"/>
                  <a:pt x="2610" y="1360"/>
                </a:cubicBezTo>
                <a:cubicBezTo>
                  <a:pt x="2619" y="1360"/>
                  <a:pt x="2626" y="1355"/>
                  <a:pt x="2626" y="1350"/>
                </a:cubicBezTo>
                <a:cubicBezTo>
                  <a:pt x="2626" y="1344"/>
                  <a:pt x="2618" y="1340"/>
                  <a:pt x="2609" y="1340"/>
                </a:cubicBezTo>
                <a:cubicBezTo>
                  <a:pt x="2609" y="1340"/>
                  <a:pt x="2609" y="1340"/>
                  <a:pt x="2609" y="1340"/>
                </a:cubicBezTo>
                <a:moveTo>
                  <a:pt x="2656" y="1339"/>
                </a:moveTo>
                <a:cubicBezTo>
                  <a:pt x="2647" y="1339"/>
                  <a:pt x="2640" y="1344"/>
                  <a:pt x="2640" y="1350"/>
                </a:cubicBezTo>
                <a:cubicBezTo>
                  <a:pt x="2640" y="1355"/>
                  <a:pt x="2648" y="1360"/>
                  <a:pt x="2657" y="1360"/>
                </a:cubicBezTo>
                <a:cubicBezTo>
                  <a:pt x="2666" y="1360"/>
                  <a:pt x="2674" y="1355"/>
                  <a:pt x="2673" y="1350"/>
                </a:cubicBezTo>
                <a:cubicBezTo>
                  <a:pt x="2673" y="1344"/>
                  <a:pt x="2665" y="1339"/>
                  <a:pt x="2656" y="1339"/>
                </a:cubicBezTo>
                <a:cubicBezTo>
                  <a:pt x="2656" y="1339"/>
                  <a:pt x="2656" y="1339"/>
                  <a:pt x="2656" y="1339"/>
                </a:cubicBezTo>
                <a:moveTo>
                  <a:pt x="2704" y="1339"/>
                </a:moveTo>
                <a:cubicBezTo>
                  <a:pt x="2694" y="1339"/>
                  <a:pt x="2687" y="1344"/>
                  <a:pt x="2688" y="1350"/>
                </a:cubicBezTo>
                <a:cubicBezTo>
                  <a:pt x="2688" y="1355"/>
                  <a:pt x="2696" y="1360"/>
                  <a:pt x="2705" y="1360"/>
                </a:cubicBezTo>
                <a:cubicBezTo>
                  <a:pt x="2714" y="1360"/>
                  <a:pt x="2721" y="1355"/>
                  <a:pt x="2721" y="1350"/>
                </a:cubicBezTo>
                <a:cubicBezTo>
                  <a:pt x="2720" y="1344"/>
                  <a:pt x="2713" y="1339"/>
                  <a:pt x="2704" y="1339"/>
                </a:cubicBezTo>
                <a:cubicBezTo>
                  <a:pt x="2704" y="1339"/>
                  <a:pt x="2704" y="1339"/>
                  <a:pt x="2704" y="1339"/>
                </a:cubicBezTo>
                <a:moveTo>
                  <a:pt x="2749" y="1339"/>
                </a:moveTo>
                <a:cubicBezTo>
                  <a:pt x="2740" y="1339"/>
                  <a:pt x="2733" y="1344"/>
                  <a:pt x="2733" y="1349"/>
                </a:cubicBezTo>
                <a:cubicBezTo>
                  <a:pt x="2734" y="1355"/>
                  <a:pt x="2742" y="1360"/>
                  <a:pt x="2751" y="1360"/>
                </a:cubicBezTo>
                <a:cubicBezTo>
                  <a:pt x="2760" y="1360"/>
                  <a:pt x="2767" y="1355"/>
                  <a:pt x="2766" y="1349"/>
                </a:cubicBezTo>
                <a:cubicBezTo>
                  <a:pt x="2766" y="1344"/>
                  <a:pt x="2758" y="1339"/>
                  <a:pt x="2749" y="1339"/>
                </a:cubicBezTo>
                <a:cubicBezTo>
                  <a:pt x="2749" y="1339"/>
                  <a:pt x="2749" y="1339"/>
                  <a:pt x="2749" y="1339"/>
                </a:cubicBezTo>
                <a:moveTo>
                  <a:pt x="2939" y="1339"/>
                </a:moveTo>
                <a:cubicBezTo>
                  <a:pt x="2930" y="1339"/>
                  <a:pt x="2923" y="1343"/>
                  <a:pt x="2924" y="1349"/>
                </a:cubicBezTo>
                <a:cubicBezTo>
                  <a:pt x="2925" y="1355"/>
                  <a:pt x="2933" y="1359"/>
                  <a:pt x="2942" y="1359"/>
                </a:cubicBezTo>
                <a:cubicBezTo>
                  <a:pt x="2951" y="1359"/>
                  <a:pt x="2958" y="1355"/>
                  <a:pt x="2957" y="1349"/>
                </a:cubicBezTo>
                <a:cubicBezTo>
                  <a:pt x="2956" y="1343"/>
                  <a:pt x="2948" y="1339"/>
                  <a:pt x="2939" y="1339"/>
                </a:cubicBezTo>
                <a:cubicBezTo>
                  <a:pt x="2939" y="1339"/>
                  <a:pt x="2939" y="1339"/>
                  <a:pt x="2939" y="1339"/>
                </a:cubicBezTo>
                <a:moveTo>
                  <a:pt x="4632" y="1333"/>
                </a:moveTo>
                <a:cubicBezTo>
                  <a:pt x="4623" y="1333"/>
                  <a:pt x="4619" y="1338"/>
                  <a:pt x="4622" y="1344"/>
                </a:cubicBezTo>
                <a:cubicBezTo>
                  <a:pt x="4626" y="1349"/>
                  <a:pt x="4637" y="1354"/>
                  <a:pt x="4646" y="1354"/>
                </a:cubicBezTo>
                <a:cubicBezTo>
                  <a:pt x="4655" y="1354"/>
                  <a:pt x="4659" y="1349"/>
                  <a:pt x="4655" y="1343"/>
                </a:cubicBezTo>
                <a:cubicBezTo>
                  <a:pt x="4651" y="1338"/>
                  <a:pt x="4641" y="1333"/>
                  <a:pt x="4632" y="1333"/>
                </a:cubicBezTo>
                <a:cubicBezTo>
                  <a:pt x="4632" y="1333"/>
                  <a:pt x="4632" y="1333"/>
                  <a:pt x="4632" y="1333"/>
                </a:cubicBezTo>
                <a:moveTo>
                  <a:pt x="4725" y="1333"/>
                </a:moveTo>
                <a:cubicBezTo>
                  <a:pt x="4716" y="1333"/>
                  <a:pt x="4712" y="1338"/>
                  <a:pt x="4716" y="1343"/>
                </a:cubicBezTo>
                <a:cubicBezTo>
                  <a:pt x="4720" y="1349"/>
                  <a:pt x="4730" y="1354"/>
                  <a:pt x="4739" y="1354"/>
                </a:cubicBezTo>
                <a:cubicBezTo>
                  <a:pt x="4749" y="1354"/>
                  <a:pt x="4753" y="1349"/>
                  <a:pt x="4749" y="1343"/>
                </a:cubicBezTo>
                <a:cubicBezTo>
                  <a:pt x="4745" y="1338"/>
                  <a:pt x="4734" y="1333"/>
                  <a:pt x="4725" y="1333"/>
                </a:cubicBezTo>
                <a:cubicBezTo>
                  <a:pt x="4725" y="1333"/>
                  <a:pt x="4725" y="1333"/>
                  <a:pt x="4725" y="1333"/>
                </a:cubicBezTo>
                <a:moveTo>
                  <a:pt x="4772" y="1333"/>
                </a:moveTo>
                <a:cubicBezTo>
                  <a:pt x="4763" y="1333"/>
                  <a:pt x="4759" y="1338"/>
                  <a:pt x="4763" y="1343"/>
                </a:cubicBezTo>
                <a:cubicBezTo>
                  <a:pt x="4767" y="1349"/>
                  <a:pt x="4778" y="1354"/>
                  <a:pt x="4787" y="1354"/>
                </a:cubicBezTo>
                <a:cubicBezTo>
                  <a:pt x="4796" y="1353"/>
                  <a:pt x="4800" y="1349"/>
                  <a:pt x="4796" y="1343"/>
                </a:cubicBezTo>
                <a:cubicBezTo>
                  <a:pt x="4792" y="1338"/>
                  <a:pt x="4781" y="1333"/>
                  <a:pt x="4772" y="1333"/>
                </a:cubicBezTo>
                <a:cubicBezTo>
                  <a:pt x="4772" y="1333"/>
                  <a:pt x="4772" y="1333"/>
                  <a:pt x="4772" y="1333"/>
                </a:cubicBezTo>
                <a:moveTo>
                  <a:pt x="4964" y="1333"/>
                </a:moveTo>
                <a:cubicBezTo>
                  <a:pt x="4955" y="1333"/>
                  <a:pt x="4951" y="1337"/>
                  <a:pt x="4955" y="1343"/>
                </a:cubicBezTo>
                <a:cubicBezTo>
                  <a:pt x="4960" y="1349"/>
                  <a:pt x="4971" y="1353"/>
                  <a:pt x="4980" y="1353"/>
                </a:cubicBezTo>
                <a:cubicBezTo>
                  <a:pt x="4989" y="1353"/>
                  <a:pt x="4993" y="1348"/>
                  <a:pt x="4988" y="1343"/>
                </a:cubicBezTo>
                <a:cubicBezTo>
                  <a:pt x="4984" y="1337"/>
                  <a:pt x="4973" y="1333"/>
                  <a:pt x="4964" y="1333"/>
                </a:cubicBezTo>
                <a:cubicBezTo>
                  <a:pt x="4964" y="1333"/>
                  <a:pt x="4964" y="1333"/>
                  <a:pt x="4964" y="1333"/>
                </a:cubicBezTo>
                <a:moveTo>
                  <a:pt x="5002" y="1343"/>
                </a:moveTo>
                <a:cubicBezTo>
                  <a:pt x="5004" y="1345"/>
                  <a:pt x="5007" y="1347"/>
                  <a:pt x="5010" y="1349"/>
                </a:cubicBezTo>
                <a:cubicBezTo>
                  <a:pt x="5010" y="1332"/>
                  <a:pt x="5010" y="1332"/>
                  <a:pt x="5010" y="1332"/>
                </a:cubicBezTo>
                <a:cubicBezTo>
                  <a:pt x="5001" y="1332"/>
                  <a:pt x="4997" y="1337"/>
                  <a:pt x="5002" y="1343"/>
                </a:cubicBezTo>
                <a:moveTo>
                  <a:pt x="274" y="1314"/>
                </a:moveTo>
                <a:cubicBezTo>
                  <a:pt x="265" y="1314"/>
                  <a:pt x="254" y="1318"/>
                  <a:pt x="251" y="1324"/>
                </a:cubicBezTo>
                <a:cubicBezTo>
                  <a:pt x="247" y="1330"/>
                  <a:pt x="251" y="1334"/>
                  <a:pt x="260" y="1334"/>
                </a:cubicBezTo>
                <a:cubicBezTo>
                  <a:pt x="269" y="1334"/>
                  <a:pt x="279" y="1330"/>
                  <a:pt x="283" y="1324"/>
                </a:cubicBezTo>
                <a:cubicBezTo>
                  <a:pt x="287" y="1318"/>
                  <a:pt x="283" y="1314"/>
                  <a:pt x="274" y="1314"/>
                </a:cubicBezTo>
                <a:cubicBezTo>
                  <a:pt x="274" y="1314"/>
                  <a:pt x="274" y="1314"/>
                  <a:pt x="274" y="1314"/>
                </a:cubicBezTo>
                <a:moveTo>
                  <a:pt x="320" y="1314"/>
                </a:moveTo>
                <a:cubicBezTo>
                  <a:pt x="311" y="1314"/>
                  <a:pt x="301" y="1318"/>
                  <a:pt x="297" y="1324"/>
                </a:cubicBezTo>
                <a:cubicBezTo>
                  <a:pt x="293" y="1330"/>
                  <a:pt x="298" y="1334"/>
                  <a:pt x="307" y="1334"/>
                </a:cubicBezTo>
                <a:cubicBezTo>
                  <a:pt x="316" y="1334"/>
                  <a:pt x="326" y="1330"/>
                  <a:pt x="330" y="1324"/>
                </a:cubicBezTo>
                <a:cubicBezTo>
                  <a:pt x="334" y="1318"/>
                  <a:pt x="329" y="1314"/>
                  <a:pt x="320" y="1314"/>
                </a:cubicBezTo>
                <a:cubicBezTo>
                  <a:pt x="320" y="1314"/>
                  <a:pt x="320" y="1314"/>
                  <a:pt x="320" y="1314"/>
                </a:cubicBezTo>
                <a:moveTo>
                  <a:pt x="367" y="1314"/>
                </a:moveTo>
                <a:cubicBezTo>
                  <a:pt x="358" y="1314"/>
                  <a:pt x="348" y="1318"/>
                  <a:pt x="344" y="1324"/>
                </a:cubicBezTo>
                <a:cubicBezTo>
                  <a:pt x="340" y="1329"/>
                  <a:pt x="345" y="1334"/>
                  <a:pt x="354" y="1334"/>
                </a:cubicBezTo>
                <a:cubicBezTo>
                  <a:pt x="363" y="1334"/>
                  <a:pt x="373" y="1329"/>
                  <a:pt x="377" y="1324"/>
                </a:cubicBezTo>
                <a:cubicBezTo>
                  <a:pt x="381" y="1318"/>
                  <a:pt x="376" y="1314"/>
                  <a:pt x="367" y="1314"/>
                </a:cubicBezTo>
                <a:cubicBezTo>
                  <a:pt x="367" y="1314"/>
                  <a:pt x="367" y="1314"/>
                  <a:pt x="367" y="1314"/>
                </a:cubicBezTo>
                <a:moveTo>
                  <a:pt x="415" y="1314"/>
                </a:moveTo>
                <a:cubicBezTo>
                  <a:pt x="406" y="1314"/>
                  <a:pt x="396" y="1318"/>
                  <a:pt x="392" y="1324"/>
                </a:cubicBezTo>
                <a:cubicBezTo>
                  <a:pt x="389" y="1329"/>
                  <a:pt x="393" y="1334"/>
                  <a:pt x="402" y="1334"/>
                </a:cubicBezTo>
                <a:cubicBezTo>
                  <a:pt x="411" y="1334"/>
                  <a:pt x="422" y="1329"/>
                  <a:pt x="425" y="1324"/>
                </a:cubicBezTo>
                <a:cubicBezTo>
                  <a:pt x="429" y="1318"/>
                  <a:pt x="424" y="1314"/>
                  <a:pt x="415" y="1314"/>
                </a:cubicBezTo>
                <a:cubicBezTo>
                  <a:pt x="415" y="1314"/>
                  <a:pt x="415" y="1314"/>
                  <a:pt x="415" y="1314"/>
                </a:cubicBezTo>
                <a:moveTo>
                  <a:pt x="462" y="1313"/>
                </a:moveTo>
                <a:cubicBezTo>
                  <a:pt x="453" y="1313"/>
                  <a:pt x="442" y="1318"/>
                  <a:pt x="439" y="1324"/>
                </a:cubicBezTo>
                <a:cubicBezTo>
                  <a:pt x="435" y="1329"/>
                  <a:pt x="440" y="1334"/>
                  <a:pt x="449" y="1334"/>
                </a:cubicBezTo>
                <a:cubicBezTo>
                  <a:pt x="458" y="1334"/>
                  <a:pt x="468" y="1329"/>
                  <a:pt x="472" y="1324"/>
                </a:cubicBezTo>
                <a:cubicBezTo>
                  <a:pt x="475" y="1318"/>
                  <a:pt x="471" y="1313"/>
                  <a:pt x="462" y="1313"/>
                </a:cubicBezTo>
                <a:cubicBezTo>
                  <a:pt x="462" y="1313"/>
                  <a:pt x="462" y="1313"/>
                  <a:pt x="462" y="1313"/>
                </a:cubicBezTo>
                <a:moveTo>
                  <a:pt x="509" y="1313"/>
                </a:moveTo>
                <a:cubicBezTo>
                  <a:pt x="500" y="1313"/>
                  <a:pt x="489" y="1318"/>
                  <a:pt x="486" y="1324"/>
                </a:cubicBezTo>
                <a:cubicBezTo>
                  <a:pt x="482" y="1329"/>
                  <a:pt x="487" y="1334"/>
                  <a:pt x="496" y="1334"/>
                </a:cubicBezTo>
                <a:cubicBezTo>
                  <a:pt x="505" y="1334"/>
                  <a:pt x="515" y="1329"/>
                  <a:pt x="519" y="1323"/>
                </a:cubicBezTo>
                <a:cubicBezTo>
                  <a:pt x="522" y="1318"/>
                  <a:pt x="518" y="1313"/>
                  <a:pt x="509" y="1313"/>
                </a:cubicBezTo>
                <a:cubicBezTo>
                  <a:pt x="509" y="1313"/>
                  <a:pt x="509" y="1313"/>
                  <a:pt x="509" y="1313"/>
                </a:cubicBezTo>
                <a:moveTo>
                  <a:pt x="556" y="1313"/>
                </a:moveTo>
                <a:cubicBezTo>
                  <a:pt x="547" y="1313"/>
                  <a:pt x="537" y="1318"/>
                  <a:pt x="533" y="1323"/>
                </a:cubicBezTo>
                <a:cubicBezTo>
                  <a:pt x="530" y="1329"/>
                  <a:pt x="534" y="1334"/>
                  <a:pt x="544" y="1334"/>
                </a:cubicBezTo>
                <a:cubicBezTo>
                  <a:pt x="553" y="1334"/>
                  <a:pt x="563" y="1329"/>
                  <a:pt x="566" y="1323"/>
                </a:cubicBezTo>
                <a:cubicBezTo>
                  <a:pt x="569" y="1318"/>
                  <a:pt x="565" y="1313"/>
                  <a:pt x="556" y="1313"/>
                </a:cubicBezTo>
                <a:cubicBezTo>
                  <a:pt x="556" y="1313"/>
                  <a:pt x="556" y="1313"/>
                  <a:pt x="556" y="1313"/>
                </a:cubicBezTo>
                <a:moveTo>
                  <a:pt x="602" y="1313"/>
                </a:moveTo>
                <a:cubicBezTo>
                  <a:pt x="593" y="1313"/>
                  <a:pt x="583" y="1318"/>
                  <a:pt x="580" y="1323"/>
                </a:cubicBezTo>
                <a:cubicBezTo>
                  <a:pt x="576" y="1329"/>
                  <a:pt x="581" y="1333"/>
                  <a:pt x="590" y="1333"/>
                </a:cubicBezTo>
                <a:cubicBezTo>
                  <a:pt x="599" y="1333"/>
                  <a:pt x="609" y="1329"/>
                  <a:pt x="613" y="1323"/>
                </a:cubicBezTo>
                <a:cubicBezTo>
                  <a:pt x="616" y="1318"/>
                  <a:pt x="611" y="1313"/>
                  <a:pt x="602" y="1313"/>
                </a:cubicBezTo>
                <a:cubicBezTo>
                  <a:pt x="602" y="1313"/>
                  <a:pt x="602" y="1313"/>
                  <a:pt x="602" y="1313"/>
                </a:cubicBezTo>
                <a:moveTo>
                  <a:pt x="649" y="1313"/>
                </a:moveTo>
                <a:cubicBezTo>
                  <a:pt x="640" y="1313"/>
                  <a:pt x="630" y="1318"/>
                  <a:pt x="627" y="1323"/>
                </a:cubicBezTo>
                <a:cubicBezTo>
                  <a:pt x="623" y="1329"/>
                  <a:pt x="628" y="1333"/>
                  <a:pt x="637" y="1333"/>
                </a:cubicBezTo>
                <a:cubicBezTo>
                  <a:pt x="646" y="1333"/>
                  <a:pt x="656" y="1329"/>
                  <a:pt x="659" y="1323"/>
                </a:cubicBezTo>
                <a:cubicBezTo>
                  <a:pt x="663" y="1318"/>
                  <a:pt x="658" y="1313"/>
                  <a:pt x="649" y="1313"/>
                </a:cubicBezTo>
                <a:cubicBezTo>
                  <a:pt x="649" y="1313"/>
                  <a:pt x="649" y="1313"/>
                  <a:pt x="649" y="1313"/>
                </a:cubicBezTo>
                <a:moveTo>
                  <a:pt x="695" y="1313"/>
                </a:moveTo>
                <a:cubicBezTo>
                  <a:pt x="686" y="1313"/>
                  <a:pt x="676" y="1318"/>
                  <a:pt x="673" y="1323"/>
                </a:cubicBezTo>
                <a:cubicBezTo>
                  <a:pt x="670" y="1329"/>
                  <a:pt x="675" y="1333"/>
                  <a:pt x="684" y="1333"/>
                </a:cubicBezTo>
                <a:cubicBezTo>
                  <a:pt x="693" y="1333"/>
                  <a:pt x="703" y="1329"/>
                  <a:pt x="706" y="1323"/>
                </a:cubicBezTo>
                <a:cubicBezTo>
                  <a:pt x="709" y="1317"/>
                  <a:pt x="704" y="1313"/>
                  <a:pt x="695" y="1313"/>
                </a:cubicBezTo>
                <a:cubicBezTo>
                  <a:pt x="695" y="1313"/>
                  <a:pt x="695" y="1313"/>
                  <a:pt x="695" y="1313"/>
                </a:cubicBezTo>
                <a:moveTo>
                  <a:pt x="742" y="1313"/>
                </a:moveTo>
                <a:cubicBezTo>
                  <a:pt x="733" y="1313"/>
                  <a:pt x="723" y="1317"/>
                  <a:pt x="720" y="1323"/>
                </a:cubicBezTo>
                <a:cubicBezTo>
                  <a:pt x="717" y="1329"/>
                  <a:pt x="722" y="1333"/>
                  <a:pt x="731" y="1333"/>
                </a:cubicBezTo>
                <a:cubicBezTo>
                  <a:pt x="740" y="1333"/>
                  <a:pt x="750" y="1329"/>
                  <a:pt x="753" y="1323"/>
                </a:cubicBezTo>
                <a:cubicBezTo>
                  <a:pt x="756" y="1317"/>
                  <a:pt x="751" y="1313"/>
                  <a:pt x="742" y="1313"/>
                </a:cubicBezTo>
                <a:cubicBezTo>
                  <a:pt x="742" y="1313"/>
                  <a:pt x="742" y="1313"/>
                  <a:pt x="742" y="1313"/>
                </a:cubicBezTo>
                <a:moveTo>
                  <a:pt x="789" y="1313"/>
                </a:moveTo>
                <a:cubicBezTo>
                  <a:pt x="780" y="1313"/>
                  <a:pt x="770" y="1317"/>
                  <a:pt x="767" y="1323"/>
                </a:cubicBezTo>
                <a:cubicBezTo>
                  <a:pt x="764" y="1329"/>
                  <a:pt x="769" y="1333"/>
                  <a:pt x="778" y="1333"/>
                </a:cubicBezTo>
                <a:cubicBezTo>
                  <a:pt x="788" y="1333"/>
                  <a:pt x="797" y="1328"/>
                  <a:pt x="800" y="1323"/>
                </a:cubicBezTo>
                <a:cubicBezTo>
                  <a:pt x="803" y="1317"/>
                  <a:pt x="798" y="1313"/>
                  <a:pt x="789" y="1313"/>
                </a:cubicBezTo>
                <a:cubicBezTo>
                  <a:pt x="789" y="1313"/>
                  <a:pt x="789" y="1313"/>
                  <a:pt x="789" y="1313"/>
                </a:cubicBezTo>
                <a:moveTo>
                  <a:pt x="836" y="1313"/>
                </a:moveTo>
                <a:cubicBezTo>
                  <a:pt x="827" y="1313"/>
                  <a:pt x="817" y="1317"/>
                  <a:pt x="814" y="1323"/>
                </a:cubicBezTo>
                <a:cubicBezTo>
                  <a:pt x="811" y="1328"/>
                  <a:pt x="816" y="1333"/>
                  <a:pt x="825" y="1333"/>
                </a:cubicBezTo>
                <a:cubicBezTo>
                  <a:pt x="834" y="1333"/>
                  <a:pt x="844" y="1328"/>
                  <a:pt x="847" y="1323"/>
                </a:cubicBezTo>
                <a:cubicBezTo>
                  <a:pt x="850" y="1317"/>
                  <a:pt x="845" y="1313"/>
                  <a:pt x="836" y="1313"/>
                </a:cubicBezTo>
                <a:cubicBezTo>
                  <a:pt x="836" y="1313"/>
                  <a:pt x="836" y="1313"/>
                  <a:pt x="836" y="1313"/>
                </a:cubicBezTo>
                <a:moveTo>
                  <a:pt x="882" y="1313"/>
                </a:moveTo>
                <a:cubicBezTo>
                  <a:pt x="873" y="1313"/>
                  <a:pt x="864" y="1317"/>
                  <a:pt x="861" y="1323"/>
                </a:cubicBezTo>
                <a:cubicBezTo>
                  <a:pt x="858" y="1328"/>
                  <a:pt x="863" y="1333"/>
                  <a:pt x="872" y="1333"/>
                </a:cubicBezTo>
                <a:cubicBezTo>
                  <a:pt x="881" y="1333"/>
                  <a:pt x="891" y="1328"/>
                  <a:pt x="894" y="1323"/>
                </a:cubicBezTo>
                <a:cubicBezTo>
                  <a:pt x="896" y="1317"/>
                  <a:pt x="891" y="1313"/>
                  <a:pt x="882" y="1313"/>
                </a:cubicBezTo>
                <a:cubicBezTo>
                  <a:pt x="882" y="1313"/>
                  <a:pt x="882" y="1313"/>
                  <a:pt x="882" y="1313"/>
                </a:cubicBezTo>
                <a:moveTo>
                  <a:pt x="929" y="1312"/>
                </a:moveTo>
                <a:cubicBezTo>
                  <a:pt x="920" y="1312"/>
                  <a:pt x="910" y="1317"/>
                  <a:pt x="907" y="1323"/>
                </a:cubicBezTo>
                <a:cubicBezTo>
                  <a:pt x="905" y="1328"/>
                  <a:pt x="910" y="1333"/>
                  <a:pt x="919" y="1333"/>
                </a:cubicBezTo>
                <a:cubicBezTo>
                  <a:pt x="928" y="1333"/>
                  <a:pt x="937" y="1328"/>
                  <a:pt x="940" y="1323"/>
                </a:cubicBezTo>
                <a:cubicBezTo>
                  <a:pt x="943" y="1317"/>
                  <a:pt x="938" y="1312"/>
                  <a:pt x="929" y="1312"/>
                </a:cubicBezTo>
                <a:cubicBezTo>
                  <a:pt x="929" y="1312"/>
                  <a:pt x="929" y="1312"/>
                  <a:pt x="929" y="1312"/>
                </a:cubicBezTo>
                <a:moveTo>
                  <a:pt x="2187" y="1312"/>
                </a:moveTo>
                <a:cubicBezTo>
                  <a:pt x="2178" y="1312"/>
                  <a:pt x="2170" y="1317"/>
                  <a:pt x="2170" y="1323"/>
                </a:cubicBezTo>
                <a:cubicBezTo>
                  <a:pt x="2169" y="1328"/>
                  <a:pt x="2176" y="1333"/>
                  <a:pt x="2185" y="1333"/>
                </a:cubicBezTo>
                <a:cubicBezTo>
                  <a:pt x="2194" y="1333"/>
                  <a:pt x="2202" y="1328"/>
                  <a:pt x="2203" y="1323"/>
                </a:cubicBezTo>
                <a:cubicBezTo>
                  <a:pt x="2203" y="1317"/>
                  <a:pt x="2196" y="1312"/>
                  <a:pt x="2187" y="1312"/>
                </a:cubicBezTo>
                <a:cubicBezTo>
                  <a:pt x="2187" y="1312"/>
                  <a:pt x="2187" y="1312"/>
                  <a:pt x="2187" y="1312"/>
                </a:cubicBezTo>
                <a:moveTo>
                  <a:pt x="975" y="1312"/>
                </a:moveTo>
                <a:cubicBezTo>
                  <a:pt x="966" y="1312"/>
                  <a:pt x="957" y="1317"/>
                  <a:pt x="954" y="1323"/>
                </a:cubicBezTo>
                <a:cubicBezTo>
                  <a:pt x="952" y="1328"/>
                  <a:pt x="957" y="1333"/>
                  <a:pt x="966" y="1333"/>
                </a:cubicBezTo>
                <a:cubicBezTo>
                  <a:pt x="975" y="1333"/>
                  <a:pt x="984" y="1328"/>
                  <a:pt x="987" y="1322"/>
                </a:cubicBezTo>
                <a:cubicBezTo>
                  <a:pt x="990" y="1317"/>
                  <a:pt x="984" y="1312"/>
                  <a:pt x="975" y="1312"/>
                </a:cubicBezTo>
                <a:cubicBezTo>
                  <a:pt x="975" y="1312"/>
                  <a:pt x="975" y="1312"/>
                  <a:pt x="975" y="1312"/>
                </a:cubicBezTo>
                <a:moveTo>
                  <a:pt x="2233" y="1312"/>
                </a:moveTo>
                <a:cubicBezTo>
                  <a:pt x="2224" y="1312"/>
                  <a:pt x="2217" y="1317"/>
                  <a:pt x="2216" y="1323"/>
                </a:cubicBezTo>
                <a:cubicBezTo>
                  <a:pt x="2216" y="1328"/>
                  <a:pt x="2223" y="1333"/>
                  <a:pt x="2232" y="1333"/>
                </a:cubicBezTo>
                <a:cubicBezTo>
                  <a:pt x="2241" y="1333"/>
                  <a:pt x="2249" y="1328"/>
                  <a:pt x="2249" y="1323"/>
                </a:cubicBezTo>
                <a:cubicBezTo>
                  <a:pt x="2250" y="1317"/>
                  <a:pt x="2243" y="1312"/>
                  <a:pt x="2234" y="1312"/>
                </a:cubicBezTo>
                <a:cubicBezTo>
                  <a:pt x="2234" y="1312"/>
                  <a:pt x="2233" y="1312"/>
                  <a:pt x="2233" y="1312"/>
                </a:cubicBezTo>
                <a:moveTo>
                  <a:pt x="1023" y="1312"/>
                </a:moveTo>
                <a:cubicBezTo>
                  <a:pt x="1014" y="1312"/>
                  <a:pt x="1004" y="1317"/>
                  <a:pt x="1002" y="1322"/>
                </a:cubicBezTo>
                <a:cubicBezTo>
                  <a:pt x="999" y="1328"/>
                  <a:pt x="1004" y="1333"/>
                  <a:pt x="1013" y="1333"/>
                </a:cubicBezTo>
                <a:cubicBezTo>
                  <a:pt x="1022" y="1333"/>
                  <a:pt x="1032" y="1328"/>
                  <a:pt x="1034" y="1322"/>
                </a:cubicBezTo>
                <a:cubicBezTo>
                  <a:pt x="1037" y="1317"/>
                  <a:pt x="1032" y="1312"/>
                  <a:pt x="1023" y="1312"/>
                </a:cubicBezTo>
                <a:cubicBezTo>
                  <a:pt x="1023" y="1312"/>
                  <a:pt x="1023" y="1312"/>
                  <a:pt x="1023" y="1312"/>
                </a:cubicBezTo>
                <a:moveTo>
                  <a:pt x="2280" y="1312"/>
                </a:moveTo>
                <a:cubicBezTo>
                  <a:pt x="2271" y="1312"/>
                  <a:pt x="2264" y="1317"/>
                  <a:pt x="2263" y="1322"/>
                </a:cubicBezTo>
                <a:cubicBezTo>
                  <a:pt x="2263" y="1328"/>
                  <a:pt x="2270" y="1333"/>
                  <a:pt x="2279" y="1333"/>
                </a:cubicBezTo>
                <a:cubicBezTo>
                  <a:pt x="2288" y="1333"/>
                  <a:pt x="2296" y="1328"/>
                  <a:pt x="2296" y="1322"/>
                </a:cubicBezTo>
                <a:cubicBezTo>
                  <a:pt x="2296" y="1317"/>
                  <a:pt x="2289" y="1312"/>
                  <a:pt x="2280" y="1312"/>
                </a:cubicBezTo>
                <a:cubicBezTo>
                  <a:pt x="2280" y="1312"/>
                  <a:pt x="2280" y="1312"/>
                  <a:pt x="2280" y="1312"/>
                </a:cubicBezTo>
                <a:moveTo>
                  <a:pt x="1065" y="1312"/>
                </a:moveTo>
                <a:cubicBezTo>
                  <a:pt x="1056" y="1312"/>
                  <a:pt x="1046" y="1317"/>
                  <a:pt x="1044" y="1322"/>
                </a:cubicBezTo>
                <a:cubicBezTo>
                  <a:pt x="1041" y="1328"/>
                  <a:pt x="1047" y="1333"/>
                  <a:pt x="1056" y="1332"/>
                </a:cubicBezTo>
                <a:cubicBezTo>
                  <a:pt x="1065" y="1332"/>
                  <a:pt x="1074" y="1328"/>
                  <a:pt x="1077" y="1322"/>
                </a:cubicBezTo>
                <a:cubicBezTo>
                  <a:pt x="1079" y="1317"/>
                  <a:pt x="1074" y="1312"/>
                  <a:pt x="1065" y="1312"/>
                </a:cubicBezTo>
                <a:cubicBezTo>
                  <a:pt x="1065" y="1312"/>
                  <a:pt x="1065" y="1312"/>
                  <a:pt x="1065" y="1312"/>
                </a:cubicBezTo>
                <a:moveTo>
                  <a:pt x="2326" y="1312"/>
                </a:moveTo>
                <a:cubicBezTo>
                  <a:pt x="2317" y="1312"/>
                  <a:pt x="2310" y="1317"/>
                  <a:pt x="2309" y="1322"/>
                </a:cubicBezTo>
                <a:cubicBezTo>
                  <a:pt x="2309" y="1328"/>
                  <a:pt x="2316" y="1333"/>
                  <a:pt x="2325" y="1333"/>
                </a:cubicBezTo>
                <a:cubicBezTo>
                  <a:pt x="2334" y="1333"/>
                  <a:pt x="2342" y="1328"/>
                  <a:pt x="2342" y="1322"/>
                </a:cubicBezTo>
                <a:cubicBezTo>
                  <a:pt x="2342" y="1317"/>
                  <a:pt x="2335" y="1312"/>
                  <a:pt x="2326" y="1312"/>
                </a:cubicBezTo>
                <a:cubicBezTo>
                  <a:pt x="2326" y="1312"/>
                  <a:pt x="2326" y="1312"/>
                  <a:pt x="2326" y="1312"/>
                </a:cubicBezTo>
                <a:moveTo>
                  <a:pt x="2373" y="1312"/>
                </a:moveTo>
                <a:cubicBezTo>
                  <a:pt x="2364" y="1312"/>
                  <a:pt x="2356" y="1317"/>
                  <a:pt x="2356" y="1322"/>
                </a:cubicBezTo>
                <a:cubicBezTo>
                  <a:pt x="2356" y="1328"/>
                  <a:pt x="2363" y="1332"/>
                  <a:pt x="2372" y="1332"/>
                </a:cubicBezTo>
                <a:cubicBezTo>
                  <a:pt x="2381" y="1332"/>
                  <a:pt x="2389" y="1328"/>
                  <a:pt x="2389" y="1322"/>
                </a:cubicBezTo>
                <a:cubicBezTo>
                  <a:pt x="2389" y="1317"/>
                  <a:pt x="2382" y="1312"/>
                  <a:pt x="2373" y="1312"/>
                </a:cubicBezTo>
                <a:cubicBezTo>
                  <a:pt x="2373" y="1312"/>
                  <a:pt x="2373" y="1312"/>
                  <a:pt x="2373" y="1312"/>
                </a:cubicBezTo>
                <a:moveTo>
                  <a:pt x="2419" y="1312"/>
                </a:moveTo>
                <a:cubicBezTo>
                  <a:pt x="2410" y="1312"/>
                  <a:pt x="2403" y="1317"/>
                  <a:pt x="2403" y="1322"/>
                </a:cubicBezTo>
                <a:cubicBezTo>
                  <a:pt x="2403" y="1328"/>
                  <a:pt x="2410" y="1332"/>
                  <a:pt x="2419" y="1332"/>
                </a:cubicBezTo>
                <a:cubicBezTo>
                  <a:pt x="2428" y="1332"/>
                  <a:pt x="2436" y="1328"/>
                  <a:pt x="2436" y="1322"/>
                </a:cubicBezTo>
                <a:cubicBezTo>
                  <a:pt x="2436" y="1316"/>
                  <a:pt x="2428" y="1312"/>
                  <a:pt x="2419" y="1312"/>
                </a:cubicBezTo>
                <a:cubicBezTo>
                  <a:pt x="2419" y="1312"/>
                  <a:pt x="2419" y="1312"/>
                  <a:pt x="2419" y="1312"/>
                </a:cubicBezTo>
                <a:moveTo>
                  <a:pt x="2468" y="1312"/>
                </a:moveTo>
                <a:cubicBezTo>
                  <a:pt x="2459" y="1312"/>
                  <a:pt x="2451" y="1316"/>
                  <a:pt x="2451" y="1322"/>
                </a:cubicBezTo>
                <a:cubicBezTo>
                  <a:pt x="2451" y="1328"/>
                  <a:pt x="2459" y="1332"/>
                  <a:pt x="2468" y="1332"/>
                </a:cubicBezTo>
                <a:cubicBezTo>
                  <a:pt x="2477" y="1332"/>
                  <a:pt x="2484" y="1328"/>
                  <a:pt x="2484" y="1322"/>
                </a:cubicBezTo>
                <a:cubicBezTo>
                  <a:pt x="2484" y="1316"/>
                  <a:pt x="2477" y="1312"/>
                  <a:pt x="2468" y="1312"/>
                </a:cubicBezTo>
                <a:cubicBezTo>
                  <a:pt x="2468" y="1312"/>
                  <a:pt x="2468" y="1312"/>
                  <a:pt x="2468" y="1312"/>
                </a:cubicBezTo>
                <a:moveTo>
                  <a:pt x="2514" y="1312"/>
                </a:moveTo>
                <a:cubicBezTo>
                  <a:pt x="2505" y="1312"/>
                  <a:pt x="2498" y="1316"/>
                  <a:pt x="2498" y="1322"/>
                </a:cubicBezTo>
                <a:cubicBezTo>
                  <a:pt x="2498" y="1328"/>
                  <a:pt x="2505" y="1332"/>
                  <a:pt x="2514" y="1332"/>
                </a:cubicBezTo>
                <a:cubicBezTo>
                  <a:pt x="2523" y="1332"/>
                  <a:pt x="2531" y="1328"/>
                  <a:pt x="2531" y="1322"/>
                </a:cubicBezTo>
                <a:cubicBezTo>
                  <a:pt x="2530" y="1316"/>
                  <a:pt x="2523" y="1312"/>
                  <a:pt x="2514" y="1312"/>
                </a:cubicBezTo>
                <a:cubicBezTo>
                  <a:pt x="2514" y="1312"/>
                  <a:pt x="2514" y="1312"/>
                  <a:pt x="2514" y="1312"/>
                </a:cubicBezTo>
                <a:moveTo>
                  <a:pt x="2561" y="1312"/>
                </a:moveTo>
                <a:cubicBezTo>
                  <a:pt x="2552" y="1312"/>
                  <a:pt x="2545" y="1316"/>
                  <a:pt x="2545" y="1322"/>
                </a:cubicBezTo>
                <a:cubicBezTo>
                  <a:pt x="2545" y="1328"/>
                  <a:pt x="2552" y="1332"/>
                  <a:pt x="2561" y="1332"/>
                </a:cubicBezTo>
                <a:cubicBezTo>
                  <a:pt x="2570" y="1332"/>
                  <a:pt x="2578" y="1327"/>
                  <a:pt x="2577" y="1322"/>
                </a:cubicBezTo>
                <a:cubicBezTo>
                  <a:pt x="2577" y="1316"/>
                  <a:pt x="2570" y="1312"/>
                  <a:pt x="2561" y="1312"/>
                </a:cubicBezTo>
                <a:cubicBezTo>
                  <a:pt x="2561" y="1312"/>
                  <a:pt x="2561" y="1312"/>
                  <a:pt x="2561" y="1312"/>
                </a:cubicBezTo>
                <a:moveTo>
                  <a:pt x="2608" y="1312"/>
                </a:moveTo>
                <a:cubicBezTo>
                  <a:pt x="2599" y="1312"/>
                  <a:pt x="2592" y="1316"/>
                  <a:pt x="2592" y="1322"/>
                </a:cubicBezTo>
                <a:cubicBezTo>
                  <a:pt x="2592" y="1327"/>
                  <a:pt x="2600" y="1332"/>
                  <a:pt x="2609" y="1332"/>
                </a:cubicBezTo>
                <a:cubicBezTo>
                  <a:pt x="2618" y="1332"/>
                  <a:pt x="2625" y="1327"/>
                  <a:pt x="2625" y="1322"/>
                </a:cubicBezTo>
                <a:cubicBezTo>
                  <a:pt x="2624" y="1316"/>
                  <a:pt x="2617" y="1312"/>
                  <a:pt x="2608" y="1312"/>
                </a:cubicBezTo>
                <a:cubicBezTo>
                  <a:pt x="2608" y="1312"/>
                  <a:pt x="2608" y="1312"/>
                  <a:pt x="2608" y="1312"/>
                </a:cubicBezTo>
                <a:moveTo>
                  <a:pt x="2654" y="1311"/>
                </a:moveTo>
                <a:cubicBezTo>
                  <a:pt x="2645" y="1311"/>
                  <a:pt x="2638" y="1316"/>
                  <a:pt x="2639" y="1322"/>
                </a:cubicBezTo>
                <a:cubicBezTo>
                  <a:pt x="2639" y="1327"/>
                  <a:pt x="2646" y="1332"/>
                  <a:pt x="2656" y="1332"/>
                </a:cubicBezTo>
                <a:cubicBezTo>
                  <a:pt x="2665" y="1332"/>
                  <a:pt x="2672" y="1327"/>
                  <a:pt x="2671" y="1322"/>
                </a:cubicBezTo>
                <a:cubicBezTo>
                  <a:pt x="2671" y="1316"/>
                  <a:pt x="2663" y="1311"/>
                  <a:pt x="2654" y="1311"/>
                </a:cubicBezTo>
                <a:cubicBezTo>
                  <a:pt x="2654" y="1311"/>
                  <a:pt x="2654" y="1311"/>
                  <a:pt x="2654" y="1311"/>
                </a:cubicBezTo>
                <a:moveTo>
                  <a:pt x="2701" y="1311"/>
                </a:moveTo>
                <a:cubicBezTo>
                  <a:pt x="2692" y="1311"/>
                  <a:pt x="2685" y="1316"/>
                  <a:pt x="2686" y="1322"/>
                </a:cubicBezTo>
                <a:cubicBezTo>
                  <a:pt x="2686" y="1327"/>
                  <a:pt x="2694" y="1332"/>
                  <a:pt x="2703" y="1332"/>
                </a:cubicBezTo>
                <a:cubicBezTo>
                  <a:pt x="2712" y="1332"/>
                  <a:pt x="2719" y="1327"/>
                  <a:pt x="2719" y="1322"/>
                </a:cubicBezTo>
                <a:cubicBezTo>
                  <a:pt x="2718" y="1316"/>
                  <a:pt x="2710" y="1311"/>
                  <a:pt x="2701" y="1311"/>
                </a:cubicBezTo>
                <a:cubicBezTo>
                  <a:pt x="2701" y="1311"/>
                  <a:pt x="2701" y="1311"/>
                  <a:pt x="2701" y="1311"/>
                </a:cubicBezTo>
                <a:moveTo>
                  <a:pt x="2746" y="1311"/>
                </a:moveTo>
                <a:cubicBezTo>
                  <a:pt x="2737" y="1311"/>
                  <a:pt x="2730" y="1316"/>
                  <a:pt x="2731" y="1321"/>
                </a:cubicBezTo>
                <a:cubicBezTo>
                  <a:pt x="2731" y="1327"/>
                  <a:pt x="2739" y="1332"/>
                  <a:pt x="2748" y="1332"/>
                </a:cubicBezTo>
                <a:cubicBezTo>
                  <a:pt x="2757" y="1332"/>
                  <a:pt x="2764" y="1327"/>
                  <a:pt x="2764" y="1321"/>
                </a:cubicBezTo>
                <a:cubicBezTo>
                  <a:pt x="2763" y="1316"/>
                  <a:pt x="2755" y="1311"/>
                  <a:pt x="2746" y="1311"/>
                </a:cubicBezTo>
                <a:cubicBezTo>
                  <a:pt x="2746" y="1311"/>
                  <a:pt x="2746" y="1311"/>
                  <a:pt x="2746" y="1311"/>
                </a:cubicBezTo>
                <a:moveTo>
                  <a:pt x="4751" y="1303"/>
                </a:moveTo>
                <a:cubicBezTo>
                  <a:pt x="4742" y="1303"/>
                  <a:pt x="4738" y="1308"/>
                  <a:pt x="4742" y="1314"/>
                </a:cubicBezTo>
                <a:cubicBezTo>
                  <a:pt x="4746" y="1319"/>
                  <a:pt x="4756" y="1324"/>
                  <a:pt x="4765" y="1324"/>
                </a:cubicBezTo>
                <a:cubicBezTo>
                  <a:pt x="4775" y="1324"/>
                  <a:pt x="4778" y="1319"/>
                  <a:pt x="4774" y="1313"/>
                </a:cubicBezTo>
                <a:cubicBezTo>
                  <a:pt x="4770" y="1308"/>
                  <a:pt x="4760" y="1303"/>
                  <a:pt x="4751" y="1303"/>
                </a:cubicBezTo>
                <a:cubicBezTo>
                  <a:pt x="4751" y="1303"/>
                  <a:pt x="4751" y="1303"/>
                  <a:pt x="4751" y="1303"/>
                </a:cubicBezTo>
                <a:moveTo>
                  <a:pt x="4798" y="1303"/>
                </a:moveTo>
                <a:cubicBezTo>
                  <a:pt x="4789" y="1303"/>
                  <a:pt x="4785" y="1308"/>
                  <a:pt x="4789" y="1313"/>
                </a:cubicBezTo>
                <a:cubicBezTo>
                  <a:pt x="4793" y="1319"/>
                  <a:pt x="4804" y="1324"/>
                  <a:pt x="4813" y="1324"/>
                </a:cubicBezTo>
                <a:cubicBezTo>
                  <a:pt x="4822" y="1324"/>
                  <a:pt x="4826" y="1319"/>
                  <a:pt x="4822" y="1313"/>
                </a:cubicBezTo>
                <a:cubicBezTo>
                  <a:pt x="4817" y="1308"/>
                  <a:pt x="4807" y="1303"/>
                  <a:pt x="4798" y="1303"/>
                </a:cubicBezTo>
                <a:cubicBezTo>
                  <a:pt x="4798" y="1303"/>
                  <a:pt x="4798" y="1303"/>
                  <a:pt x="4798" y="1303"/>
                </a:cubicBezTo>
                <a:moveTo>
                  <a:pt x="4941" y="1303"/>
                </a:moveTo>
                <a:cubicBezTo>
                  <a:pt x="4932" y="1303"/>
                  <a:pt x="4928" y="1307"/>
                  <a:pt x="4932" y="1313"/>
                </a:cubicBezTo>
                <a:cubicBezTo>
                  <a:pt x="4937" y="1319"/>
                  <a:pt x="4948" y="1323"/>
                  <a:pt x="4957" y="1323"/>
                </a:cubicBezTo>
                <a:cubicBezTo>
                  <a:pt x="4966" y="1323"/>
                  <a:pt x="4969" y="1319"/>
                  <a:pt x="4965" y="1313"/>
                </a:cubicBezTo>
                <a:cubicBezTo>
                  <a:pt x="4961" y="1307"/>
                  <a:pt x="4950" y="1303"/>
                  <a:pt x="4941" y="1303"/>
                </a:cubicBezTo>
                <a:cubicBezTo>
                  <a:pt x="4941" y="1303"/>
                  <a:pt x="4941" y="1303"/>
                  <a:pt x="4941" y="1303"/>
                </a:cubicBezTo>
                <a:moveTo>
                  <a:pt x="248" y="1285"/>
                </a:moveTo>
                <a:cubicBezTo>
                  <a:pt x="239" y="1285"/>
                  <a:pt x="228" y="1289"/>
                  <a:pt x="225" y="1295"/>
                </a:cubicBezTo>
                <a:cubicBezTo>
                  <a:pt x="221" y="1300"/>
                  <a:pt x="225" y="1305"/>
                  <a:pt x="234" y="1305"/>
                </a:cubicBezTo>
                <a:cubicBezTo>
                  <a:pt x="243" y="1305"/>
                  <a:pt x="253" y="1300"/>
                  <a:pt x="257" y="1295"/>
                </a:cubicBezTo>
                <a:cubicBezTo>
                  <a:pt x="261" y="1289"/>
                  <a:pt x="257" y="1285"/>
                  <a:pt x="248" y="1285"/>
                </a:cubicBezTo>
                <a:cubicBezTo>
                  <a:pt x="248" y="1285"/>
                  <a:pt x="248" y="1285"/>
                  <a:pt x="248" y="1285"/>
                </a:cubicBezTo>
                <a:moveTo>
                  <a:pt x="294" y="1285"/>
                </a:moveTo>
                <a:cubicBezTo>
                  <a:pt x="285" y="1285"/>
                  <a:pt x="275" y="1289"/>
                  <a:pt x="271" y="1295"/>
                </a:cubicBezTo>
                <a:cubicBezTo>
                  <a:pt x="267" y="1300"/>
                  <a:pt x="271" y="1305"/>
                  <a:pt x="280" y="1305"/>
                </a:cubicBezTo>
                <a:cubicBezTo>
                  <a:pt x="289" y="1305"/>
                  <a:pt x="300" y="1300"/>
                  <a:pt x="303" y="1295"/>
                </a:cubicBezTo>
                <a:cubicBezTo>
                  <a:pt x="307" y="1289"/>
                  <a:pt x="303" y="1285"/>
                  <a:pt x="294" y="1285"/>
                </a:cubicBezTo>
                <a:cubicBezTo>
                  <a:pt x="294" y="1285"/>
                  <a:pt x="294" y="1285"/>
                  <a:pt x="294" y="1285"/>
                </a:cubicBezTo>
                <a:moveTo>
                  <a:pt x="340" y="1284"/>
                </a:moveTo>
                <a:cubicBezTo>
                  <a:pt x="331" y="1284"/>
                  <a:pt x="321" y="1289"/>
                  <a:pt x="317" y="1295"/>
                </a:cubicBezTo>
                <a:cubicBezTo>
                  <a:pt x="313" y="1300"/>
                  <a:pt x="317" y="1305"/>
                  <a:pt x="326" y="1305"/>
                </a:cubicBezTo>
                <a:cubicBezTo>
                  <a:pt x="335" y="1305"/>
                  <a:pt x="346" y="1300"/>
                  <a:pt x="350" y="1295"/>
                </a:cubicBezTo>
                <a:cubicBezTo>
                  <a:pt x="353" y="1289"/>
                  <a:pt x="349" y="1284"/>
                  <a:pt x="340" y="1284"/>
                </a:cubicBezTo>
                <a:cubicBezTo>
                  <a:pt x="340" y="1284"/>
                  <a:pt x="340" y="1284"/>
                  <a:pt x="340" y="1284"/>
                </a:cubicBezTo>
                <a:moveTo>
                  <a:pt x="387" y="1284"/>
                </a:moveTo>
                <a:cubicBezTo>
                  <a:pt x="378" y="1284"/>
                  <a:pt x="367" y="1289"/>
                  <a:pt x="364" y="1295"/>
                </a:cubicBezTo>
                <a:cubicBezTo>
                  <a:pt x="360" y="1300"/>
                  <a:pt x="364" y="1305"/>
                  <a:pt x="373" y="1305"/>
                </a:cubicBezTo>
                <a:cubicBezTo>
                  <a:pt x="382" y="1305"/>
                  <a:pt x="392" y="1300"/>
                  <a:pt x="396" y="1294"/>
                </a:cubicBezTo>
                <a:cubicBezTo>
                  <a:pt x="400" y="1289"/>
                  <a:pt x="395" y="1284"/>
                  <a:pt x="387" y="1284"/>
                </a:cubicBezTo>
                <a:cubicBezTo>
                  <a:pt x="387" y="1284"/>
                  <a:pt x="387" y="1284"/>
                  <a:pt x="387" y="1284"/>
                </a:cubicBezTo>
                <a:moveTo>
                  <a:pt x="434" y="1284"/>
                </a:moveTo>
                <a:cubicBezTo>
                  <a:pt x="425" y="1284"/>
                  <a:pt x="415" y="1289"/>
                  <a:pt x="411" y="1294"/>
                </a:cubicBezTo>
                <a:cubicBezTo>
                  <a:pt x="408" y="1300"/>
                  <a:pt x="412" y="1305"/>
                  <a:pt x="421" y="1305"/>
                </a:cubicBezTo>
                <a:cubicBezTo>
                  <a:pt x="430" y="1305"/>
                  <a:pt x="440" y="1300"/>
                  <a:pt x="444" y="1294"/>
                </a:cubicBezTo>
                <a:cubicBezTo>
                  <a:pt x="447" y="1289"/>
                  <a:pt x="443" y="1284"/>
                  <a:pt x="434" y="1284"/>
                </a:cubicBezTo>
                <a:cubicBezTo>
                  <a:pt x="434" y="1284"/>
                  <a:pt x="434" y="1284"/>
                  <a:pt x="434" y="1284"/>
                </a:cubicBezTo>
                <a:moveTo>
                  <a:pt x="480" y="1284"/>
                </a:moveTo>
                <a:cubicBezTo>
                  <a:pt x="471" y="1284"/>
                  <a:pt x="461" y="1289"/>
                  <a:pt x="458" y="1294"/>
                </a:cubicBezTo>
                <a:cubicBezTo>
                  <a:pt x="454" y="1300"/>
                  <a:pt x="458" y="1304"/>
                  <a:pt x="467" y="1304"/>
                </a:cubicBezTo>
                <a:cubicBezTo>
                  <a:pt x="476" y="1304"/>
                  <a:pt x="487" y="1300"/>
                  <a:pt x="490" y="1294"/>
                </a:cubicBezTo>
                <a:cubicBezTo>
                  <a:pt x="494" y="1289"/>
                  <a:pt x="489" y="1284"/>
                  <a:pt x="480" y="1284"/>
                </a:cubicBezTo>
                <a:cubicBezTo>
                  <a:pt x="480" y="1284"/>
                  <a:pt x="480" y="1284"/>
                  <a:pt x="480" y="1284"/>
                </a:cubicBezTo>
                <a:moveTo>
                  <a:pt x="527" y="1284"/>
                </a:moveTo>
                <a:cubicBezTo>
                  <a:pt x="518" y="1284"/>
                  <a:pt x="508" y="1289"/>
                  <a:pt x="504" y="1294"/>
                </a:cubicBezTo>
                <a:cubicBezTo>
                  <a:pt x="501" y="1300"/>
                  <a:pt x="505" y="1304"/>
                  <a:pt x="514" y="1304"/>
                </a:cubicBezTo>
                <a:cubicBezTo>
                  <a:pt x="523" y="1304"/>
                  <a:pt x="533" y="1300"/>
                  <a:pt x="537" y="1294"/>
                </a:cubicBezTo>
                <a:cubicBezTo>
                  <a:pt x="540" y="1289"/>
                  <a:pt x="536" y="1284"/>
                  <a:pt x="527" y="1284"/>
                </a:cubicBezTo>
                <a:cubicBezTo>
                  <a:pt x="527" y="1284"/>
                  <a:pt x="527" y="1284"/>
                  <a:pt x="527" y="1284"/>
                </a:cubicBezTo>
                <a:moveTo>
                  <a:pt x="573" y="1284"/>
                </a:moveTo>
                <a:cubicBezTo>
                  <a:pt x="564" y="1284"/>
                  <a:pt x="554" y="1289"/>
                  <a:pt x="551" y="1294"/>
                </a:cubicBezTo>
                <a:cubicBezTo>
                  <a:pt x="548" y="1300"/>
                  <a:pt x="552" y="1304"/>
                  <a:pt x="561" y="1304"/>
                </a:cubicBezTo>
                <a:cubicBezTo>
                  <a:pt x="570" y="1304"/>
                  <a:pt x="580" y="1300"/>
                  <a:pt x="584" y="1294"/>
                </a:cubicBezTo>
                <a:cubicBezTo>
                  <a:pt x="587" y="1288"/>
                  <a:pt x="582" y="1284"/>
                  <a:pt x="573" y="1284"/>
                </a:cubicBezTo>
                <a:cubicBezTo>
                  <a:pt x="573" y="1284"/>
                  <a:pt x="573" y="1284"/>
                  <a:pt x="573" y="1284"/>
                </a:cubicBezTo>
                <a:moveTo>
                  <a:pt x="619" y="1284"/>
                </a:moveTo>
                <a:cubicBezTo>
                  <a:pt x="610" y="1284"/>
                  <a:pt x="600" y="1288"/>
                  <a:pt x="597" y="1294"/>
                </a:cubicBezTo>
                <a:cubicBezTo>
                  <a:pt x="594" y="1300"/>
                  <a:pt x="598" y="1304"/>
                  <a:pt x="607" y="1304"/>
                </a:cubicBezTo>
                <a:cubicBezTo>
                  <a:pt x="616" y="1304"/>
                  <a:pt x="626" y="1300"/>
                  <a:pt x="630" y="1294"/>
                </a:cubicBezTo>
                <a:cubicBezTo>
                  <a:pt x="633" y="1288"/>
                  <a:pt x="628" y="1284"/>
                  <a:pt x="619" y="1284"/>
                </a:cubicBezTo>
                <a:cubicBezTo>
                  <a:pt x="619" y="1284"/>
                  <a:pt x="619" y="1284"/>
                  <a:pt x="619" y="1284"/>
                </a:cubicBezTo>
                <a:moveTo>
                  <a:pt x="666" y="1284"/>
                </a:moveTo>
                <a:cubicBezTo>
                  <a:pt x="657" y="1284"/>
                  <a:pt x="647" y="1288"/>
                  <a:pt x="644" y="1294"/>
                </a:cubicBezTo>
                <a:cubicBezTo>
                  <a:pt x="640" y="1300"/>
                  <a:pt x="645" y="1304"/>
                  <a:pt x="654" y="1304"/>
                </a:cubicBezTo>
                <a:cubicBezTo>
                  <a:pt x="663" y="1304"/>
                  <a:pt x="673" y="1299"/>
                  <a:pt x="676" y="1294"/>
                </a:cubicBezTo>
                <a:cubicBezTo>
                  <a:pt x="679" y="1288"/>
                  <a:pt x="675" y="1284"/>
                  <a:pt x="666" y="1284"/>
                </a:cubicBezTo>
                <a:cubicBezTo>
                  <a:pt x="666" y="1284"/>
                  <a:pt x="666" y="1284"/>
                  <a:pt x="666" y="1284"/>
                </a:cubicBezTo>
                <a:moveTo>
                  <a:pt x="712" y="1284"/>
                </a:moveTo>
                <a:cubicBezTo>
                  <a:pt x="703" y="1284"/>
                  <a:pt x="693" y="1288"/>
                  <a:pt x="690" y="1294"/>
                </a:cubicBezTo>
                <a:cubicBezTo>
                  <a:pt x="686" y="1299"/>
                  <a:pt x="691" y="1304"/>
                  <a:pt x="700" y="1304"/>
                </a:cubicBezTo>
                <a:cubicBezTo>
                  <a:pt x="709" y="1304"/>
                  <a:pt x="719" y="1299"/>
                  <a:pt x="722" y="1294"/>
                </a:cubicBezTo>
                <a:cubicBezTo>
                  <a:pt x="725" y="1288"/>
                  <a:pt x="721" y="1284"/>
                  <a:pt x="712" y="1284"/>
                </a:cubicBezTo>
                <a:cubicBezTo>
                  <a:pt x="712" y="1284"/>
                  <a:pt x="712" y="1284"/>
                  <a:pt x="712" y="1284"/>
                </a:cubicBezTo>
                <a:moveTo>
                  <a:pt x="758" y="1283"/>
                </a:moveTo>
                <a:cubicBezTo>
                  <a:pt x="749" y="1284"/>
                  <a:pt x="739" y="1288"/>
                  <a:pt x="736" y="1294"/>
                </a:cubicBezTo>
                <a:cubicBezTo>
                  <a:pt x="733" y="1299"/>
                  <a:pt x="738" y="1304"/>
                  <a:pt x="747" y="1304"/>
                </a:cubicBezTo>
                <a:cubicBezTo>
                  <a:pt x="756" y="1304"/>
                  <a:pt x="766" y="1299"/>
                  <a:pt x="769" y="1294"/>
                </a:cubicBezTo>
                <a:cubicBezTo>
                  <a:pt x="772" y="1288"/>
                  <a:pt x="767" y="1283"/>
                  <a:pt x="758" y="1283"/>
                </a:cubicBezTo>
                <a:cubicBezTo>
                  <a:pt x="758" y="1283"/>
                  <a:pt x="758" y="1283"/>
                  <a:pt x="758" y="1283"/>
                </a:cubicBezTo>
                <a:moveTo>
                  <a:pt x="805" y="1283"/>
                </a:moveTo>
                <a:cubicBezTo>
                  <a:pt x="796" y="1283"/>
                  <a:pt x="786" y="1288"/>
                  <a:pt x="783" y="1294"/>
                </a:cubicBezTo>
                <a:cubicBezTo>
                  <a:pt x="780" y="1299"/>
                  <a:pt x="785" y="1304"/>
                  <a:pt x="794" y="1304"/>
                </a:cubicBezTo>
                <a:cubicBezTo>
                  <a:pt x="803" y="1304"/>
                  <a:pt x="813" y="1299"/>
                  <a:pt x="816" y="1294"/>
                </a:cubicBezTo>
                <a:cubicBezTo>
                  <a:pt x="818" y="1288"/>
                  <a:pt x="814" y="1283"/>
                  <a:pt x="805" y="1283"/>
                </a:cubicBezTo>
                <a:cubicBezTo>
                  <a:pt x="805" y="1283"/>
                  <a:pt x="805" y="1283"/>
                  <a:pt x="805" y="1283"/>
                </a:cubicBezTo>
                <a:moveTo>
                  <a:pt x="851" y="1283"/>
                </a:moveTo>
                <a:cubicBezTo>
                  <a:pt x="842" y="1283"/>
                  <a:pt x="832" y="1288"/>
                  <a:pt x="829" y="1293"/>
                </a:cubicBezTo>
                <a:cubicBezTo>
                  <a:pt x="826" y="1299"/>
                  <a:pt x="831" y="1304"/>
                  <a:pt x="840" y="1304"/>
                </a:cubicBezTo>
                <a:cubicBezTo>
                  <a:pt x="849" y="1304"/>
                  <a:pt x="859" y="1299"/>
                  <a:pt x="862" y="1293"/>
                </a:cubicBezTo>
                <a:cubicBezTo>
                  <a:pt x="865" y="1288"/>
                  <a:pt x="860" y="1283"/>
                  <a:pt x="851" y="1283"/>
                </a:cubicBezTo>
                <a:cubicBezTo>
                  <a:pt x="851" y="1283"/>
                  <a:pt x="851" y="1283"/>
                  <a:pt x="851" y="1283"/>
                </a:cubicBezTo>
                <a:moveTo>
                  <a:pt x="897" y="1283"/>
                </a:moveTo>
                <a:cubicBezTo>
                  <a:pt x="888" y="1283"/>
                  <a:pt x="878" y="1288"/>
                  <a:pt x="876" y="1293"/>
                </a:cubicBezTo>
                <a:cubicBezTo>
                  <a:pt x="873" y="1299"/>
                  <a:pt x="878" y="1304"/>
                  <a:pt x="887" y="1303"/>
                </a:cubicBezTo>
                <a:cubicBezTo>
                  <a:pt x="896" y="1303"/>
                  <a:pt x="905" y="1299"/>
                  <a:pt x="908" y="1293"/>
                </a:cubicBezTo>
                <a:cubicBezTo>
                  <a:pt x="911" y="1288"/>
                  <a:pt x="906" y="1283"/>
                  <a:pt x="897" y="1283"/>
                </a:cubicBezTo>
                <a:cubicBezTo>
                  <a:pt x="897" y="1283"/>
                  <a:pt x="897" y="1283"/>
                  <a:pt x="897" y="1283"/>
                </a:cubicBezTo>
                <a:moveTo>
                  <a:pt x="943" y="1283"/>
                </a:moveTo>
                <a:cubicBezTo>
                  <a:pt x="934" y="1283"/>
                  <a:pt x="924" y="1288"/>
                  <a:pt x="922" y="1293"/>
                </a:cubicBezTo>
                <a:cubicBezTo>
                  <a:pt x="919" y="1299"/>
                  <a:pt x="924" y="1303"/>
                  <a:pt x="933" y="1303"/>
                </a:cubicBezTo>
                <a:cubicBezTo>
                  <a:pt x="942" y="1303"/>
                  <a:pt x="951" y="1299"/>
                  <a:pt x="954" y="1293"/>
                </a:cubicBezTo>
                <a:cubicBezTo>
                  <a:pt x="957" y="1288"/>
                  <a:pt x="952" y="1283"/>
                  <a:pt x="943" y="1283"/>
                </a:cubicBezTo>
                <a:cubicBezTo>
                  <a:pt x="943" y="1283"/>
                  <a:pt x="943" y="1283"/>
                  <a:pt x="943" y="1283"/>
                </a:cubicBezTo>
                <a:moveTo>
                  <a:pt x="989" y="1283"/>
                </a:moveTo>
                <a:cubicBezTo>
                  <a:pt x="980" y="1283"/>
                  <a:pt x="971" y="1288"/>
                  <a:pt x="968" y="1293"/>
                </a:cubicBezTo>
                <a:cubicBezTo>
                  <a:pt x="966" y="1299"/>
                  <a:pt x="971" y="1303"/>
                  <a:pt x="980" y="1303"/>
                </a:cubicBezTo>
                <a:cubicBezTo>
                  <a:pt x="989" y="1303"/>
                  <a:pt x="998" y="1299"/>
                  <a:pt x="1001" y="1293"/>
                </a:cubicBezTo>
                <a:cubicBezTo>
                  <a:pt x="1003" y="1287"/>
                  <a:pt x="998" y="1283"/>
                  <a:pt x="989" y="1283"/>
                </a:cubicBezTo>
                <a:cubicBezTo>
                  <a:pt x="989" y="1283"/>
                  <a:pt x="989" y="1283"/>
                  <a:pt x="989" y="1283"/>
                </a:cubicBezTo>
                <a:moveTo>
                  <a:pt x="2190" y="1283"/>
                </a:moveTo>
                <a:cubicBezTo>
                  <a:pt x="2181" y="1283"/>
                  <a:pt x="2173" y="1288"/>
                  <a:pt x="2173" y="1293"/>
                </a:cubicBezTo>
                <a:cubicBezTo>
                  <a:pt x="2172" y="1299"/>
                  <a:pt x="2179" y="1303"/>
                  <a:pt x="2188" y="1303"/>
                </a:cubicBezTo>
                <a:cubicBezTo>
                  <a:pt x="2197" y="1303"/>
                  <a:pt x="2205" y="1299"/>
                  <a:pt x="2205" y="1293"/>
                </a:cubicBezTo>
                <a:cubicBezTo>
                  <a:pt x="2205" y="1287"/>
                  <a:pt x="2199" y="1283"/>
                  <a:pt x="2190" y="1283"/>
                </a:cubicBezTo>
                <a:cubicBezTo>
                  <a:pt x="2190" y="1283"/>
                  <a:pt x="2190" y="1283"/>
                  <a:pt x="2190" y="1283"/>
                </a:cubicBezTo>
                <a:moveTo>
                  <a:pt x="1036" y="1283"/>
                </a:moveTo>
                <a:cubicBezTo>
                  <a:pt x="1027" y="1283"/>
                  <a:pt x="1018" y="1287"/>
                  <a:pt x="1015" y="1293"/>
                </a:cubicBezTo>
                <a:cubicBezTo>
                  <a:pt x="1013" y="1299"/>
                  <a:pt x="1018" y="1303"/>
                  <a:pt x="1027" y="1303"/>
                </a:cubicBezTo>
                <a:cubicBezTo>
                  <a:pt x="1036" y="1303"/>
                  <a:pt x="1045" y="1299"/>
                  <a:pt x="1048" y="1293"/>
                </a:cubicBezTo>
                <a:cubicBezTo>
                  <a:pt x="1050" y="1287"/>
                  <a:pt x="1045" y="1283"/>
                  <a:pt x="1036" y="1283"/>
                </a:cubicBezTo>
                <a:cubicBezTo>
                  <a:pt x="1036" y="1283"/>
                  <a:pt x="1036" y="1283"/>
                  <a:pt x="1036" y="1283"/>
                </a:cubicBezTo>
                <a:moveTo>
                  <a:pt x="2236" y="1283"/>
                </a:moveTo>
                <a:cubicBezTo>
                  <a:pt x="2227" y="1283"/>
                  <a:pt x="2219" y="1287"/>
                  <a:pt x="2219" y="1293"/>
                </a:cubicBezTo>
                <a:cubicBezTo>
                  <a:pt x="2218" y="1299"/>
                  <a:pt x="2225" y="1303"/>
                  <a:pt x="2234" y="1303"/>
                </a:cubicBezTo>
                <a:cubicBezTo>
                  <a:pt x="2243" y="1303"/>
                  <a:pt x="2251" y="1299"/>
                  <a:pt x="2251" y="1293"/>
                </a:cubicBezTo>
                <a:cubicBezTo>
                  <a:pt x="2251" y="1287"/>
                  <a:pt x="2245" y="1283"/>
                  <a:pt x="2236" y="1283"/>
                </a:cubicBezTo>
                <a:cubicBezTo>
                  <a:pt x="2236" y="1283"/>
                  <a:pt x="2236" y="1283"/>
                  <a:pt x="2236" y="1283"/>
                </a:cubicBezTo>
                <a:moveTo>
                  <a:pt x="1078" y="1283"/>
                </a:moveTo>
                <a:cubicBezTo>
                  <a:pt x="1069" y="1283"/>
                  <a:pt x="1060" y="1287"/>
                  <a:pt x="1057" y="1293"/>
                </a:cubicBezTo>
                <a:cubicBezTo>
                  <a:pt x="1055" y="1299"/>
                  <a:pt x="1060" y="1303"/>
                  <a:pt x="1069" y="1303"/>
                </a:cubicBezTo>
                <a:cubicBezTo>
                  <a:pt x="1078" y="1303"/>
                  <a:pt x="1087" y="1299"/>
                  <a:pt x="1090" y="1293"/>
                </a:cubicBezTo>
                <a:cubicBezTo>
                  <a:pt x="1092" y="1287"/>
                  <a:pt x="1087" y="1283"/>
                  <a:pt x="1078" y="1283"/>
                </a:cubicBezTo>
                <a:cubicBezTo>
                  <a:pt x="1078" y="1283"/>
                  <a:pt x="1078" y="1283"/>
                  <a:pt x="1078" y="1283"/>
                </a:cubicBezTo>
                <a:moveTo>
                  <a:pt x="2282" y="1283"/>
                </a:moveTo>
                <a:cubicBezTo>
                  <a:pt x="2273" y="1283"/>
                  <a:pt x="2266" y="1287"/>
                  <a:pt x="2265" y="1293"/>
                </a:cubicBezTo>
                <a:cubicBezTo>
                  <a:pt x="2265" y="1299"/>
                  <a:pt x="2272" y="1303"/>
                  <a:pt x="2281" y="1303"/>
                </a:cubicBezTo>
                <a:cubicBezTo>
                  <a:pt x="2290" y="1303"/>
                  <a:pt x="2297" y="1299"/>
                  <a:pt x="2298" y="1293"/>
                </a:cubicBezTo>
                <a:cubicBezTo>
                  <a:pt x="2298" y="1287"/>
                  <a:pt x="2291" y="1283"/>
                  <a:pt x="2282" y="1283"/>
                </a:cubicBezTo>
                <a:cubicBezTo>
                  <a:pt x="2282" y="1283"/>
                  <a:pt x="2282" y="1283"/>
                  <a:pt x="2282" y="1283"/>
                </a:cubicBezTo>
                <a:moveTo>
                  <a:pt x="1128" y="1283"/>
                </a:moveTo>
                <a:cubicBezTo>
                  <a:pt x="1119" y="1283"/>
                  <a:pt x="1110" y="1287"/>
                  <a:pt x="1107" y="1293"/>
                </a:cubicBezTo>
                <a:cubicBezTo>
                  <a:pt x="1105" y="1298"/>
                  <a:pt x="1110" y="1303"/>
                  <a:pt x="1119" y="1303"/>
                </a:cubicBezTo>
                <a:cubicBezTo>
                  <a:pt x="1128" y="1303"/>
                  <a:pt x="1138" y="1298"/>
                  <a:pt x="1140" y="1293"/>
                </a:cubicBezTo>
                <a:cubicBezTo>
                  <a:pt x="1142" y="1287"/>
                  <a:pt x="1137" y="1283"/>
                  <a:pt x="1128" y="1283"/>
                </a:cubicBezTo>
                <a:cubicBezTo>
                  <a:pt x="1128" y="1283"/>
                  <a:pt x="1128" y="1283"/>
                  <a:pt x="1128" y="1283"/>
                </a:cubicBezTo>
                <a:moveTo>
                  <a:pt x="2328" y="1283"/>
                </a:moveTo>
                <a:cubicBezTo>
                  <a:pt x="2319" y="1283"/>
                  <a:pt x="2311" y="1287"/>
                  <a:pt x="2311" y="1293"/>
                </a:cubicBezTo>
                <a:cubicBezTo>
                  <a:pt x="2311" y="1299"/>
                  <a:pt x="2318" y="1303"/>
                  <a:pt x="2327" y="1303"/>
                </a:cubicBezTo>
                <a:cubicBezTo>
                  <a:pt x="2336" y="1303"/>
                  <a:pt x="2343" y="1298"/>
                  <a:pt x="2343" y="1293"/>
                </a:cubicBezTo>
                <a:cubicBezTo>
                  <a:pt x="2344" y="1287"/>
                  <a:pt x="2337" y="1283"/>
                  <a:pt x="2328" y="1283"/>
                </a:cubicBezTo>
                <a:cubicBezTo>
                  <a:pt x="2328" y="1283"/>
                  <a:pt x="2328" y="1283"/>
                  <a:pt x="2328" y="1283"/>
                </a:cubicBezTo>
                <a:moveTo>
                  <a:pt x="2374" y="1283"/>
                </a:moveTo>
                <a:cubicBezTo>
                  <a:pt x="2365" y="1283"/>
                  <a:pt x="2357" y="1287"/>
                  <a:pt x="2357" y="1293"/>
                </a:cubicBezTo>
                <a:cubicBezTo>
                  <a:pt x="2357" y="1298"/>
                  <a:pt x="2364" y="1303"/>
                  <a:pt x="2373" y="1303"/>
                </a:cubicBezTo>
                <a:cubicBezTo>
                  <a:pt x="2382" y="1303"/>
                  <a:pt x="2389" y="1298"/>
                  <a:pt x="2389" y="1293"/>
                </a:cubicBezTo>
                <a:cubicBezTo>
                  <a:pt x="2390" y="1287"/>
                  <a:pt x="2382" y="1283"/>
                  <a:pt x="2374" y="1283"/>
                </a:cubicBezTo>
                <a:cubicBezTo>
                  <a:pt x="2374" y="1283"/>
                  <a:pt x="2374" y="1283"/>
                  <a:pt x="2374" y="1283"/>
                </a:cubicBezTo>
                <a:moveTo>
                  <a:pt x="2420" y="1282"/>
                </a:moveTo>
                <a:cubicBezTo>
                  <a:pt x="2411" y="1282"/>
                  <a:pt x="2404" y="1287"/>
                  <a:pt x="2403" y="1293"/>
                </a:cubicBezTo>
                <a:cubicBezTo>
                  <a:pt x="2403" y="1298"/>
                  <a:pt x="2411" y="1303"/>
                  <a:pt x="2420" y="1303"/>
                </a:cubicBezTo>
                <a:cubicBezTo>
                  <a:pt x="2429" y="1303"/>
                  <a:pt x="2436" y="1298"/>
                  <a:pt x="2436" y="1293"/>
                </a:cubicBezTo>
                <a:cubicBezTo>
                  <a:pt x="2436" y="1287"/>
                  <a:pt x="2429" y="1282"/>
                  <a:pt x="2420" y="1282"/>
                </a:cubicBezTo>
                <a:cubicBezTo>
                  <a:pt x="2420" y="1282"/>
                  <a:pt x="2420" y="1282"/>
                  <a:pt x="2420" y="1282"/>
                </a:cubicBezTo>
                <a:moveTo>
                  <a:pt x="2468" y="1282"/>
                </a:moveTo>
                <a:cubicBezTo>
                  <a:pt x="2459" y="1282"/>
                  <a:pt x="2451" y="1287"/>
                  <a:pt x="2451" y="1293"/>
                </a:cubicBezTo>
                <a:cubicBezTo>
                  <a:pt x="2451" y="1298"/>
                  <a:pt x="2459" y="1303"/>
                  <a:pt x="2468" y="1303"/>
                </a:cubicBezTo>
                <a:cubicBezTo>
                  <a:pt x="2477" y="1303"/>
                  <a:pt x="2484" y="1298"/>
                  <a:pt x="2484" y="1292"/>
                </a:cubicBezTo>
                <a:cubicBezTo>
                  <a:pt x="2484" y="1287"/>
                  <a:pt x="2477" y="1282"/>
                  <a:pt x="2468" y="1282"/>
                </a:cubicBezTo>
                <a:cubicBezTo>
                  <a:pt x="2468" y="1282"/>
                  <a:pt x="2468" y="1282"/>
                  <a:pt x="2468" y="1282"/>
                </a:cubicBezTo>
                <a:moveTo>
                  <a:pt x="2514" y="1282"/>
                </a:moveTo>
                <a:cubicBezTo>
                  <a:pt x="2505" y="1282"/>
                  <a:pt x="2497" y="1287"/>
                  <a:pt x="2497" y="1292"/>
                </a:cubicBezTo>
                <a:cubicBezTo>
                  <a:pt x="2498" y="1298"/>
                  <a:pt x="2505" y="1303"/>
                  <a:pt x="2514" y="1303"/>
                </a:cubicBezTo>
                <a:cubicBezTo>
                  <a:pt x="2523" y="1303"/>
                  <a:pt x="2530" y="1298"/>
                  <a:pt x="2530" y="1292"/>
                </a:cubicBezTo>
                <a:cubicBezTo>
                  <a:pt x="2530" y="1287"/>
                  <a:pt x="2522" y="1282"/>
                  <a:pt x="2514" y="1282"/>
                </a:cubicBezTo>
                <a:cubicBezTo>
                  <a:pt x="2514" y="1282"/>
                  <a:pt x="2514" y="1282"/>
                  <a:pt x="2514" y="1282"/>
                </a:cubicBezTo>
                <a:moveTo>
                  <a:pt x="2560" y="1282"/>
                </a:moveTo>
                <a:cubicBezTo>
                  <a:pt x="2551" y="1282"/>
                  <a:pt x="2544" y="1287"/>
                  <a:pt x="2544" y="1292"/>
                </a:cubicBezTo>
                <a:cubicBezTo>
                  <a:pt x="2544" y="1298"/>
                  <a:pt x="2552" y="1303"/>
                  <a:pt x="2560" y="1303"/>
                </a:cubicBezTo>
                <a:cubicBezTo>
                  <a:pt x="2569" y="1303"/>
                  <a:pt x="2577" y="1298"/>
                  <a:pt x="2576" y="1292"/>
                </a:cubicBezTo>
                <a:cubicBezTo>
                  <a:pt x="2576" y="1287"/>
                  <a:pt x="2569" y="1282"/>
                  <a:pt x="2560" y="1282"/>
                </a:cubicBezTo>
                <a:cubicBezTo>
                  <a:pt x="2560" y="1282"/>
                  <a:pt x="2560" y="1282"/>
                  <a:pt x="2560" y="1282"/>
                </a:cubicBezTo>
                <a:moveTo>
                  <a:pt x="2607" y="1282"/>
                </a:moveTo>
                <a:cubicBezTo>
                  <a:pt x="2598" y="1282"/>
                  <a:pt x="2591" y="1287"/>
                  <a:pt x="2591" y="1292"/>
                </a:cubicBezTo>
                <a:cubicBezTo>
                  <a:pt x="2591" y="1298"/>
                  <a:pt x="2599" y="1302"/>
                  <a:pt x="2608" y="1302"/>
                </a:cubicBezTo>
                <a:cubicBezTo>
                  <a:pt x="2617" y="1302"/>
                  <a:pt x="2624" y="1298"/>
                  <a:pt x="2623" y="1292"/>
                </a:cubicBezTo>
                <a:cubicBezTo>
                  <a:pt x="2623" y="1287"/>
                  <a:pt x="2616" y="1282"/>
                  <a:pt x="2607" y="1282"/>
                </a:cubicBezTo>
                <a:cubicBezTo>
                  <a:pt x="2607" y="1282"/>
                  <a:pt x="2607" y="1282"/>
                  <a:pt x="2607" y="1282"/>
                </a:cubicBezTo>
                <a:moveTo>
                  <a:pt x="2653" y="1282"/>
                </a:moveTo>
                <a:cubicBezTo>
                  <a:pt x="2644" y="1282"/>
                  <a:pt x="2637" y="1286"/>
                  <a:pt x="2637" y="1292"/>
                </a:cubicBezTo>
                <a:cubicBezTo>
                  <a:pt x="2637" y="1298"/>
                  <a:pt x="2645" y="1302"/>
                  <a:pt x="2654" y="1302"/>
                </a:cubicBezTo>
                <a:cubicBezTo>
                  <a:pt x="2663" y="1302"/>
                  <a:pt x="2670" y="1298"/>
                  <a:pt x="2669" y="1292"/>
                </a:cubicBezTo>
                <a:cubicBezTo>
                  <a:pt x="2669" y="1286"/>
                  <a:pt x="2662" y="1282"/>
                  <a:pt x="2653" y="1282"/>
                </a:cubicBezTo>
                <a:cubicBezTo>
                  <a:pt x="2653" y="1282"/>
                  <a:pt x="2653" y="1282"/>
                  <a:pt x="2653" y="1282"/>
                </a:cubicBezTo>
                <a:moveTo>
                  <a:pt x="2699" y="1282"/>
                </a:moveTo>
                <a:cubicBezTo>
                  <a:pt x="2690" y="1282"/>
                  <a:pt x="2683" y="1286"/>
                  <a:pt x="2684" y="1292"/>
                </a:cubicBezTo>
                <a:cubicBezTo>
                  <a:pt x="2684" y="1298"/>
                  <a:pt x="2692" y="1302"/>
                  <a:pt x="2701" y="1302"/>
                </a:cubicBezTo>
                <a:cubicBezTo>
                  <a:pt x="2710" y="1302"/>
                  <a:pt x="2717" y="1298"/>
                  <a:pt x="2716" y="1292"/>
                </a:cubicBezTo>
                <a:cubicBezTo>
                  <a:pt x="2716" y="1286"/>
                  <a:pt x="2708" y="1282"/>
                  <a:pt x="2699" y="1282"/>
                </a:cubicBezTo>
                <a:cubicBezTo>
                  <a:pt x="2699" y="1282"/>
                  <a:pt x="2699" y="1282"/>
                  <a:pt x="2699" y="1282"/>
                </a:cubicBezTo>
                <a:moveTo>
                  <a:pt x="2744" y="1282"/>
                </a:moveTo>
                <a:cubicBezTo>
                  <a:pt x="2735" y="1282"/>
                  <a:pt x="2728" y="1286"/>
                  <a:pt x="2728" y="1292"/>
                </a:cubicBezTo>
                <a:cubicBezTo>
                  <a:pt x="2729" y="1298"/>
                  <a:pt x="2737" y="1302"/>
                  <a:pt x="2746" y="1302"/>
                </a:cubicBezTo>
                <a:cubicBezTo>
                  <a:pt x="2755" y="1302"/>
                  <a:pt x="2761" y="1298"/>
                  <a:pt x="2761" y="1292"/>
                </a:cubicBezTo>
                <a:cubicBezTo>
                  <a:pt x="2760" y="1286"/>
                  <a:pt x="2753" y="1282"/>
                  <a:pt x="2744" y="1282"/>
                </a:cubicBezTo>
                <a:cubicBezTo>
                  <a:pt x="2744" y="1282"/>
                  <a:pt x="2744" y="1282"/>
                  <a:pt x="2744" y="1282"/>
                </a:cubicBezTo>
                <a:moveTo>
                  <a:pt x="4544" y="1275"/>
                </a:moveTo>
                <a:cubicBezTo>
                  <a:pt x="4535" y="1275"/>
                  <a:pt x="4531" y="1280"/>
                  <a:pt x="4534" y="1286"/>
                </a:cubicBezTo>
                <a:cubicBezTo>
                  <a:pt x="4538" y="1291"/>
                  <a:pt x="4548" y="1296"/>
                  <a:pt x="4557" y="1296"/>
                </a:cubicBezTo>
                <a:cubicBezTo>
                  <a:pt x="4566" y="1296"/>
                  <a:pt x="4571" y="1291"/>
                  <a:pt x="4567" y="1286"/>
                </a:cubicBezTo>
                <a:cubicBezTo>
                  <a:pt x="4563" y="1280"/>
                  <a:pt x="4553" y="1275"/>
                  <a:pt x="4544" y="1275"/>
                </a:cubicBezTo>
                <a:cubicBezTo>
                  <a:pt x="4544" y="1275"/>
                  <a:pt x="4544" y="1275"/>
                  <a:pt x="4544" y="1275"/>
                </a:cubicBezTo>
                <a:moveTo>
                  <a:pt x="268" y="1255"/>
                </a:moveTo>
                <a:cubicBezTo>
                  <a:pt x="260" y="1255"/>
                  <a:pt x="249" y="1260"/>
                  <a:pt x="245" y="1266"/>
                </a:cubicBezTo>
                <a:cubicBezTo>
                  <a:pt x="241" y="1271"/>
                  <a:pt x="245" y="1276"/>
                  <a:pt x="254" y="1276"/>
                </a:cubicBezTo>
                <a:cubicBezTo>
                  <a:pt x="263" y="1276"/>
                  <a:pt x="274" y="1271"/>
                  <a:pt x="277" y="1265"/>
                </a:cubicBezTo>
                <a:cubicBezTo>
                  <a:pt x="281" y="1260"/>
                  <a:pt x="277" y="1255"/>
                  <a:pt x="269" y="1255"/>
                </a:cubicBezTo>
                <a:cubicBezTo>
                  <a:pt x="268" y="1255"/>
                  <a:pt x="268" y="1255"/>
                  <a:pt x="268" y="1255"/>
                </a:cubicBezTo>
                <a:moveTo>
                  <a:pt x="314" y="1255"/>
                </a:moveTo>
                <a:cubicBezTo>
                  <a:pt x="305" y="1255"/>
                  <a:pt x="295" y="1260"/>
                  <a:pt x="291" y="1265"/>
                </a:cubicBezTo>
                <a:cubicBezTo>
                  <a:pt x="287" y="1271"/>
                  <a:pt x="291" y="1276"/>
                  <a:pt x="300" y="1276"/>
                </a:cubicBezTo>
                <a:cubicBezTo>
                  <a:pt x="309" y="1276"/>
                  <a:pt x="320" y="1271"/>
                  <a:pt x="323" y="1265"/>
                </a:cubicBezTo>
                <a:cubicBezTo>
                  <a:pt x="327" y="1260"/>
                  <a:pt x="323" y="1255"/>
                  <a:pt x="314" y="1255"/>
                </a:cubicBezTo>
                <a:cubicBezTo>
                  <a:pt x="314" y="1255"/>
                  <a:pt x="314" y="1255"/>
                  <a:pt x="314" y="1255"/>
                </a:cubicBezTo>
                <a:moveTo>
                  <a:pt x="360" y="1255"/>
                </a:moveTo>
                <a:cubicBezTo>
                  <a:pt x="351" y="1255"/>
                  <a:pt x="341" y="1260"/>
                  <a:pt x="337" y="1265"/>
                </a:cubicBezTo>
                <a:cubicBezTo>
                  <a:pt x="333" y="1271"/>
                  <a:pt x="337" y="1275"/>
                  <a:pt x="346" y="1275"/>
                </a:cubicBezTo>
                <a:cubicBezTo>
                  <a:pt x="355" y="1275"/>
                  <a:pt x="365" y="1271"/>
                  <a:pt x="369" y="1265"/>
                </a:cubicBezTo>
                <a:cubicBezTo>
                  <a:pt x="373" y="1260"/>
                  <a:pt x="369" y="1255"/>
                  <a:pt x="360" y="1255"/>
                </a:cubicBezTo>
                <a:cubicBezTo>
                  <a:pt x="360" y="1255"/>
                  <a:pt x="360" y="1255"/>
                  <a:pt x="360" y="1255"/>
                </a:cubicBezTo>
                <a:moveTo>
                  <a:pt x="406" y="1255"/>
                </a:moveTo>
                <a:cubicBezTo>
                  <a:pt x="397" y="1255"/>
                  <a:pt x="387" y="1260"/>
                  <a:pt x="383" y="1265"/>
                </a:cubicBezTo>
                <a:cubicBezTo>
                  <a:pt x="379" y="1271"/>
                  <a:pt x="384" y="1275"/>
                  <a:pt x="392" y="1275"/>
                </a:cubicBezTo>
                <a:cubicBezTo>
                  <a:pt x="401" y="1275"/>
                  <a:pt x="412" y="1271"/>
                  <a:pt x="415" y="1265"/>
                </a:cubicBezTo>
                <a:cubicBezTo>
                  <a:pt x="419" y="1260"/>
                  <a:pt x="415" y="1255"/>
                  <a:pt x="406" y="1255"/>
                </a:cubicBezTo>
                <a:cubicBezTo>
                  <a:pt x="406" y="1255"/>
                  <a:pt x="406" y="1255"/>
                  <a:pt x="406" y="1255"/>
                </a:cubicBezTo>
                <a:moveTo>
                  <a:pt x="453" y="1255"/>
                </a:moveTo>
                <a:cubicBezTo>
                  <a:pt x="444" y="1255"/>
                  <a:pt x="434" y="1260"/>
                  <a:pt x="430" y="1265"/>
                </a:cubicBezTo>
                <a:cubicBezTo>
                  <a:pt x="427" y="1271"/>
                  <a:pt x="431" y="1275"/>
                  <a:pt x="440" y="1275"/>
                </a:cubicBezTo>
                <a:cubicBezTo>
                  <a:pt x="449" y="1275"/>
                  <a:pt x="459" y="1271"/>
                  <a:pt x="463" y="1265"/>
                </a:cubicBezTo>
                <a:cubicBezTo>
                  <a:pt x="466" y="1259"/>
                  <a:pt x="462" y="1255"/>
                  <a:pt x="453" y="1255"/>
                </a:cubicBezTo>
                <a:cubicBezTo>
                  <a:pt x="453" y="1255"/>
                  <a:pt x="453" y="1255"/>
                  <a:pt x="453" y="1255"/>
                </a:cubicBezTo>
                <a:moveTo>
                  <a:pt x="499" y="1255"/>
                </a:moveTo>
                <a:cubicBezTo>
                  <a:pt x="490" y="1255"/>
                  <a:pt x="480" y="1259"/>
                  <a:pt x="476" y="1265"/>
                </a:cubicBezTo>
                <a:cubicBezTo>
                  <a:pt x="473" y="1271"/>
                  <a:pt x="477" y="1275"/>
                  <a:pt x="486" y="1275"/>
                </a:cubicBezTo>
                <a:cubicBezTo>
                  <a:pt x="495" y="1275"/>
                  <a:pt x="505" y="1271"/>
                  <a:pt x="508" y="1265"/>
                </a:cubicBezTo>
                <a:cubicBezTo>
                  <a:pt x="512" y="1259"/>
                  <a:pt x="508" y="1255"/>
                  <a:pt x="499" y="1255"/>
                </a:cubicBezTo>
                <a:cubicBezTo>
                  <a:pt x="499" y="1255"/>
                  <a:pt x="499" y="1255"/>
                  <a:pt x="499" y="1255"/>
                </a:cubicBezTo>
                <a:moveTo>
                  <a:pt x="545" y="1255"/>
                </a:moveTo>
                <a:cubicBezTo>
                  <a:pt x="536" y="1255"/>
                  <a:pt x="526" y="1259"/>
                  <a:pt x="522" y="1265"/>
                </a:cubicBezTo>
                <a:cubicBezTo>
                  <a:pt x="519" y="1271"/>
                  <a:pt x="523" y="1275"/>
                  <a:pt x="532" y="1275"/>
                </a:cubicBezTo>
                <a:cubicBezTo>
                  <a:pt x="541" y="1275"/>
                  <a:pt x="551" y="1270"/>
                  <a:pt x="554" y="1265"/>
                </a:cubicBezTo>
                <a:cubicBezTo>
                  <a:pt x="558" y="1259"/>
                  <a:pt x="553" y="1255"/>
                  <a:pt x="545" y="1255"/>
                </a:cubicBezTo>
                <a:cubicBezTo>
                  <a:pt x="545" y="1255"/>
                  <a:pt x="545" y="1255"/>
                  <a:pt x="545" y="1255"/>
                </a:cubicBezTo>
                <a:moveTo>
                  <a:pt x="591" y="1255"/>
                </a:moveTo>
                <a:cubicBezTo>
                  <a:pt x="582" y="1255"/>
                  <a:pt x="572" y="1259"/>
                  <a:pt x="569" y="1265"/>
                </a:cubicBezTo>
                <a:cubicBezTo>
                  <a:pt x="565" y="1270"/>
                  <a:pt x="570" y="1275"/>
                  <a:pt x="579" y="1275"/>
                </a:cubicBezTo>
                <a:cubicBezTo>
                  <a:pt x="588" y="1275"/>
                  <a:pt x="598" y="1270"/>
                  <a:pt x="601" y="1265"/>
                </a:cubicBezTo>
                <a:cubicBezTo>
                  <a:pt x="604" y="1259"/>
                  <a:pt x="600" y="1255"/>
                  <a:pt x="591" y="1255"/>
                </a:cubicBezTo>
                <a:cubicBezTo>
                  <a:pt x="591" y="1255"/>
                  <a:pt x="591" y="1255"/>
                  <a:pt x="591" y="1255"/>
                </a:cubicBezTo>
                <a:moveTo>
                  <a:pt x="636" y="1254"/>
                </a:moveTo>
                <a:cubicBezTo>
                  <a:pt x="628" y="1255"/>
                  <a:pt x="618" y="1259"/>
                  <a:pt x="614" y="1265"/>
                </a:cubicBezTo>
                <a:cubicBezTo>
                  <a:pt x="611" y="1270"/>
                  <a:pt x="616" y="1275"/>
                  <a:pt x="625" y="1275"/>
                </a:cubicBezTo>
                <a:cubicBezTo>
                  <a:pt x="634" y="1275"/>
                  <a:pt x="643" y="1270"/>
                  <a:pt x="647" y="1265"/>
                </a:cubicBezTo>
                <a:cubicBezTo>
                  <a:pt x="650" y="1259"/>
                  <a:pt x="645" y="1254"/>
                  <a:pt x="636" y="1254"/>
                </a:cubicBezTo>
                <a:cubicBezTo>
                  <a:pt x="636" y="1254"/>
                  <a:pt x="636" y="1254"/>
                  <a:pt x="636" y="1254"/>
                </a:cubicBezTo>
                <a:moveTo>
                  <a:pt x="682" y="1254"/>
                </a:moveTo>
                <a:cubicBezTo>
                  <a:pt x="673" y="1254"/>
                  <a:pt x="664" y="1259"/>
                  <a:pt x="660" y="1265"/>
                </a:cubicBezTo>
                <a:cubicBezTo>
                  <a:pt x="657" y="1270"/>
                  <a:pt x="662" y="1275"/>
                  <a:pt x="671" y="1275"/>
                </a:cubicBezTo>
                <a:cubicBezTo>
                  <a:pt x="680" y="1275"/>
                  <a:pt x="689" y="1270"/>
                  <a:pt x="693" y="1264"/>
                </a:cubicBezTo>
                <a:cubicBezTo>
                  <a:pt x="696" y="1259"/>
                  <a:pt x="691" y="1254"/>
                  <a:pt x="682" y="1254"/>
                </a:cubicBezTo>
                <a:cubicBezTo>
                  <a:pt x="682" y="1254"/>
                  <a:pt x="682" y="1254"/>
                  <a:pt x="682" y="1254"/>
                </a:cubicBezTo>
                <a:moveTo>
                  <a:pt x="728" y="1254"/>
                </a:moveTo>
                <a:cubicBezTo>
                  <a:pt x="719" y="1254"/>
                  <a:pt x="709" y="1259"/>
                  <a:pt x="706" y="1264"/>
                </a:cubicBezTo>
                <a:cubicBezTo>
                  <a:pt x="703" y="1270"/>
                  <a:pt x="708" y="1275"/>
                  <a:pt x="717" y="1275"/>
                </a:cubicBezTo>
                <a:cubicBezTo>
                  <a:pt x="725" y="1275"/>
                  <a:pt x="735" y="1270"/>
                  <a:pt x="738" y="1264"/>
                </a:cubicBezTo>
                <a:cubicBezTo>
                  <a:pt x="741" y="1259"/>
                  <a:pt x="737" y="1254"/>
                  <a:pt x="728" y="1254"/>
                </a:cubicBezTo>
                <a:cubicBezTo>
                  <a:pt x="728" y="1254"/>
                  <a:pt x="728" y="1254"/>
                  <a:pt x="728" y="1254"/>
                </a:cubicBezTo>
                <a:moveTo>
                  <a:pt x="774" y="1254"/>
                </a:moveTo>
                <a:cubicBezTo>
                  <a:pt x="765" y="1254"/>
                  <a:pt x="755" y="1259"/>
                  <a:pt x="752" y="1264"/>
                </a:cubicBezTo>
                <a:cubicBezTo>
                  <a:pt x="749" y="1270"/>
                  <a:pt x="754" y="1274"/>
                  <a:pt x="763" y="1274"/>
                </a:cubicBezTo>
                <a:cubicBezTo>
                  <a:pt x="772" y="1274"/>
                  <a:pt x="781" y="1270"/>
                  <a:pt x="784" y="1264"/>
                </a:cubicBezTo>
                <a:cubicBezTo>
                  <a:pt x="787" y="1259"/>
                  <a:pt x="783" y="1254"/>
                  <a:pt x="774" y="1254"/>
                </a:cubicBezTo>
                <a:cubicBezTo>
                  <a:pt x="774" y="1254"/>
                  <a:pt x="774" y="1254"/>
                  <a:pt x="774" y="1254"/>
                </a:cubicBezTo>
                <a:moveTo>
                  <a:pt x="820" y="1254"/>
                </a:moveTo>
                <a:cubicBezTo>
                  <a:pt x="811" y="1254"/>
                  <a:pt x="802" y="1259"/>
                  <a:pt x="799" y="1264"/>
                </a:cubicBezTo>
                <a:cubicBezTo>
                  <a:pt x="796" y="1270"/>
                  <a:pt x="800" y="1274"/>
                  <a:pt x="809" y="1274"/>
                </a:cubicBezTo>
                <a:cubicBezTo>
                  <a:pt x="818" y="1274"/>
                  <a:pt x="828" y="1270"/>
                  <a:pt x="831" y="1264"/>
                </a:cubicBezTo>
                <a:cubicBezTo>
                  <a:pt x="834" y="1259"/>
                  <a:pt x="829" y="1254"/>
                  <a:pt x="820" y="1254"/>
                </a:cubicBezTo>
                <a:cubicBezTo>
                  <a:pt x="820" y="1254"/>
                  <a:pt x="820" y="1254"/>
                  <a:pt x="820" y="1254"/>
                </a:cubicBezTo>
                <a:moveTo>
                  <a:pt x="866" y="1254"/>
                </a:moveTo>
                <a:cubicBezTo>
                  <a:pt x="857" y="1254"/>
                  <a:pt x="847" y="1258"/>
                  <a:pt x="844" y="1264"/>
                </a:cubicBezTo>
                <a:cubicBezTo>
                  <a:pt x="841" y="1270"/>
                  <a:pt x="846" y="1274"/>
                  <a:pt x="855" y="1274"/>
                </a:cubicBezTo>
                <a:cubicBezTo>
                  <a:pt x="864" y="1274"/>
                  <a:pt x="874" y="1270"/>
                  <a:pt x="877" y="1264"/>
                </a:cubicBezTo>
                <a:cubicBezTo>
                  <a:pt x="879" y="1258"/>
                  <a:pt x="874" y="1254"/>
                  <a:pt x="866" y="1254"/>
                </a:cubicBezTo>
                <a:cubicBezTo>
                  <a:pt x="866" y="1254"/>
                  <a:pt x="866" y="1254"/>
                  <a:pt x="866" y="1254"/>
                </a:cubicBezTo>
                <a:moveTo>
                  <a:pt x="911" y="1254"/>
                </a:moveTo>
                <a:cubicBezTo>
                  <a:pt x="903" y="1254"/>
                  <a:pt x="893" y="1258"/>
                  <a:pt x="890" y="1264"/>
                </a:cubicBezTo>
                <a:cubicBezTo>
                  <a:pt x="887" y="1270"/>
                  <a:pt x="892" y="1274"/>
                  <a:pt x="901" y="1274"/>
                </a:cubicBezTo>
                <a:cubicBezTo>
                  <a:pt x="910" y="1274"/>
                  <a:pt x="920" y="1270"/>
                  <a:pt x="922" y="1264"/>
                </a:cubicBezTo>
                <a:cubicBezTo>
                  <a:pt x="925" y="1258"/>
                  <a:pt x="920" y="1254"/>
                  <a:pt x="911" y="1254"/>
                </a:cubicBezTo>
                <a:cubicBezTo>
                  <a:pt x="911" y="1254"/>
                  <a:pt x="911" y="1254"/>
                  <a:pt x="911" y="1254"/>
                </a:cubicBezTo>
                <a:moveTo>
                  <a:pt x="957" y="1254"/>
                </a:moveTo>
                <a:cubicBezTo>
                  <a:pt x="948" y="1254"/>
                  <a:pt x="939" y="1258"/>
                  <a:pt x="936" y="1264"/>
                </a:cubicBezTo>
                <a:cubicBezTo>
                  <a:pt x="933" y="1270"/>
                  <a:pt x="938" y="1274"/>
                  <a:pt x="947" y="1274"/>
                </a:cubicBezTo>
                <a:cubicBezTo>
                  <a:pt x="956" y="1274"/>
                  <a:pt x="965" y="1269"/>
                  <a:pt x="968" y="1264"/>
                </a:cubicBezTo>
                <a:cubicBezTo>
                  <a:pt x="971" y="1258"/>
                  <a:pt x="966" y="1254"/>
                  <a:pt x="957" y="1254"/>
                </a:cubicBezTo>
                <a:cubicBezTo>
                  <a:pt x="957" y="1254"/>
                  <a:pt x="957" y="1254"/>
                  <a:pt x="957" y="1254"/>
                </a:cubicBezTo>
                <a:moveTo>
                  <a:pt x="1003" y="1254"/>
                </a:moveTo>
                <a:cubicBezTo>
                  <a:pt x="994" y="1254"/>
                  <a:pt x="985" y="1258"/>
                  <a:pt x="982" y="1264"/>
                </a:cubicBezTo>
                <a:cubicBezTo>
                  <a:pt x="979" y="1269"/>
                  <a:pt x="984" y="1274"/>
                  <a:pt x="993" y="1274"/>
                </a:cubicBezTo>
                <a:cubicBezTo>
                  <a:pt x="1002" y="1274"/>
                  <a:pt x="1012" y="1269"/>
                  <a:pt x="1014" y="1264"/>
                </a:cubicBezTo>
                <a:cubicBezTo>
                  <a:pt x="1017" y="1258"/>
                  <a:pt x="1012" y="1254"/>
                  <a:pt x="1003" y="1254"/>
                </a:cubicBezTo>
                <a:cubicBezTo>
                  <a:pt x="1003" y="1254"/>
                  <a:pt x="1003" y="1254"/>
                  <a:pt x="1003" y="1254"/>
                </a:cubicBezTo>
                <a:moveTo>
                  <a:pt x="1049" y="1253"/>
                </a:moveTo>
                <a:cubicBezTo>
                  <a:pt x="1040" y="1253"/>
                  <a:pt x="1031" y="1258"/>
                  <a:pt x="1029" y="1264"/>
                </a:cubicBezTo>
                <a:cubicBezTo>
                  <a:pt x="1026" y="1269"/>
                  <a:pt x="1031" y="1274"/>
                  <a:pt x="1040" y="1274"/>
                </a:cubicBezTo>
                <a:cubicBezTo>
                  <a:pt x="1049" y="1274"/>
                  <a:pt x="1058" y="1269"/>
                  <a:pt x="1061" y="1264"/>
                </a:cubicBezTo>
                <a:cubicBezTo>
                  <a:pt x="1063" y="1258"/>
                  <a:pt x="1058" y="1253"/>
                  <a:pt x="1049" y="1253"/>
                </a:cubicBezTo>
                <a:cubicBezTo>
                  <a:pt x="1049" y="1253"/>
                  <a:pt x="1049" y="1253"/>
                  <a:pt x="1049" y="1253"/>
                </a:cubicBezTo>
                <a:moveTo>
                  <a:pt x="2192" y="1253"/>
                </a:moveTo>
                <a:cubicBezTo>
                  <a:pt x="2183" y="1253"/>
                  <a:pt x="2176" y="1258"/>
                  <a:pt x="2175" y="1264"/>
                </a:cubicBezTo>
                <a:cubicBezTo>
                  <a:pt x="2175" y="1269"/>
                  <a:pt x="2182" y="1274"/>
                  <a:pt x="2190" y="1274"/>
                </a:cubicBezTo>
                <a:cubicBezTo>
                  <a:pt x="2199" y="1274"/>
                  <a:pt x="2207" y="1269"/>
                  <a:pt x="2207" y="1264"/>
                </a:cubicBezTo>
                <a:cubicBezTo>
                  <a:pt x="2208" y="1258"/>
                  <a:pt x="2201" y="1253"/>
                  <a:pt x="2192" y="1253"/>
                </a:cubicBezTo>
                <a:cubicBezTo>
                  <a:pt x="2192" y="1253"/>
                  <a:pt x="2192" y="1253"/>
                  <a:pt x="2192" y="1253"/>
                </a:cubicBezTo>
                <a:moveTo>
                  <a:pt x="1091" y="1253"/>
                </a:moveTo>
                <a:cubicBezTo>
                  <a:pt x="1082" y="1253"/>
                  <a:pt x="1073" y="1258"/>
                  <a:pt x="1070" y="1264"/>
                </a:cubicBezTo>
                <a:cubicBezTo>
                  <a:pt x="1068" y="1269"/>
                  <a:pt x="1073" y="1274"/>
                  <a:pt x="1082" y="1274"/>
                </a:cubicBezTo>
                <a:cubicBezTo>
                  <a:pt x="1091" y="1274"/>
                  <a:pt x="1100" y="1269"/>
                  <a:pt x="1102" y="1264"/>
                </a:cubicBezTo>
                <a:cubicBezTo>
                  <a:pt x="1105" y="1258"/>
                  <a:pt x="1100" y="1253"/>
                  <a:pt x="1091" y="1253"/>
                </a:cubicBezTo>
                <a:cubicBezTo>
                  <a:pt x="1091" y="1253"/>
                  <a:pt x="1091" y="1253"/>
                  <a:pt x="1091" y="1253"/>
                </a:cubicBezTo>
                <a:moveTo>
                  <a:pt x="2238" y="1253"/>
                </a:moveTo>
                <a:cubicBezTo>
                  <a:pt x="2229" y="1253"/>
                  <a:pt x="2221" y="1258"/>
                  <a:pt x="2221" y="1264"/>
                </a:cubicBezTo>
                <a:cubicBezTo>
                  <a:pt x="2220" y="1269"/>
                  <a:pt x="2227" y="1274"/>
                  <a:pt x="2236" y="1274"/>
                </a:cubicBezTo>
                <a:cubicBezTo>
                  <a:pt x="2245" y="1274"/>
                  <a:pt x="2253" y="1269"/>
                  <a:pt x="2253" y="1263"/>
                </a:cubicBezTo>
                <a:cubicBezTo>
                  <a:pt x="2253" y="1258"/>
                  <a:pt x="2247" y="1253"/>
                  <a:pt x="2238" y="1253"/>
                </a:cubicBezTo>
                <a:cubicBezTo>
                  <a:pt x="2238" y="1253"/>
                  <a:pt x="2238" y="1253"/>
                  <a:pt x="2238" y="1253"/>
                </a:cubicBezTo>
                <a:moveTo>
                  <a:pt x="1140" y="1253"/>
                </a:moveTo>
                <a:cubicBezTo>
                  <a:pt x="1132" y="1253"/>
                  <a:pt x="1122" y="1258"/>
                  <a:pt x="1120" y="1263"/>
                </a:cubicBezTo>
                <a:cubicBezTo>
                  <a:pt x="1118" y="1269"/>
                  <a:pt x="1123" y="1274"/>
                  <a:pt x="1132" y="1274"/>
                </a:cubicBezTo>
                <a:cubicBezTo>
                  <a:pt x="1141" y="1274"/>
                  <a:pt x="1150" y="1269"/>
                  <a:pt x="1152" y="1263"/>
                </a:cubicBezTo>
                <a:cubicBezTo>
                  <a:pt x="1155" y="1258"/>
                  <a:pt x="1149" y="1253"/>
                  <a:pt x="1140" y="1253"/>
                </a:cubicBezTo>
                <a:cubicBezTo>
                  <a:pt x="1140" y="1253"/>
                  <a:pt x="1140" y="1253"/>
                  <a:pt x="1140" y="1253"/>
                </a:cubicBezTo>
                <a:moveTo>
                  <a:pt x="2284" y="1253"/>
                </a:moveTo>
                <a:cubicBezTo>
                  <a:pt x="2275" y="1253"/>
                  <a:pt x="2267" y="1258"/>
                  <a:pt x="2267" y="1263"/>
                </a:cubicBezTo>
                <a:cubicBezTo>
                  <a:pt x="2267" y="1269"/>
                  <a:pt x="2274" y="1274"/>
                  <a:pt x="2282" y="1274"/>
                </a:cubicBezTo>
                <a:cubicBezTo>
                  <a:pt x="2291" y="1274"/>
                  <a:pt x="2299" y="1269"/>
                  <a:pt x="2299" y="1263"/>
                </a:cubicBezTo>
                <a:cubicBezTo>
                  <a:pt x="2299" y="1258"/>
                  <a:pt x="2293" y="1253"/>
                  <a:pt x="2284" y="1253"/>
                </a:cubicBezTo>
                <a:cubicBezTo>
                  <a:pt x="2284" y="1253"/>
                  <a:pt x="2284" y="1253"/>
                  <a:pt x="2284" y="1253"/>
                </a:cubicBezTo>
                <a:moveTo>
                  <a:pt x="2329" y="1253"/>
                </a:moveTo>
                <a:cubicBezTo>
                  <a:pt x="2320" y="1253"/>
                  <a:pt x="2313" y="1258"/>
                  <a:pt x="2312" y="1263"/>
                </a:cubicBezTo>
                <a:cubicBezTo>
                  <a:pt x="2312" y="1269"/>
                  <a:pt x="2319" y="1274"/>
                  <a:pt x="2328" y="1274"/>
                </a:cubicBezTo>
                <a:cubicBezTo>
                  <a:pt x="2337" y="1273"/>
                  <a:pt x="2344" y="1269"/>
                  <a:pt x="2344" y="1263"/>
                </a:cubicBezTo>
                <a:cubicBezTo>
                  <a:pt x="2345" y="1258"/>
                  <a:pt x="2338" y="1253"/>
                  <a:pt x="2329" y="1253"/>
                </a:cubicBezTo>
                <a:cubicBezTo>
                  <a:pt x="2329" y="1253"/>
                  <a:pt x="2329" y="1253"/>
                  <a:pt x="2329" y="1253"/>
                </a:cubicBezTo>
                <a:moveTo>
                  <a:pt x="2374" y="1253"/>
                </a:moveTo>
                <a:cubicBezTo>
                  <a:pt x="2366" y="1253"/>
                  <a:pt x="2358" y="1258"/>
                  <a:pt x="2358" y="1263"/>
                </a:cubicBezTo>
                <a:cubicBezTo>
                  <a:pt x="2358" y="1269"/>
                  <a:pt x="2365" y="1273"/>
                  <a:pt x="2374" y="1273"/>
                </a:cubicBezTo>
                <a:cubicBezTo>
                  <a:pt x="2383" y="1273"/>
                  <a:pt x="2390" y="1269"/>
                  <a:pt x="2390" y="1263"/>
                </a:cubicBezTo>
                <a:cubicBezTo>
                  <a:pt x="2390" y="1258"/>
                  <a:pt x="2383" y="1253"/>
                  <a:pt x="2374" y="1253"/>
                </a:cubicBezTo>
                <a:cubicBezTo>
                  <a:pt x="2374" y="1253"/>
                  <a:pt x="2374" y="1253"/>
                  <a:pt x="2374" y="1253"/>
                </a:cubicBezTo>
                <a:moveTo>
                  <a:pt x="2420" y="1253"/>
                </a:moveTo>
                <a:cubicBezTo>
                  <a:pt x="2411" y="1253"/>
                  <a:pt x="2404" y="1257"/>
                  <a:pt x="2404" y="1263"/>
                </a:cubicBezTo>
                <a:cubicBezTo>
                  <a:pt x="2404" y="1269"/>
                  <a:pt x="2411" y="1273"/>
                  <a:pt x="2420" y="1273"/>
                </a:cubicBezTo>
                <a:cubicBezTo>
                  <a:pt x="2429" y="1273"/>
                  <a:pt x="2436" y="1269"/>
                  <a:pt x="2436" y="1263"/>
                </a:cubicBezTo>
                <a:cubicBezTo>
                  <a:pt x="2436" y="1257"/>
                  <a:pt x="2429" y="1253"/>
                  <a:pt x="2420" y="1253"/>
                </a:cubicBezTo>
                <a:cubicBezTo>
                  <a:pt x="2420" y="1253"/>
                  <a:pt x="2420" y="1253"/>
                  <a:pt x="2420" y="1253"/>
                </a:cubicBezTo>
                <a:moveTo>
                  <a:pt x="2468" y="1253"/>
                </a:moveTo>
                <a:cubicBezTo>
                  <a:pt x="2459" y="1253"/>
                  <a:pt x="2451" y="1257"/>
                  <a:pt x="2451" y="1263"/>
                </a:cubicBezTo>
                <a:cubicBezTo>
                  <a:pt x="2451" y="1269"/>
                  <a:pt x="2459" y="1273"/>
                  <a:pt x="2468" y="1273"/>
                </a:cubicBezTo>
                <a:cubicBezTo>
                  <a:pt x="2476" y="1273"/>
                  <a:pt x="2484" y="1269"/>
                  <a:pt x="2484" y="1263"/>
                </a:cubicBezTo>
                <a:cubicBezTo>
                  <a:pt x="2484" y="1257"/>
                  <a:pt x="2476" y="1253"/>
                  <a:pt x="2468" y="1253"/>
                </a:cubicBezTo>
                <a:cubicBezTo>
                  <a:pt x="2468" y="1253"/>
                  <a:pt x="2468" y="1253"/>
                  <a:pt x="2468" y="1253"/>
                </a:cubicBezTo>
                <a:moveTo>
                  <a:pt x="2513" y="1253"/>
                </a:moveTo>
                <a:cubicBezTo>
                  <a:pt x="2504" y="1253"/>
                  <a:pt x="2497" y="1257"/>
                  <a:pt x="2497" y="1263"/>
                </a:cubicBezTo>
                <a:cubicBezTo>
                  <a:pt x="2497" y="1269"/>
                  <a:pt x="2504" y="1273"/>
                  <a:pt x="2513" y="1273"/>
                </a:cubicBezTo>
                <a:cubicBezTo>
                  <a:pt x="2522" y="1273"/>
                  <a:pt x="2529" y="1268"/>
                  <a:pt x="2529" y="1263"/>
                </a:cubicBezTo>
                <a:cubicBezTo>
                  <a:pt x="2529" y="1257"/>
                  <a:pt x="2522" y="1253"/>
                  <a:pt x="2513" y="1253"/>
                </a:cubicBezTo>
                <a:cubicBezTo>
                  <a:pt x="2513" y="1253"/>
                  <a:pt x="2513" y="1253"/>
                  <a:pt x="2513" y="1253"/>
                </a:cubicBezTo>
                <a:moveTo>
                  <a:pt x="2559" y="1253"/>
                </a:moveTo>
                <a:cubicBezTo>
                  <a:pt x="2550" y="1253"/>
                  <a:pt x="2543" y="1257"/>
                  <a:pt x="2543" y="1263"/>
                </a:cubicBezTo>
                <a:cubicBezTo>
                  <a:pt x="2543" y="1268"/>
                  <a:pt x="2551" y="1273"/>
                  <a:pt x="2560" y="1273"/>
                </a:cubicBezTo>
                <a:cubicBezTo>
                  <a:pt x="2568" y="1273"/>
                  <a:pt x="2576" y="1268"/>
                  <a:pt x="2575" y="1263"/>
                </a:cubicBezTo>
                <a:cubicBezTo>
                  <a:pt x="2575" y="1257"/>
                  <a:pt x="2568" y="1253"/>
                  <a:pt x="2559" y="1253"/>
                </a:cubicBezTo>
                <a:cubicBezTo>
                  <a:pt x="2559" y="1253"/>
                  <a:pt x="2559" y="1253"/>
                  <a:pt x="2559" y="1253"/>
                </a:cubicBezTo>
                <a:moveTo>
                  <a:pt x="2605" y="1252"/>
                </a:moveTo>
                <a:cubicBezTo>
                  <a:pt x="2596" y="1252"/>
                  <a:pt x="2589" y="1257"/>
                  <a:pt x="2590" y="1263"/>
                </a:cubicBezTo>
                <a:cubicBezTo>
                  <a:pt x="2590" y="1268"/>
                  <a:pt x="2597" y="1273"/>
                  <a:pt x="2606" y="1273"/>
                </a:cubicBezTo>
                <a:cubicBezTo>
                  <a:pt x="2615" y="1273"/>
                  <a:pt x="2622" y="1268"/>
                  <a:pt x="2622" y="1263"/>
                </a:cubicBezTo>
                <a:cubicBezTo>
                  <a:pt x="2622" y="1257"/>
                  <a:pt x="2614" y="1252"/>
                  <a:pt x="2605" y="1252"/>
                </a:cubicBezTo>
                <a:cubicBezTo>
                  <a:pt x="2605" y="1252"/>
                  <a:pt x="2605" y="1252"/>
                  <a:pt x="2605" y="1252"/>
                </a:cubicBezTo>
                <a:moveTo>
                  <a:pt x="2651" y="1252"/>
                </a:moveTo>
                <a:cubicBezTo>
                  <a:pt x="2642" y="1252"/>
                  <a:pt x="2635" y="1257"/>
                  <a:pt x="2635" y="1263"/>
                </a:cubicBezTo>
                <a:cubicBezTo>
                  <a:pt x="2636" y="1268"/>
                  <a:pt x="2643" y="1273"/>
                  <a:pt x="2652" y="1273"/>
                </a:cubicBezTo>
                <a:cubicBezTo>
                  <a:pt x="2661" y="1273"/>
                  <a:pt x="2668" y="1268"/>
                  <a:pt x="2667" y="1263"/>
                </a:cubicBezTo>
                <a:cubicBezTo>
                  <a:pt x="2667" y="1257"/>
                  <a:pt x="2660" y="1252"/>
                  <a:pt x="2651" y="1252"/>
                </a:cubicBezTo>
                <a:cubicBezTo>
                  <a:pt x="2651" y="1252"/>
                  <a:pt x="2651" y="1252"/>
                  <a:pt x="2651" y="1252"/>
                </a:cubicBezTo>
                <a:moveTo>
                  <a:pt x="2697" y="1252"/>
                </a:moveTo>
                <a:cubicBezTo>
                  <a:pt x="2688" y="1252"/>
                  <a:pt x="2681" y="1257"/>
                  <a:pt x="2682" y="1262"/>
                </a:cubicBezTo>
                <a:cubicBezTo>
                  <a:pt x="2682" y="1268"/>
                  <a:pt x="2690" y="1273"/>
                  <a:pt x="2699" y="1273"/>
                </a:cubicBezTo>
                <a:cubicBezTo>
                  <a:pt x="2707" y="1273"/>
                  <a:pt x="2714" y="1268"/>
                  <a:pt x="2714" y="1262"/>
                </a:cubicBezTo>
                <a:cubicBezTo>
                  <a:pt x="2713" y="1257"/>
                  <a:pt x="2706" y="1252"/>
                  <a:pt x="2697" y="1252"/>
                </a:cubicBezTo>
                <a:cubicBezTo>
                  <a:pt x="2697" y="1252"/>
                  <a:pt x="2697" y="1252"/>
                  <a:pt x="2697" y="1252"/>
                </a:cubicBezTo>
                <a:moveTo>
                  <a:pt x="4250" y="1245"/>
                </a:moveTo>
                <a:cubicBezTo>
                  <a:pt x="4241" y="1245"/>
                  <a:pt x="4237" y="1250"/>
                  <a:pt x="4240" y="1255"/>
                </a:cubicBezTo>
                <a:cubicBezTo>
                  <a:pt x="4243" y="1261"/>
                  <a:pt x="4253" y="1265"/>
                  <a:pt x="4262" y="1265"/>
                </a:cubicBezTo>
                <a:cubicBezTo>
                  <a:pt x="4271" y="1265"/>
                  <a:pt x="4275" y="1261"/>
                  <a:pt x="4272" y="1255"/>
                </a:cubicBezTo>
                <a:cubicBezTo>
                  <a:pt x="4269" y="1249"/>
                  <a:pt x="4259" y="1245"/>
                  <a:pt x="4250" y="1245"/>
                </a:cubicBezTo>
                <a:cubicBezTo>
                  <a:pt x="4250" y="1245"/>
                  <a:pt x="4250" y="1245"/>
                  <a:pt x="4250" y="1245"/>
                </a:cubicBezTo>
                <a:moveTo>
                  <a:pt x="4295" y="1245"/>
                </a:moveTo>
                <a:cubicBezTo>
                  <a:pt x="4286" y="1245"/>
                  <a:pt x="4282" y="1249"/>
                  <a:pt x="4285" y="1255"/>
                </a:cubicBezTo>
                <a:cubicBezTo>
                  <a:pt x="4288" y="1261"/>
                  <a:pt x="4298" y="1265"/>
                  <a:pt x="4307" y="1265"/>
                </a:cubicBezTo>
                <a:cubicBezTo>
                  <a:pt x="4316" y="1265"/>
                  <a:pt x="4320" y="1261"/>
                  <a:pt x="4317" y="1255"/>
                </a:cubicBezTo>
                <a:cubicBezTo>
                  <a:pt x="4314" y="1249"/>
                  <a:pt x="4304" y="1245"/>
                  <a:pt x="4295" y="1245"/>
                </a:cubicBezTo>
                <a:cubicBezTo>
                  <a:pt x="4295" y="1245"/>
                  <a:pt x="4295" y="1245"/>
                  <a:pt x="4295" y="1245"/>
                </a:cubicBezTo>
                <a:moveTo>
                  <a:pt x="4845" y="1241"/>
                </a:moveTo>
                <a:cubicBezTo>
                  <a:pt x="4836" y="1241"/>
                  <a:pt x="4832" y="1246"/>
                  <a:pt x="4836" y="1252"/>
                </a:cubicBezTo>
                <a:cubicBezTo>
                  <a:pt x="4841" y="1257"/>
                  <a:pt x="4851" y="1262"/>
                  <a:pt x="4860" y="1262"/>
                </a:cubicBezTo>
                <a:cubicBezTo>
                  <a:pt x="4869" y="1262"/>
                  <a:pt x="4873" y="1257"/>
                  <a:pt x="4868" y="1251"/>
                </a:cubicBezTo>
                <a:cubicBezTo>
                  <a:pt x="4864" y="1246"/>
                  <a:pt x="4854" y="1241"/>
                  <a:pt x="4845" y="1241"/>
                </a:cubicBezTo>
                <a:cubicBezTo>
                  <a:pt x="4845" y="1241"/>
                  <a:pt x="4845" y="1241"/>
                  <a:pt x="4845" y="1241"/>
                </a:cubicBezTo>
                <a:moveTo>
                  <a:pt x="4889" y="1241"/>
                </a:moveTo>
                <a:cubicBezTo>
                  <a:pt x="4880" y="1241"/>
                  <a:pt x="4877" y="1246"/>
                  <a:pt x="4881" y="1251"/>
                </a:cubicBezTo>
                <a:cubicBezTo>
                  <a:pt x="4885" y="1257"/>
                  <a:pt x="4896" y="1262"/>
                  <a:pt x="4905" y="1262"/>
                </a:cubicBezTo>
                <a:cubicBezTo>
                  <a:pt x="4914" y="1262"/>
                  <a:pt x="4917" y="1257"/>
                  <a:pt x="4913" y="1251"/>
                </a:cubicBezTo>
                <a:cubicBezTo>
                  <a:pt x="4909" y="1246"/>
                  <a:pt x="4898" y="1241"/>
                  <a:pt x="4889" y="1241"/>
                </a:cubicBezTo>
                <a:cubicBezTo>
                  <a:pt x="4889" y="1241"/>
                  <a:pt x="4889" y="1241"/>
                  <a:pt x="4889" y="1241"/>
                </a:cubicBezTo>
                <a:moveTo>
                  <a:pt x="4935" y="1241"/>
                </a:moveTo>
                <a:cubicBezTo>
                  <a:pt x="4926" y="1241"/>
                  <a:pt x="4922" y="1246"/>
                  <a:pt x="4927" y="1251"/>
                </a:cubicBezTo>
                <a:cubicBezTo>
                  <a:pt x="4931" y="1257"/>
                  <a:pt x="4942" y="1262"/>
                  <a:pt x="4951" y="1262"/>
                </a:cubicBezTo>
                <a:cubicBezTo>
                  <a:pt x="4960" y="1262"/>
                  <a:pt x="4963" y="1257"/>
                  <a:pt x="4959" y="1251"/>
                </a:cubicBezTo>
                <a:cubicBezTo>
                  <a:pt x="4954" y="1246"/>
                  <a:pt x="4944" y="1241"/>
                  <a:pt x="4935" y="1241"/>
                </a:cubicBezTo>
                <a:cubicBezTo>
                  <a:pt x="4935" y="1241"/>
                  <a:pt x="4935" y="1241"/>
                  <a:pt x="4935" y="1241"/>
                </a:cubicBezTo>
                <a:moveTo>
                  <a:pt x="4981" y="1241"/>
                </a:moveTo>
                <a:cubicBezTo>
                  <a:pt x="4972" y="1241"/>
                  <a:pt x="4969" y="1246"/>
                  <a:pt x="4973" y="1251"/>
                </a:cubicBezTo>
                <a:cubicBezTo>
                  <a:pt x="4978" y="1257"/>
                  <a:pt x="4989" y="1262"/>
                  <a:pt x="4998" y="1262"/>
                </a:cubicBezTo>
                <a:cubicBezTo>
                  <a:pt x="5006" y="1261"/>
                  <a:pt x="5010" y="1257"/>
                  <a:pt x="5005" y="1251"/>
                </a:cubicBezTo>
                <a:cubicBezTo>
                  <a:pt x="5001" y="1245"/>
                  <a:pt x="4990" y="1241"/>
                  <a:pt x="4981" y="1241"/>
                </a:cubicBezTo>
                <a:cubicBezTo>
                  <a:pt x="4981" y="1241"/>
                  <a:pt x="4981" y="1241"/>
                  <a:pt x="4981" y="1241"/>
                </a:cubicBezTo>
                <a:moveTo>
                  <a:pt x="243" y="1228"/>
                </a:moveTo>
                <a:cubicBezTo>
                  <a:pt x="234" y="1228"/>
                  <a:pt x="224" y="1232"/>
                  <a:pt x="220" y="1238"/>
                </a:cubicBezTo>
                <a:cubicBezTo>
                  <a:pt x="216" y="1243"/>
                  <a:pt x="219" y="1248"/>
                  <a:pt x="228" y="1248"/>
                </a:cubicBezTo>
                <a:cubicBezTo>
                  <a:pt x="237" y="1248"/>
                  <a:pt x="248" y="1243"/>
                  <a:pt x="251" y="1238"/>
                </a:cubicBezTo>
                <a:cubicBezTo>
                  <a:pt x="255" y="1232"/>
                  <a:pt x="252" y="1228"/>
                  <a:pt x="243" y="1228"/>
                </a:cubicBezTo>
                <a:cubicBezTo>
                  <a:pt x="243" y="1228"/>
                  <a:pt x="243" y="1228"/>
                  <a:pt x="243" y="1228"/>
                </a:cubicBezTo>
                <a:moveTo>
                  <a:pt x="288" y="1227"/>
                </a:moveTo>
                <a:cubicBezTo>
                  <a:pt x="279" y="1228"/>
                  <a:pt x="269" y="1232"/>
                  <a:pt x="265" y="1238"/>
                </a:cubicBezTo>
                <a:cubicBezTo>
                  <a:pt x="261" y="1243"/>
                  <a:pt x="265" y="1248"/>
                  <a:pt x="274" y="1248"/>
                </a:cubicBezTo>
                <a:cubicBezTo>
                  <a:pt x="283" y="1248"/>
                  <a:pt x="293" y="1243"/>
                  <a:pt x="297" y="1238"/>
                </a:cubicBezTo>
                <a:cubicBezTo>
                  <a:pt x="301" y="1232"/>
                  <a:pt x="297" y="1227"/>
                  <a:pt x="288" y="1227"/>
                </a:cubicBezTo>
                <a:cubicBezTo>
                  <a:pt x="288" y="1227"/>
                  <a:pt x="288" y="1227"/>
                  <a:pt x="288" y="1227"/>
                </a:cubicBezTo>
                <a:moveTo>
                  <a:pt x="333" y="1227"/>
                </a:moveTo>
                <a:cubicBezTo>
                  <a:pt x="325" y="1227"/>
                  <a:pt x="314" y="1232"/>
                  <a:pt x="310" y="1238"/>
                </a:cubicBezTo>
                <a:cubicBezTo>
                  <a:pt x="307" y="1243"/>
                  <a:pt x="311" y="1248"/>
                  <a:pt x="319" y="1248"/>
                </a:cubicBezTo>
                <a:cubicBezTo>
                  <a:pt x="328" y="1248"/>
                  <a:pt x="339" y="1243"/>
                  <a:pt x="342" y="1237"/>
                </a:cubicBezTo>
                <a:cubicBezTo>
                  <a:pt x="346" y="1232"/>
                  <a:pt x="342" y="1227"/>
                  <a:pt x="333" y="1227"/>
                </a:cubicBezTo>
                <a:cubicBezTo>
                  <a:pt x="333" y="1227"/>
                  <a:pt x="333" y="1227"/>
                  <a:pt x="333" y="1227"/>
                </a:cubicBezTo>
                <a:moveTo>
                  <a:pt x="378" y="1227"/>
                </a:moveTo>
                <a:cubicBezTo>
                  <a:pt x="370" y="1227"/>
                  <a:pt x="360" y="1232"/>
                  <a:pt x="356" y="1237"/>
                </a:cubicBezTo>
                <a:cubicBezTo>
                  <a:pt x="352" y="1243"/>
                  <a:pt x="356" y="1248"/>
                  <a:pt x="365" y="1248"/>
                </a:cubicBezTo>
                <a:cubicBezTo>
                  <a:pt x="374" y="1248"/>
                  <a:pt x="384" y="1243"/>
                  <a:pt x="388" y="1237"/>
                </a:cubicBezTo>
                <a:cubicBezTo>
                  <a:pt x="391" y="1232"/>
                  <a:pt x="387" y="1227"/>
                  <a:pt x="379" y="1227"/>
                </a:cubicBezTo>
                <a:cubicBezTo>
                  <a:pt x="379" y="1227"/>
                  <a:pt x="379" y="1227"/>
                  <a:pt x="378" y="1227"/>
                </a:cubicBezTo>
                <a:moveTo>
                  <a:pt x="424" y="1227"/>
                </a:moveTo>
                <a:cubicBezTo>
                  <a:pt x="415" y="1227"/>
                  <a:pt x="405" y="1232"/>
                  <a:pt x="401" y="1237"/>
                </a:cubicBezTo>
                <a:cubicBezTo>
                  <a:pt x="398" y="1243"/>
                  <a:pt x="402" y="1247"/>
                  <a:pt x="411" y="1247"/>
                </a:cubicBezTo>
                <a:cubicBezTo>
                  <a:pt x="420" y="1247"/>
                  <a:pt x="430" y="1243"/>
                  <a:pt x="433" y="1237"/>
                </a:cubicBezTo>
                <a:cubicBezTo>
                  <a:pt x="437" y="1232"/>
                  <a:pt x="433" y="1227"/>
                  <a:pt x="424" y="1227"/>
                </a:cubicBezTo>
                <a:cubicBezTo>
                  <a:pt x="424" y="1227"/>
                  <a:pt x="424" y="1227"/>
                  <a:pt x="424" y="1227"/>
                </a:cubicBezTo>
                <a:moveTo>
                  <a:pt x="471" y="1227"/>
                </a:moveTo>
                <a:cubicBezTo>
                  <a:pt x="462" y="1227"/>
                  <a:pt x="452" y="1232"/>
                  <a:pt x="448" y="1237"/>
                </a:cubicBezTo>
                <a:cubicBezTo>
                  <a:pt x="445" y="1243"/>
                  <a:pt x="449" y="1247"/>
                  <a:pt x="458" y="1247"/>
                </a:cubicBezTo>
                <a:cubicBezTo>
                  <a:pt x="467" y="1247"/>
                  <a:pt x="477" y="1243"/>
                  <a:pt x="480" y="1237"/>
                </a:cubicBezTo>
                <a:cubicBezTo>
                  <a:pt x="484" y="1232"/>
                  <a:pt x="480" y="1227"/>
                  <a:pt x="471" y="1227"/>
                </a:cubicBezTo>
                <a:cubicBezTo>
                  <a:pt x="471" y="1227"/>
                  <a:pt x="471" y="1227"/>
                  <a:pt x="471" y="1227"/>
                </a:cubicBezTo>
                <a:moveTo>
                  <a:pt x="516" y="1227"/>
                </a:moveTo>
                <a:cubicBezTo>
                  <a:pt x="507" y="1227"/>
                  <a:pt x="497" y="1232"/>
                  <a:pt x="494" y="1237"/>
                </a:cubicBezTo>
                <a:cubicBezTo>
                  <a:pt x="490" y="1243"/>
                  <a:pt x="495" y="1247"/>
                  <a:pt x="503" y="1247"/>
                </a:cubicBezTo>
                <a:cubicBezTo>
                  <a:pt x="512" y="1247"/>
                  <a:pt x="522" y="1243"/>
                  <a:pt x="526" y="1237"/>
                </a:cubicBezTo>
                <a:cubicBezTo>
                  <a:pt x="529" y="1231"/>
                  <a:pt x="525" y="1227"/>
                  <a:pt x="516" y="1227"/>
                </a:cubicBezTo>
                <a:cubicBezTo>
                  <a:pt x="516" y="1227"/>
                  <a:pt x="516" y="1227"/>
                  <a:pt x="516" y="1227"/>
                </a:cubicBezTo>
                <a:moveTo>
                  <a:pt x="562" y="1227"/>
                </a:moveTo>
                <a:cubicBezTo>
                  <a:pt x="553" y="1227"/>
                  <a:pt x="543" y="1231"/>
                  <a:pt x="539" y="1237"/>
                </a:cubicBezTo>
                <a:cubicBezTo>
                  <a:pt x="536" y="1243"/>
                  <a:pt x="540" y="1247"/>
                  <a:pt x="549" y="1247"/>
                </a:cubicBezTo>
                <a:cubicBezTo>
                  <a:pt x="558" y="1247"/>
                  <a:pt x="568" y="1243"/>
                  <a:pt x="571" y="1237"/>
                </a:cubicBezTo>
                <a:cubicBezTo>
                  <a:pt x="575" y="1231"/>
                  <a:pt x="570" y="1227"/>
                  <a:pt x="562" y="1227"/>
                </a:cubicBezTo>
                <a:cubicBezTo>
                  <a:pt x="562" y="1227"/>
                  <a:pt x="562" y="1227"/>
                  <a:pt x="562" y="1227"/>
                </a:cubicBezTo>
                <a:moveTo>
                  <a:pt x="608" y="1227"/>
                </a:moveTo>
                <a:cubicBezTo>
                  <a:pt x="599" y="1227"/>
                  <a:pt x="589" y="1231"/>
                  <a:pt x="586" y="1237"/>
                </a:cubicBezTo>
                <a:cubicBezTo>
                  <a:pt x="582" y="1242"/>
                  <a:pt x="587" y="1247"/>
                  <a:pt x="595" y="1247"/>
                </a:cubicBezTo>
                <a:cubicBezTo>
                  <a:pt x="604" y="1247"/>
                  <a:pt x="614" y="1242"/>
                  <a:pt x="617" y="1237"/>
                </a:cubicBezTo>
                <a:cubicBezTo>
                  <a:pt x="621" y="1231"/>
                  <a:pt x="616" y="1227"/>
                  <a:pt x="608" y="1227"/>
                </a:cubicBezTo>
                <a:cubicBezTo>
                  <a:pt x="608" y="1227"/>
                  <a:pt x="608" y="1227"/>
                  <a:pt x="608" y="1227"/>
                </a:cubicBezTo>
                <a:moveTo>
                  <a:pt x="653" y="1227"/>
                </a:moveTo>
                <a:cubicBezTo>
                  <a:pt x="644" y="1227"/>
                  <a:pt x="634" y="1231"/>
                  <a:pt x="631" y="1237"/>
                </a:cubicBezTo>
                <a:cubicBezTo>
                  <a:pt x="628" y="1242"/>
                  <a:pt x="632" y="1247"/>
                  <a:pt x="641" y="1247"/>
                </a:cubicBezTo>
                <a:cubicBezTo>
                  <a:pt x="650" y="1247"/>
                  <a:pt x="659" y="1242"/>
                  <a:pt x="663" y="1237"/>
                </a:cubicBezTo>
                <a:cubicBezTo>
                  <a:pt x="666" y="1231"/>
                  <a:pt x="661" y="1227"/>
                  <a:pt x="653" y="1227"/>
                </a:cubicBezTo>
                <a:cubicBezTo>
                  <a:pt x="653" y="1227"/>
                  <a:pt x="653" y="1227"/>
                  <a:pt x="653" y="1227"/>
                </a:cubicBezTo>
                <a:moveTo>
                  <a:pt x="698" y="1226"/>
                </a:moveTo>
                <a:cubicBezTo>
                  <a:pt x="689" y="1226"/>
                  <a:pt x="680" y="1231"/>
                  <a:pt x="676" y="1237"/>
                </a:cubicBezTo>
                <a:cubicBezTo>
                  <a:pt x="673" y="1242"/>
                  <a:pt x="678" y="1247"/>
                  <a:pt x="687" y="1247"/>
                </a:cubicBezTo>
                <a:cubicBezTo>
                  <a:pt x="695" y="1247"/>
                  <a:pt x="705" y="1242"/>
                  <a:pt x="708" y="1237"/>
                </a:cubicBezTo>
                <a:cubicBezTo>
                  <a:pt x="711" y="1231"/>
                  <a:pt x="707" y="1226"/>
                  <a:pt x="698" y="1226"/>
                </a:cubicBezTo>
                <a:cubicBezTo>
                  <a:pt x="698" y="1226"/>
                  <a:pt x="698" y="1226"/>
                  <a:pt x="698" y="1226"/>
                </a:cubicBezTo>
                <a:moveTo>
                  <a:pt x="743" y="1226"/>
                </a:moveTo>
                <a:cubicBezTo>
                  <a:pt x="734" y="1226"/>
                  <a:pt x="725" y="1231"/>
                  <a:pt x="722" y="1237"/>
                </a:cubicBezTo>
                <a:cubicBezTo>
                  <a:pt x="719" y="1242"/>
                  <a:pt x="723" y="1247"/>
                  <a:pt x="732" y="1247"/>
                </a:cubicBezTo>
                <a:cubicBezTo>
                  <a:pt x="741" y="1247"/>
                  <a:pt x="750" y="1242"/>
                  <a:pt x="754" y="1236"/>
                </a:cubicBezTo>
                <a:cubicBezTo>
                  <a:pt x="757" y="1231"/>
                  <a:pt x="752" y="1226"/>
                  <a:pt x="743" y="1226"/>
                </a:cubicBezTo>
                <a:cubicBezTo>
                  <a:pt x="743" y="1226"/>
                  <a:pt x="743" y="1226"/>
                  <a:pt x="743" y="1226"/>
                </a:cubicBezTo>
                <a:moveTo>
                  <a:pt x="789" y="1226"/>
                </a:moveTo>
                <a:cubicBezTo>
                  <a:pt x="780" y="1226"/>
                  <a:pt x="770" y="1231"/>
                  <a:pt x="767" y="1236"/>
                </a:cubicBezTo>
                <a:cubicBezTo>
                  <a:pt x="764" y="1242"/>
                  <a:pt x="769" y="1247"/>
                  <a:pt x="778" y="1247"/>
                </a:cubicBezTo>
                <a:cubicBezTo>
                  <a:pt x="787" y="1247"/>
                  <a:pt x="796" y="1242"/>
                  <a:pt x="799" y="1236"/>
                </a:cubicBezTo>
                <a:cubicBezTo>
                  <a:pt x="802" y="1231"/>
                  <a:pt x="798" y="1226"/>
                  <a:pt x="789" y="1226"/>
                </a:cubicBezTo>
                <a:cubicBezTo>
                  <a:pt x="789" y="1226"/>
                  <a:pt x="789" y="1226"/>
                  <a:pt x="789" y="1226"/>
                </a:cubicBezTo>
                <a:moveTo>
                  <a:pt x="835" y="1226"/>
                </a:moveTo>
                <a:cubicBezTo>
                  <a:pt x="826" y="1226"/>
                  <a:pt x="816" y="1231"/>
                  <a:pt x="813" y="1236"/>
                </a:cubicBezTo>
                <a:cubicBezTo>
                  <a:pt x="810" y="1242"/>
                  <a:pt x="815" y="1246"/>
                  <a:pt x="824" y="1246"/>
                </a:cubicBezTo>
                <a:cubicBezTo>
                  <a:pt x="833" y="1246"/>
                  <a:pt x="842" y="1242"/>
                  <a:pt x="845" y="1236"/>
                </a:cubicBezTo>
                <a:cubicBezTo>
                  <a:pt x="848" y="1231"/>
                  <a:pt x="843" y="1226"/>
                  <a:pt x="835" y="1226"/>
                </a:cubicBezTo>
                <a:cubicBezTo>
                  <a:pt x="835" y="1226"/>
                  <a:pt x="835" y="1226"/>
                  <a:pt x="835" y="1226"/>
                </a:cubicBezTo>
                <a:moveTo>
                  <a:pt x="880" y="1226"/>
                </a:moveTo>
                <a:cubicBezTo>
                  <a:pt x="871" y="1226"/>
                  <a:pt x="862" y="1231"/>
                  <a:pt x="859" y="1236"/>
                </a:cubicBezTo>
                <a:cubicBezTo>
                  <a:pt x="856" y="1242"/>
                  <a:pt x="861" y="1246"/>
                  <a:pt x="869" y="1246"/>
                </a:cubicBezTo>
                <a:cubicBezTo>
                  <a:pt x="878" y="1246"/>
                  <a:pt x="888" y="1242"/>
                  <a:pt x="891" y="1236"/>
                </a:cubicBezTo>
                <a:cubicBezTo>
                  <a:pt x="893" y="1231"/>
                  <a:pt x="889" y="1226"/>
                  <a:pt x="880" y="1226"/>
                </a:cubicBezTo>
                <a:cubicBezTo>
                  <a:pt x="880" y="1226"/>
                  <a:pt x="880" y="1226"/>
                  <a:pt x="880" y="1226"/>
                </a:cubicBezTo>
                <a:moveTo>
                  <a:pt x="925" y="1226"/>
                </a:moveTo>
                <a:cubicBezTo>
                  <a:pt x="916" y="1226"/>
                  <a:pt x="907" y="1230"/>
                  <a:pt x="904" y="1236"/>
                </a:cubicBezTo>
                <a:cubicBezTo>
                  <a:pt x="901" y="1242"/>
                  <a:pt x="906" y="1246"/>
                  <a:pt x="915" y="1246"/>
                </a:cubicBezTo>
                <a:cubicBezTo>
                  <a:pt x="924" y="1246"/>
                  <a:pt x="933" y="1242"/>
                  <a:pt x="936" y="1236"/>
                </a:cubicBezTo>
                <a:cubicBezTo>
                  <a:pt x="939" y="1230"/>
                  <a:pt x="934" y="1226"/>
                  <a:pt x="925" y="1226"/>
                </a:cubicBezTo>
                <a:cubicBezTo>
                  <a:pt x="925" y="1226"/>
                  <a:pt x="925" y="1226"/>
                  <a:pt x="925" y="1226"/>
                </a:cubicBezTo>
                <a:moveTo>
                  <a:pt x="970" y="1226"/>
                </a:moveTo>
                <a:cubicBezTo>
                  <a:pt x="962" y="1226"/>
                  <a:pt x="952" y="1230"/>
                  <a:pt x="950" y="1236"/>
                </a:cubicBezTo>
                <a:cubicBezTo>
                  <a:pt x="947" y="1242"/>
                  <a:pt x="952" y="1246"/>
                  <a:pt x="961" y="1246"/>
                </a:cubicBezTo>
                <a:cubicBezTo>
                  <a:pt x="969" y="1246"/>
                  <a:pt x="979" y="1241"/>
                  <a:pt x="981" y="1236"/>
                </a:cubicBezTo>
                <a:cubicBezTo>
                  <a:pt x="984" y="1230"/>
                  <a:pt x="979" y="1226"/>
                  <a:pt x="970" y="1226"/>
                </a:cubicBezTo>
                <a:cubicBezTo>
                  <a:pt x="970" y="1226"/>
                  <a:pt x="970" y="1226"/>
                  <a:pt x="970" y="1226"/>
                </a:cubicBezTo>
                <a:moveTo>
                  <a:pt x="1016" y="1226"/>
                </a:moveTo>
                <a:cubicBezTo>
                  <a:pt x="1007" y="1226"/>
                  <a:pt x="998" y="1230"/>
                  <a:pt x="995" y="1236"/>
                </a:cubicBezTo>
                <a:cubicBezTo>
                  <a:pt x="993" y="1241"/>
                  <a:pt x="998" y="1246"/>
                  <a:pt x="1006" y="1246"/>
                </a:cubicBezTo>
                <a:cubicBezTo>
                  <a:pt x="1015" y="1246"/>
                  <a:pt x="1025" y="1241"/>
                  <a:pt x="1027" y="1236"/>
                </a:cubicBezTo>
                <a:cubicBezTo>
                  <a:pt x="1030" y="1230"/>
                  <a:pt x="1025" y="1226"/>
                  <a:pt x="1016" y="1226"/>
                </a:cubicBezTo>
                <a:cubicBezTo>
                  <a:pt x="1016" y="1226"/>
                  <a:pt x="1016" y="1226"/>
                  <a:pt x="1016" y="1226"/>
                </a:cubicBezTo>
                <a:moveTo>
                  <a:pt x="1062" y="1226"/>
                </a:moveTo>
                <a:cubicBezTo>
                  <a:pt x="1053" y="1226"/>
                  <a:pt x="1044" y="1230"/>
                  <a:pt x="1041" y="1236"/>
                </a:cubicBezTo>
                <a:cubicBezTo>
                  <a:pt x="1039" y="1241"/>
                  <a:pt x="1044" y="1246"/>
                  <a:pt x="1053" y="1246"/>
                </a:cubicBezTo>
                <a:cubicBezTo>
                  <a:pt x="1061" y="1246"/>
                  <a:pt x="1071" y="1241"/>
                  <a:pt x="1073" y="1236"/>
                </a:cubicBezTo>
                <a:cubicBezTo>
                  <a:pt x="1076" y="1230"/>
                  <a:pt x="1071" y="1226"/>
                  <a:pt x="1062" y="1226"/>
                </a:cubicBezTo>
                <a:cubicBezTo>
                  <a:pt x="1062" y="1226"/>
                  <a:pt x="1062" y="1226"/>
                  <a:pt x="1062" y="1226"/>
                </a:cubicBezTo>
                <a:moveTo>
                  <a:pt x="1103" y="1225"/>
                </a:moveTo>
                <a:cubicBezTo>
                  <a:pt x="1094" y="1225"/>
                  <a:pt x="1085" y="1230"/>
                  <a:pt x="1082" y="1236"/>
                </a:cubicBezTo>
                <a:cubicBezTo>
                  <a:pt x="1080" y="1241"/>
                  <a:pt x="1085" y="1246"/>
                  <a:pt x="1094" y="1246"/>
                </a:cubicBezTo>
                <a:cubicBezTo>
                  <a:pt x="1103" y="1246"/>
                  <a:pt x="1112" y="1241"/>
                  <a:pt x="1114" y="1236"/>
                </a:cubicBezTo>
                <a:cubicBezTo>
                  <a:pt x="1117" y="1230"/>
                  <a:pt x="1112" y="1225"/>
                  <a:pt x="1103" y="1225"/>
                </a:cubicBezTo>
                <a:cubicBezTo>
                  <a:pt x="1103" y="1225"/>
                  <a:pt x="1103" y="1225"/>
                  <a:pt x="1103" y="1225"/>
                </a:cubicBezTo>
                <a:moveTo>
                  <a:pt x="1152" y="1225"/>
                </a:moveTo>
                <a:cubicBezTo>
                  <a:pt x="1143" y="1225"/>
                  <a:pt x="1134" y="1230"/>
                  <a:pt x="1132" y="1235"/>
                </a:cubicBezTo>
                <a:cubicBezTo>
                  <a:pt x="1130" y="1241"/>
                  <a:pt x="1135" y="1246"/>
                  <a:pt x="1144" y="1246"/>
                </a:cubicBezTo>
                <a:cubicBezTo>
                  <a:pt x="1152" y="1246"/>
                  <a:pt x="1161" y="1241"/>
                  <a:pt x="1164" y="1235"/>
                </a:cubicBezTo>
                <a:cubicBezTo>
                  <a:pt x="1166" y="1230"/>
                  <a:pt x="1161" y="1225"/>
                  <a:pt x="1152" y="1225"/>
                </a:cubicBezTo>
                <a:cubicBezTo>
                  <a:pt x="1152" y="1225"/>
                  <a:pt x="1152" y="1225"/>
                  <a:pt x="1152" y="1225"/>
                </a:cubicBezTo>
                <a:moveTo>
                  <a:pt x="2195" y="1224"/>
                </a:moveTo>
                <a:cubicBezTo>
                  <a:pt x="2186" y="1224"/>
                  <a:pt x="2178" y="1229"/>
                  <a:pt x="2178" y="1234"/>
                </a:cubicBezTo>
                <a:cubicBezTo>
                  <a:pt x="2177" y="1240"/>
                  <a:pt x="2184" y="1244"/>
                  <a:pt x="2193" y="1244"/>
                </a:cubicBezTo>
                <a:cubicBezTo>
                  <a:pt x="2202" y="1244"/>
                  <a:pt x="2209" y="1240"/>
                  <a:pt x="2210" y="1234"/>
                </a:cubicBezTo>
                <a:cubicBezTo>
                  <a:pt x="2210" y="1228"/>
                  <a:pt x="2204" y="1224"/>
                  <a:pt x="2195" y="1224"/>
                </a:cubicBezTo>
                <a:cubicBezTo>
                  <a:pt x="2195" y="1224"/>
                  <a:pt x="2195" y="1224"/>
                  <a:pt x="2195" y="1224"/>
                </a:cubicBezTo>
                <a:moveTo>
                  <a:pt x="2240" y="1224"/>
                </a:moveTo>
                <a:cubicBezTo>
                  <a:pt x="2231" y="1224"/>
                  <a:pt x="2224" y="1228"/>
                  <a:pt x="2223" y="1234"/>
                </a:cubicBezTo>
                <a:cubicBezTo>
                  <a:pt x="2223" y="1240"/>
                  <a:pt x="2230" y="1244"/>
                  <a:pt x="2238" y="1244"/>
                </a:cubicBezTo>
                <a:cubicBezTo>
                  <a:pt x="2247" y="1244"/>
                  <a:pt x="2255" y="1240"/>
                  <a:pt x="2255" y="1234"/>
                </a:cubicBezTo>
                <a:cubicBezTo>
                  <a:pt x="2255" y="1228"/>
                  <a:pt x="2249" y="1224"/>
                  <a:pt x="2240" y="1224"/>
                </a:cubicBezTo>
                <a:cubicBezTo>
                  <a:pt x="2240" y="1224"/>
                  <a:pt x="2240" y="1224"/>
                  <a:pt x="2240" y="1224"/>
                </a:cubicBezTo>
                <a:moveTo>
                  <a:pt x="2285" y="1224"/>
                </a:moveTo>
                <a:cubicBezTo>
                  <a:pt x="2277" y="1224"/>
                  <a:pt x="2269" y="1228"/>
                  <a:pt x="2269" y="1234"/>
                </a:cubicBezTo>
                <a:cubicBezTo>
                  <a:pt x="2268" y="1240"/>
                  <a:pt x="2275" y="1244"/>
                  <a:pt x="2284" y="1244"/>
                </a:cubicBezTo>
                <a:cubicBezTo>
                  <a:pt x="2293" y="1244"/>
                  <a:pt x="2300" y="1240"/>
                  <a:pt x="2301" y="1234"/>
                </a:cubicBezTo>
                <a:cubicBezTo>
                  <a:pt x="2301" y="1228"/>
                  <a:pt x="2294" y="1224"/>
                  <a:pt x="2285" y="1224"/>
                </a:cubicBezTo>
                <a:cubicBezTo>
                  <a:pt x="2285" y="1224"/>
                  <a:pt x="2285" y="1224"/>
                  <a:pt x="2285" y="1224"/>
                </a:cubicBezTo>
                <a:moveTo>
                  <a:pt x="2330" y="1224"/>
                </a:moveTo>
                <a:cubicBezTo>
                  <a:pt x="2321" y="1224"/>
                  <a:pt x="2314" y="1228"/>
                  <a:pt x="2314" y="1234"/>
                </a:cubicBezTo>
                <a:cubicBezTo>
                  <a:pt x="2313" y="1239"/>
                  <a:pt x="2320" y="1244"/>
                  <a:pt x="2329" y="1244"/>
                </a:cubicBezTo>
                <a:cubicBezTo>
                  <a:pt x="2338" y="1244"/>
                  <a:pt x="2345" y="1239"/>
                  <a:pt x="2346" y="1234"/>
                </a:cubicBezTo>
                <a:cubicBezTo>
                  <a:pt x="2346" y="1228"/>
                  <a:pt x="2339" y="1224"/>
                  <a:pt x="2330" y="1224"/>
                </a:cubicBezTo>
                <a:cubicBezTo>
                  <a:pt x="2330" y="1224"/>
                  <a:pt x="2330" y="1224"/>
                  <a:pt x="2330" y="1224"/>
                </a:cubicBezTo>
                <a:moveTo>
                  <a:pt x="2375" y="1223"/>
                </a:moveTo>
                <a:cubicBezTo>
                  <a:pt x="2366" y="1223"/>
                  <a:pt x="2359" y="1228"/>
                  <a:pt x="2359" y="1234"/>
                </a:cubicBezTo>
                <a:cubicBezTo>
                  <a:pt x="2359" y="1239"/>
                  <a:pt x="2366" y="1244"/>
                  <a:pt x="2375" y="1244"/>
                </a:cubicBezTo>
                <a:cubicBezTo>
                  <a:pt x="2383" y="1244"/>
                  <a:pt x="2391" y="1239"/>
                  <a:pt x="2391" y="1234"/>
                </a:cubicBezTo>
                <a:cubicBezTo>
                  <a:pt x="2391" y="1228"/>
                  <a:pt x="2384" y="1223"/>
                  <a:pt x="2375" y="1223"/>
                </a:cubicBezTo>
                <a:cubicBezTo>
                  <a:pt x="2375" y="1223"/>
                  <a:pt x="2375" y="1223"/>
                  <a:pt x="2375" y="1223"/>
                </a:cubicBezTo>
                <a:moveTo>
                  <a:pt x="2421" y="1223"/>
                </a:moveTo>
                <a:cubicBezTo>
                  <a:pt x="2412" y="1223"/>
                  <a:pt x="2405" y="1228"/>
                  <a:pt x="2405" y="1234"/>
                </a:cubicBezTo>
                <a:cubicBezTo>
                  <a:pt x="2405" y="1239"/>
                  <a:pt x="2412" y="1244"/>
                  <a:pt x="2420" y="1244"/>
                </a:cubicBezTo>
                <a:cubicBezTo>
                  <a:pt x="2429" y="1244"/>
                  <a:pt x="2436" y="1239"/>
                  <a:pt x="2436" y="1234"/>
                </a:cubicBezTo>
                <a:cubicBezTo>
                  <a:pt x="2437" y="1228"/>
                  <a:pt x="2430" y="1223"/>
                  <a:pt x="2421" y="1223"/>
                </a:cubicBezTo>
                <a:cubicBezTo>
                  <a:pt x="2421" y="1223"/>
                  <a:pt x="2421" y="1223"/>
                  <a:pt x="2421" y="1223"/>
                </a:cubicBezTo>
                <a:moveTo>
                  <a:pt x="2468" y="1223"/>
                </a:moveTo>
                <a:cubicBezTo>
                  <a:pt x="2459" y="1223"/>
                  <a:pt x="2452" y="1228"/>
                  <a:pt x="2452" y="1233"/>
                </a:cubicBezTo>
                <a:cubicBezTo>
                  <a:pt x="2452" y="1239"/>
                  <a:pt x="2459" y="1244"/>
                  <a:pt x="2468" y="1244"/>
                </a:cubicBezTo>
                <a:cubicBezTo>
                  <a:pt x="2476" y="1244"/>
                  <a:pt x="2484" y="1239"/>
                  <a:pt x="2483" y="1233"/>
                </a:cubicBezTo>
                <a:cubicBezTo>
                  <a:pt x="2483" y="1228"/>
                  <a:pt x="2476" y="1223"/>
                  <a:pt x="2468" y="1223"/>
                </a:cubicBezTo>
                <a:cubicBezTo>
                  <a:pt x="2468" y="1223"/>
                  <a:pt x="2468" y="1223"/>
                  <a:pt x="2468" y="1223"/>
                </a:cubicBezTo>
                <a:moveTo>
                  <a:pt x="2513" y="1223"/>
                </a:moveTo>
                <a:cubicBezTo>
                  <a:pt x="2504" y="1223"/>
                  <a:pt x="2497" y="1228"/>
                  <a:pt x="2497" y="1233"/>
                </a:cubicBezTo>
                <a:cubicBezTo>
                  <a:pt x="2497" y="1239"/>
                  <a:pt x="2504" y="1244"/>
                  <a:pt x="2513" y="1244"/>
                </a:cubicBezTo>
                <a:cubicBezTo>
                  <a:pt x="2522" y="1244"/>
                  <a:pt x="2529" y="1239"/>
                  <a:pt x="2529" y="1233"/>
                </a:cubicBezTo>
                <a:cubicBezTo>
                  <a:pt x="2529" y="1228"/>
                  <a:pt x="2521" y="1223"/>
                  <a:pt x="2513" y="1223"/>
                </a:cubicBezTo>
                <a:cubicBezTo>
                  <a:pt x="2513" y="1223"/>
                  <a:pt x="2513" y="1223"/>
                  <a:pt x="2513" y="1223"/>
                </a:cubicBezTo>
                <a:moveTo>
                  <a:pt x="2558" y="1223"/>
                </a:moveTo>
                <a:cubicBezTo>
                  <a:pt x="2549" y="1223"/>
                  <a:pt x="2542" y="1228"/>
                  <a:pt x="2542" y="1233"/>
                </a:cubicBezTo>
                <a:cubicBezTo>
                  <a:pt x="2543" y="1239"/>
                  <a:pt x="2550" y="1243"/>
                  <a:pt x="2559" y="1243"/>
                </a:cubicBezTo>
                <a:cubicBezTo>
                  <a:pt x="2568" y="1243"/>
                  <a:pt x="2575" y="1239"/>
                  <a:pt x="2574" y="1233"/>
                </a:cubicBezTo>
                <a:cubicBezTo>
                  <a:pt x="2574" y="1228"/>
                  <a:pt x="2567" y="1223"/>
                  <a:pt x="2558" y="1223"/>
                </a:cubicBezTo>
                <a:cubicBezTo>
                  <a:pt x="2558" y="1223"/>
                  <a:pt x="2558" y="1223"/>
                  <a:pt x="2558" y="1223"/>
                </a:cubicBezTo>
                <a:moveTo>
                  <a:pt x="2604" y="1223"/>
                </a:moveTo>
                <a:cubicBezTo>
                  <a:pt x="2595" y="1223"/>
                  <a:pt x="2588" y="1227"/>
                  <a:pt x="2589" y="1233"/>
                </a:cubicBezTo>
                <a:cubicBezTo>
                  <a:pt x="2589" y="1239"/>
                  <a:pt x="2596" y="1243"/>
                  <a:pt x="2605" y="1243"/>
                </a:cubicBezTo>
                <a:cubicBezTo>
                  <a:pt x="2614" y="1243"/>
                  <a:pt x="2621" y="1239"/>
                  <a:pt x="2620" y="1233"/>
                </a:cubicBezTo>
                <a:cubicBezTo>
                  <a:pt x="2620" y="1227"/>
                  <a:pt x="2613" y="1223"/>
                  <a:pt x="2604" y="1223"/>
                </a:cubicBezTo>
                <a:cubicBezTo>
                  <a:pt x="2604" y="1223"/>
                  <a:pt x="2604" y="1223"/>
                  <a:pt x="2604" y="1223"/>
                </a:cubicBezTo>
                <a:moveTo>
                  <a:pt x="2649" y="1223"/>
                </a:moveTo>
                <a:cubicBezTo>
                  <a:pt x="2640" y="1223"/>
                  <a:pt x="2633" y="1227"/>
                  <a:pt x="2634" y="1233"/>
                </a:cubicBezTo>
                <a:cubicBezTo>
                  <a:pt x="2634" y="1239"/>
                  <a:pt x="2641" y="1243"/>
                  <a:pt x="2650" y="1243"/>
                </a:cubicBezTo>
                <a:cubicBezTo>
                  <a:pt x="2659" y="1243"/>
                  <a:pt x="2666" y="1239"/>
                  <a:pt x="2666" y="1233"/>
                </a:cubicBezTo>
                <a:cubicBezTo>
                  <a:pt x="2665" y="1227"/>
                  <a:pt x="2658" y="1223"/>
                  <a:pt x="2649" y="1223"/>
                </a:cubicBezTo>
                <a:cubicBezTo>
                  <a:pt x="2649" y="1223"/>
                  <a:pt x="2649" y="1223"/>
                  <a:pt x="2649" y="1223"/>
                </a:cubicBezTo>
                <a:moveTo>
                  <a:pt x="2695" y="1223"/>
                </a:moveTo>
                <a:cubicBezTo>
                  <a:pt x="2686" y="1223"/>
                  <a:pt x="2679" y="1227"/>
                  <a:pt x="2680" y="1233"/>
                </a:cubicBezTo>
                <a:cubicBezTo>
                  <a:pt x="2680" y="1239"/>
                  <a:pt x="2688" y="1243"/>
                  <a:pt x="2696" y="1243"/>
                </a:cubicBezTo>
                <a:cubicBezTo>
                  <a:pt x="2705" y="1243"/>
                  <a:pt x="2712" y="1238"/>
                  <a:pt x="2712" y="1233"/>
                </a:cubicBezTo>
                <a:cubicBezTo>
                  <a:pt x="2711" y="1227"/>
                  <a:pt x="2704" y="1223"/>
                  <a:pt x="2695" y="1223"/>
                </a:cubicBezTo>
                <a:cubicBezTo>
                  <a:pt x="2695" y="1223"/>
                  <a:pt x="2695" y="1223"/>
                  <a:pt x="2695" y="1223"/>
                </a:cubicBezTo>
                <a:moveTo>
                  <a:pt x="4145" y="1219"/>
                </a:moveTo>
                <a:cubicBezTo>
                  <a:pt x="4137" y="1219"/>
                  <a:pt x="4132" y="1223"/>
                  <a:pt x="4135" y="1229"/>
                </a:cubicBezTo>
                <a:cubicBezTo>
                  <a:pt x="4138" y="1235"/>
                  <a:pt x="4148" y="1239"/>
                  <a:pt x="4156" y="1239"/>
                </a:cubicBezTo>
                <a:cubicBezTo>
                  <a:pt x="4165" y="1239"/>
                  <a:pt x="4170" y="1235"/>
                  <a:pt x="4167" y="1229"/>
                </a:cubicBezTo>
                <a:cubicBezTo>
                  <a:pt x="4164" y="1223"/>
                  <a:pt x="4154" y="1219"/>
                  <a:pt x="4145" y="1219"/>
                </a:cubicBezTo>
                <a:cubicBezTo>
                  <a:pt x="4145" y="1219"/>
                  <a:pt x="4145" y="1219"/>
                  <a:pt x="4145" y="1219"/>
                </a:cubicBezTo>
                <a:moveTo>
                  <a:pt x="4825" y="1215"/>
                </a:moveTo>
                <a:cubicBezTo>
                  <a:pt x="4816" y="1215"/>
                  <a:pt x="4813" y="1220"/>
                  <a:pt x="4817" y="1225"/>
                </a:cubicBezTo>
                <a:cubicBezTo>
                  <a:pt x="4821" y="1231"/>
                  <a:pt x="4832" y="1236"/>
                  <a:pt x="4840" y="1236"/>
                </a:cubicBezTo>
                <a:cubicBezTo>
                  <a:pt x="4849" y="1236"/>
                  <a:pt x="4853" y="1231"/>
                  <a:pt x="4849" y="1225"/>
                </a:cubicBezTo>
                <a:cubicBezTo>
                  <a:pt x="4844" y="1220"/>
                  <a:pt x="4834" y="1215"/>
                  <a:pt x="4825" y="1215"/>
                </a:cubicBezTo>
                <a:cubicBezTo>
                  <a:pt x="4825" y="1215"/>
                  <a:pt x="4825" y="1215"/>
                  <a:pt x="4825" y="1215"/>
                </a:cubicBezTo>
                <a:moveTo>
                  <a:pt x="4869" y="1215"/>
                </a:moveTo>
                <a:cubicBezTo>
                  <a:pt x="4860" y="1215"/>
                  <a:pt x="4857" y="1220"/>
                  <a:pt x="4861" y="1225"/>
                </a:cubicBezTo>
                <a:cubicBezTo>
                  <a:pt x="4865" y="1231"/>
                  <a:pt x="4876" y="1236"/>
                  <a:pt x="4885" y="1236"/>
                </a:cubicBezTo>
                <a:cubicBezTo>
                  <a:pt x="4894" y="1236"/>
                  <a:pt x="4897" y="1231"/>
                  <a:pt x="4893" y="1225"/>
                </a:cubicBezTo>
                <a:cubicBezTo>
                  <a:pt x="4888" y="1220"/>
                  <a:pt x="4878" y="1215"/>
                  <a:pt x="4869" y="1215"/>
                </a:cubicBezTo>
                <a:cubicBezTo>
                  <a:pt x="4869" y="1215"/>
                  <a:pt x="4869" y="1215"/>
                  <a:pt x="4869" y="1215"/>
                </a:cubicBezTo>
                <a:moveTo>
                  <a:pt x="4914" y="1215"/>
                </a:moveTo>
                <a:cubicBezTo>
                  <a:pt x="4906" y="1215"/>
                  <a:pt x="4902" y="1220"/>
                  <a:pt x="4907" y="1225"/>
                </a:cubicBezTo>
                <a:cubicBezTo>
                  <a:pt x="4911" y="1231"/>
                  <a:pt x="4922" y="1236"/>
                  <a:pt x="4930" y="1236"/>
                </a:cubicBezTo>
                <a:cubicBezTo>
                  <a:pt x="4939" y="1235"/>
                  <a:pt x="4943" y="1231"/>
                  <a:pt x="4938" y="1225"/>
                </a:cubicBezTo>
                <a:cubicBezTo>
                  <a:pt x="4934" y="1219"/>
                  <a:pt x="4923" y="1215"/>
                  <a:pt x="4915" y="1215"/>
                </a:cubicBezTo>
                <a:cubicBezTo>
                  <a:pt x="4914" y="1215"/>
                  <a:pt x="4914" y="1215"/>
                  <a:pt x="4914" y="1215"/>
                </a:cubicBezTo>
                <a:moveTo>
                  <a:pt x="4960" y="1215"/>
                </a:moveTo>
                <a:cubicBezTo>
                  <a:pt x="4952" y="1215"/>
                  <a:pt x="4948" y="1219"/>
                  <a:pt x="4953" y="1225"/>
                </a:cubicBezTo>
                <a:cubicBezTo>
                  <a:pt x="4957" y="1231"/>
                  <a:pt x="4968" y="1235"/>
                  <a:pt x="4977" y="1235"/>
                </a:cubicBezTo>
                <a:cubicBezTo>
                  <a:pt x="4986" y="1235"/>
                  <a:pt x="4989" y="1231"/>
                  <a:pt x="4984" y="1225"/>
                </a:cubicBezTo>
                <a:cubicBezTo>
                  <a:pt x="4980" y="1219"/>
                  <a:pt x="4969" y="1215"/>
                  <a:pt x="4960" y="1215"/>
                </a:cubicBezTo>
                <a:cubicBezTo>
                  <a:pt x="4960" y="1215"/>
                  <a:pt x="4960" y="1215"/>
                  <a:pt x="4960" y="1215"/>
                </a:cubicBezTo>
                <a:moveTo>
                  <a:pt x="264" y="1198"/>
                </a:moveTo>
                <a:cubicBezTo>
                  <a:pt x="255" y="1198"/>
                  <a:pt x="245" y="1203"/>
                  <a:pt x="241" y="1209"/>
                </a:cubicBezTo>
                <a:cubicBezTo>
                  <a:pt x="237" y="1214"/>
                  <a:pt x="240" y="1219"/>
                  <a:pt x="249" y="1219"/>
                </a:cubicBezTo>
                <a:cubicBezTo>
                  <a:pt x="258" y="1219"/>
                  <a:pt x="268" y="1214"/>
                  <a:pt x="272" y="1208"/>
                </a:cubicBezTo>
                <a:cubicBezTo>
                  <a:pt x="276" y="1203"/>
                  <a:pt x="272" y="1198"/>
                  <a:pt x="264" y="1198"/>
                </a:cubicBezTo>
                <a:cubicBezTo>
                  <a:pt x="264" y="1198"/>
                  <a:pt x="264" y="1198"/>
                  <a:pt x="264" y="1198"/>
                </a:cubicBezTo>
                <a:moveTo>
                  <a:pt x="308" y="1198"/>
                </a:moveTo>
                <a:cubicBezTo>
                  <a:pt x="300" y="1198"/>
                  <a:pt x="289" y="1203"/>
                  <a:pt x="285" y="1208"/>
                </a:cubicBezTo>
                <a:cubicBezTo>
                  <a:pt x="282" y="1214"/>
                  <a:pt x="285" y="1218"/>
                  <a:pt x="294" y="1218"/>
                </a:cubicBezTo>
                <a:cubicBezTo>
                  <a:pt x="303" y="1218"/>
                  <a:pt x="313" y="1214"/>
                  <a:pt x="317" y="1208"/>
                </a:cubicBezTo>
                <a:cubicBezTo>
                  <a:pt x="321" y="1203"/>
                  <a:pt x="317" y="1198"/>
                  <a:pt x="308" y="1198"/>
                </a:cubicBezTo>
                <a:cubicBezTo>
                  <a:pt x="308" y="1198"/>
                  <a:pt x="308" y="1198"/>
                  <a:pt x="308" y="1198"/>
                </a:cubicBezTo>
                <a:moveTo>
                  <a:pt x="353" y="1198"/>
                </a:moveTo>
                <a:cubicBezTo>
                  <a:pt x="345" y="1198"/>
                  <a:pt x="334" y="1203"/>
                  <a:pt x="331" y="1208"/>
                </a:cubicBezTo>
                <a:cubicBezTo>
                  <a:pt x="327" y="1214"/>
                  <a:pt x="331" y="1218"/>
                  <a:pt x="339" y="1218"/>
                </a:cubicBezTo>
                <a:cubicBezTo>
                  <a:pt x="348" y="1218"/>
                  <a:pt x="358" y="1214"/>
                  <a:pt x="362" y="1208"/>
                </a:cubicBezTo>
                <a:cubicBezTo>
                  <a:pt x="366" y="1203"/>
                  <a:pt x="362" y="1198"/>
                  <a:pt x="353" y="1198"/>
                </a:cubicBezTo>
                <a:cubicBezTo>
                  <a:pt x="353" y="1198"/>
                  <a:pt x="353" y="1198"/>
                  <a:pt x="353" y="1198"/>
                </a:cubicBezTo>
                <a:moveTo>
                  <a:pt x="398" y="1198"/>
                </a:moveTo>
                <a:cubicBezTo>
                  <a:pt x="389" y="1198"/>
                  <a:pt x="379" y="1203"/>
                  <a:pt x="375" y="1208"/>
                </a:cubicBezTo>
                <a:cubicBezTo>
                  <a:pt x="372" y="1214"/>
                  <a:pt x="376" y="1218"/>
                  <a:pt x="385" y="1218"/>
                </a:cubicBezTo>
                <a:cubicBezTo>
                  <a:pt x="393" y="1218"/>
                  <a:pt x="403" y="1214"/>
                  <a:pt x="407" y="1208"/>
                </a:cubicBezTo>
                <a:cubicBezTo>
                  <a:pt x="411" y="1202"/>
                  <a:pt x="407" y="1198"/>
                  <a:pt x="398" y="1198"/>
                </a:cubicBezTo>
                <a:cubicBezTo>
                  <a:pt x="398" y="1198"/>
                  <a:pt x="398" y="1198"/>
                  <a:pt x="398" y="1198"/>
                </a:cubicBezTo>
                <a:moveTo>
                  <a:pt x="443" y="1198"/>
                </a:moveTo>
                <a:cubicBezTo>
                  <a:pt x="434" y="1198"/>
                  <a:pt x="424" y="1202"/>
                  <a:pt x="421" y="1208"/>
                </a:cubicBezTo>
                <a:cubicBezTo>
                  <a:pt x="417" y="1214"/>
                  <a:pt x="421" y="1218"/>
                  <a:pt x="430" y="1218"/>
                </a:cubicBezTo>
                <a:cubicBezTo>
                  <a:pt x="439" y="1218"/>
                  <a:pt x="449" y="1214"/>
                  <a:pt x="452" y="1208"/>
                </a:cubicBezTo>
                <a:cubicBezTo>
                  <a:pt x="456" y="1202"/>
                  <a:pt x="452" y="1198"/>
                  <a:pt x="443" y="1198"/>
                </a:cubicBezTo>
                <a:cubicBezTo>
                  <a:pt x="443" y="1198"/>
                  <a:pt x="443" y="1198"/>
                  <a:pt x="443" y="1198"/>
                </a:cubicBezTo>
                <a:moveTo>
                  <a:pt x="490" y="1198"/>
                </a:moveTo>
                <a:cubicBezTo>
                  <a:pt x="481" y="1198"/>
                  <a:pt x="471" y="1202"/>
                  <a:pt x="467" y="1208"/>
                </a:cubicBezTo>
                <a:cubicBezTo>
                  <a:pt x="464" y="1214"/>
                  <a:pt x="468" y="1218"/>
                  <a:pt x="477" y="1218"/>
                </a:cubicBezTo>
                <a:cubicBezTo>
                  <a:pt x="485" y="1218"/>
                  <a:pt x="495" y="1213"/>
                  <a:pt x="499" y="1208"/>
                </a:cubicBezTo>
                <a:cubicBezTo>
                  <a:pt x="502" y="1202"/>
                  <a:pt x="498" y="1198"/>
                  <a:pt x="490" y="1198"/>
                </a:cubicBezTo>
                <a:cubicBezTo>
                  <a:pt x="490" y="1198"/>
                  <a:pt x="490" y="1198"/>
                  <a:pt x="490" y="1198"/>
                </a:cubicBezTo>
                <a:moveTo>
                  <a:pt x="534" y="1198"/>
                </a:moveTo>
                <a:cubicBezTo>
                  <a:pt x="526" y="1198"/>
                  <a:pt x="516" y="1202"/>
                  <a:pt x="512" y="1208"/>
                </a:cubicBezTo>
                <a:cubicBezTo>
                  <a:pt x="509" y="1213"/>
                  <a:pt x="513" y="1218"/>
                  <a:pt x="522" y="1218"/>
                </a:cubicBezTo>
                <a:cubicBezTo>
                  <a:pt x="530" y="1218"/>
                  <a:pt x="540" y="1213"/>
                  <a:pt x="544" y="1208"/>
                </a:cubicBezTo>
                <a:cubicBezTo>
                  <a:pt x="547" y="1202"/>
                  <a:pt x="543" y="1198"/>
                  <a:pt x="534" y="1198"/>
                </a:cubicBezTo>
                <a:cubicBezTo>
                  <a:pt x="534" y="1198"/>
                  <a:pt x="534" y="1198"/>
                  <a:pt x="534" y="1198"/>
                </a:cubicBezTo>
                <a:moveTo>
                  <a:pt x="579" y="1197"/>
                </a:moveTo>
                <a:cubicBezTo>
                  <a:pt x="571" y="1197"/>
                  <a:pt x="561" y="1202"/>
                  <a:pt x="557" y="1208"/>
                </a:cubicBezTo>
                <a:cubicBezTo>
                  <a:pt x="554" y="1213"/>
                  <a:pt x="558" y="1218"/>
                  <a:pt x="567" y="1218"/>
                </a:cubicBezTo>
                <a:cubicBezTo>
                  <a:pt x="576" y="1218"/>
                  <a:pt x="586" y="1213"/>
                  <a:pt x="589" y="1208"/>
                </a:cubicBezTo>
                <a:cubicBezTo>
                  <a:pt x="592" y="1202"/>
                  <a:pt x="588" y="1197"/>
                  <a:pt x="579" y="1197"/>
                </a:cubicBezTo>
                <a:cubicBezTo>
                  <a:pt x="579" y="1197"/>
                  <a:pt x="579" y="1197"/>
                  <a:pt x="579" y="1197"/>
                </a:cubicBezTo>
                <a:moveTo>
                  <a:pt x="625" y="1197"/>
                </a:moveTo>
                <a:cubicBezTo>
                  <a:pt x="616" y="1197"/>
                  <a:pt x="606" y="1202"/>
                  <a:pt x="603" y="1208"/>
                </a:cubicBezTo>
                <a:cubicBezTo>
                  <a:pt x="600" y="1213"/>
                  <a:pt x="604" y="1218"/>
                  <a:pt x="613" y="1218"/>
                </a:cubicBezTo>
                <a:cubicBezTo>
                  <a:pt x="622" y="1218"/>
                  <a:pt x="631" y="1213"/>
                  <a:pt x="635" y="1207"/>
                </a:cubicBezTo>
                <a:cubicBezTo>
                  <a:pt x="638" y="1202"/>
                  <a:pt x="634" y="1197"/>
                  <a:pt x="625" y="1197"/>
                </a:cubicBezTo>
                <a:cubicBezTo>
                  <a:pt x="625" y="1197"/>
                  <a:pt x="625" y="1197"/>
                  <a:pt x="625" y="1197"/>
                </a:cubicBezTo>
                <a:moveTo>
                  <a:pt x="670" y="1197"/>
                </a:moveTo>
                <a:cubicBezTo>
                  <a:pt x="661" y="1197"/>
                  <a:pt x="651" y="1202"/>
                  <a:pt x="648" y="1207"/>
                </a:cubicBezTo>
                <a:cubicBezTo>
                  <a:pt x="645" y="1213"/>
                  <a:pt x="649" y="1218"/>
                  <a:pt x="658" y="1218"/>
                </a:cubicBezTo>
                <a:cubicBezTo>
                  <a:pt x="667" y="1218"/>
                  <a:pt x="676" y="1213"/>
                  <a:pt x="680" y="1207"/>
                </a:cubicBezTo>
                <a:cubicBezTo>
                  <a:pt x="683" y="1202"/>
                  <a:pt x="678" y="1197"/>
                  <a:pt x="670" y="1197"/>
                </a:cubicBezTo>
                <a:cubicBezTo>
                  <a:pt x="670" y="1197"/>
                  <a:pt x="670" y="1197"/>
                  <a:pt x="670" y="1197"/>
                </a:cubicBezTo>
                <a:moveTo>
                  <a:pt x="715" y="1197"/>
                </a:moveTo>
                <a:cubicBezTo>
                  <a:pt x="706" y="1197"/>
                  <a:pt x="696" y="1202"/>
                  <a:pt x="693" y="1207"/>
                </a:cubicBezTo>
                <a:cubicBezTo>
                  <a:pt x="690" y="1213"/>
                  <a:pt x="694" y="1217"/>
                  <a:pt x="703" y="1217"/>
                </a:cubicBezTo>
                <a:cubicBezTo>
                  <a:pt x="712" y="1217"/>
                  <a:pt x="722" y="1213"/>
                  <a:pt x="725" y="1207"/>
                </a:cubicBezTo>
                <a:cubicBezTo>
                  <a:pt x="728" y="1202"/>
                  <a:pt x="723" y="1197"/>
                  <a:pt x="715" y="1197"/>
                </a:cubicBezTo>
                <a:cubicBezTo>
                  <a:pt x="715" y="1197"/>
                  <a:pt x="715" y="1197"/>
                  <a:pt x="715" y="1197"/>
                </a:cubicBezTo>
                <a:moveTo>
                  <a:pt x="759" y="1197"/>
                </a:moveTo>
                <a:cubicBezTo>
                  <a:pt x="751" y="1197"/>
                  <a:pt x="741" y="1202"/>
                  <a:pt x="738" y="1207"/>
                </a:cubicBezTo>
                <a:cubicBezTo>
                  <a:pt x="735" y="1213"/>
                  <a:pt x="739" y="1217"/>
                  <a:pt x="748" y="1217"/>
                </a:cubicBezTo>
                <a:cubicBezTo>
                  <a:pt x="757" y="1217"/>
                  <a:pt x="767" y="1213"/>
                  <a:pt x="770" y="1207"/>
                </a:cubicBezTo>
                <a:cubicBezTo>
                  <a:pt x="773" y="1202"/>
                  <a:pt x="768" y="1197"/>
                  <a:pt x="759" y="1197"/>
                </a:cubicBezTo>
                <a:cubicBezTo>
                  <a:pt x="759" y="1197"/>
                  <a:pt x="759" y="1197"/>
                  <a:pt x="759" y="1197"/>
                </a:cubicBezTo>
                <a:moveTo>
                  <a:pt x="804" y="1197"/>
                </a:moveTo>
                <a:cubicBezTo>
                  <a:pt x="796" y="1197"/>
                  <a:pt x="786" y="1201"/>
                  <a:pt x="783" y="1207"/>
                </a:cubicBezTo>
                <a:cubicBezTo>
                  <a:pt x="780" y="1213"/>
                  <a:pt x="785" y="1217"/>
                  <a:pt x="794" y="1217"/>
                </a:cubicBezTo>
                <a:cubicBezTo>
                  <a:pt x="802" y="1217"/>
                  <a:pt x="812" y="1213"/>
                  <a:pt x="815" y="1207"/>
                </a:cubicBezTo>
                <a:cubicBezTo>
                  <a:pt x="818" y="1201"/>
                  <a:pt x="813" y="1197"/>
                  <a:pt x="805" y="1197"/>
                </a:cubicBezTo>
                <a:cubicBezTo>
                  <a:pt x="804" y="1197"/>
                  <a:pt x="804" y="1197"/>
                  <a:pt x="804" y="1197"/>
                </a:cubicBezTo>
                <a:moveTo>
                  <a:pt x="850" y="1197"/>
                </a:moveTo>
                <a:cubicBezTo>
                  <a:pt x="841" y="1197"/>
                  <a:pt x="832" y="1201"/>
                  <a:pt x="829" y="1207"/>
                </a:cubicBezTo>
                <a:cubicBezTo>
                  <a:pt x="826" y="1213"/>
                  <a:pt x="831" y="1217"/>
                  <a:pt x="839" y="1217"/>
                </a:cubicBezTo>
                <a:cubicBezTo>
                  <a:pt x="848" y="1217"/>
                  <a:pt x="858" y="1212"/>
                  <a:pt x="860" y="1207"/>
                </a:cubicBezTo>
                <a:cubicBezTo>
                  <a:pt x="863" y="1201"/>
                  <a:pt x="859" y="1197"/>
                  <a:pt x="850" y="1197"/>
                </a:cubicBezTo>
                <a:cubicBezTo>
                  <a:pt x="850" y="1197"/>
                  <a:pt x="850" y="1197"/>
                  <a:pt x="850" y="1197"/>
                </a:cubicBezTo>
                <a:moveTo>
                  <a:pt x="895" y="1197"/>
                </a:moveTo>
                <a:cubicBezTo>
                  <a:pt x="886" y="1197"/>
                  <a:pt x="877" y="1201"/>
                  <a:pt x="874" y="1207"/>
                </a:cubicBezTo>
                <a:cubicBezTo>
                  <a:pt x="871" y="1212"/>
                  <a:pt x="876" y="1217"/>
                  <a:pt x="884" y="1217"/>
                </a:cubicBezTo>
                <a:cubicBezTo>
                  <a:pt x="893" y="1217"/>
                  <a:pt x="903" y="1212"/>
                  <a:pt x="905" y="1207"/>
                </a:cubicBezTo>
                <a:cubicBezTo>
                  <a:pt x="908" y="1201"/>
                  <a:pt x="903" y="1197"/>
                  <a:pt x="895" y="1197"/>
                </a:cubicBezTo>
                <a:cubicBezTo>
                  <a:pt x="895" y="1197"/>
                  <a:pt x="895" y="1197"/>
                  <a:pt x="895" y="1197"/>
                </a:cubicBezTo>
                <a:moveTo>
                  <a:pt x="940" y="1196"/>
                </a:moveTo>
                <a:cubicBezTo>
                  <a:pt x="931" y="1197"/>
                  <a:pt x="922" y="1201"/>
                  <a:pt x="919" y="1207"/>
                </a:cubicBezTo>
                <a:cubicBezTo>
                  <a:pt x="916" y="1212"/>
                  <a:pt x="921" y="1217"/>
                  <a:pt x="930" y="1217"/>
                </a:cubicBezTo>
                <a:cubicBezTo>
                  <a:pt x="938" y="1217"/>
                  <a:pt x="948" y="1212"/>
                  <a:pt x="950" y="1207"/>
                </a:cubicBezTo>
                <a:cubicBezTo>
                  <a:pt x="953" y="1201"/>
                  <a:pt x="948" y="1196"/>
                  <a:pt x="940" y="1196"/>
                </a:cubicBezTo>
                <a:cubicBezTo>
                  <a:pt x="940" y="1196"/>
                  <a:pt x="940" y="1196"/>
                  <a:pt x="940" y="1196"/>
                </a:cubicBezTo>
                <a:moveTo>
                  <a:pt x="984" y="1196"/>
                </a:moveTo>
                <a:cubicBezTo>
                  <a:pt x="976" y="1196"/>
                  <a:pt x="966" y="1201"/>
                  <a:pt x="964" y="1207"/>
                </a:cubicBezTo>
                <a:cubicBezTo>
                  <a:pt x="961" y="1212"/>
                  <a:pt x="966" y="1217"/>
                  <a:pt x="975" y="1217"/>
                </a:cubicBezTo>
                <a:cubicBezTo>
                  <a:pt x="983" y="1217"/>
                  <a:pt x="993" y="1212"/>
                  <a:pt x="995" y="1206"/>
                </a:cubicBezTo>
                <a:cubicBezTo>
                  <a:pt x="998" y="1201"/>
                  <a:pt x="993" y="1196"/>
                  <a:pt x="984" y="1196"/>
                </a:cubicBezTo>
                <a:cubicBezTo>
                  <a:pt x="984" y="1196"/>
                  <a:pt x="984" y="1196"/>
                  <a:pt x="984" y="1196"/>
                </a:cubicBezTo>
                <a:moveTo>
                  <a:pt x="1029" y="1196"/>
                </a:moveTo>
                <a:cubicBezTo>
                  <a:pt x="1021" y="1196"/>
                  <a:pt x="1012" y="1201"/>
                  <a:pt x="1009" y="1206"/>
                </a:cubicBezTo>
                <a:cubicBezTo>
                  <a:pt x="1006" y="1212"/>
                  <a:pt x="1011" y="1217"/>
                  <a:pt x="1020" y="1217"/>
                </a:cubicBezTo>
                <a:cubicBezTo>
                  <a:pt x="1029" y="1217"/>
                  <a:pt x="1038" y="1212"/>
                  <a:pt x="1041" y="1206"/>
                </a:cubicBezTo>
                <a:cubicBezTo>
                  <a:pt x="1043" y="1201"/>
                  <a:pt x="1038" y="1196"/>
                  <a:pt x="1030" y="1196"/>
                </a:cubicBezTo>
                <a:cubicBezTo>
                  <a:pt x="1029" y="1196"/>
                  <a:pt x="1029" y="1196"/>
                  <a:pt x="1029" y="1196"/>
                </a:cubicBezTo>
                <a:moveTo>
                  <a:pt x="1075" y="1196"/>
                </a:moveTo>
                <a:cubicBezTo>
                  <a:pt x="1066" y="1196"/>
                  <a:pt x="1057" y="1201"/>
                  <a:pt x="1055" y="1206"/>
                </a:cubicBezTo>
                <a:cubicBezTo>
                  <a:pt x="1052" y="1212"/>
                  <a:pt x="1057" y="1216"/>
                  <a:pt x="1066" y="1216"/>
                </a:cubicBezTo>
                <a:cubicBezTo>
                  <a:pt x="1075" y="1216"/>
                  <a:pt x="1084" y="1212"/>
                  <a:pt x="1086" y="1206"/>
                </a:cubicBezTo>
                <a:cubicBezTo>
                  <a:pt x="1089" y="1201"/>
                  <a:pt x="1084" y="1196"/>
                  <a:pt x="1075" y="1196"/>
                </a:cubicBezTo>
                <a:cubicBezTo>
                  <a:pt x="1075" y="1196"/>
                  <a:pt x="1075" y="1196"/>
                  <a:pt x="1075" y="1196"/>
                </a:cubicBezTo>
                <a:moveTo>
                  <a:pt x="1116" y="1196"/>
                </a:moveTo>
                <a:cubicBezTo>
                  <a:pt x="1107" y="1196"/>
                  <a:pt x="1098" y="1201"/>
                  <a:pt x="1095" y="1206"/>
                </a:cubicBezTo>
                <a:cubicBezTo>
                  <a:pt x="1093" y="1212"/>
                  <a:pt x="1098" y="1216"/>
                  <a:pt x="1107" y="1216"/>
                </a:cubicBezTo>
                <a:cubicBezTo>
                  <a:pt x="1116" y="1216"/>
                  <a:pt x="1125" y="1212"/>
                  <a:pt x="1127" y="1206"/>
                </a:cubicBezTo>
                <a:cubicBezTo>
                  <a:pt x="1129" y="1201"/>
                  <a:pt x="1124" y="1196"/>
                  <a:pt x="1116" y="1196"/>
                </a:cubicBezTo>
                <a:cubicBezTo>
                  <a:pt x="1116" y="1196"/>
                  <a:pt x="1116" y="1196"/>
                  <a:pt x="1116" y="1196"/>
                </a:cubicBezTo>
                <a:moveTo>
                  <a:pt x="2153" y="1195"/>
                </a:moveTo>
                <a:cubicBezTo>
                  <a:pt x="2144" y="1195"/>
                  <a:pt x="2137" y="1199"/>
                  <a:pt x="2136" y="1205"/>
                </a:cubicBezTo>
                <a:cubicBezTo>
                  <a:pt x="2135" y="1211"/>
                  <a:pt x="2142" y="1215"/>
                  <a:pt x="2151" y="1215"/>
                </a:cubicBezTo>
                <a:cubicBezTo>
                  <a:pt x="2160" y="1215"/>
                  <a:pt x="2167" y="1211"/>
                  <a:pt x="2168" y="1205"/>
                </a:cubicBezTo>
                <a:cubicBezTo>
                  <a:pt x="2168" y="1199"/>
                  <a:pt x="2162" y="1195"/>
                  <a:pt x="2153" y="1195"/>
                </a:cubicBezTo>
                <a:cubicBezTo>
                  <a:pt x="2153" y="1195"/>
                  <a:pt x="2153" y="1195"/>
                  <a:pt x="2153" y="1195"/>
                </a:cubicBezTo>
                <a:moveTo>
                  <a:pt x="2198" y="1195"/>
                </a:moveTo>
                <a:cubicBezTo>
                  <a:pt x="2190" y="1195"/>
                  <a:pt x="2182" y="1199"/>
                  <a:pt x="2182" y="1205"/>
                </a:cubicBezTo>
                <a:cubicBezTo>
                  <a:pt x="2181" y="1211"/>
                  <a:pt x="2188" y="1215"/>
                  <a:pt x="2197" y="1215"/>
                </a:cubicBezTo>
                <a:cubicBezTo>
                  <a:pt x="2205" y="1215"/>
                  <a:pt x="2213" y="1210"/>
                  <a:pt x="2213" y="1205"/>
                </a:cubicBezTo>
                <a:cubicBezTo>
                  <a:pt x="2214" y="1199"/>
                  <a:pt x="2207" y="1195"/>
                  <a:pt x="2198" y="1195"/>
                </a:cubicBezTo>
                <a:cubicBezTo>
                  <a:pt x="2198" y="1195"/>
                  <a:pt x="2198" y="1195"/>
                  <a:pt x="2198" y="1195"/>
                </a:cubicBezTo>
                <a:moveTo>
                  <a:pt x="2243" y="1195"/>
                </a:moveTo>
                <a:cubicBezTo>
                  <a:pt x="2234" y="1195"/>
                  <a:pt x="2227" y="1199"/>
                  <a:pt x="2226" y="1205"/>
                </a:cubicBezTo>
                <a:cubicBezTo>
                  <a:pt x="2226" y="1210"/>
                  <a:pt x="2232" y="1215"/>
                  <a:pt x="2241" y="1215"/>
                </a:cubicBezTo>
                <a:cubicBezTo>
                  <a:pt x="2250" y="1215"/>
                  <a:pt x="2257" y="1210"/>
                  <a:pt x="2258" y="1205"/>
                </a:cubicBezTo>
                <a:cubicBezTo>
                  <a:pt x="2258" y="1199"/>
                  <a:pt x="2251" y="1195"/>
                  <a:pt x="2243" y="1195"/>
                </a:cubicBezTo>
                <a:cubicBezTo>
                  <a:pt x="2243" y="1195"/>
                  <a:pt x="2243" y="1195"/>
                  <a:pt x="2243" y="1195"/>
                </a:cubicBezTo>
                <a:moveTo>
                  <a:pt x="2287" y="1194"/>
                </a:moveTo>
                <a:cubicBezTo>
                  <a:pt x="2279" y="1194"/>
                  <a:pt x="2271" y="1199"/>
                  <a:pt x="2271" y="1205"/>
                </a:cubicBezTo>
                <a:cubicBezTo>
                  <a:pt x="2271" y="1210"/>
                  <a:pt x="2277" y="1215"/>
                  <a:pt x="2286" y="1215"/>
                </a:cubicBezTo>
                <a:cubicBezTo>
                  <a:pt x="2295" y="1215"/>
                  <a:pt x="2302" y="1210"/>
                  <a:pt x="2303" y="1205"/>
                </a:cubicBezTo>
                <a:cubicBezTo>
                  <a:pt x="2303" y="1199"/>
                  <a:pt x="2296" y="1194"/>
                  <a:pt x="2287" y="1194"/>
                </a:cubicBezTo>
                <a:cubicBezTo>
                  <a:pt x="2287" y="1194"/>
                  <a:pt x="2287" y="1194"/>
                  <a:pt x="2287" y="1194"/>
                </a:cubicBezTo>
                <a:moveTo>
                  <a:pt x="2332" y="1194"/>
                </a:moveTo>
                <a:cubicBezTo>
                  <a:pt x="2324" y="1194"/>
                  <a:pt x="2316" y="1199"/>
                  <a:pt x="2316" y="1205"/>
                </a:cubicBezTo>
                <a:cubicBezTo>
                  <a:pt x="2316" y="1210"/>
                  <a:pt x="2323" y="1215"/>
                  <a:pt x="2332" y="1215"/>
                </a:cubicBezTo>
                <a:cubicBezTo>
                  <a:pt x="2340" y="1215"/>
                  <a:pt x="2348" y="1210"/>
                  <a:pt x="2348" y="1204"/>
                </a:cubicBezTo>
                <a:cubicBezTo>
                  <a:pt x="2348" y="1199"/>
                  <a:pt x="2341" y="1194"/>
                  <a:pt x="2333" y="1194"/>
                </a:cubicBezTo>
                <a:cubicBezTo>
                  <a:pt x="2333" y="1194"/>
                  <a:pt x="2332" y="1194"/>
                  <a:pt x="2332" y="1194"/>
                </a:cubicBezTo>
                <a:moveTo>
                  <a:pt x="2378" y="1194"/>
                </a:moveTo>
                <a:cubicBezTo>
                  <a:pt x="2369" y="1194"/>
                  <a:pt x="2362" y="1199"/>
                  <a:pt x="2362" y="1204"/>
                </a:cubicBezTo>
                <a:cubicBezTo>
                  <a:pt x="2362" y="1210"/>
                  <a:pt x="2369" y="1215"/>
                  <a:pt x="2377" y="1215"/>
                </a:cubicBezTo>
                <a:cubicBezTo>
                  <a:pt x="2386" y="1215"/>
                  <a:pt x="2393" y="1210"/>
                  <a:pt x="2393" y="1204"/>
                </a:cubicBezTo>
                <a:cubicBezTo>
                  <a:pt x="2394" y="1199"/>
                  <a:pt x="2387" y="1194"/>
                  <a:pt x="2378" y="1194"/>
                </a:cubicBezTo>
                <a:cubicBezTo>
                  <a:pt x="2378" y="1194"/>
                  <a:pt x="2378" y="1194"/>
                  <a:pt x="2378" y="1194"/>
                </a:cubicBezTo>
                <a:moveTo>
                  <a:pt x="2423" y="1194"/>
                </a:moveTo>
                <a:cubicBezTo>
                  <a:pt x="2414" y="1194"/>
                  <a:pt x="2407" y="1199"/>
                  <a:pt x="2407" y="1204"/>
                </a:cubicBezTo>
                <a:cubicBezTo>
                  <a:pt x="2407" y="1210"/>
                  <a:pt x="2414" y="1214"/>
                  <a:pt x="2422" y="1214"/>
                </a:cubicBezTo>
                <a:cubicBezTo>
                  <a:pt x="2431" y="1214"/>
                  <a:pt x="2438" y="1210"/>
                  <a:pt x="2438" y="1204"/>
                </a:cubicBezTo>
                <a:cubicBezTo>
                  <a:pt x="2438" y="1199"/>
                  <a:pt x="2431" y="1194"/>
                  <a:pt x="2423" y="1194"/>
                </a:cubicBezTo>
                <a:cubicBezTo>
                  <a:pt x="2423" y="1194"/>
                  <a:pt x="2423" y="1194"/>
                  <a:pt x="2423" y="1194"/>
                </a:cubicBezTo>
                <a:moveTo>
                  <a:pt x="2468" y="1194"/>
                </a:moveTo>
                <a:cubicBezTo>
                  <a:pt x="2459" y="1194"/>
                  <a:pt x="2452" y="1199"/>
                  <a:pt x="2452" y="1204"/>
                </a:cubicBezTo>
                <a:cubicBezTo>
                  <a:pt x="2452" y="1210"/>
                  <a:pt x="2459" y="1214"/>
                  <a:pt x="2468" y="1214"/>
                </a:cubicBezTo>
                <a:cubicBezTo>
                  <a:pt x="2476" y="1214"/>
                  <a:pt x="2483" y="1210"/>
                  <a:pt x="2483" y="1204"/>
                </a:cubicBezTo>
                <a:cubicBezTo>
                  <a:pt x="2483" y="1198"/>
                  <a:pt x="2476" y="1194"/>
                  <a:pt x="2468" y="1194"/>
                </a:cubicBezTo>
                <a:cubicBezTo>
                  <a:pt x="2468" y="1194"/>
                  <a:pt x="2468" y="1194"/>
                  <a:pt x="2468" y="1194"/>
                </a:cubicBezTo>
                <a:moveTo>
                  <a:pt x="2512" y="1194"/>
                </a:moveTo>
                <a:cubicBezTo>
                  <a:pt x="2504" y="1194"/>
                  <a:pt x="2497" y="1198"/>
                  <a:pt x="2497" y="1204"/>
                </a:cubicBezTo>
                <a:cubicBezTo>
                  <a:pt x="2497" y="1210"/>
                  <a:pt x="2504" y="1214"/>
                  <a:pt x="2512" y="1214"/>
                </a:cubicBezTo>
                <a:cubicBezTo>
                  <a:pt x="2521" y="1214"/>
                  <a:pt x="2528" y="1210"/>
                  <a:pt x="2528" y="1204"/>
                </a:cubicBezTo>
                <a:cubicBezTo>
                  <a:pt x="2528" y="1198"/>
                  <a:pt x="2521" y="1194"/>
                  <a:pt x="2512" y="1194"/>
                </a:cubicBezTo>
                <a:cubicBezTo>
                  <a:pt x="2512" y="1194"/>
                  <a:pt x="2512" y="1194"/>
                  <a:pt x="2512" y="1194"/>
                </a:cubicBezTo>
                <a:moveTo>
                  <a:pt x="2557" y="1194"/>
                </a:moveTo>
                <a:cubicBezTo>
                  <a:pt x="2549" y="1194"/>
                  <a:pt x="2542" y="1198"/>
                  <a:pt x="2542" y="1204"/>
                </a:cubicBezTo>
                <a:cubicBezTo>
                  <a:pt x="2542" y="1210"/>
                  <a:pt x="2549" y="1214"/>
                  <a:pt x="2558" y="1214"/>
                </a:cubicBezTo>
                <a:cubicBezTo>
                  <a:pt x="2567" y="1214"/>
                  <a:pt x="2574" y="1209"/>
                  <a:pt x="2573" y="1204"/>
                </a:cubicBezTo>
                <a:cubicBezTo>
                  <a:pt x="2573" y="1198"/>
                  <a:pt x="2566" y="1194"/>
                  <a:pt x="2557" y="1194"/>
                </a:cubicBezTo>
                <a:cubicBezTo>
                  <a:pt x="2557" y="1194"/>
                  <a:pt x="2557" y="1194"/>
                  <a:pt x="2557" y="1194"/>
                </a:cubicBezTo>
                <a:moveTo>
                  <a:pt x="2603" y="1194"/>
                </a:moveTo>
                <a:cubicBezTo>
                  <a:pt x="2594" y="1194"/>
                  <a:pt x="2587" y="1198"/>
                  <a:pt x="2587" y="1204"/>
                </a:cubicBezTo>
                <a:cubicBezTo>
                  <a:pt x="2588" y="1209"/>
                  <a:pt x="2595" y="1214"/>
                  <a:pt x="2604" y="1214"/>
                </a:cubicBezTo>
                <a:cubicBezTo>
                  <a:pt x="2612" y="1214"/>
                  <a:pt x="2619" y="1209"/>
                  <a:pt x="2619" y="1204"/>
                </a:cubicBezTo>
                <a:cubicBezTo>
                  <a:pt x="2619" y="1198"/>
                  <a:pt x="2611" y="1194"/>
                  <a:pt x="2603" y="1194"/>
                </a:cubicBezTo>
                <a:cubicBezTo>
                  <a:pt x="2603" y="1194"/>
                  <a:pt x="2603" y="1194"/>
                  <a:pt x="2603" y="1194"/>
                </a:cubicBezTo>
                <a:moveTo>
                  <a:pt x="2647" y="1193"/>
                </a:moveTo>
                <a:cubicBezTo>
                  <a:pt x="2639" y="1193"/>
                  <a:pt x="2632" y="1198"/>
                  <a:pt x="2632" y="1204"/>
                </a:cubicBezTo>
                <a:cubicBezTo>
                  <a:pt x="2632" y="1209"/>
                  <a:pt x="2640" y="1214"/>
                  <a:pt x="2649" y="1214"/>
                </a:cubicBezTo>
                <a:cubicBezTo>
                  <a:pt x="2657" y="1214"/>
                  <a:pt x="2664" y="1209"/>
                  <a:pt x="2664" y="1204"/>
                </a:cubicBezTo>
                <a:cubicBezTo>
                  <a:pt x="2663" y="1198"/>
                  <a:pt x="2656" y="1193"/>
                  <a:pt x="2647" y="1193"/>
                </a:cubicBezTo>
                <a:cubicBezTo>
                  <a:pt x="2647" y="1193"/>
                  <a:pt x="2647" y="1193"/>
                  <a:pt x="2647" y="1193"/>
                </a:cubicBezTo>
                <a:moveTo>
                  <a:pt x="2693" y="1193"/>
                </a:moveTo>
                <a:cubicBezTo>
                  <a:pt x="2684" y="1193"/>
                  <a:pt x="2677" y="1198"/>
                  <a:pt x="2678" y="1204"/>
                </a:cubicBezTo>
                <a:cubicBezTo>
                  <a:pt x="2678" y="1209"/>
                  <a:pt x="2685" y="1214"/>
                  <a:pt x="2694" y="1214"/>
                </a:cubicBezTo>
                <a:cubicBezTo>
                  <a:pt x="2703" y="1214"/>
                  <a:pt x="2710" y="1209"/>
                  <a:pt x="2709" y="1203"/>
                </a:cubicBezTo>
                <a:cubicBezTo>
                  <a:pt x="2709" y="1198"/>
                  <a:pt x="2701" y="1193"/>
                  <a:pt x="2693" y="1193"/>
                </a:cubicBezTo>
                <a:cubicBezTo>
                  <a:pt x="2693" y="1193"/>
                  <a:pt x="2693" y="1193"/>
                  <a:pt x="2693" y="1193"/>
                </a:cubicBezTo>
                <a:moveTo>
                  <a:pt x="4040" y="1188"/>
                </a:moveTo>
                <a:cubicBezTo>
                  <a:pt x="4031" y="1188"/>
                  <a:pt x="4026" y="1193"/>
                  <a:pt x="4029" y="1199"/>
                </a:cubicBezTo>
                <a:cubicBezTo>
                  <a:pt x="4032" y="1204"/>
                  <a:pt x="4041" y="1209"/>
                  <a:pt x="4050" y="1209"/>
                </a:cubicBezTo>
                <a:cubicBezTo>
                  <a:pt x="4059" y="1209"/>
                  <a:pt x="4064" y="1204"/>
                  <a:pt x="4061" y="1198"/>
                </a:cubicBezTo>
                <a:cubicBezTo>
                  <a:pt x="4058" y="1193"/>
                  <a:pt x="4049" y="1188"/>
                  <a:pt x="4040" y="1188"/>
                </a:cubicBezTo>
                <a:cubicBezTo>
                  <a:pt x="4040" y="1188"/>
                  <a:pt x="4040" y="1188"/>
                  <a:pt x="4040" y="1188"/>
                </a:cubicBezTo>
                <a:moveTo>
                  <a:pt x="4083" y="1188"/>
                </a:moveTo>
                <a:cubicBezTo>
                  <a:pt x="4075" y="1188"/>
                  <a:pt x="4070" y="1193"/>
                  <a:pt x="4073" y="1198"/>
                </a:cubicBezTo>
                <a:cubicBezTo>
                  <a:pt x="4076" y="1204"/>
                  <a:pt x="4085" y="1209"/>
                  <a:pt x="4094" y="1209"/>
                </a:cubicBezTo>
                <a:cubicBezTo>
                  <a:pt x="4103" y="1209"/>
                  <a:pt x="4107" y="1204"/>
                  <a:pt x="4104" y="1198"/>
                </a:cubicBezTo>
                <a:cubicBezTo>
                  <a:pt x="4102" y="1193"/>
                  <a:pt x="4092" y="1188"/>
                  <a:pt x="4084" y="1188"/>
                </a:cubicBezTo>
                <a:cubicBezTo>
                  <a:pt x="4083" y="1188"/>
                  <a:pt x="4083" y="1188"/>
                  <a:pt x="4083" y="1188"/>
                </a:cubicBezTo>
                <a:moveTo>
                  <a:pt x="4397" y="1186"/>
                </a:moveTo>
                <a:cubicBezTo>
                  <a:pt x="4388" y="1187"/>
                  <a:pt x="4384" y="1191"/>
                  <a:pt x="4387" y="1197"/>
                </a:cubicBezTo>
                <a:cubicBezTo>
                  <a:pt x="4391" y="1203"/>
                  <a:pt x="4401" y="1207"/>
                  <a:pt x="4409" y="1207"/>
                </a:cubicBezTo>
                <a:cubicBezTo>
                  <a:pt x="4418" y="1207"/>
                  <a:pt x="4422" y="1202"/>
                  <a:pt x="4419" y="1197"/>
                </a:cubicBezTo>
                <a:cubicBezTo>
                  <a:pt x="4415" y="1191"/>
                  <a:pt x="4405" y="1186"/>
                  <a:pt x="4397" y="1186"/>
                </a:cubicBezTo>
                <a:cubicBezTo>
                  <a:pt x="4397" y="1186"/>
                  <a:pt x="4397" y="1186"/>
                  <a:pt x="4397" y="1186"/>
                </a:cubicBezTo>
                <a:moveTo>
                  <a:pt x="4442" y="1186"/>
                </a:moveTo>
                <a:cubicBezTo>
                  <a:pt x="4433" y="1186"/>
                  <a:pt x="4429" y="1191"/>
                  <a:pt x="4433" y="1197"/>
                </a:cubicBezTo>
                <a:cubicBezTo>
                  <a:pt x="4436" y="1202"/>
                  <a:pt x="4446" y="1207"/>
                  <a:pt x="4455" y="1207"/>
                </a:cubicBezTo>
                <a:cubicBezTo>
                  <a:pt x="4464" y="1207"/>
                  <a:pt x="4468" y="1202"/>
                  <a:pt x="4464" y="1197"/>
                </a:cubicBezTo>
                <a:cubicBezTo>
                  <a:pt x="4461" y="1191"/>
                  <a:pt x="4451" y="1186"/>
                  <a:pt x="4442" y="1186"/>
                </a:cubicBezTo>
                <a:cubicBezTo>
                  <a:pt x="4442" y="1186"/>
                  <a:pt x="4442" y="1186"/>
                  <a:pt x="4442" y="1186"/>
                </a:cubicBezTo>
                <a:moveTo>
                  <a:pt x="4712" y="1186"/>
                </a:moveTo>
                <a:cubicBezTo>
                  <a:pt x="4703" y="1186"/>
                  <a:pt x="4700" y="1190"/>
                  <a:pt x="4704" y="1196"/>
                </a:cubicBezTo>
                <a:cubicBezTo>
                  <a:pt x="4708" y="1202"/>
                  <a:pt x="4718" y="1206"/>
                  <a:pt x="4727" y="1206"/>
                </a:cubicBezTo>
                <a:cubicBezTo>
                  <a:pt x="4736" y="1206"/>
                  <a:pt x="4739" y="1202"/>
                  <a:pt x="4735" y="1196"/>
                </a:cubicBezTo>
                <a:cubicBezTo>
                  <a:pt x="4731" y="1190"/>
                  <a:pt x="4721" y="1186"/>
                  <a:pt x="4712" y="1186"/>
                </a:cubicBezTo>
                <a:cubicBezTo>
                  <a:pt x="4712" y="1186"/>
                  <a:pt x="4712" y="1186"/>
                  <a:pt x="4712" y="1186"/>
                </a:cubicBezTo>
                <a:moveTo>
                  <a:pt x="4757" y="1186"/>
                </a:moveTo>
                <a:cubicBezTo>
                  <a:pt x="4749" y="1186"/>
                  <a:pt x="4745" y="1190"/>
                  <a:pt x="4749" y="1196"/>
                </a:cubicBezTo>
                <a:cubicBezTo>
                  <a:pt x="4753" y="1202"/>
                  <a:pt x="4764" y="1206"/>
                  <a:pt x="4772" y="1206"/>
                </a:cubicBezTo>
                <a:cubicBezTo>
                  <a:pt x="4781" y="1206"/>
                  <a:pt x="4785" y="1201"/>
                  <a:pt x="4781" y="1196"/>
                </a:cubicBezTo>
                <a:cubicBezTo>
                  <a:pt x="4776" y="1190"/>
                  <a:pt x="4766" y="1186"/>
                  <a:pt x="4757" y="1186"/>
                </a:cubicBezTo>
                <a:cubicBezTo>
                  <a:pt x="4757" y="1186"/>
                  <a:pt x="4757" y="1186"/>
                  <a:pt x="4757" y="1186"/>
                </a:cubicBezTo>
                <a:moveTo>
                  <a:pt x="4803" y="1185"/>
                </a:moveTo>
                <a:cubicBezTo>
                  <a:pt x="4794" y="1185"/>
                  <a:pt x="4791" y="1190"/>
                  <a:pt x="4795" y="1196"/>
                </a:cubicBezTo>
                <a:cubicBezTo>
                  <a:pt x="4799" y="1201"/>
                  <a:pt x="4809" y="1206"/>
                  <a:pt x="4818" y="1206"/>
                </a:cubicBezTo>
                <a:cubicBezTo>
                  <a:pt x="4827" y="1206"/>
                  <a:pt x="4831" y="1201"/>
                  <a:pt x="4826" y="1196"/>
                </a:cubicBezTo>
                <a:cubicBezTo>
                  <a:pt x="4822" y="1190"/>
                  <a:pt x="4812" y="1185"/>
                  <a:pt x="4803" y="1185"/>
                </a:cubicBezTo>
                <a:cubicBezTo>
                  <a:pt x="4803" y="1185"/>
                  <a:pt x="4803" y="1185"/>
                  <a:pt x="4803" y="1185"/>
                </a:cubicBezTo>
                <a:moveTo>
                  <a:pt x="4846" y="1185"/>
                </a:moveTo>
                <a:cubicBezTo>
                  <a:pt x="4838" y="1185"/>
                  <a:pt x="4834" y="1190"/>
                  <a:pt x="4838" y="1196"/>
                </a:cubicBezTo>
                <a:cubicBezTo>
                  <a:pt x="4843" y="1201"/>
                  <a:pt x="4853" y="1206"/>
                  <a:pt x="4862" y="1206"/>
                </a:cubicBezTo>
                <a:cubicBezTo>
                  <a:pt x="4871" y="1206"/>
                  <a:pt x="4874" y="1201"/>
                  <a:pt x="4870" y="1196"/>
                </a:cubicBezTo>
                <a:cubicBezTo>
                  <a:pt x="4866" y="1190"/>
                  <a:pt x="4855" y="1185"/>
                  <a:pt x="4846" y="1185"/>
                </a:cubicBezTo>
                <a:cubicBezTo>
                  <a:pt x="4846" y="1185"/>
                  <a:pt x="4846" y="1185"/>
                  <a:pt x="4846" y="1185"/>
                </a:cubicBezTo>
                <a:moveTo>
                  <a:pt x="4891" y="1185"/>
                </a:moveTo>
                <a:cubicBezTo>
                  <a:pt x="4883" y="1185"/>
                  <a:pt x="4879" y="1190"/>
                  <a:pt x="4884" y="1195"/>
                </a:cubicBezTo>
                <a:cubicBezTo>
                  <a:pt x="4888" y="1201"/>
                  <a:pt x="4899" y="1206"/>
                  <a:pt x="4907" y="1206"/>
                </a:cubicBezTo>
                <a:cubicBezTo>
                  <a:pt x="4916" y="1206"/>
                  <a:pt x="4920" y="1201"/>
                  <a:pt x="4915" y="1195"/>
                </a:cubicBezTo>
                <a:cubicBezTo>
                  <a:pt x="4911" y="1190"/>
                  <a:pt x="4900" y="1185"/>
                  <a:pt x="4891" y="1185"/>
                </a:cubicBezTo>
                <a:cubicBezTo>
                  <a:pt x="4891" y="1185"/>
                  <a:pt x="4891" y="1185"/>
                  <a:pt x="4891" y="1185"/>
                </a:cubicBezTo>
                <a:moveTo>
                  <a:pt x="285" y="1168"/>
                </a:moveTo>
                <a:cubicBezTo>
                  <a:pt x="276" y="1168"/>
                  <a:pt x="266" y="1172"/>
                  <a:pt x="262" y="1178"/>
                </a:cubicBezTo>
                <a:cubicBezTo>
                  <a:pt x="258" y="1184"/>
                  <a:pt x="262" y="1188"/>
                  <a:pt x="271" y="1188"/>
                </a:cubicBezTo>
                <a:cubicBezTo>
                  <a:pt x="279" y="1188"/>
                  <a:pt x="290" y="1183"/>
                  <a:pt x="294" y="1178"/>
                </a:cubicBezTo>
                <a:cubicBezTo>
                  <a:pt x="298" y="1172"/>
                  <a:pt x="294" y="1168"/>
                  <a:pt x="285" y="1168"/>
                </a:cubicBezTo>
                <a:cubicBezTo>
                  <a:pt x="285" y="1168"/>
                  <a:pt x="285" y="1168"/>
                  <a:pt x="285" y="1168"/>
                </a:cubicBezTo>
                <a:moveTo>
                  <a:pt x="329" y="1168"/>
                </a:moveTo>
                <a:cubicBezTo>
                  <a:pt x="321" y="1168"/>
                  <a:pt x="311" y="1172"/>
                  <a:pt x="307" y="1178"/>
                </a:cubicBezTo>
                <a:cubicBezTo>
                  <a:pt x="303" y="1183"/>
                  <a:pt x="307" y="1188"/>
                  <a:pt x="315" y="1188"/>
                </a:cubicBezTo>
                <a:cubicBezTo>
                  <a:pt x="324" y="1188"/>
                  <a:pt x="334" y="1183"/>
                  <a:pt x="338" y="1178"/>
                </a:cubicBezTo>
                <a:cubicBezTo>
                  <a:pt x="342" y="1172"/>
                  <a:pt x="338" y="1168"/>
                  <a:pt x="329" y="1168"/>
                </a:cubicBezTo>
                <a:cubicBezTo>
                  <a:pt x="329" y="1168"/>
                  <a:pt x="329" y="1168"/>
                  <a:pt x="329" y="1168"/>
                </a:cubicBezTo>
                <a:moveTo>
                  <a:pt x="374" y="1168"/>
                </a:moveTo>
                <a:cubicBezTo>
                  <a:pt x="365" y="1168"/>
                  <a:pt x="355" y="1172"/>
                  <a:pt x="351" y="1178"/>
                </a:cubicBezTo>
                <a:cubicBezTo>
                  <a:pt x="348" y="1183"/>
                  <a:pt x="352" y="1188"/>
                  <a:pt x="360" y="1188"/>
                </a:cubicBezTo>
                <a:cubicBezTo>
                  <a:pt x="369" y="1188"/>
                  <a:pt x="379" y="1183"/>
                  <a:pt x="383" y="1178"/>
                </a:cubicBezTo>
                <a:cubicBezTo>
                  <a:pt x="387" y="1172"/>
                  <a:pt x="383" y="1168"/>
                  <a:pt x="374" y="1168"/>
                </a:cubicBezTo>
                <a:cubicBezTo>
                  <a:pt x="374" y="1168"/>
                  <a:pt x="374" y="1168"/>
                  <a:pt x="374" y="1168"/>
                </a:cubicBezTo>
                <a:moveTo>
                  <a:pt x="418" y="1167"/>
                </a:moveTo>
                <a:cubicBezTo>
                  <a:pt x="410" y="1167"/>
                  <a:pt x="400" y="1172"/>
                  <a:pt x="396" y="1178"/>
                </a:cubicBezTo>
                <a:cubicBezTo>
                  <a:pt x="392" y="1183"/>
                  <a:pt x="396" y="1188"/>
                  <a:pt x="405" y="1188"/>
                </a:cubicBezTo>
                <a:cubicBezTo>
                  <a:pt x="413" y="1188"/>
                  <a:pt x="424" y="1183"/>
                  <a:pt x="427" y="1178"/>
                </a:cubicBezTo>
                <a:cubicBezTo>
                  <a:pt x="431" y="1172"/>
                  <a:pt x="427" y="1167"/>
                  <a:pt x="418" y="1167"/>
                </a:cubicBezTo>
                <a:cubicBezTo>
                  <a:pt x="418" y="1167"/>
                  <a:pt x="418" y="1167"/>
                  <a:pt x="418" y="1167"/>
                </a:cubicBezTo>
                <a:moveTo>
                  <a:pt x="463" y="1167"/>
                </a:moveTo>
                <a:cubicBezTo>
                  <a:pt x="454" y="1167"/>
                  <a:pt x="444" y="1172"/>
                  <a:pt x="441" y="1177"/>
                </a:cubicBezTo>
                <a:cubicBezTo>
                  <a:pt x="437" y="1183"/>
                  <a:pt x="441" y="1188"/>
                  <a:pt x="450" y="1188"/>
                </a:cubicBezTo>
                <a:cubicBezTo>
                  <a:pt x="458" y="1188"/>
                  <a:pt x="468" y="1183"/>
                  <a:pt x="472" y="1177"/>
                </a:cubicBezTo>
                <a:cubicBezTo>
                  <a:pt x="476" y="1172"/>
                  <a:pt x="472" y="1167"/>
                  <a:pt x="463" y="1167"/>
                </a:cubicBezTo>
                <a:cubicBezTo>
                  <a:pt x="463" y="1167"/>
                  <a:pt x="463" y="1167"/>
                  <a:pt x="463" y="1167"/>
                </a:cubicBezTo>
                <a:moveTo>
                  <a:pt x="509" y="1167"/>
                </a:moveTo>
                <a:cubicBezTo>
                  <a:pt x="500" y="1167"/>
                  <a:pt x="490" y="1172"/>
                  <a:pt x="487" y="1177"/>
                </a:cubicBezTo>
                <a:cubicBezTo>
                  <a:pt x="483" y="1183"/>
                  <a:pt x="487" y="1187"/>
                  <a:pt x="496" y="1187"/>
                </a:cubicBezTo>
                <a:cubicBezTo>
                  <a:pt x="505" y="1187"/>
                  <a:pt x="515" y="1183"/>
                  <a:pt x="518" y="1177"/>
                </a:cubicBezTo>
                <a:cubicBezTo>
                  <a:pt x="522" y="1172"/>
                  <a:pt x="518" y="1167"/>
                  <a:pt x="509" y="1167"/>
                </a:cubicBezTo>
                <a:cubicBezTo>
                  <a:pt x="509" y="1167"/>
                  <a:pt x="509" y="1167"/>
                  <a:pt x="509" y="1167"/>
                </a:cubicBezTo>
                <a:moveTo>
                  <a:pt x="553" y="1167"/>
                </a:moveTo>
                <a:cubicBezTo>
                  <a:pt x="545" y="1167"/>
                  <a:pt x="535" y="1172"/>
                  <a:pt x="531" y="1177"/>
                </a:cubicBezTo>
                <a:cubicBezTo>
                  <a:pt x="528" y="1183"/>
                  <a:pt x="532" y="1187"/>
                  <a:pt x="541" y="1187"/>
                </a:cubicBezTo>
                <a:cubicBezTo>
                  <a:pt x="549" y="1187"/>
                  <a:pt x="559" y="1183"/>
                  <a:pt x="563" y="1177"/>
                </a:cubicBezTo>
                <a:cubicBezTo>
                  <a:pt x="566" y="1172"/>
                  <a:pt x="562" y="1167"/>
                  <a:pt x="553" y="1167"/>
                </a:cubicBezTo>
                <a:cubicBezTo>
                  <a:pt x="553" y="1167"/>
                  <a:pt x="553" y="1167"/>
                  <a:pt x="553" y="1167"/>
                </a:cubicBezTo>
                <a:moveTo>
                  <a:pt x="598" y="1167"/>
                </a:moveTo>
                <a:cubicBezTo>
                  <a:pt x="589" y="1167"/>
                  <a:pt x="580" y="1171"/>
                  <a:pt x="576" y="1177"/>
                </a:cubicBezTo>
                <a:cubicBezTo>
                  <a:pt x="573" y="1183"/>
                  <a:pt x="577" y="1187"/>
                  <a:pt x="586" y="1187"/>
                </a:cubicBezTo>
                <a:cubicBezTo>
                  <a:pt x="594" y="1187"/>
                  <a:pt x="604" y="1183"/>
                  <a:pt x="607" y="1177"/>
                </a:cubicBezTo>
                <a:cubicBezTo>
                  <a:pt x="611" y="1171"/>
                  <a:pt x="607" y="1167"/>
                  <a:pt x="598" y="1167"/>
                </a:cubicBezTo>
                <a:cubicBezTo>
                  <a:pt x="598" y="1167"/>
                  <a:pt x="598" y="1167"/>
                  <a:pt x="598" y="1167"/>
                </a:cubicBezTo>
                <a:moveTo>
                  <a:pt x="643" y="1167"/>
                </a:moveTo>
                <a:cubicBezTo>
                  <a:pt x="634" y="1167"/>
                  <a:pt x="625" y="1171"/>
                  <a:pt x="621" y="1177"/>
                </a:cubicBezTo>
                <a:cubicBezTo>
                  <a:pt x="618" y="1183"/>
                  <a:pt x="622" y="1187"/>
                  <a:pt x="631" y="1187"/>
                </a:cubicBezTo>
                <a:cubicBezTo>
                  <a:pt x="640" y="1187"/>
                  <a:pt x="649" y="1182"/>
                  <a:pt x="653" y="1177"/>
                </a:cubicBezTo>
                <a:cubicBezTo>
                  <a:pt x="656" y="1171"/>
                  <a:pt x="652" y="1167"/>
                  <a:pt x="643" y="1167"/>
                </a:cubicBezTo>
                <a:cubicBezTo>
                  <a:pt x="643" y="1167"/>
                  <a:pt x="643" y="1167"/>
                  <a:pt x="643" y="1167"/>
                </a:cubicBezTo>
                <a:moveTo>
                  <a:pt x="687" y="1167"/>
                </a:moveTo>
                <a:cubicBezTo>
                  <a:pt x="679" y="1167"/>
                  <a:pt x="669" y="1171"/>
                  <a:pt x="666" y="1177"/>
                </a:cubicBezTo>
                <a:cubicBezTo>
                  <a:pt x="663" y="1182"/>
                  <a:pt x="667" y="1187"/>
                  <a:pt x="676" y="1187"/>
                </a:cubicBezTo>
                <a:cubicBezTo>
                  <a:pt x="684" y="1187"/>
                  <a:pt x="694" y="1182"/>
                  <a:pt x="697" y="1177"/>
                </a:cubicBezTo>
                <a:cubicBezTo>
                  <a:pt x="700" y="1171"/>
                  <a:pt x="696" y="1167"/>
                  <a:pt x="687" y="1167"/>
                </a:cubicBezTo>
                <a:cubicBezTo>
                  <a:pt x="687" y="1167"/>
                  <a:pt x="687" y="1167"/>
                  <a:pt x="687" y="1167"/>
                </a:cubicBezTo>
                <a:moveTo>
                  <a:pt x="732" y="1167"/>
                </a:moveTo>
                <a:cubicBezTo>
                  <a:pt x="723" y="1167"/>
                  <a:pt x="714" y="1171"/>
                  <a:pt x="710" y="1177"/>
                </a:cubicBezTo>
                <a:cubicBezTo>
                  <a:pt x="707" y="1182"/>
                  <a:pt x="712" y="1187"/>
                  <a:pt x="720" y="1187"/>
                </a:cubicBezTo>
                <a:cubicBezTo>
                  <a:pt x="729" y="1187"/>
                  <a:pt x="739" y="1182"/>
                  <a:pt x="742" y="1177"/>
                </a:cubicBezTo>
                <a:cubicBezTo>
                  <a:pt x="745" y="1171"/>
                  <a:pt x="740" y="1167"/>
                  <a:pt x="732" y="1167"/>
                </a:cubicBezTo>
                <a:cubicBezTo>
                  <a:pt x="732" y="1167"/>
                  <a:pt x="732" y="1167"/>
                  <a:pt x="732" y="1167"/>
                </a:cubicBezTo>
                <a:moveTo>
                  <a:pt x="776" y="1166"/>
                </a:moveTo>
                <a:cubicBezTo>
                  <a:pt x="767" y="1166"/>
                  <a:pt x="758" y="1171"/>
                  <a:pt x="755" y="1177"/>
                </a:cubicBezTo>
                <a:cubicBezTo>
                  <a:pt x="752" y="1182"/>
                  <a:pt x="756" y="1187"/>
                  <a:pt x="765" y="1187"/>
                </a:cubicBezTo>
                <a:cubicBezTo>
                  <a:pt x="774" y="1187"/>
                  <a:pt x="783" y="1182"/>
                  <a:pt x="786" y="1176"/>
                </a:cubicBezTo>
                <a:cubicBezTo>
                  <a:pt x="789" y="1171"/>
                  <a:pt x="785" y="1166"/>
                  <a:pt x="776" y="1166"/>
                </a:cubicBezTo>
                <a:cubicBezTo>
                  <a:pt x="776" y="1166"/>
                  <a:pt x="776" y="1166"/>
                  <a:pt x="776" y="1166"/>
                </a:cubicBezTo>
                <a:moveTo>
                  <a:pt x="821" y="1166"/>
                </a:moveTo>
                <a:cubicBezTo>
                  <a:pt x="812" y="1166"/>
                  <a:pt x="803" y="1171"/>
                  <a:pt x="800" y="1176"/>
                </a:cubicBezTo>
                <a:cubicBezTo>
                  <a:pt x="797" y="1182"/>
                  <a:pt x="801" y="1187"/>
                  <a:pt x="810" y="1187"/>
                </a:cubicBezTo>
                <a:cubicBezTo>
                  <a:pt x="819" y="1187"/>
                  <a:pt x="828" y="1182"/>
                  <a:pt x="831" y="1176"/>
                </a:cubicBezTo>
                <a:cubicBezTo>
                  <a:pt x="834" y="1171"/>
                  <a:pt x="829" y="1166"/>
                  <a:pt x="821" y="1166"/>
                </a:cubicBezTo>
                <a:cubicBezTo>
                  <a:pt x="821" y="1166"/>
                  <a:pt x="821" y="1166"/>
                  <a:pt x="821" y="1166"/>
                </a:cubicBezTo>
                <a:moveTo>
                  <a:pt x="866" y="1166"/>
                </a:moveTo>
                <a:cubicBezTo>
                  <a:pt x="857" y="1166"/>
                  <a:pt x="848" y="1171"/>
                  <a:pt x="845" y="1176"/>
                </a:cubicBezTo>
                <a:cubicBezTo>
                  <a:pt x="842" y="1182"/>
                  <a:pt x="847" y="1186"/>
                  <a:pt x="855" y="1186"/>
                </a:cubicBezTo>
                <a:cubicBezTo>
                  <a:pt x="864" y="1186"/>
                  <a:pt x="873" y="1182"/>
                  <a:pt x="876" y="1176"/>
                </a:cubicBezTo>
                <a:cubicBezTo>
                  <a:pt x="879" y="1171"/>
                  <a:pt x="874" y="1166"/>
                  <a:pt x="866" y="1166"/>
                </a:cubicBezTo>
                <a:cubicBezTo>
                  <a:pt x="866" y="1166"/>
                  <a:pt x="866" y="1166"/>
                  <a:pt x="866" y="1166"/>
                </a:cubicBezTo>
                <a:moveTo>
                  <a:pt x="910" y="1166"/>
                </a:moveTo>
                <a:cubicBezTo>
                  <a:pt x="901" y="1166"/>
                  <a:pt x="892" y="1171"/>
                  <a:pt x="889" y="1176"/>
                </a:cubicBezTo>
                <a:cubicBezTo>
                  <a:pt x="886" y="1182"/>
                  <a:pt x="891" y="1186"/>
                  <a:pt x="900" y="1186"/>
                </a:cubicBezTo>
                <a:cubicBezTo>
                  <a:pt x="909" y="1186"/>
                  <a:pt x="918" y="1182"/>
                  <a:pt x="921" y="1176"/>
                </a:cubicBezTo>
                <a:cubicBezTo>
                  <a:pt x="923" y="1171"/>
                  <a:pt x="919" y="1166"/>
                  <a:pt x="910" y="1166"/>
                </a:cubicBezTo>
                <a:cubicBezTo>
                  <a:pt x="910" y="1166"/>
                  <a:pt x="910" y="1166"/>
                  <a:pt x="910" y="1166"/>
                </a:cubicBezTo>
                <a:moveTo>
                  <a:pt x="955" y="1166"/>
                </a:moveTo>
                <a:cubicBezTo>
                  <a:pt x="946" y="1166"/>
                  <a:pt x="937" y="1170"/>
                  <a:pt x="934" y="1176"/>
                </a:cubicBezTo>
                <a:cubicBezTo>
                  <a:pt x="931" y="1182"/>
                  <a:pt x="936" y="1186"/>
                  <a:pt x="945" y="1186"/>
                </a:cubicBezTo>
                <a:cubicBezTo>
                  <a:pt x="953" y="1186"/>
                  <a:pt x="963" y="1182"/>
                  <a:pt x="965" y="1176"/>
                </a:cubicBezTo>
                <a:cubicBezTo>
                  <a:pt x="968" y="1170"/>
                  <a:pt x="963" y="1166"/>
                  <a:pt x="955" y="1166"/>
                </a:cubicBezTo>
                <a:cubicBezTo>
                  <a:pt x="955" y="1166"/>
                  <a:pt x="955" y="1166"/>
                  <a:pt x="955" y="1166"/>
                </a:cubicBezTo>
                <a:moveTo>
                  <a:pt x="999" y="1166"/>
                </a:moveTo>
                <a:cubicBezTo>
                  <a:pt x="990" y="1166"/>
                  <a:pt x="981" y="1170"/>
                  <a:pt x="978" y="1176"/>
                </a:cubicBezTo>
                <a:cubicBezTo>
                  <a:pt x="976" y="1182"/>
                  <a:pt x="981" y="1186"/>
                  <a:pt x="989" y="1186"/>
                </a:cubicBezTo>
                <a:cubicBezTo>
                  <a:pt x="998" y="1186"/>
                  <a:pt x="1007" y="1182"/>
                  <a:pt x="1010" y="1176"/>
                </a:cubicBezTo>
                <a:cubicBezTo>
                  <a:pt x="1012" y="1170"/>
                  <a:pt x="1008" y="1166"/>
                  <a:pt x="999" y="1166"/>
                </a:cubicBezTo>
                <a:cubicBezTo>
                  <a:pt x="999" y="1166"/>
                  <a:pt x="999" y="1166"/>
                  <a:pt x="999" y="1166"/>
                </a:cubicBezTo>
                <a:moveTo>
                  <a:pt x="2111" y="1165"/>
                </a:moveTo>
                <a:cubicBezTo>
                  <a:pt x="2103" y="1165"/>
                  <a:pt x="2095" y="1170"/>
                  <a:pt x="2094" y="1176"/>
                </a:cubicBezTo>
                <a:cubicBezTo>
                  <a:pt x="2094" y="1181"/>
                  <a:pt x="2100" y="1186"/>
                  <a:pt x="2109" y="1186"/>
                </a:cubicBezTo>
                <a:cubicBezTo>
                  <a:pt x="2118" y="1186"/>
                  <a:pt x="2125" y="1181"/>
                  <a:pt x="2126" y="1176"/>
                </a:cubicBezTo>
                <a:cubicBezTo>
                  <a:pt x="2126" y="1170"/>
                  <a:pt x="2120" y="1165"/>
                  <a:pt x="2111" y="1165"/>
                </a:cubicBezTo>
                <a:cubicBezTo>
                  <a:pt x="2111" y="1165"/>
                  <a:pt x="2111" y="1165"/>
                  <a:pt x="2111" y="1165"/>
                </a:cubicBezTo>
                <a:moveTo>
                  <a:pt x="2156" y="1165"/>
                </a:moveTo>
                <a:cubicBezTo>
                  <a:pt x="2147" y="1165"/>
                  <a:pt x="2140" y="1170"/>
                  <a:pt x="2139" y="1175"/>
                </a:cubicBezTo>
                <a:cubicBezTo>
                  <a:pt x="2139" y="1181"/>
                  <a:pt x="2145" y="1186"/>
                  <a:pt x="2154" y="1186"/>
                </a:cubicBezTo>
                <a:cubicBezTo>
                  <a:pt x="2162" y="1186"/>
                  <a:pt x="2170" y="1181"/>
                  <a:pt x="2170" y="1175"/>
                </a:cubicBezTo>
                <a:cubicBezTo>
                  <a:pt x="2171" y="1170"/>
                  <a:pt x="2164" y="1165"/>
                  <a:pt x="2156" y="1165"/>
                </a:cubicBezTo>
                <a:cubicBezTo>
                  <a:pt x="2156" y="1165"/>
                  <a:pt x="2156" y="1165"/>
                  <a:pt x="2156" y="1165"/>
                </a:cubicBezTo>
                <a:moveTo>
                  <a:pt x="2201" y="1165"/>
                </a:moveTo>
                <a:cubicBezTo>
                  <a:pt x="2192" y="1165"/>
                  <a:pt x="2185" y="1170"/>
                  <a:pt x="2184" y="1175"/>
                </a:cubicBezTo>
                <a:cubicBezTo>
                  <a:pt x="2184" y="1181"/>
                  <a:pt x="2190" y="1186"/>
                  <a:pt x="2199" y="1186"/>
                </a:cubicBezTo>
                <a:cubicBezTo>
                  <a:pt x="2208" y="1186"/>
                  <a:pt x="2215" y="1181"/>
                  <a:pt x="2216" y="1175"/>
                </a:cubicBezTo>
                <a:cubicBezTo>
                  <a:pt x="2216" y="1170"/>
                  <a:pt x="2210" y="1165"/>
                  <a:pt x="2201" y="1165"/>
                </a:cubicBezTo>
                <a:cubicBezTo>
                  <a:pt x="2201" y="1165"/>
                  <a:pt x="2201" y="1165"/>
                  <a:pt x="2201" y="1165"/>
                </a:cubicBezTo>
                <a:moveTo>
                  <a:pt x="2245" y="1165"/>
                </a:moveTo>
                <a:cubicBezTo>
                  <a:pt x="2236" y="1165"/>
                  <a:pt x="2229" y="1170"/>
                  <a:pt x="2228" y="1175"/>
                </a:cubicBezTo>
                <a:cubicBezTo>
                  <a:pt x="2228" y="1181"/>
                  <a:pt x="2235" y="1185"/>
                  <a:pt x="2243" y="1185"/>
                </a:cubicBezTo>
                <a:cubicBezTo>
                  <a:pt x="2252" y="1185"/>
                  <a:pt x="2259" y="1181"/>
                  <a:pt x="2260" y="1175"/>
                </a:cubicBezTo>
                <a:cubicBezTo>
                  <a:pt x="2260" y="1170"/>
                  <a:pt x="2253" y="1165"/>
                  <a:pt x="2245" y="1165"/>
                </a:cubicBezTo>
                <a:cubicBezTo>
                  <a:pt x="2245" y="1165"/>
                  <a:pt x="2245" y="1165"/>
                  <a:pt x="2245" y="1165"/>
                </a:cubicBezTo>
                <a:moveTo>
                  <a:pt x="2289" y="1165"/>
                </a:moveTo>
                <a:cubicBezTo>
                  <a:pt x="2280" y="1165"/>
                  <a:pt x="2273" y="1169"/>
                  <a:pt x="2273" y="1175"/>
                </a:cubicBezTo>
                <a:cubicBezTo>
                  <a:pt x="2273" y="1181"/>
                  <a:pt x="2279" y="1185"/>
                  <a:pt x="2288" y="1185"/>
                </a:cubicBezTo>
                <a:cubicBezTo>
                  <a:pt x="2297" y="1185"/>
                  <a:pt x="2304" y="1181"/>
                  <a:pt x="2304" y="1175"/>
                </a:cubicBezTo>
                <a:cubicBezTo>
                  <a:pt x="2304" y="1169"/>
                  <a:pt x="2298" y="1165"/>
                  <a:pt x="2289" y="1165"/>
                </a:cubicBezTo>
                <a:cubicBezTo>
                  <a:pt x="2289" y="1165"/>
                  <a:pt x="2289" y="1165"/>
                  <a:pt x="2289" y="1165"/>
                </a:cubicBezTo>
                <a:moveTo>
                  <a:pt x="2334" y="1165"/>
                </a:moveTo>
                <a:cubicBezTo>
                  <a:pt x="2325" y="1165"/>
                  <a:pt x="2318" y="1169"/>
                  <a:pt x="2318" y="1175"/>
                </a:cubicBezTo>
                <a:cubicBezTo>
                  <a:pt x="2317" y="1181"/>
                  <a:pt x="2324" y="1185"/>
                  <a:pt x="2333" y="1185"/>
                </a:cubicBezTo>
                <a:cubicBezTo>
                  <a:pt x="2342" y="1185"/>
                  <a:pt x="2349" y="1181"/>
                  <a:pt x="2349" y="1175"/>
                </a:cubicBezTo>
                <a:cubicBezTo>
                  <a:pt x="2349" y="1169"/>
                  <a:pt x="2342" y="1165"/>
                  <a:pt x="2334" y="1165"/>
                </a:cubicBezTo>
                <a:cubicBezTo>
                  <a:pt x="2334" y="1165"/>
                  <a:pt x="2334" y="1165"/>
                  <a:pt x="2334" y="1165"/>
                </a:cubicBezTo>
                <a:moveTo>
                  <a:pt x="2379" y="1165"/>
                </a:moveTo>
                <a:cubicBezTo>
                  <a:pt x="2370" y="1165"/>
                  <a:pt x="2363" y="1169"/>
                  <a:pt x="2363" y="1175"/>
                </a:cubicBezTo>
                <a:cubicBezTo>
                  <a:pt x="2363" y="1181"/>
                  <a:pt x="2370" y="1185"/>
                  <a:pt x="2378" y="1185"/>
                </a:cubicBezTo>
                <a:cubicBezTo>
                  <a:pt x="2387" y="1185"/>
                  <a:pt x="2394" y="1180"/>
                  <a:pt x="2394" y="1175"/>
                </a:cubicBezTo>
                <a:cubicBezTo>
                  <a:pt x="2394" y="1169"/>
                  <a:pt x="2387" y="1165"/>
                  <a:pt x="2379" y="1165"/>
                </a:cubicBezTo>
                <a:cubicBezTo>
                  <a:pt x="2379" y="1165"/>
                  <a:pt x="2379" y="1165"/>
                  <a:pt x="2379" y="1165"/>
                </a:cubicBezTo>
                <a:moveTo>
                  <a:pt x="2423" y="1164"/>
                </a:moveTo>
                <a:cubicBezTo>
                  <a:pt x="2414" y="1165"/>
                  <a:pt x="2407" y="1169"/>
                  <a:pt x="2407" y="1175"/>
                </a:cubicBezTo>
                <a:cubicBezTo>
                  <a:pt x="2407" y="1180"/>
                  <a:pt x="2414" y="1185"/>
                  <a:pt x="2423" y="1185"/>
                </a:cubicBezTo>
                <a:cubicBezTo>
                  <a:pt x="2431" y="1185"/>
                  <a:pt x="2438" y="1180"/>
                  <a:pt x="2439" y="1175"/>
                </a:cubicBezTo>
                <a:cubicBezTo>
                  <a:pt x="2439" y="1169"/>
                  <a:pt x="2432" y="1164"/>
                  <a:pt x="2423" y="1164"/>
                </a:cubicBezTo>
                <a:cubicBezTo>
                  <a:pt x="2423" y="1164"/>
                  <a:pt x="2423" y="1164"/>
                  <a:pt x="2423" y="1164"/>
                </a:cubicBezTo>
                <a:moveTo>
                  <a:pt x="2468" y="1164"/>
                </a:moveTo>
                <a:cubicBezTo>
                  <a:pt x="2459" y="1164"/>
                  <a:pt x="2452" y="1169"/>
                  <a:pt x="2452" y="1175"/>
                </a:cubicBezTo>
                <a:cubicBezTo>
                  <a:pt x="2452" y="1180"/>
                  <a:pt x="2459" y="1185"/>
                  <a:pt x="2468" y="1185"/>
                </a:cubicBezTo>
                <a:cubicBezTo>
                  <a:pt x="2476" y="1185"/>
                  <a:pt x="2483" y="1180"/>
                  <a:pt x="2483" y="1175"/>
                </a:cubicBezTo>
                <a:cubicBezTo>
                  <a:pt x="2483" y="1169"/>
                  <a:pt x="2476" y="1164"/>
                  <a:pt x="2468" y="1164"/>
                </a:cubicBezTo>
                <a:cubicBezTo>
                  <a:pt x="2468" y="1164"/>
                  <a:pt x="2468" y="1164"/>
                  <a:pt x="2468" y="1164"/>
                </a:cubicBezTo>
                <a:moveTo>
                  <a:pt x="2512" y="1164"/>
                </a:moveTo>
                <a:cubicBezTo>
                  <a:pt x="2503" y="1164"/>
                  <a:pt x="2496" y="1169"/>
                  <a:pt x="2496" y="1174"/>
                </a:cubicBezTo>
                <a:cubicBezTo>
                  <a:pt x="2496" y="1180"/>
                  <a:pt x="2503" y="1185"/>
                  <a:pt x="2512" y="1185"/>
                </a:cubicBezTo>
                <a:cubicBezTo>
                  <a:pt x="2521" y="1185"/>
                  <a:pt x="2528" y="1180"/>
                  <a:pt x="2528" y="1174"/>
                </a:cubicBezTo>
                <a:cubicBezTo>
                  <a:pt x="2527" y="1169"/>
                  <a:pt x="2520" y="1164"/>
                  <a:pt x="2512" y="1164"/>
                </a:cubicBezTo>
                <a:cubicBezTo>
                  <a:pt x="2512" y="1164"/>
                  <a:pt x="2512" y="1164"/>
                  <a:pt x="2512" y="1164"/>
                </a:cubicBezTo>
                <a:moveTo>
                  <a:pt x="2556" y="1164"/>
                </a:moveTo>
                <a:cubicBezTo>
                  <a:pt x="2548" y="1164"/>
                  <a:pt x="2541" y="1169"/>
                  <a:pt x="2541" y="1174"/>
                </a:cubicBezTo>
                <a:cubicBezTo>
                  <a:pt x="2541" y="1180"/>
                  <a:pt x="2548" y="1185"/>
                  <a:pt x="2557" y="1185"/>
                </a:cubicBezTo>
                <a:cubicBezTo>
                  <a:pt x="2566" y="1185"/>
                  <a:pt x="2573" y="1180"/>
                  <a:pt x="2572" y="1174"/>
                </a:cubicBezTo>
                <a:cubicBezTo>
                  <a:pt x="2572" y="1169"/>
                  <a:pt x="2565" y="1164"/>
                  <a:pt x="2556" y="1164"/>
                </a:cubicBezTo>
                <a:cubicBezTo>
                  <a:pt x="2556" y="1164"/>
                  <a:pt x="2556" y="1164"/>
                  <a:pt x="2556" y="1164"/>
                </a:cubicBezTo>
                <a:moveTo>
                  <a:pt x="2601" y="1164"/>
                </a:moveTo>
                <a:cubicBezTo>
                  <a:pt x="2593" y="1164"/>
                  <a:pt x="2586" y="1169"/>
                  <a:pt x="2586" y="1174"/>
                </a:cubicBezTo>
                <a:cubicBezTo>
                  <a:pt x="2586" y="1180"/>
                  <a:pt x="2594" y="1184"/>
                  <a:pt x="2602" y="1184"/>
                </a:cubicBezTo>
                <a:cubicBezTo>
                  <a:pt x="2611" y="1184"/>
                  <a:pt x="2618" y="1180"/>
                  <a:pt x="2618" y="1174"/>
                </a:cubicBezTo>
                <a:cubicBezTo>
                  <a:pt x="2617" y="1169"/>
                  <a:pt x="2610" y="1164"/>
                  <a:pt x="2602" y="1164"/>
                </a:cubicBezTo>
                <a:cubicBezTo>
                  <a:pt x="2601" y="1164"/>
                  <a:pt x="2601" y="1164"/>
                  <a:pt x="2601" y="1164"/>
                </a:cubicBezTo>
                <a:moveTo>
                  <a:pt x="2646" y="1164"/>
                </a:moveTo>
                <a:cubicBezTo>
                  <a:pt x="2637" y="1164"/>
                  <a:pt x="2630" y="1168"/>
                  <a:pt x="2631" y="1174"/>
                </a:cubicBezTo>
                <a:cubicBezTo>
                  <a:pt x="2631" y="1180"/>
                  <a:pt x="2638" y="1184"/>
                  <a:pt x="2647" y="1184"/>
                </a:cubicBezTo>
                <a:cubicBezTo>
                  <a:pt x="2656" y="1184"/>
                  <a:pt x="2662" y="1180"/>
                  <a:pt x="2662" y="1174"/>
                </a:cubicBezTo>
                <a:cubicBezTo>
                  <a:pt x="2662" y="1168"/>
                  <a:pt x="2654" y="1164"/>
                  <a:pt x="2646" y="1164"/>
                </a:cubicBezTo>
                <a:cubicBezTo>
                  <a:pt x="2646" y="1164"/>
                  <a:pt x="2646" y="1164"/>
                  <a:pt x="2646" y="1164"/>
                </a:cubicBezTo>
                <a:moveTo>
                  <a:pt x="2691" y="1164"/>
                </a:moveTo>
                <a:cubicBezTo>
                  <a:pt x="2682" y="1164"/>
                  <a:pt x="2675" y="1168"/>
                  <a:pt x="2676" y="1174"/>
                </a:cubicBezTo>
                <a:cubicBezTo>
                  <a:pt x="2676" y="1180"/>
                  <a:pt x="2683" y="1184"/>
                  <a:pt x="2692" y="1184"/>
                </a:cubicBezTo>
                <a:cubicBezTo>
                  <a:pt x="2701" y="1184"/>
                  <a:pt x="2707" y="1180"/>
                  <a:pt x="2707" y="1174"/>
                </a:cubicBezTo>
                <a:cubicBezTo>
                  <a:pt x="2707" y="1168"/>
                  <a:pt x="2699" y="1164"/>
                  <a:pt x="2691" y="1164"/>
                </a:cubicBezTo>
                <a:cubicBezTo>
                  <a:pt x="2691" y="1164"/>
                  <a:pt x="2691" y="1164"/>
                  <a:pt x="2691" y="1164"/>
                </a:cubicBezTo>
                <a:moveTo>
                  <a:pt x="2734" y="1164"/>
                </a:moveTo>
                <a:cubicBezTo>
                  <a:pt x="2725" y="1164"/>
                  <a:pt x="2718" y="1168"/>
                  <a:pt x="2719" y="1174"/>
                </a:cubicBezTo>
                <a:cubicBezTo>
                  <a:pt x="2719" y="1180"/>
                  <a:pt x="2727" y="1184"/>
                  <a:pt x="2735" y="1184"/>
                </a:cubicBezTo>
                <a:cubicBezTo>
                  <a:pt x="2744" y="1184"/>
                  <a:pt x="2751" y="1179"/>
                  <a:pt x="2750" y="1174"/>
                </a:cubicBezTo>
                <a:cubicBezTo>
                  <a:pt x="2750" y="1168"/>
                  <a:pt x="2742" y="1164"/>
                  <a:pt x="2734" y="1164"/>
                </a:cubicBezTo>
                <a:cubicBezTo>
                  <a:pt x="2734" y="1164"/>
                  <a:pt x="2734" y="1164"/>
                  <a:pt x="2734" y="1164"/>
                </a:cubicBezTo>
                <a:moveTo>
                  <a:pt x="4380" y="1159"/>
                </a:moveTo>
                <a:cubicBezTo>
                  <a:pt x="4371" y="1159"/>
                  <a:pt x="4367" y="1164"/>
                  <a:pt x="4370" y="1169"/>
                </a:cubicBezTo>
                <a:cubicBezTo>
                  <a:pt x="4374" y="1175"/>
                  <a:pt x="4384" y="1180"/>
                  <a:pt x="4392" y="1180"/>
                </a:cubicBezTo>
                <a:cubicBezTo>
                  <a:pt x="4401" y="1180"/>
                  <a:pt x="4405" y="1175"/>
                  <a:pt x="4402" y="1169"/>
                </a:cubicBezTo>
                <a:cubicBezTo>
                  <a:pt x="4398" y="1164"/>
                  <a:pt x="4388" y="1159"/>
                  <a:pt x="4380" y="1159"/>
                </a:cubicBezTo>
                <a:cubicBezTo>
                  <a:pt x="4380" y="1159"/>
                  <a:pt x="4380" y="1159"/>
                  <a:pt x="4380" y="1159"/>
                </a:cubicBezTo>
                <a:moveTo>
                  <a:pt x="4422" y="1159"/>
                </a:moveTo>
                <a:cubicBezTo>
                  <a:pt x="4413" y="1159"/>
                  <a:pt x="4409" y="1164"/>
                  <a:pt x="4412" y="1169"/>
                </a:cubicBezTo>
                <a:cubicBezTo>
                  <a:pt x="4416" y="1175"/>
                  <a:pt x="4426" y="1180"/>
                  <a:pt x="4434" y="1179"/>
                </a:cubicBezTo>
                <a:cubicBezTo>
                  <a:pt x="4443" y="1179"/>
                  <a:pt x="4447" y="1175"/>
                  <a:pt x="4444" y="1169"/>
                </a:cubicBezTo>
                <a:cubicBezTo>
                  <a:pt x="4440" y="1163"/>
                  <a:pt x="4430" y="1159"/>
                  <a:pt x="4422" y="1159"/>
                </a:cubicBezTo>
                <a:cubicBezTo>
                  <a:pt x="4422" y="1159"/>
                  <a:pt x="4422" y="1159"/>
                  <a:pt x="4422" y="1159"/>
                </a:cubicBezTo>
                <a:moveTo>
                  <a:pt x="4024" y="1157"/>
                </a:moveTo>
                <a:cubicBezTo>
                  <a:pt x="4016" y="1157"/>
                  <a:pt x="4011" y="1162"/>
                  <a:pt x="4014" y="1168"/>
                </a:cubicBezTo>
                <a:cubicBezTo>
                  <a:pt x="4017" y="1173"/>
                  <a:pt x="4026" y="1178"/>
                  <a:pt x="4035" y="1178"/>
                </a:cubicBezTo>
                <a:cubicBezTo>
                  <a:pt x="4043" y="1178"/>
                  <a:pt x="4048" y="1173"/>
                  <a:pt x="4045" y="1167"/>
                </a:cubicBezTo>
                <a:cubicBezTo>
                  <a:pt x="4042" y="1162"/>
                  <a:pt x="4033" y="1157"/>
                  <a:pt x="4024" y="1157"/>
                </a:cubicBezTo>
                <a:cubicBezTo>
                  <a:pt x="4024" y="1157"/>
                  <a:pt x="4024" y="1157"/>
                  <a:pt x="4024" y="1157"/>
                </a:cubicBezTo>
                <a:moveTo>
                  <a:pt x="4067" y="1157"/>
                </a:moveTo>
                <a:cubicBezTo>
                  <a:pt x="4059" y="1157"/>
                  <a:pt x="4054" y="1162"/>
                  <a:pt x="4057" y="1167"/>
                </a:cubicBezTo>
                <a:cubicBezTo>
                  <a:pt x="4060" y="1173"/>
                  <a:pt x="4069" y="1178"/>
                  <a:pt x="4078" y="1178"/>
                </a:cubicBezTo>
                <a:cubicBezTo>
                  <a:pt x="4087" y="1178"/>
                  <a:pt x="4091" y="1173"/>
                  <a:pt x="4088" y="1167"/>
                </a:cubicBezTo>
                <a:cubicBezTo>
                  <a:pt x="4085" y="1162"/>
                  <a:pt x="4076" y="1157"/>
                  <a:pt x="4068" y="1157"/>
                </a:cubicBezTo>
                <a:cubicBezTo>
                  <a:pt x="4068" y="1157"/>
                  <a:pt x="4067" y="1157"/>
                  <a:pt x="4067" y="1157"/>
                </a:cubicBezTo>
                <a:moveTo>
                  <a:pt x="4201" y="1157"/>
                </a:moveTo>
                <a:cubicBezTo>
                  <a:pt x="4192" y="1157"/>
                  <a:pt x="4188" y="1162"/>
                  <a:pt x="4191" y="1167"/>
                </a:cubicBezTo>
                <a:cubicBezTo>
                  <a:pt x="4194" y="1173"/>
                  <a:pt x="4204" y="1178"/>
                  <a:pt x="4212" y="1178"/>
                </a:cubicBezTo>
                <a:cubicBezTo>
                  <a:pt x="4221" y="1178"/>
                  <a:pt x="4225" y="1173"/>
                  <a:pt x="4222" y="1167"/>
                </a:cubicBezTo>
                <a:cubicBezTo>
                  <a:pt x="4219" y="1162"/>
                  <a:pt x="4209" y="1157"/>
                  <a:pt x="4201" y="1157"/>
                </a:cubicBezTo>
                <a:cubicBezTo>
                  <a:pt x="4201" y="1157"/>
                  <a:pt x="4201" y="1157"/>
                  <a:pt x="4201" y="1157"/>
                </a:cubicBezTo>
                <a:moveTo>
                  <a:pt x="4245" y="1157"/>
                </a:moveTo>
                <a:cubicBezTo>
                  <a:pt x="4236" y="1157"/>
                  <a:pt x="4232" y="1162"/>
                  <a:pt x="4235" y="1167"/>
                </a:cubicBezTo>
                <a:cubicBezTo>
                  <a:pt x="4238" y="1173"/>
                  <a:pt x="4248" y="1177"/>
                  <a:pt x="4256" y="1177"/>
                </a:cubicBezTo>
                <a:cubicBezTo>
                  <a:pt x="4265" y="1177"/>
                  <a:pt x="4269" y="1173"/>
                  <a:pt x="4266" y="1167"/>
                </a:cubicBezTo>
                <a:cubicBezTo>
                  <a:pt x="4263" y="1161"/>
                  <a:pt x="4253" y="1157"/>
                  <a:pt x="4245" y="1157"/>
                </a:cubicBezTo>
                <a:cubicBezTo>
                  <a:pt x="4245" y="1157"/>
                  <a:pt x="4245" y="1157"/>
                  <a:pt x="4245" y="1157"/>
                </a:cubicBezTo>
                <a:moveTo>
                  <a:pt x="4289" y="1157"/>
                </a:moveTo>
                <a:cubicBezTo>
                  <a:pt x="4280" y="1157"/>
                  <a:pt x="4276" y="1161"/>
                  <a:pt x="4279" y="1167"/>
                </a:cubicBezTo>
                <a:cubicBezTo>
                  <a:pt x="4283" y="1173"/>
                  <a:pt x="4292" y="1177"/>
                  <a:pt x="4301" y="1177"/>
                </a:cubicBezTo>
                <a:cubicBezTo>
                  <a:pt x="4309" y="1177"/>
                  <a:pt x="4314" y="1173"/>
                  <a:pt x="4310" y="1167"/>
                </a:cubicBezTo>
                <a:cubicBezTo>
                  <a:pt x="4307" y="1161"/>
                  <a:pt x="4297" y="1157"/>
                  <a:pt x="4289" y="1157"/>
                </a:cubicBezTo>
                <a:cubicBezTo>
                  <a:pt x="4289" y="1157"/>
                  <a:pt x="4289" y="1157"/>
                  <a:pt x="4289" y="1157"/>
                </a:cubicBezTo>
                <a:moveTo>
                  <a:pt x="4648" y="1156"/>
                </a:moveTo>
                <a:cubicBezTo>
                  <a:pt x="4639" y="1156"/>
                  <a:pt x="4635" y="1161"/>
                  <a:pt x="4639" y="1166"/>
                </a:cubicBezTo>
                <a:cubicBezTo>
                  <a:pt x="4643" y="1172"/>
                  <a:pt x="4653" y="1177"/>
                  <a:pt x="4662" y="1177"/>
                </a:cubicBezTo>
                <a:cubicBezTo>
                  <a:pt x="4671" y="1177"/>
                  <a:pt x="4674" y="1172"/>
                  <a:pt x="4670" y="1166"/>
                </a:cubicBezTo>
                <a:cubicBezTo>
                  <a:pt x="4666" y="1161"/>
                  <a:pt x="4656" y="1156"/>
                  <a:pt x="4648" y="1156"/>
                </a:cubicBezTo>
                <a:cubicBezTo>
                  <a:pt x="4648" y="1156"/>
                  <a:pt x="4648" y="1156"/>
                  <a:pt x="4648" y="1156"/>
                </a:cubicBezTo>
                <a:moveTo>
                  <a:pt x="4736" y="1156"/>
                </a:moveTo>
                <a:cubicBezTo>
                  <a:pt x="4727" y="1156"/>
                  <a:pt x="4723" y="1160"/>
                  <a:pt x="4728" y="1166"/>
                </a:cubicBezTo>
                <a:cubicBezTo>
                  <a:pt x="4732" y="1172"/>
                  <a:pt x="4742" y="1176"/>
                  <a:pt x="4751" y="1176"/>
                </a:cubicBezTo>
                <a:cubicBezTo>
                  <a:pt x="4759" y="1176"/>
                  <a:pt x="4763" y="1172"/>
                  <a:pt x="4759" y="1166"/>
                </a:cubicBezTo>
                <a:cubicBezTo>
                  <a:pt x="4755" y="1160"/>
                  <a:pt x="4744" y="1156"/>
                  <a:pt x="4736" y="1156"/>
                </a:cubicBezTo>
                <a:cubicBezTo>
                  <a:pt x="4736" y="1156"/>
                  <a:pt x="4736" y="1156"/>
                  <a:pt x="4736" y="1156"/>
                </a:cubicBezTo>
                <a:moveTo>
                  <a:pt x="4781" y="1156"/>
                </a:moveTo>
                <a:cubicBezTo>
                  <a:pt x="4772" y="1156"/>
                  <a:pt x="4769" y="1160"/>
                  <a:pt x="4773" y="1166"/>
                </a:cubicBezTo>
                <a:cubicBezTo>
                  <a:pt x="4777" y="1172"/>
                  <a:pt x="4787" y="1176"/>
                  <a:pt x="4796" y="1176"/>
                </a:cubicBezTo>
                <a:cubicBezTo>
                  <a:pt x="4805" y="1176"/>
                  <a:pt x="4808" y="1172"/>
                  <a:pt x="4804" y="1166"/>
                </a:cubicBezTo>
                <a:cubicBezTo>
                  <a:pt x="4800" y="1160"/>
                  <a:pt x="4789" y="1156"/>
                  <a:pt x="4781" y="1156"/>
                </a:cubicBezTo>
                <a:cubicBezTo>
                  <a:pt x="4781" y="1156"/>
                  <a:pt x="4781" y="1156"/>
                  <a:pt x="4781" y="1156"/>
                </a:cubicBezTo>
                <a:moveTo>
                  <a:pt x="306" y="1138"/>
                </a:moveTo>
                <a:cubicBezTo>
                  <a:pt x="297" y="1139"/>
                  <a:pt x="287" y="1143"/>
                  <a:pt x="283" y="1149"/>
                </a:cubicBezTo>
                <a:cubicBezTo>
                  <a:pt x="279" y="1154"/>
                  <a:pt x="283" y="1159"/>
                  <a:pt x="291" y="1159"/>
                </a:cubicBezTo>
                <a:cubicBezTo>
                  <a:pt x="300" y="1159"/>
                  <a:pt x="310" y="1154"/>
                  <a:pt x="314" y="1149"/>
                </a:cubicBezTo>
                <a:cubicBezTo>
                  <a:pt x="318" y="1143"/>
                  <a:pt x="314" y="1138"/>
                  <a:pt x="306" y="1138"/>
                </a:cubicBezTo>
                <a:cubicBezTo>
                  <a:pt x="306" y="1138"/>
                  <a:pt x="306" y="1138"/>
                  <a:pt x="306" y="1138"/>
                </a:cubicBezTo>
                <a:moveTo>
                  <a:pt x="350" y="1138"/>
                </a:moveTo>
                <a:cubicBezTo>
                  <a:pt x="341" y="1138"/>
                  <a:pt x="331" y="1143"/>
                  <a:pt x="327" y="1149"/>
                </a:cubicBezTo>
                <a:cubicBezTo>
                  <a:pt x="323" y="1154"/>
                  <a:pt x="327" y="1159"/>
                  <a:pt x="336" y="1159"/>
                </a:cubicBezTo>
                <a:cubicBezTo>
                  <a:pt x="344" y="1159"/>
                  <a:pt x="354" y="1154"/>
                  <a:pt x="358" y="1148"/>
                </a:cubicBezTo>
                <a:cubicBezTo>
                  <a:pt x="362" y="1143"/>
                  <a:pt x="358" y="1138"/>
                  <a:pt x="350" y="1138"/>
                </a:cubicBezTo>
                <a:cubicBezTo>
                  <a:pt x="350" y="1138"/>
                  <a:pt x="350" y="1138"/>
                  <a:pt x="350" y="1138"/>
                </a:cubicBezTo>
                <a:moveTo>
                  <a:pt x="394" y="1138"/>
                </a:moveTo>
                <a:cubicBezTo>
                  <a:pt x="385" y="1138"/>
                  <a:pt x="375" y="1143"/>
                  <a:pt x="371" y="1148"/>
                </a:cubicBezTo>
                <a:cubicBezTo>
                  <a:pt x="368" y="1154"/>
                  <a:pt x="372" y="1159"/>
                  <a:pt x="380" y="1159"/>
                </a:cubicBezTo>
                <a:cubicBezTo>
                  <a:pt x="389" y="1158"/>
                  <a:pt x="399" y="1154"/>
                  <a:pt x="402" y="1148"/>
                </a:cubicBezTo>
                <a:cubicBezTo>
                  <a:pt x="406" y="1143"/>
                  <a:pt x="402" y="1138"/>
                  <a:pt x="394" y="1138"/>
                </a:cubicBezTo>
                <a:cubicBezTo>
                  <a:pt x="394" y="1138"/>
                  <a:pt x="394" y="1138"/>
                  <a:pt x="394" y="1138"/>
                </a:cubicBezTo>
                <a:moveTo>
                  <a:pt x="438" y="1138"/>
                </a:moveTo>
                <a:cubicBezTo>
                  <a:pt x="429" y="1138"/>
                  <a:pt x="419" y="1143"/>
                  <a:pt x="415" y="1148"/>
                </a:cubicBezTo>
                <a:cubicBezTo>
                  <a:pt x="412" y="1154"/>
                  <a:pt x="416" y="1158"/>
                  <a:pt x="424" y="1158"/>
                </a:cubicBezTo>
                <a:cubicBezTo>
                  <a:pt x="433" y="1158"/>
                  <a:pt x="443" y="1154"/>
                  <a:pt x="446" y="1148"/>
                </a:cubicBezTo>
                <a:cubicBezTo>
                  <a:pt x="450" y="1143"/>
                  <a:pt x="446" y="1138"/>
                  <a:pt x="438" y="1138"/>
                </a:cubicBezTo>
                <a:cubicBezTo>
                  <a:pt x="438" y="1138"/>
                  <a:pt x="438" y="1138"/>
                  <a:pt x="438" y="1138"/>
                </a:cubicBezTo>
                <a:moveTo>
                  <a:pt x="482" y="1138"/>
                </a:moveTo>
                <a:cubicBezTo>
                  <a:pt x="473" y="1138"/>
                  <a:pt x="464" y="1143"/>
                  <a:pt x="460" y="1148"/>
                </a:cubicBezTo>
                <a:cubicBezTo>
                  <a:pt x="456" y="1154"/>
                  <a:pt x="460" y="1158"/>
                  <a:pt x="469" y="1158"/>
                </a:cubicBezTo>
                <a:cubicBezTo>
                  <a:pt x="477" y="1158"/>
                  <a:pt x="487" y="1154"/>
                  <a:pt x="491" y="1148"/>
                </a:cubicBezTo>
                <a:cubicBezTo>
                  <a:pt x="494" y="1142"/>
                  <a:pt x="490" y="1138"/>
                  <a:pt x="482" y="1138"/>
                </a:cubicBezTo>
                <a:cubicBezTo>
                  <a:pt x="482" y="1138"/>
                  <a:pt x="482" y="1138"/>
                  <a:pt x="482" y="1138"/>
                </a:cubicBezTo>
                <a:moveTo>
                  <a:pt x="527" y="1138"/>
                </a:moveTo>
                <a:cubicBezTo>
                  <a:pt x="519" y="1138"/>
                  <a:pt x="509" y="1142"/>
                  <a:pt x="506" y="1148"/>
                </a:cubicBezTo>
                <a:cubicBezTo>
                  <a:pt x="502" y="1154"/>
                  <a:pt x="506" y="1158"/>
                  <a:pt x="515" y="1158"/>
                </a:cubicBezTo>
                <a:cubicBezTo>
                  <a:pt x="523" y="1158"/>
                  <a:pt x="533" y="1154"/>
                  <a:pt x="537" y="1148"/>
                </a:cubicBezTo>
                <a:cubicBezTo>
                  <a:pt x="540" y="1142"/>
                  <a:pt x="536" y="1138"/>
                  <a:pt x="528" y="1138"/>
                </a:cubicBezTo>
                <a:cubicBezTo>
                  <a:pt x="528" y="1138"/>
                  <a:pt x="527" y="1138"/>
                  <a:pt x="527" y="1138"/>
                </a:cubicBezTo>
                <a:moveTo>
                  <a:pt x="571" y="1138"/>
                </a:moveTo>
                <a:cubicBezTo>
                  <a:pt x="563" y="1138"/>
                  <a:pt x="553" y="1142"/>
                  <a:pt x="550" y="1148"/>
                </a:cubicBezTo>
                <a:cubicBezTo>
                  <a:pt x="546" y="1154"/>
                  <a:pt x="550" y="1158"/>
                  <a:pt x="559" y="1158"/>
                </a:cubicBezTo>
                <a:cubicBezTo>
                  <a:pt x="567" y="1158"/>
                  <a:pt x="577" y="1153"/>
                  <a:pt x="581" y="1148"/>
                </a:cubicBezTo>
                <a:cubicBezTo>
                  <a:pt x="584" y="1142"/>
                  <a:pt x="580" y="1138"/>
                  <a:pt x="571" y="1138"/>
                </a:cubicBezTo>
                <a:cubicBezTo>
                  <a:pt x="571" y="1138"/>
                  <a:pt x="571" y="1138"/>
                  <a:pt x="571" y="1138"/>
                </a:cubicBezTo>
                <a:moveTo>
                  <a:pt x="616" y="1138"/>
                </a:moveTo>
                <a:cubicBezTo>
                  <a:pt x="607" y="1138"/>
                  <a:pt x="597" y="1142"/>
                  <a:pt x="594" y="1148"/>
                </a:cubicBezTo>
                <a:cubicBezTo>
                  <a:pt x="591" y="1153"/>
                  <a:pt x="595" y="1158"/>
                  <a:pt x="603" y="1158"/>
                </a:cubicBezTo>
                <a:cubicBezTo>
                  <a:pt x="612" y="1158"/>
                  <a:pt x="622" y="1153"/>
                  <a:pt x="625" y="1148"/>
                </a:cubicBezTo>
                <a:cubicBezTo>
                  <a:pt x="628" y="1142"/>
                  <a:pt x="624" y="1138"/>
                  <a:pt x="616" y="1138"/>
                </a:cubicBezTo>
                <a:cubicBezTo>
                  <a:pt x="616" y="1138"/>
                  <a:pt x="616" y="1138"/>
                  <a:pt x="616" y="1138"/>
                </a:cubicBezTo>
                <a:moveTo>
                  <a:pt x="660" y="1137"/>
                </a:moveTo>
                <a:cubicBezTo>
                  <a:pt x="652" y="1137"/>
                  <a:pt x="642" y="1142"/>
                  <a:pt x="639" y="1148"/>
                </a:cubicBezTo>
                <a:cubicBezTo>
                  <a:pt x="635" y="1153"/>
                  <a:pt x="640" y="1158"/>
                  <a:pt x="648" y="1158"/>
                </a:cubicBezTo>
                <a:cubicBezTo>
                  <a:pt x="657" y="1158"/>
                  <a:pt x="666" y="1153"/>
                  <a:pt x="670" y="1148"/>
                </a:cubicBezTo>
                <a:cubicBezTo>
                  <a:pt x="673" y="1142"/>
                  <a:pt x="669" y="1137"/>
                  <a:pt x="660" y="1137"/>
                </a:cubicBezTo>
                <a:cubicBezTo>
                  <a:pt x="660" y="1137"/>
                  <a:pt x="660" y="1137"/>
                  <a:pt x="660" y="1137"/>
                </a:cubicBezTo>
                <a:moveTo>
                  <a:pt x="704" y="1137"/>
                </a:moveTo>
                <a:cubicBezTo>
                  <a:pt x="696" y="1137"/>
                  <a:pt x="686" y="1142"/>
                  <a:pt x="683" y="1148"/>
                </a:cubicBezTo>
                <a:cubicBezTo>
                  <a:pt x="680" y="1153"/>
                  <a:pt x="684" y="1158"/>
                  <a:pt x="692" y="1158"/>
                </a:cubicBezTo>
                <a:cubicBezTo>
                  <a:pt x="701" y="1158"/>
                  <a:pt x="711" y="1153"/>
                  <a:pt x="714" y="1147"/>
                </a:cubicBezTo>
                <a:cubicBezTo>
                  <a:pt x="717" y="1142"/>
                  <a:pt x="713" y="1137"/>
                  <a:pt x="704" y="1137"/>
                </a:cubicBezTo>
                <a:cubicBezTo>
                  <a:pt x="704" y="1137"/>
                  <a:pt x="704" y="1137"/>
                  <a:pt x="704" y="1137"/>
                </a:cubicBezTo>
                <a:moveTo>
                  <a:pt x="748" y="1137"/>
                </a:moveTo>
                <a:cubicBezTo>
                  <a:pt x="740" y="1137"/>
                  <a:pt x="730" y="1142"/>
                  <a:pt x="727" y="1147"/>
                </a:cubicBezTo>
                <a:cubicBezTo>
                  <a:pt x="724" y="1153"/>
                  <a:pt x="728" y="1158"/>
                  <a:pt x="737" y="1157"/>
                </a:cubicBezTo>
                <a:cubicBezTo>
                  <a:pt x="745" y="1157"/>
                  <a:pt x="755" y="1153"/>
                  <a:pt x="758" y="1147"/>
                </a:cubicBezTo>
                <a:cubicBezTo>
                  <a:pt x="761" y="1142"/>
                  <a:pt x="757" y="1137"/>
                  <a:pt x="748" y="1137"/>
                </a:cubicBezTo>
                <a:cubicBezTo>
                  <a:pt x="748" y="1137"/>
                  <a:pt x="748" y="1137"/>
                  <a:pt x="748" y="1137"/>
                </a:cubicBezTo>
                <a:moveTo>
                  <a:pt x="792" y="1137"/>
                </a:moveTo>
                <a:cubicBezTo>
                  <a:pt x="784" y="1137"/>
                  <a:pt x="774" y="1142"/>
                  <a:pt x="771" y="1147"/>
                </a:cubicBezTo>
                <a:cubicBezTo>
                  <a:pt x="768" y="1153"/>
                  <a:pt x="772" y="1157"/>
                  <a:pt x="781" y="1157"/>
                </a:cubicBezTo>
                <a:cubicBezTo>
                  <a:pt x="790" y="1157"/>
                  <a:pt x="799" y="1153"/>
                  <a:pt x="802" y="1147"/>
                </a:cubicBezTo>
                <a:cubicBezTo>
                  <a:pt x="805" y="1142"/>
                  <a:pt x="801" y="1137"/>
                  <a:pt x="792" y="1137"/>
                </a:cubicBezTo>
                <a:cubicBezTo>
                  <a:pt x="792" y="1137"/>
                  <a:pt x="792" y="1137"/>
                  <a:pt x="792" y="1137"/>
                </a:cubicBezTo>
                <a:moveTo>
                  <a:pt x="836" y="1137"/>
                </a:moveTo>
                <a:cubicBezTo>
                  <a:pt x="828" y="1137"/>
                  <a:pt x="818" y="1141"/>
                  <a:pt x="815" y="1147"/>
                </a:cubicBezTo>
                <a:cubicBezTo>
                  <a:pt x="812" y="1153"/>
                  <a:pt x="817" y="1157"/>
                  <a:pt x="826" y="1157"/>
                </a:cubicBezTo>
                <a:cubicBezTo>
                  <a:pt x="834" y="1157"/>
                  <a:pt x="843" y="1153"/>
                  <a:pt x="846" y="1147"/>
                </a:cubicBezTo>
                <a:cubicBezTo>
                  <a:pt x="849" y="1141"/>
                  <a:pt x="845" y="1137"/>
                  <a:pt x="836" y="1137"/>
                </a:cubicBezTo>
                <a:cubicBezTo>
                  <a:pt x="836" y="1137"/>
                  <a:pt x="836" y="1137"/>
                  <a:pt x="836" y="1137"/>
                </a:cubicBezTo>
                <a:moveTo>
                  <a:pt x="881" y="1137"/>
                </a:moveTo>
                <a:cubicBezTo>
                  <a:pt x="872" y="1137"/>
                  <a:pt x="863" y="1141"/>
                  <a:pt x="860" y="1147"/>
                </a:cubicBezTo>
                <a:cubicBezTo>
                  <a:pt x="857" y="1153"/>
                  <a:pt x="862" y="1157"/>
                  <a:pt x="870" y="1157"/>
                </a:cubicBezTo>
                <a:cubicBezTo>
                  <a:pt x="879" y="1157"/>
                  <a:pt x="888" y="1153"/>
                  <a:pt x="891" y="1147"/>
                </a:cubicBezTo>
                <a:cubicBezTo>
                  <a:pt x="894" y="1141"/>
                  <a:pt x="890" y="1137"/>
                  <a:pt x="881" y="1137"/>
                </a:cubicBezTo>
                <a:cubicBezTo>
                  <a:pt x="881" y="1137"/>
                  <a:pt x="881" y="1137"/>
                  <a:pt x="881" y="1137"/>
                </a:cubicBezTo>
                <a:moveTo>
                  <a:pt x="925" y="1137"/>
                </a:moveTo>
                <a:cubicBezTo>
                  <a:pt x="916" y="1137"/>
                  <a:pt x="907" y="1141"/>
                  <a:pt x="904" y="1147"/>
                </a:cubicBezTo>
                <a:cubicBezTo>
                  <a:pt x="901" y="1152"/>
                  <a:pt x="906" y="1157"/>
                  <a:pt x="915" y="1157"/>
                </a:cubicBezTo>
                <a:cubicBezTo>
                  <a:pt x="923" y="1157"/>
                  <a:pt x="932" y="1152"/>
                  <a:pt x="935" y="1147"/>
                </a:cubicBezTo>
                <a:cubicBezTo>
                  <a:pt x="938" y="1141"/>
                  <a:pt x="933" y="1137"/>
                  <a:pt x="925" y="1137"/>
                </a:cubicBezTo>
                <a:cubicBezTo>
                  <a:pt x="925" y="1137"/>
                  <a:pt x="925" y="1137"/>
                  <a:pt x="925" y="1137"/>
                </a:cubicBezTo>
                <a:moveTo>
                  <a:pt x="2115" y="1136"/>
                </a:moveTo>
                <a:cubicBezTo>
                  <a:pt x="2106" y="1136"/>
                  <a:pt x="2099" y="1140"/>
                  <a:pt x="2098" y="1146"/>
                </a:cubicBezTo>
                <a:cubicBezTo>
                  <a:pt x="2097" y="1152"/>
                  <a:pt x="2104" y="1156"/>
                  <a:pt x="2112" y="1156"/>
                </a:cubicBezTo>
                <a:cubicBezTo>
                  <a:pt x="2121" y="1156"/>
                  <a:pt x="2128" y="1152"/>
                  <a:pt x="2129" y="1146"/>
                </a:cubicBezTo>
                <a:cubicBezTo>
                  <a:pt x="2130" y="1140"/>
                  <a:pt x="2123" y="1136"/>
                  <a:pt x="2115" y="1136"/>
                </a:cubicBezTo>
                <a:cubicBezTo>
                  <a:pt x="2115" y="1136"/>
                  <a:pt x="2115" y="1136"/>
                  <a:pt x="2115" y="1136"/>
                </a:cubicBezTo>
                <a:moveTo>
                  <a:pt x="2159" y="1136"/>
                </a:moveTo>
                <a:cubicBezTo>
                  <a:pt x="2150" y="1136"/>
                  <a:pt x="2143" y="1140"/>
                  <a:pt x="2142" y="1146"/>
                </a:cubicBezTo>
                <a:cubicBezTo>
                  <a:pt x="2142" y="1152"/>
                  <a:pt x="2148" y="1156"/>
                  <a:pt x="2157" y="1156"/>
                </a:cubicBezTo>
                <a:cubicBezTo>
                  <a:pt x="2165" y="1156"/>
                  <a:pt x="2173" y="1152"/>
                  <a:pt x="2173" y="1146"/>
                </a:cubicBezTo>
                <a:cubicBezTo>
                  <a:pt x="2174" y="1140"/>
                  <a:pt x="2167" y="1136"/>
                  <a:pt x="2159" y="1136"/>
                </a:cubicBezTo>
                <a:cubicBezTo>
                  <a:pt x="2159" y="1136"/>
                  <a:pt x="2159" y="1136"/>
                  <a:pt x="2159" y="1136"/>
                </a:cubicBezTo>
                <a:moveTo>
                  <a:pt x="2203" y="1136"/>
                </a:moveTo>
                <a:cubicBezTo>
                  <a:pt x="2195" y="1136"/>
                  <a:pt x="2188" y="1140"/>
                  <a:pt x="2187" y="1146"/>
                </a:cubicBezTo>
                <a:cubicBezTo>
                  <a:pt x="2187" y="1152"/>
                  <a:pt x="2193" y="1156"/>
                  <a:pt x="2202" y="1156"/>
                </a:cubicBezTo>
                <a:cubicBezTo>
                  <a:pt x="2210" y="1156"/>
                  <a:pt x="2218" y="1151"/>
                  <a:pt x="2218" y="1146"/>
                </a:cubicBezTo>
                <a:cubicBezTo>
                  <a:pt x="2219" y="1140"/>
                  <a:pt x="2212" y="1136"/>
                  <a:pt x="2203" y="1136"/>
                </a:cubicBezTo>
                <a:cubicBezTo>
                  <a:pt x="2203" y="1136"/>
                  <a:pt x="2203" y="1136"/>
                  <a:pt x="2203" y="1136"/>
                </a:cubicBezTo>
                <a:moveTo>
                  <a:pt x="2247" y="1135"/>
                </a:moveTo>
                <a:cubicBezTo>
                  <a:pt x="2238" y="1135"/>
                  <a:pt x="2231" y="1140"/>
                  <a:pt x="2231" y="1146"/>
                </a:cubicBezTo>
                <a:cubicBezTo>
                  <a:pt x="2230" y="1151"/>
                  <a:pt x="2237" y="1156"/>
                  <a:pt x="2245" y="1156"/>
                </a:cubicBezTo>
                <a:cubicBezTo>
                  <a:pt x="2254" y="1156"/>
                  <a:pt x="2261" y="1151"/>
                  <a:pt x="2262" y="1146"/>
                </a:cubicBezTo>
                <a:cubicBezTo>
                  <a:pt x="2262" y="1140"/>
                  <a:pt x="2256" y="1135"/>
                  <a:pt x="2247" y="1135"/>
                </a:cubicBezTo>
                <a:cubicBezTo>
                  <a:pt x="2247" y="1135"/>
                  <a:pt x="2247" y="1135"/>
                  <a:pt x="2247" y="1135"/>
                </a:cubicBezTo>
                <a:moveTo>
                  <a:pt x="2291" y="1135"/>
                </a:moveTo>
                <a:cubicBezTo>
                  <a:pt x="2282" y="1135"/>
                  <a:pt x="2275" y="1140"/>
                  <a:pt x="2275" y="1146"/>
                </a:cubicBezTo>
                <a:cubicBezTo>
                  <a:pt x="2274" y="1151"/>
                  <a:pt x="2281" y="1156"/>
                  <a:pt x="2290" y="1156"/>
                </a:cubicBezTo>
                <a:cubicBezTo>
                  <a:pt x="2298" y="1156"/>
                  <a:pt x="2305" y="1151"/>
                  <a:pt x="2306" y="1146"/>
                </a:cubicBezTo>
                <a:cubicBezTo>
                  <a:pt x="2306" y="1140"/>
                  <a:pt x="2299" y="1135"/>
                  <a:pt x="2291" y="1135"/>
                </a:cubicBezTo>
                <a:cubicBezTo>
                  <a:pt x="2291" y="1135"/>
                  <a:pt x="2291" y="1135"/>
                  <a:pt x="2291" y="1135"/>
                </a:cubicBezTo>
                <a:moveTo>
                  <a:pt x="2335" y="1135"/>
                </a:moveTo>
                <a:cubicBezTo>
                  <a:pt x="2327" y="1135"/>
                  <a:pt x="2319" y="1140"/>
                  <a:pt x="2319" y="1145"/>
                </a:cubicBezTo>
                <a:cubicBezTo>
                  <a:pt x="2319" y="1151"/>
                  <a:pt x="2326" y="1156"/>
                  <a:pt x="2334" y="1156"/>
                </a:cubicBezTo>
                <a:cubicBezTo>
                  <a:pt x="2343" y="1156"/>
                  <a:pt x="2350" y="1151"/>
                  <a:pt x="2350" y="1145"/>
                </a:cubicBezTo>
                <a:cubicBezTo>
                  <a:pt x="2350" y="1140"/>
                  <a:pt x="2344" y="1135"/>
                  <a:pt x="2335" y="1135"/>
                </a:cubicBezTo>
                <a:cubicBezTo>
                  <a:pt x="2335" y="1135"/>
                  <a:pt x="2335" y="1135"/>
                  <a:pt x="2335" y="1135"/>
                </a:cubicBezTo>
                <a:moveTo>
                  <a:pt x="2380" y="1135"/>
                </a:moveTo>
                <a:cubicBezTo>
                  <a:pt x="2371" y="1135"/>
                  <a:pt x="2364" y="1140"/>
                  <a:pt x="2364" y="1145"/>
                </a:cubicBezTo>
                <a:cubicBezTo>
                  <a:pt x="2364" y="1151"/>
                  <a:pt x="2370" y="1156"/>
                  <a:pt x="2379" y="1156"/>
                </a:cubicBezTo>
                <a:cubicBezTo>
                  <a:pt x="2388" y="1156"/>
                  <a:pt x="2395" y="1151"/>
                  <a:pt x="2395" y="1145"/>
                </a:cubicBezTo>
                <a:cubicBezTo>
                  <a:pt x="2395" y="1140"/>
                  <a:pt x="2388" y="1135"/>
                  <a:pt x="2380" y="1135"/>
                </a:cubicBezTo>
                <a:cubicBezTo>
                  <a:pt x="2380" y="1135"/>
                  <a:pt x="2380" y="1135"/>
                  <a:pt x="2380" y="1135"/>
                </a:cubicBezTo>
                <a:moveTo>
                  <a:pt x="2423" y="1135"/>
                </a:moveTo>
                <a:cubicBezTo>
                  <a:pt x="2415" y="1135"/>
                  <a:pt x="2408" y="1140"/>
                  <a:pt x="2408" y="1145"/>
                </a:cubicBezTo>
                <a:cubicBezTo>
                  <a:pt x="2408" y="1151"/>
                  <a:pt x="2415" y="1155"/>
                  <a:pt x="2423" y="1155"/>
                </a:cubicBezTo>
                <a:cubicBezTo>
                  <a:pt x="2432" y="1155"/>
                  <a:pt x="2439" y="1151"/>
                  <a:pt x="2439" y="1145"/>
                </a:cubicBezTo>
                <a:cubicBezTo>
                  <a:pt x="2439" y="1139"/>
                  <a:pt x="2432" y="1135"/>
                  <a:pt x="2424" y="1135"/>
                </a:cubicBezTo>
                <a:cubicBezTo>
                  <a:pt x="2424" y="1135"/>
                  <a:pt x="2423" y="1135"/>
                  <a:pt x="2423" y="1135"/>
                </a:cubicBezTo>
                <a:moveTo>
                  <a:pt x="2468" y="1135"/>
                </a:moveTo>
                <a:cubicBezTo>
                  <a:pt x="2459" y="1135"/>
                  <a:pt x="2452" y="1139"/>
                  <a:pt x="2452" y="1145"/>
                </a:cubicBezTo>
                <a:cubicBezTo>
                  <a:pt x="2452" y="1151"/>
                  <a:pt x="2459" y="1155"/>
                  <a:pt x="2468" y="1155"/>
                </a:cubicBezTo>
                <a:cubicBezTo>
                  <a:pt x="2476" y="1155"/>
                  <a:pt x="2483" y="1151"/>
                  <a:pt x="2483" y="1145"/>
                </a:cubicBezTo>
                <a:cubicBezTo>
                  <a:pt x="2483" y="1139"/>
                  <a:pt x="2476" y="1135"/>
                  <a:pt x="2468" y="1135"/>
                </a:cubicBezTo>
                <a:cubicBezTo>
                  <a:pt x="2468" y="1135"/>
                  <a:pt x="2468" y="1135"/>
                  <a:pt x="2468" y="1135"/>
                </a:cubicBezTo>
                <a:moveTo>
                  <a:pt x="2511" y="1135"/>
                </a:moveTo>
                <a:cubicBezTo>
                  <a:pt x="2503" y="1135"/>
                  <a:pt x="2496" y="1139"/>
                  <a:pt x="2496" y="1145"/>
                </a:cubicBezTo>
                <a:cubicBezTo>
                  <a:pt x="2496" y="1151"/>
                  <a:pt x="2503" y="1155"/>
                  <a:pt x="2512" y="1155"/>
                </a:cubicBezTo>
                <a:cubicBezTo>
                  <a:pt x="2520" y="1155"/>
                  <a:pt x="2527" y="1151"/>
                  <a:pt x="2527" y="1145"/>
                </a:cubicBezTo>
                <a:cubicBezTo>
                  <a:pt x="2527" y="1139"/>
                  <a:pt x="2520" y="1135"/>
                  <a:pt x="2511" y="1135"/>
                </a:cubicBezTo>
                <a:cubicBezTo>
                  <a:pt x="2511" y="1135"/>
                  <a:pt x="2511" y="1135"/>
                  <a:pt x="2511" y="1135"/>
                </a:cubicBezTo>
                <a:moveTo>
                  <a:pt x="2556" y="1135"/>
                </a:moveTo>
                <a:cubicBezTo>
                  <a:pt x="2547" y="1135"/>
                  <a:pt x="2540" y="1139"/>
                  <a:pt x="2540" y="1145"/>
                </a:cubicBezTo>
                <a:cubicBezTo>
                  <a:pt x="2541" y="1150"/>
                  <a:pt x="2548" y="1155"/>
                  <a:pt x="2556" y="1155"/>
                </a:cubicBezTo>
                <a:cubicBezTo>
                  <a:pt x="2565" y="1155"/>
                  <a:pt x="2572" y="1150"/>
                  <a:pt x="2571" y="1145"/>
                </a:cubicBezTo>
                <a:cubicBezTo>
                  <a:pt x="2571" y="1139"/>
                  <a:pt x="2564" y="1135"/>
                  <a:pt x="2556" y="1135"/>
                </a:cubicBezTo>
                <a:cubicBezTo>
                  <a:pt x="2556" y="1135"/>
                  <a:pt x="2556" y="1135"/>
                  <a:pt x="2556" y="1135"/>
                </a:cubicBezTo>
                <a:moveTo>
                  <a:pt x="2600" y="1134"/>
                </a:moveTo>
                <a:cubicBezTo>
                  <a:pt x="2592" y="1134"/>
                  <a:pt x="2585" y="1139"/>
                  <a:pt x="2585" y="1145"/>
                </a:cubicBezTo>
                <a:cubicBezTo>
                  <a:pt x="2585" y="1150"/>
                  <a:pt x="2592" y="1155"/>
                  <a:pt x="2601" y="1155"/>
                </a:cubicBezTo>
                <a:cubicBezTo>
                  <a:pt x="2610" y="1155"/>
                  <a:pt x="2616" y="1150"/>
                  <a:pt x="2616" y="1145"/>
                </a:cubicBezTo>
                <a:cubicBezTo>
                  <a:pt x="2616" y="1139"/>
                  <a:pt x="2609" y="1134"/>
                  <a:pt x="2600" y="1134"/>
                </a:cubicBezTo>
                <a:cubicBezTo>
                  <a:pt x="2600" y="1134"/>
                  <a:pt x="2600" y="1134"/>
                  <a:pt x="2600" y="1134"/>
                </a:cubicBezTo>
                <a:moveTo>
                  <a:pt x="2644" y="1134"/>
                </a:moveTo>
                <a:cubicBezTo>
                  <a:pt x="2635" y="1134"/>
                  <a:pt x="2629" y="1139"/>
                  <a:pt x="2629" y="1145"/>
                </a:cubicBezTo>
                <a:cubicBezTo>
                  <a:pt x="2629" y="1150"/>
                  <a:pt x="2637" y="1155"/>
                  <a:pt x="2645" y="1155"/>
                </a:cubicBezTo>
                <a:cubicBezTo>
                  <a:pt x="2654" y="1155"/>
                  <a:pt x="2660" y="1150"/>
                  <a:pt x="2660" y="1144"/>
                </a:cubicBezTo>
                <a:cubicBezTo>
                  <a:pt x="2660" y="1139"/>
                  <a:pt x="2653" y="1134"/>
                  <a:pt x="2644" y="1134"/>
                </a:cubicBezTo>
                <a:cubicBezTo>
                  <a:pt x="2644" y="1134"/>
                  <a:pt x="2644" y="1134"/>
                  <a:pt x="2644" y="1134"/>
                </a:cubicBezTo>
                <a:moveTo>
                  <a:pt x="2689" y="1134"/>
                </a:moveTo>
                <a:cubicBezTo>
                  <a:pt x="2680" y="1134"/>
                  <a:pt x="2673" y="1139"/>
                  <a:pt x="2674" y="1144"/>
                </a:cubicBezTo>
                <a:cubicBezTo>
                  <a:pt x="2674" y="1150"/>
                  <a:pt x="2681" y="1155"/>
                  <a:pt x="2690" y="1155"/>
                </a:cubicBezTo>
                <a:cubicBezTo>
                  <a:pt x="2699" y="1155"/>
                  <a:pt x="2705" y="1150"/>
                  <a:pt x="2705" y="1144"/>
                </a:cubicBezTo>
                <a:cubicBezTo>
                  <a:pt x="2704" y="1139"/>
                  <a:pt x="2697" y="1134"/>
                  <a:pt x="2689" y="1134"/>
                </a:cubicBezTo>
                <a:cubicBezTo>
                  <a:pt x="2689" y="1134"/>
                  <a:pt x="2689" y="1134"/>
                  <a:pt x="2689" y="1134"/>
                </a:cubicBezTo>
                <a:moveTo>
                  <a:pt x="2731" y="1134"/>
                </a:moveTo>
                <a:cubicBezTo>
                  <a:pt x="2723" y="1134"/>
                  <a:pt x="2716" y="1139"/>
                  <a:pt x="2716" y="1144"/>
                </a:cubicBezTo>
                <a:cubicBezTo>
                  <a:pt x="2717" y="1150"/>
                  <a:pt x="2724" y="1155"/>
                  <a:pt x="2733" y="1155"/>
                </a:cubicBezTo>
                <a:cubicBezTo>
                  <a:pt x="2741" y="1154"/>
                  <a:pt x="2748" y="1150"/>
                  <a:pt x="2747" y="1144"/>
                </a:cubicBezTo>
                <a:cubicBezTo>
                  <a:pt x="2747" y="1139"/>
                  <a:pt x="2740" y="1134"/>
                  <a:pt x="2731" y="1134"/>
                </a:cubicBezTo>
                <a:cubicBezTo>
                  <a:pt x="2731" y="1134"/>
                  <a:pt x="2731" y="1134"/>
                  <a:pt x="2731" y="1134"/>
                </a:cubicBezTo>
                <a:moveTo>
                  <a:pt x="2776" y="1134"/>
                </a:moveTo>
                <a:cubicBezTo>
                  <a:pt x="2767" y="1134"/>
                  <a:pt x="2761" y="1139"/>
                  <a:pt x="2761" y="1144"/>
                </a:cubicBezTo>
                <a:cubicBezTo>
                  <a:pt x="2762" y="1150"/>
                  <a:pt x="2769" y="1154"/>
                  <a:pt x="2778" y="1154"/>
                </a:cubicBezTo>
                <a:cubicBezTo>
                  <a:pt x="2786" y="1154"/>
                  <a:pt x="2793" y="1150"/>
                  <a:pt x="2792" y="1144"/>
                </a:cubicBezTo>
                <a:cubicBezTo>
                  <a:pt x="2791" y="1138"/>
                  <a:pt x="2784" y="1134"/>
                  <a:pt x="2776" y="1134"/>
                </a:cubicBezTo>
                <a:cubicBezTo>
                  <a:pt x="2776" y="1134"/>
                  <a:pt x="2776" y="1134"/>
                  <a:pt x="2776" y="1134"/>
                </a:cubicBezTo>
                <a:moveTo>
                  <a:pt x="4186" y="1131"/>
                </a:moveTo>
                <a:cubicBezTo>
                  <a:pt x="4178" y="1131"/>
                  <a:pt x="4173" y="1136"/>
                  <a:pt x="4177" y="1141"/>
                </a:cubicBezTo>
                <a:cubicBezTo>
                  <a:pt x="4180" y="1147"/>
                  <a:pt x="4189" y="1152"/>
                  <a:pt x="4198" y="1152"/>
                </a:cubicBezTo>
                <a:cubicBezTo>
                  <a:pt x="4206" y="1151"/>
                  <a:pt x="4211" y="1147"/>
                  <a:pt x="4208" y="1141"/>
                </a:cubicBezTo>
                <a:cubicBezTo>
                  <a:pt x="4204" y="1136"/>
                  <a:pt x="4195" y="1131"/>
                  <a:pt x="4186" y="1131"/>
                </a:cubicBezTo>
                <a:cubicBezTo>
                  <a:pt x="4186" y="1131"/>
                  <a:pt x="4186" y="1131"/>
                  <a:pt x="4186" y="1131"/>
                </a:cubicBezTo>
                <a:moveTo>
                  <a:pt x="4230" y="1131"/>
                </a:moveTo>
                <a:cubicBezTo>
                  <a:pt x="4221" y="1131"/>
                  <a:pt x="4217" y="1135"/>
                  <a:pt x="4220" y="1141"/>
                </a:cubicBezTo>
                <a:cubicBezTo>
                  <a:pt x="4223" y="1147"/>
                  <a:pt x="4233" y="1151"/>
                  <a:pt x="4242" y="1151"/>
                </a:cubicBezTo>
                <a:cubicBezTo>
                  <a:pt x="4250" y="1151"/>
                  <a:pt x="4254" y="1147"/>
                  <a:pt x="4251" y="1141"/>
                </a:cubicBezTo>
                <a:cubicBezTo>
                  <a:pt x="4248" y="1135"/>
                  <a:pt x="4238" y="1131"/>
                  <a:pt x="4230" y="1131"/>
                </a:cubicBezTo>
                <a:cubicBezTo>
                  <a:pt x="4230" y="1131"/>
                  <a:pt x="4230" y="1131"/>
                  <a:pt x="4230" y="1131"/>
                </a:cubicBezTo>
                <a:moveTo>
                  <a:pt x="4274" y="1131"/>
                </a:moveTo>
                <a:cubicBezTo>
                  <a:pt x="4265" y="1131"/>
                  <a:pt x="4261" y="1135"/>
                  <a:pt x="4264" y="1141"/>
                </a:cubicBezTo>
                <a:cubicBezTo>
                  <a:pt x="4267" y="1147"/>
                  <a:pt x="4277" y="1151"/>
                  <a:pt x="4286" y="1151"/>
                </a:cubicBezTo>
                <a:cubicBezTo>
                  <a:pt x="4294" y="1151"/>
                  <a:pt x="4298" y="1147"/>
                  <a:pt x="4295" y="1141"/>
                </a:cubicBezTo>
                <a:cubicBezTo>
                  <a:pt x="4292" y="1135"/>
                  <a:pt x="4282" y="1131"/>
                  <a:pt x="4274" y="1131"/>
                </a:cubicBezTo>
                <a:cubicBezTo>
                  <a:pt x="4274" y="1131"/>
                  <a:pt x="4274" y="1131"/>
                  <a:pt x="4274" y="1131"/>
                </a:cubicBezTo>
                <a:moveTo>
                  <a:pt x="4318" y="1131"/>
                </a:moveTo>
                <a:cubicBezTo>
                  <a:pt x="4309" y="1131"/>
                  <a:pt x="4305" y="1135"/>
                  <a:pt x="4308" y="1141"/>
                </a:cubicBezTo>
                <a:cubicBezTo>
                  <a:pt x="4312" y="1147"/>
                  <a:pt x="4322" y="1151"/>
                  <a:pt x="4330" y="1151"/>
                </a:cubicBezTo>
                <a:cubicBezTo>
                  <a:pt x="4339" y="1151"/>
                  <a:pt x="4343" y="1146"/>
                  <a:pt x="4339" y="1141"/>
                </a:cubicBezTo>
                <a:cubicBezTo>
                  <a:pt x="4336" y="1135"/>
                  <a:pt x="4326" y="1131"/>
                  <a:pt x="4318" y="1131"/>
                </a:cubicBezTo>
                <a:cubicBezTo>
                  <a:pt x="4318" y="1131"/>
                  <a:pt x="4318" y="1131"/>
                  <a:pt x="4318" y="1131"/>
                </a:cubicBezTo>
                <a:moveTo>
                  <a:pt x="4362" y="1130"/>
                </a:moveTo>
                <a:cubicBezTo>
                  <a:pt x="4354" y="1130"/>
                  <a:pt x="4350" y="1135"/>
                  <a:pt x="4353" y="1141"/>
                </a:cubicBezTo>
                <a:cubicBezTo>
                  <a:pt x="4357" y="1146"/>
                  <a:pt x="4366" y="1151"/>
                  <a:pt x="4375" y="1151"/>
                </a:cubicBezTo>
                <a:cubicBezTo>
                  <a:pt x="4383" y="1151"/>
                  <a:pt x="4388" y="1146"/>
                  <a:pt x="4384" y="1141"/>
                </a:cubicBezTo>
                <a:cubicBezTo>
                  <a:pt x="4381" y="1135"/>
                  <a:pt x="4371" y="1130"/>
                  <a:pt x="4362" y="1130"/>
                </a:cubicBezTo>
                <a:cubicBezTo>
                  <a:pt x="4362" y="1130"/>
                  <a:pt x="4362" y="1130"/>
                  <a:pt x="4362" y="1130"/>
                </a:cubicBezTo>
                <a:moveTo>
                  <a:pt x="3965" y="1128"/>
                </a:moveTo>
                <a:cubicBezTo>
                  <a:pt x="3957" y="1128"/>
                  <a:pt x="3952" y="1132"/>
                  <a:pt x="3955" y="1138"/>
                </a:cubicBezTo>
                <a:cubicBezTo>
                  <a:pt x="3958" y="1144"/>
                  <a:pt x="3967" y="1148"/>
                  <a:pt x="3975" y="1148"/>
                </a:cubicBezTo>
                <a:cubicBezTo>
                  <a:pt x="3984" y="1148"/>
                  <a:pt x="3989" y="1144"/>
                  <a:pt x="3986" y="1138"/>
                </a:cubicBezTo>
                <a:cubicBezTo>
                  <a:pt x="3983" y="1132"/>
                  <a:pt x="3974" y="1128"/>
                  <a:pt x="3965" y="1128"/>
                </a:cubicBezTo>
                <a:cubicBezTo>
                  <a:pt x="3965" y="1128"/>
                  <a:pt x="3965" y="1128"/>
                  <a:pt x="3965" y="1128"/>
                </a:cubicBezTo>
                <a:moveTo>
                  <a:pt x="4010" y="1128"/>
                </a:moveTo>
                <a:cubicBezTo>
                  <a:pt x="4001" y="1128"/>
                  <a:pt x="3996" y="1132"/>
                  <a:pt x="3999" y="1138"/>
                </a:cubicBezTo>
                <a:cubicBezTo>
                  <a:pt x="4002" y="1144"/>
                  <a:pt x="4011" y="1148"/>
                  <a:pt x="4020" y="1148"/>
                </a:cubicBezTo>
                <a:cubicBezTo>
                  <a:pt x="4028" y="1148"/>
                  <a:pt x="4033" y="1143"/>
                  <a:pt x="4030" y="1138"/>
                </a:cubicBezTo>
                <a:cubicBezTo>
                  <a:pt x="4027" y="1132"/>
                  <a:pt x="4018" y="1128"/>
                  <a:pt x="4010" y="1128"/>
                </a:cubicBezTo>
                <a:cubicBezTo>
                  <a:pt x="4010" y="1128"/>
                  <a:pt x="4010" y="1128"/>
                  <a:pt x="4010" y="1128"/>
                </a:cubicBezTo>
                <a:moveTo>
                  <a:pt x="4534" y="1122"/>
                </a:moveTo>
                <a:cubicBezTo>
                  <a:pt x="4525" y="1122"/>
                  <a:pt x="4521" y="1127"/>
                  <a:pt x="4525" y="1133"/>
                </a:cubicBezTo>
                <a:cubicBezTo>
                  <a:pt x="4529" y="1138"/>
                  <a:pt x="4539" y="1143"/>
                  <a:pt x="4548" y="1143"/>
                </a:cubicBezTo>
                <a:cubicBezTo>
                  <a:pt x="4556" y="1143"/>
                  <a:pt x="4560" y="1138"/>
                  <a:pt x="4556" y="1132"/>
                </a:cubicBezTo>
                <a:cubicBezTo>
                  <a:pt x="4552" y="1127"/>
                  <a:pt x="4542" y="1122"/>
                  <a:pt x="4534" y="1122"/>
                </a:cubicBezTo>
                <a:cubicBezTo>
                  <a:pt x="4534" y="1122"/>
                  <a:pt x="4534" y="1122"/>
                  <a:pt x="4534" y="1122"/>
                </a:cubicBezTo>
                <a:moveTo>
                  <a:pt x="325" y="1111"/>
                </a:moveTo>
                <a:cubicBezTo>
                  <a:pt x="317" y="1111"/>
                  <a:pt x="307" y="1115"/>
                  <a:pt x="303" y="1121"/>
                </a:cubicBezTo>
                <a:cubicBezTo>
                  <a:pt x="299" y="1127"/>
                  <a:pt x="302" y="1131"/>
                  <a:pt x="311" y="1131"/>
                </a:cubicBezTo>
                <a:cubicBezTo>
                  <a:pt x="319" y="1131"/>
                  <a:pt x="329" y="1127"/>
                  <a:pt x="333" y="1121"/>
                </a:cubicBezTo>
                <a:cubicBezTo>
                  <a:pt x="337" y="1115"/>
                  <a:pt x="334" y="1111"/>
                  <a:pt x="325" y="1111"/>
                </a:cubicBezTo>
                <a:cubicBezTo>
                  <a:pt x="325" y="1111"/>
                  <a:pt x="325" y="1111"/>
                  <a:pt x="325" y="1111"/>
                </a:cubicBezTo>
                <a:moveTo>
                  <a:pt x="369" y="1111"/>
                </a:moveTo>
                <a:cubicBezTo>
                  <a:pt x="360" y="1111"/>
                  <a:pt x="350" y="1115"/>
                  <a:pt x="346" y="1121"/>
                </a:cubicBezTo>
                <a:cubicBezTo>
                  <a:pt x="342" y="1127"/>
                  <a:pt x="346" y="1131"/>
                  <a:pt x="355" y="1131"/>
                </a:cubicBezTo>
                <a:cubicBezTo>
                  <a:pt x="363" y="1131"/>
                  <a:pt x="373" y="1126"/>
                  <a:pt x="377" y="1121"/>
                </a:cubicBezTo>
                <a:cubicBezTo>
                  <a:pt x="381" y="1115"/>
                  <a:pt x="377" y="1111"/>
                  <a:pt x="369" y="1111"/>
                </a:cubicBezTo>
                <a:cubicBezTo>
                  <a:pt x="369" y="1111"/>
                  <a:pt x="369" y="1111"/>
                  <a:pt x="369" y="1111"/>
                </a:cubicBezTo>
                <a:moveTo>
                  <a:pt x="412" y="1111"/>
                </a:moveTo>
                <a:cubicBezTo>
                  <a:pt x="404" y="1111"/>
                  <a:pt x="394" y="1115"/>
                  <a:pt x="390" y="1121"/>
                </a:cubicBezTo>
                <a:cubicBezTo>
                  <a:pt x="386" y="1126"/>
                  <a:pt x="390" y="1131"/>
                  <a:pt x="399" y="1131"/>
                </a:cubicBezTo>
                <a:cubicBezTo>
                  <a:pt x="407" y="1131"/>
                  <a:pt x="417" y="1126"/>
                  <a:pt x="421" y="1121"/>
                </a:cubicBezTo>
                <a:cubicBezTo>
                  <a:pt x="425" y="1115"/>
                  <a:pt x="421" y="1111"/>
                  <a:pt x="412" y="1111"/>
                </a:cubicBezTo>
                <a:cubicBezTo>
                  <a:pt x="412" y="1111"/>
                  <a:pt x="412" y="1111"/>
                  <a:pt x="412" y="1111"/>
                </a:cubicBezTo>
                <a:moveTo>
                  <a:pt x="456" y="1110"/>
                </a:moveTo>
                <a:cubicBezTo>
                  <a:pt x="447" y="1111"/>
                  <a:pt x="437" y="1115"/>
                  <a:pt x="434" y="1121"/>
                </a:cubicBezTo>
                <a:cubicBezTo>
                  <a:pt x="430" y="1126"/>
                  <a:pt x="434" y="1131"/>
                  <a:pt x="442" y="1131"/>
                </a:cubicBezTo>
                <a:cubicBezTo>
                  <a:pt x="451" y="1131"/>
                  <a:pt x="461" y="1126"/>
                  <a:pt x="465" y="1121"/>
                </a:cubicBezTo>
                <a:cubicBezTo>
                  <a:pt x="468" y="1115"/>
                  <a:pt x="464" y="1110"/>
                  <a:pt x="456" y="1110"/>
                </a:cubicBezTo>
                <a:cubicBezTo>
                  <a:pt x="456" y="1110"/>
                  <a:pt x="456" y="1110"/>
                  <a:pt x="456" y="1110"/>
                </a:cubicBezTo>
                <a:moveTo>
                  <a:pt x="500" y="1110"/>
                </a:moveTo>
                <a:cubicBezTo>
                  <a:pt x="491" y="1110"/>
                  <a:pt x="481" y="1115"/>
                  <a:pt x="478" y="1121"/>
                </a:cubicBezTo>
                <a:cubicBezTo>
                  <a:pt x="474" y="1126"/>
                  <a:pt x="478" y="1131"/>
                  <a:pt x="487" y="1131"/>
                </a:cubicBezTo>
                <a:cubicBezTo>
                  <a:pt x="495" y="1131"/>
                  <a:pt x="505" y="1126"/>
                  <a:pt x="509" y="1120"/>
                </a:cubicBezTo>
                <a:cubicBezTo>
                  <a:pt x="512" y="1115"/>
                  <a:pt x="508" y="1110"/>
                  <a:pt x="500" y="1110"/>
                </a:cubicBezTo>
                <a:cubicBezTo>
                  <a:pt x="500" y="1110"/>
                  <a:pt x="500" y="1110"/>
                  <a:pt x="500" y="1110"/>
                </a:cubicBezTo>
                <a:moveTo>
                  <a:pt x="545" y="1110"/>
                </a:moveTo>
                <a:cubicBezTo>
                  <a:pt x="536" y="1110"/>
                  <a:pt x="527" y="1115"/>
                  <a:pt x="523" y="1120"/>
                </a:cubicBezTo>
                <a:cubicBezTo>
                  <a:pt x="520" y="1126"/>
                  <a:pt x="524" y="1131"/>
                  <a:pt x="532" y="1131"/>
                </a:cubicBezTo>
                <a:cubicBezTo>
                  <a:pt x="541" y="1130"/>
                  <a:pt x="550" y="1126"/>
                  <a:pt x="554" y="1120"/>
                </a:cubicBezTo>
                <a:cubicBezTo>
                  <a:pt x="557" y="1115"/>
                  <a:pt x="553" y="1110"/>
                  <a:pt x="545" y="1110"/>
                </a:cubicBezTo>
                <a:cubicBezTo>
                  <a:pt x="545" y="1110"/>
                  <a:pt x="545" y="1110"/>
                  <a:pt x="545" y="1110"/>
                </a:cubicBezTo>
                <a:moveTo>
                  <a:pt x="588" y="1110"/>
                </a:moveTo>
                <a:cubicBezTo>
                  <a:pt x="580" y="1110"/>
                  <a:pt x="570" y="1115"/>
                  <a:pt x="567" y="1120"/>
                </a:cubicBezTo>
                <a:cubicBezTo>
                  <a:pt x="563" y="1126"/>
                  <a:pt x="567" y="1130"/>
                  <a:pt x="576" y="1130"/>
                </a:cubicBezTo>
                <a:cubicBezTo>
                  <a:pt x="584" y="1130"/>
                  <a:pt x="594" y="1126"/>
                  <a:pt x="597" y="1120"/>
                </a:cubicBezTo>
                <a:cubicBezTo>
                  <a:pt x="601" y="1115"/>
                  <a:pt x="597" y="1110"/>
                  <a:pt x="588" y="1110"/>
                </a:cubicBezTo>
                <a:cubicBezTo>
                  <a:pt x="588" y="1110"/>
                  <a:pt x="588" y="1110"/>
                  <a:pt x="588" y="1110"/>
                </a:cubicBezTo>
                <a:moveTo>
                  <a:pt x="632" y="1110"/>
                </a:moveTo>
                <a:cubicBezTo>
                  <a:pt x="624" y="1110"/>
                  <a:pt x="614" y="1115"/>
                  <a:pt x="611" y="1120"/>
                </a:cubicBezTo>
                <a:cubicBezTo>
                  <a:pt x="607" y="1126"/>
                  <a:pt x="611" y="1130"/>
                  <a:pt x="620" y="1130"/>
                </a:cubicBezTo>
                <a:cubicBezTo>
                  <a:pt x="629" y="1130"/>
                  <a:pt x="638" y="1126"/>
                  <a:pt x="641" y="1120"/>
                </a:cubicBezTo>
                <a:cubicBezTo>
                  <a:pt x="645" y="1114"/>
                  <a:pt x="641" y="1110"/>
                  <a:pt x="632" y="1110"/>
                </a:cubicBezTo>
                <a:cubicBezTo>
                  <a:pt x="632" y="1110"/>
                  <a:pt x="632" y="1110"/>
                  <a:pt x="632" y="1110"/>
                </a:cubicBezTo>
                <a:moveTo>
                  <a:pt x="676" y="1110"/>
                </a:moveTo>
                <a:cubicBezTo>
                  <a:pt x="668" y="1110"/>
                  <a:pt x="658" y="1114"/>
                  <a:pt x="655" y="1120"/>
                </a:cubicBezTo>
                <a:cubicBezTo>
                  <a:pt x="652" y="1126"/>
                  <a:pt x="656" y="1130"/>
                  <a:pt x="665" y="1130"/>
                </a:cubicBezTo>
                <a:cubicBezTo>
                  <a:pt x="673" y="1130"/>
                  <a:pt x="683" y="1126"/>
                  <a:pt x="686" y="1120"/>
                </a:cubicBezTo>
                <a:cubicBezTo>
                  <a:pt x="689" y="1114"/>
                  <a:pt x="685" y="1110"/>
                  <a:pt x="676" y="1110"/>
                </a:cubicBezTo>
                <a:cubicBezTo>
                  <a:pt x="676" y="1110"/>
                  <a:pt x="676" y="1110"/>
                  <a:pt x="676" y="1110"/>
                </a:cubicBezTo>
                <a:moveTo>
                  <a:pt x="720" y="1110"/>
                </a:moveTo>
                <a:cubicBezTo>
                  <a:pt x="711" y="1110"/>
                  <a:pt x="702" y="1114"/>
                  <a:pt x="699" y="1120"/>
                </a:cubicBezTo>
                <a:cubicBezTo>
                  <a:pt x="695" y="1125"/>
                  <a:pt x="700" y="1130"/>
                  <a:pt x="708" y="1130"/>
                </a:cubicBezTo>
                <a:cubicBezTo>
                  <a:pt x="717" y="1130"/>
                  <a:pt x="726" y="1125"/>
                  <a:pt x="729" y="1120"/>
                </a:cubicBezTo>
                <a:cubicBezTo>
                  <a:pt x="733" y="1114"/>
                  <a:pt x="728" y="1110"/>
                  <a:pt x="720" y="1110"/>
                </a:cubicBezTo>
                <a:cubicBezTo>
                  <a:pt x="720" y="1110"/>
                  <a:pt x="720" y="1110"/>
                  <a:pt x="720" y="1110"/>
                </a:cubicBezTo>
                <a:moveTo>
                  <a:pt x="764" y="1110"/>
                </a:moveTo>
                <a:cubicBezTo>
                  <a:pt x="755" y="1110"/>
                  <a:pt x="746" y="1114"/>
                  <a:pt x="743" y="1120"/>
                </a:cubicBezTo>
                <a:cubicBezTo>
                  <a:pt x="739" y="1125"/>
                  <a:pt x="744" y="1130"/>
                  <a:pt x="752" y="1130"/>
                </a:cubicBezTo>
                <a:cubicBezTo>
                  <a:pt x="761" y="1130"/>
                  <a:pt x="770" y="1125"/>
                  <a:pt x="773" y="1120"/>
                </a:cubicBezTo>
                <a:cubicBezTo>
                  <a:pt x="776" y="1114"/>
                  <a:pt x="772" y="1110"/>
                  <a:pt x="764" y="1110"/>
                </a:cubicBezTo>
                <a:cubicBezTo>
                  <a:pt x="764" y="1110"/>
                  <a:pt x="764" y="1110"/>
                  <a:pt x="764" y="1110"/>
                </a:cubicBezTo>
                <a:moveTo>
                  <a:pt x="807" y="1109"/>
                </a:moveTo>
                <a:cubicBezTo>
                  <a:pt x="799" y="1109"/>
                  <a:pt x="789" y="1114"/>
                  <a:pt x="786" y="1120"/>
                </a:cubicBezTo>
                <a:cubicBezTo>
                  <a:pt x="783" y="1125"/>
                  <a:pt x="788" y="1130"/>
                  <a:pt x="796" y="1130"/>
                </a:cubicBezTo>
                <a:cubicBezTo>
                  <a:pt x="805" y="1130"/>
                  <a:pt x="814" y="1125"/>
                  <a:pt x="817" y="1120"/>
                </a:cubicBezTo>
                <a:cubicBezTo>
                  <a:pt x="820" y="1114"/>
                  <a:pt x="816" y="1109"/>
                  <a:pt x="807" y="1109"/>
                </a:cubicBezTo>
                <a:cubicBezTo>
                  <a:pt x="807" y="1109"/>
                  <a:pt x="807" y="1109"/>
                  <a:pt x="807" y="1109"/>
                </a:cubicBezTo>
                <a:moveTo>
                  <a:pt x="851" y="1109"/>
                </a:moveTo>
                <a:cubicBezTo>
                  <a:pt x="842" y="1109"/>
                  <a:pt x="833" y="1114"/>
                  <a:pt x="830" y="1119"/>
                </a:cubicBezTo>
                <a:cubicBezTo>
                  <a:pt x="827" y="1125"/>
                  <a:pt x="832" y="1130"/>
                  <a:pt x="840" y="1130"/>
                </a:cubicBezTo>
                <a:cubicBezTo>
                  <a:pt x="849" y="1130"/>
                  <a:pt x="858" y="1125"/>
                  <a:pt x="861" y="1119"/>
                </a:cubicBezTo>
                <a:cubicBezTo>
                  <a:pt x="864" y="1114"/>
                  <a:pt x="859" y="1109"/>
                  <a:pt x="851" y="1109"/>
                </a:cubicBezTo>
                <a:cubicBezTo>
                  <a:pt x="851" y="1109"/>
                  <a:pt x="851" y="1109"/>
                  <a:pt x="851" y="1109"/>
                </a:cubicBezTo>
                <a:moveTo>
                  <a:pt x="895" y="1109"/>
                </a:moveTo>
                <a:cubicBezTo>
                  <a:pt x="887" y="1109"/>
                  <a:pt x="878" y="1114"/>
                  <a:pt x="875" y="1119"/>
                </a:cubicBezTo>
                <a:cubicBezTo>
                  <a:pt x="872" y="1125"/>
                  <a:pt x="876" y="1129"/>
                  <a:pt x="885" y="1129"/>
                </a:cubicBezTo>
                <a:cubicBezTo>
                  <a:pt x="893" y="1129"/>
                  <a:pt x="902" y="1125"/>
                  <a:pt x="905" y="1119"/>
                </a:cubicBezTo>
                <a:cubicBezTo>
                  <a:pt x="908" y="1114"/>
                  <a:pt x="904" y="1109"/>
                  <a:pt x="895" y="1109"/>
                </a:cubicBezTo>
                <a:cubicBezTo>
                  <a:pt x="895" y="1109"/>
                  <a:pt x="895" y="1109"/>
                  <a:pt x="895" y="1109"/>
                </a:cubicBezTo>
                <a:moveTo>
                  <a:pt x="2162" y="1106"/>
                </a:moveTo>
                <a:cubicBezTo>
                  <a:pt x="2153" y="1106"/>
                  <a:pt x="2146" y="1111"/>
                  <a:pt x="2145" y="1116"/>
                </a:cubicBezTo>
                <a:cubicBezTo>
                  <a:pt x="2145" y="1122"/>
                  <a:pt x="2151" y="1127"/>
                  <a:pt x="2160" y="1127"/>
                </a:cubicBezTo>
                <a:cubicBezTo>
                  <a:pt x="2168" y="1127"/>
                  <a:pt x="2176" y="1122"/>
                  <a:pt x="2176" y="1116"/>
                </a:cubicBezTo>
                <a:cubicBezTo>
                  <a:pt x="2177" y="1111"/>
                  <a:pt x="2170" y="1106"/>
                  <a:pt x="2162" y="1106"/>
                </a:cubicBezTo>
                <a:cubicBezTo>
                  <a:pt x="2162" y="1106"/>
                  <a:pt x="2162" y="1106"/>
                  <a:pt x="2162" y="1106"/>
                </a:cubicBezTo>
                <a:moveTo>
                  <a:pt x="2206" y="1106"/>
                </a:moveTo>
                <a:cubicBezTo>
                  <a:pt x="2198" y="1106"/>
                  <a:pt x="2190" y="1111"/>
                  <a:pt x="2190" y="1116"/>
                </a:cubicBezTo>
                <a:cubicBezTo>
                  <a:pt x="2189" y="1122"/>
                  <a:pt x="2196" y="1127"/>
                  <a:pt x="2204" y="1127"/>
                </a:cubicBezTo>
                <a:cubicBezTo>
                  <a:pt x="2213" y="1127"/>
                  <a:pt x="2220" y="1122"/>
                  <a:pt x="2220" y="1116"/>
                </a:cubicBezTo>
                <a:cubicBezTo>
                  <a:pt x="2221" y="1111"/>
                  <a:pt x="2214" y="1106"/>
                  <a:pt x="2206" y="1106"/>
                </a:cubicBezTo>
                <a:cubicBezTo>
                  <a:pt x="2206" y="1106"/>
                  <a:pt x="2206" y="1106"/>
                  <a:pt x="2206" y="1106"/>
                </a:cubicBezTo>
                <a:moveTo>
                  <a:pt x="2249" y="1106"/>
                </a:moveTo>
                <a:cubicBezTo>
                  <a:pt x="2241" y="1106"/>
                  <a:pt x="2233" y="1111"/>
                  <a:pt x="2233" y="1116"/>
                </a:cubicBezTo>
                <a:cubicBezTo>
                  <a:pt x="2233" y="1122"/>
                  <a:pt x="2239" y="1126"/>
                  <a:pt x="2248" y="1126"/>
                </a:cubicBezTo>
                <a:cubicBezTo>
                  <a:pt x="2256" y="1126"/>
                  <a:pt x="2263" y="1122"/>
                  <a:pt x="2264" y="1116"/>
                </a:cubicBezTo>
                <a:cubicBezTo>
                  <a:pt x="2264" y="1111"/>
                  <a:pt x="2258" y="1106"/>
                  <a:pt x="2249" y="1106"/>
                </a:cubicBezTo>
                <a:cubicBezTo>
                  <a:pt x="2249" y="1106"/>
                  <a:pt x="2249" y="1106"/>
                  <a:pt x="2249" y="1106"/>
                </a:cubicBezTo>
                <a:moveTo>
                  <a:pt x="2293" y="1106"/>
                </a:moveTo>
                <a:cubicBezTo>
                  <a:pt x="2284" y="1106"/>
                  <a:pt x="2277" y="1110"/>
                  <a:pt x="2277" y="1116"/>
                </a:cubicBezTo>
                <a:cubicBezTo>
                  <a:pt x="2276" y="1122"/>
                  <a:pt x="2283" y="1126"/>
                  <a:pt x="2291" y="1126"/>
                </a:cubicBezTo>
                <a:cubicBezTo>
                  <a:pt x="2300" y="1126"/>
                  <a:pt x="2307" y="1122"/>
                  <a:pt x="2307" y="1116"/>
                </a:cubicBezTo>
                <a:cubicBezTo>
                  <a:pt x="2308" y="1110"/>
                  <a:pt x="2301" y="1106"/>
                  <a:pt x="2293" y="1106"/>
                </a:cubicBezTo>
                <a:cubicBezTo>
                  <a:pt x="2293" y="1106"/>
                  <a:pt x="2293" y="1106"/>
                  <a:pt x="2293" y="1106"/>
                </a:cubicBezTo>
                <a:moveTo>
                  <a:pt x="2336" y="1106"/>
                </a:moveTo>
                <a:cubicBezTo>
                  <a:pt x="2328" y="1106"/>
                  <a:pt x="2321" y="1110"/>
                  <a:pt x="2321" y="1116"/>
                </a:cubicBezTo>
                <a:cubicBezTo>
                  <a:pt x="2320" y="1122"/>
                  <a:pt x="2327" y="1126"/>
                  <a:pt x="2335" y="1126"/>
                </a:cubicBezTo>
                <a:cubicBezTo>
                  <a:pt x="2344" y="1126"/>
                  <a:pt x="2351" y="1122"/>
                  <a:pt x="2351" y="1116"/>
                </a:cubicBezTo>
                <a:cubicBezTo>
                  <a:pt x="2351" y="1110"/>
                  <a:pt x="2345" y="1106"/>
                  <a:pt x="2336" y="1106"/>
                </a:cubicBezTo>
                <a:cubicBezTo>
                  <a:pt x="2336" y="1106"/>
                  <a:pt x="2336" y="1106"/>
                  <a:pt x="2336" y="1106"/>
                </a:cubicBezTo>
                <a:moveTo>
                  <a:pt x="2380" y="1106"/>
                </a:moveTo>
                <a:cubicBezTo>
                  <a:pt x="2372" y="1106"/>
                  <a:pt x="2365" y="1110"/>
                  <a:pt x="2365" y="1116"/>
                </a:cubicBezTo>
                <a:cubicBezTo>
                  <a:pt x="2365" y="1121"/>
                  <a:pt x="2371" y="1126"/>
                  <a:pt x="2380" y="1126"/>
                </a:cubicBezTo>
                <a:cubicBezTo>
                  <a:pt x="2388" y="1126"/>
                  <a:pt x="2395" y="1121"/>
                  <a:pt x="2396" y="1116"/>
                </a:cubicBezTo>
                <a:cubicBezTo>
                  <a:pt x="2396" y="1110"/>
                  <a:pt x="2389" y="1106"/>
                  <a:pt x="2381" y="1106"/>
                </a:cubicBezTo>
                <a:cubicBezTo>
                  <a:pt x="2381" y="1106"/>
                  <a:pt x="2381" y="1106"/>
                  <a:pt x="2380" y="1106"/>
                </a:cubicBezTo>
                <a:moveTo>
                  <a:pt x="2424" y="1105"/>
                </a:moveTo>
                <a:cubicBezTo>
                  <a:pt x="2415" y="1105"/>
                  <a:pt x="2409" y="1110"/>
                  <a:pt x="2408" y="1116"/>
                </a:cubicBezTo>
                <a:cubicBezTo>
                  <a:pt x="2408" y="1121"/>
                  <a:pt x="2415" y="1126"/>
                  <a:pt x="2424" y="1126"/>
                </a:cubicBezTo>
                <a:cubicBezTo>
                  <a:pt x="2432" y="1126"/>
                  <a:pt x="2439" y="1121"/>
                  <a:pt x="2439" y="1116"/>
                </a:cubicBezTo>
                <a:cubicBezTo>
                  <a:pt x="2439" y="1110"/>
                  <a:pt x="2432" y="1105"/>
                  <a:pt x="2424" y="1105"/>
                </a:cubicBezTo>
                <a:cubicBezTo>
                  <a:pt x="2424" y="1105"/>
                  <a:pt x="2424" y="1105"/>
                  <a:pt x="2424" y="1105"/>
                </a:cubicBezTo>
                <a:moveTo>
                  <a:pt x="2468" y="1105"/>
                </a:moveTo>
                <a:cubicBezTo>
                  <a:pt x="2459" y="1105"/>
                  <a:pt x="2452" y="1110"/>
                  <a:pt x="2452" y="1116"/>
                </a:cubicBezTo>
                <a:cubicBezTo>
                  <a:pt x="2452" y="1121"/>
                  <a:pt x="2459" y="1126"/>
                  <a:pt x="2468" y="1126"/>
                </a:cubicBezTo>
                <a:cubicBezTo>
                  <a:pt x="2476" y="1126"/>
                  <a:pt x="2483" y="1121"/>
                  <a:pt x="2483" y="1115"/>
                </a:cubicBezTo>
                <a:cubicBezTo>
                  <a:pt x="2483" y="1110"/>
                  <a:pt x="2476" y="1105"/>
                  <a:pt x="2468" y="1105"/>
                </a:cubicBezTo>
                <a:cubicBezTo>
                  <a:pt x="2468" y="1105"/>
                  <a:pt x="2468" y="1105"/>
                  <a:pt x="2468" y="1105"/>
                </a:cubicBezTo>
                <a:moveTo>
                  <a:pt x="2511" y="1105"/>
                </a:moveTo>
                <a:cubicBezTo>
                  <a:pt x="2503" y="1105"/>
                  <a:pt x="2496" y="1110"/>
                  <a:pt x="2496" y="1115"/>
                </a:cubicBezTo>
                <a:cubicBezTo>
                  <a:pt x="2496" y="1121"/>
                  <a:pt x="2503" y="1126"/>
                  <a:pt x="2511" y="1126"/>
                </a:cubicBezTo>
                <a:cubicBezTo>
                  <a:pt x="2520" y="1126"/>
                  <a:pt x="2527" y="1121"/>
                  <a:pt x="2526" y="1115"/>
                </a:cubicBezTo>
                <a:cubicBezTo>
                  <a:pt x="2526" y="1110"/>
                  <a:pt x="2519" y="1105"/>
                  <a:pt x="2511" y="1105"/>
                </a:cubicBezTo>
                <a:cubicBezTo>
                  <a:pt x="2511" y="1105"/>
                  <a:pt x="2511" y="1105"/>
                  <a:pt x="2511" y="1105"/>
                </a:cubicBezTo>
                <a:moveTo>
                  <a:pt x="2555" y="1105"/>
                </a:moveTo>
                <a:cubicBezTo>
                  <a:pt x="2546" y="1105"/>
                  <a:pt x="2540" y="1110"/>
                  <a:pt x="2540" y="1115"/>
                </a:cubicBezTo>
                <a:cubicBezTo>
                  <a:pt x="2540" y="1121"/>
                  <a:pt x="2547" y="1126"/>
                  <a:pt x="2555" y="1125"/>
                </a:cubicBezTo>
                <a:cubicBezTo>
                  <a:pt x="2564" y="1125"/>
                  <a:pt x="2571" y="1121"/>
                  <a:pt x="2570" y="1115"/>
                </a:cubicBezTo>
                <a:cubicBezTo>
                  <a:pt x="2570" y="1110"/>
                  <a:pt x="2563" y="1105"/>
                  <a:pt x="2555" y="1105"/>
                </a:cubicBezTo>
                <a:cubicBezTo>
                  <a:pt x="2555" y="1105"/>
                  <a:pt x="2555" y="1105"/>
                  <a:pt x="2555" y="1105"/>
                </a:cubicBezTo>
                <a:moveTo>
                  <a:pt x="2599" y="1105"/>
                </a:moveTo>
                <a:cubicBezTo>
                  <a:pt x="2591" y="1105"/>
                  <a:pt x="2584" y="1110"/>
                  <a:pt x="2584" y="1115"/>
                </a:cubicBezTo>
                <a:cubicBezTo>
                  <a:pt x="2584" y="1121"/>
                  <a:pt x="2591" y="1125"/>
                  <a:pt x="2600" y="1125"/>
                </a:cubicBezTo>
                <a:cubicBezTo>
                  <a:pt x="2608" y="1125"/>
                  <a:pt x="2615" y="1121"/>
                  <a:pt x="2615" y="1115"/>
                </a:cubicBezTo>
                <a:cubicBezTo>
                  <a:pt x="2614" y="1109"/>
                  <a:pt x="2607" y="1105"/>
                  <a:pt x="2599" y="1105"/>
                </a:cubicBezTo>
                <a:cubicBezTo>
                  <a:pt x="2599" y="1105"/>
                  <a:pt x="2599" y="1105"/>
                  <a:pt x="2599" y="1105"/>
                </a:cubicBezTo>
                <a:moveTo>
                  <a:pt x="2642" y="1105"/>
                </a:moveTo>
                <a:cubicBezTo>
                  <a:pt x="2634" y="1105"/>
                  <a:pt x="2627" y="1109"/>
                  <a:pt x="2628" y="1115"/>
                </a:cubicBezTo>
                <a:cubicBezTo>
                  <a:pt x="2628" y="1121"/>
                  <a:pt x="2635" y="1125"/>
                  <a:pt x="2644" y="1125"/>
                </a:cubicBezTo>
                <a:cubicBezTo>
                  <a:pt x="2652" y="1125"/>
                  <a:pt x="2659" y="1121"/>
                  <a:pt x="2658" y="1115"/>
                </a:cubicBezTo>
                <a:cubicBezTo>
                  <a:pt x="2658" y="1109"/>
                  <a:pt x="2651" y="1105"/>
                  <a:pt x="2642" y="1105"/>
                </a:cubicBezTo>
                <a:cubicBezTo>
                  <a:pt x="2642" y="1105"/>
                  <a:pt x="2642" y="1105"/>
                  <a:pt x="2642" y="1105"/>
                </a:cubicBezTo>
                <a:moveTo>
                  <a:pt x="2686" y="1105"/>
                </a:moveTo>
                <a:cubicBezTo>
                  <a:pt x="2678" y="1105"/>
                  <a:pt x="2671" y="1109"/>
                  <a:pt x="2672" y="1115"/>
                </a:cubicBezTo>
                <a:cubicBezTo>
                  <a:pt x="2672" y="1121"/>
                  <a:pt x="2679" y="1125"/>
                  <a:pt x="2688" y="1125"/>
                </a:cubicBezTo>
                <a:cubicBezTo>
                  <a:pt x="2696" y="1125"/>
                  <a:pt x="2703" y="1120"/>
                  <a:pt x="2703" y="1115"/>
                </a:cubicBezTo>
                <a:cubicBezTo>
                  <a:pt x="2702" y="1109"/>
                  <a:pt x="2695" y="1105"/>
                  <a:pt x="2687" y="1105"/>
                </a:cubicBezTo>
                <a:cubicBezTo>
                  <a:pt x="2687" y="1105"/>
                  <a:pt x="2686" y="1105"/>
                  <a:pt x="2686" y="1105"/>
                </a:cubicBezTo>
                <a:moveTo>
                  <a:pt x="2729" y="1104"/>
                </a:moveTo>
                <a:cubicBezTo>
                  <a:pt x="2720" y="1105"/>
                  <a:pt x="2714" y="1109"/>
                  <a:pt x="2714" y="1115"/>
                </a:cubicBezTo>
                <a:cubicBezTo>
                  <a:pt x="2714" y="1120"/>
                  <a:pt x="2722" y="1125"/>
                  <a:pt x="2730" y="1125"/>
                </a:cubicBezTo>
                <a:cubicBezTo>
                  <a:pt x="2739" y="1125"/>
                  <a:pt x="2745" y="1120"/>
                  <a:pt x="2745" y="1115"/>
                </a:cubicBezTo>
                <a:cubicBezTo>
                  <a:pt x="2744" y="1109"/>
                  <a:pt x="2737" y="1104"/>
                  <a:pt x="2729" y="1104"/>
                </a:cubicBezTo>
                <a:cubicBezTo>
                  <a:pt x="2729" y="1104"/>
                  <a:pt x="2729" y="1104"/>
                  <a:pt x="2729" y="1104"/>
                </a:cubicBezTo>
                <a:moveTo>
                  <a:pt x="2773" y="1104"/>
                </a:moveTo>
                <a:cubicBezTo>
                  <a:pt x="2764" y="1104"/>
                  <a:pt x="2758" y="1109"/>
                  <a:pt x="2758" y="1115"/>
                </a:cubicBezTo>
                <a:cubicBezTo>
                  <a:pt x="2759" y="1120"/>
                  <a:pt x="2766" y="1125"/>
                  <a:pt x="2775" y="1125"/>
                </a:cubicBezTo>
                <a:cubicBezTo>
                  <a:pt x="2783" y="1125"/>
                  <a:pt x="2790" y="1120"/>
                  <a:pt x="2789" y="1115"/>
                </a:cubicBezTo>
                <a:cubicBezTo>
                  <a:pt x="2788" y="1109"/>
                  <a:pt x="2781" y="1104"/>
                  <a:pt x="2773" y="1104"/>
                </a:cubicBezTo>
                <a:cubicBezTo>
                  <a:pt x="2773" y="1104"/>
                  <a:pt x="2773" y="1104"/>
                  <a:pt x="2773" y="1104"/>
                </a:cubicBezTo>
                <a:moveTo>
                  <a:pt x="2815" y="1104"/>
                </a:moveTo>
                <a:cubicBezTo>
                  <a:pt x="2806" y="1104"/>
                  <a:pt x="2800" y="1109"/>
                  <a:pt x="2801" y="1114"/>
                </a:cubicBezTo>
                <a:cubicBezTo>
                  <a:pt x="2801" y="1120"/>
                  <a:pt x="2808" y="1125"/>
                  <a:pt x="2817" y="1125"/>
                </a:cubicBezTo>
                <a:cubicBezTo>
                  <a:pt x="2826" y="1125"/>
                  <a:pt x="2832" y="1120"/>
                  <a:pt x="2831" y="1114"/>
                </a:cubicBezTo>
                <a:cubicBezTo>
                  <a:pt x="2831" y="1109"/>
                  <a:pt x="2823" y="1104"/>
                  <a:pt x="2815" y="1104"/>
                </a:cubicBezTo>
                <a:cubicBezTo>
                  <a:pt x="2815" y="1104"/>
                  <a:pt x="2815" y="1104"/>
                  <a:pt x="2815" y="1104"/>
                </a:cubicBezTo>
                <a:moveTo>
                  <a:pt x="3909" y="1102"/>
                </a:moveTo>
                <a:cubicBezTo>
                  <a:pt x="3901" y="1102"/>
                  <a:pt x="3896" y="1106"/>
                  <a:pt x="3899" y="1112"/>
                </a:cubicBezTo>
                <a:cubicBezTo>
                  <a:pt x="3902" y="1118"/>
                  <a:pt x="3911" y="1122"/>
                  <a:pt x="3919" y="1122"/>
                </a:cubicBezTo>
                <a:cubicBezTo>
                  <a:pt x="3928" y="1122"/>
                  <a:pt x="3932" y="1118"/>
                  <a:pt x="3930" y="1112"/>
                </a:cubicBezTo>
                <a:cubicBezTo>
                  <a:pt x="3927" y="1106"/>
                  <a:pt x="3918" y="1102"/>
                  <a:pt x="3910" y="1102"/>
                </a:cubicBezTo>
                <a:cubicBezTo>
                  <a:pt x="3910" y="1102"/>
                  <a:pt x="3910" y="1102"/>
                  <a:pt x="3909" y="1102"/>
                </a:cubicBezTo>
                <a:moveTo>
                  <a:pt x="3953" y="1102"/>
                </a:moveTo>
                <a:cubicBezTo>
                  <a:pt x="3944" y="1102"/>
                  <a:pt x="3940" y="1106"/>
                  <a:pt x="3942" y="1112"/>
                </a:cubicBezTo>
                <a:cubicBezTo>
                  <a:pt x="3945" y="1118"/>
                  <a:pt x="3954" y="1122"/>
                  <a:pt x="3963" y="1122"/>
                </a:cubicBezTo>
                <a:cubicBezTo>
                  <a:pt x="3971" y="1122"/>
                  <a:pt x="3976" y="1118"/>
                  <a:pt x="3973" y="1112"/>
                </a:cubicBezTo>
                <a:cubicBezTo>
                  <a:pt x="3970" y="1106"/>
                  <a:pt x="3961" y="1102"/>
                  <a:pt x="3953" y="1102"/>
                </a:cubicBezTo>
                <a:cubicBezTo>
                  <a:pt x="3953" y="1102"/>
                  <a:pt x="3953" y="1102"/>
                  <a:pt x="3953" y="1102"/>
                </a:cubicBezTo>
                <a:moveTo>
                  <a:pt x="3997" y="1102"/>
                </a:moveTo>
                <a:cubicBezTo>
                  <a:pt x="3988" y="1102"/>
                  <a:pt x="3984" y="1106"/>
                  <a:pt x="3986" y="1112"/>
                </a:cubicBezTo>
                <a:cubicBezTo>
                  <a:pt x="3989" y="1118"/>
                  <a:pt x="3998" y="1122"/>
                  <a:pt x="4007" y="1122"/>
                </a:cubicBezTo>
                <a:cubicBezTo>
                  <a:pt x="4015" y="1122"/>
                  <a:pt x="4020" y="1117"/>
                  <a:pt x="4017" y="1112"/>
                </a:cubicBezTo>
                <a:cubicBezTo>
                  <a:pt x="4014" y="1106"/>
                  <a:pt x="4005" y="1102"/>
                  <a:pt x="3997" y="1102"/>
                </a:cubicBezTo>
                <a:cubicBezTo>
                  <a:pt x="3997" y="1102"/>
                  <a:pt x="3997" y="1102"/>
                  <a:pt x="3997" y="1102"/>
                </a:cubicBezTo>
                <a:moveTo>
                  <a:pt x="4170" y="1101"/>
                </a:moveTo>
                <a:cubicBezTo>
                  <a:pt x="4162" y="1101"/>
                  <a:pt x="4157" y="1106"/>
                  <a:pt x="4160" y="1112"/>
                </a:cubicBezTo>
                <a:cubicBezTo>
                  <a:pt x="4163" y="1117"/>
                  <a:pt x="4173" y="1122"/>
                  <a:pt x="4181" y="1122"/>
                </a:cubicBezTo>
                <a:cubicBezTo>
                  <a:pt x="4190" y="1122"/>
                  <a:pt x="4194" y="1117"/>
                  <a:pt x="4191" y="1112"/>
                </a:cubicBezTo>
                <a:cubicBezTo>
                  <a:pt x="4188" y="1106"/>
                  <a:pt x="4179" y="1101"/>
                  <a:pt x="4170" y="1101"/>
                </a:cubicBezTo>
                <a:cubicBezTo>
                  <a:pt x="4170" y="1101"/>
                  <a:pt x="4170" y="1101"/>
                  <a:pt x="4170" y="1101"/>
                </a:cubicBezTo>
                <a:moveTo>
                  <a:pt x="4213" y="1101"/>
                </a:moveTo>
                <a:cubicBezTo>
                  <a:pt x="4205" y="1101"/>
                  <a:pt x="4200" y="1106"/>
                  <a:pt x="4204" y="1111"/>
                </a:cubicBezTo>
                <a:cubicBezTo>
                  <a:pt x="4207" y="1117"/>
                  <a:pt x="4216" y="1122"/>
                  <a:pt x="4225" y="1122"/>
                </a:cubicBezTo>
                <a:cubicBezTo>
                  <a:pt x="4233" y="1122"/>
                  <a:pt x="4237" y="1117"/>
                  <a:pt x="4234" y="1111"/>
                </a:cubicBezTo>
                <a:cubicBezTo>
                  <a:pt x="4231" y="1106"/>
                  <a:pt x="4222" y="1101"/>
                  <a:pt x="4213" y="1101"/>
                </a:cubicBezTo>
                <a:cubicBezTo>
                  <a:pt x="4213" y="1101"/>
                  <a:pt x="4213" y="1101"/>
                  <a:pt x="4213" y="1101"/>
                </a:cubicBezTo>
                <a:moveTo>
                  <a:pt x="4256" y="1101"/>
                </a:moveTo>
                <a:cubicBezTo>
                  <a:pt x="4248" y="1101"/>
                  <a:pt x="4244" y="1106"/>
                  <a:pt x="4247" y="1111"/>
                </a:cubicBezTo>
                <a:cubicBezTo>
                  <a:pt x="4250" y="1117"/>
                  <a:pt x="4260" y="1122"/>
                  <a:pt x="4268" y="1122"/>
                </a:cubicBezTo>
                <a:cubicBezTo>
                  <a:pt x="4277" y="1122"/>
                  <a:pt x="4281" y="1117"/>
                  <a:pt x="4278" y="1111"/>
                </a:cubicBezTo>
                <a:cubicBezTo>
                  <a:pt x="4274" y="1106"/>
                  <a:pt x="4265" y="1101"/>
                  <a:pt x="4257" y="1101"/>
                </a:cubicBezTo>
                <a:cubicBezTo>
                  <a:pt x="4256" y="1101"/>
                  <a:pt x="4256" y="1101"/>
                  <a:pt x="4256" y="1101"/>
                </a:cubicBezTo>
                <a:moveTo>
                  <a:pt x="4300" y="1101"/>
                </a:moveTo>
                <a:cubicBezTo>
                  <a:pt x="4292" y="1101"/>
                  <a:pt x="4288" y="1106"/>
                  <a:pt x="4291" y="1111"/>
                </a:cubicBezTo>
                <a:cubicBezTo>
                  <a:pt x="4294" y="1117"/>
                  <a:pt x="4304" y="1121"/>
                  <a:pt x="4312" y="1121"/>
                </a:cubicBezTo>
                <a:cubicBezTo>
                  <a:pt x="4321" y="1121"/>
                  <a:pt x="4325" y="1117"/>
                  <a:pt x="4322" y="1111"/>
                </a:cubicBezTo>
                <a:cubicBezTo>
                  <a:pt x="4318" y="1105"/>
                  <a:pt x="4309" y="1101"/>
                  <a:pt x="4300" y="1101"/>
                </a:cubicBezTo>
                <a:cubicBezTo>
                  <a:pt x="4300" y="1101"/>
                  <a:pt x="4300" y="1101"/>
                  <a:pt x="4300" y="1101"/>
                </a:cubicBezTo>
                <a:moveTo>
                  <a:pt x="4516" y="1096"/>
                </a:moveTo>
                <a:cubicBezTo>
                  <a:pt x="4508" y="1096"/>
                  <a:pt x="4504" y="1100"/>
                  <a:pt x="4508" y="1106"/>
                </a:cubicBezTo>
                <a:cubicBezTo>
                  <a:pt x="4512" y="1112"/>
                  <a:pt x="4521" y="1116"/>
                  <a:pt x="4530" y="1116"/>
                </a:cubicBezTo>
                <a:cubicBezTo>
                  <a:pt x="4538" y="1116"/>
                  <a:pt x="4542" y="1112"/>
                  <a:pt x="4538" y="1106"/>
                </a:cubicBezTo>
                <a:cubicBezTo>
                  <a:pt x="4535" y="1100"/>
                  <a:pt x="4525" y="1096"/>
                  <a:pt x="4516" y="1096"/>
                </a:cubicBezTo>
                <a:cubicBezTo>
                  <a:pt x="4516" y="1096"/>
                  <a:pt x="4516" y="1096"/>
                  <a:pt x="4516" y="1096"/>
                </a:cubicBezTo>
                <a:moveTo>
                  <a:pt x="389" y="1082"/>
                </a:moveTo>
                <a:cubicBezTo>
                  <a:pt x="380" y="1082"/>
                  <a:pt x="370" y="1086"/>
                  <a:pt x="366" y="1092"/>
                </a:cubicBezTo>
                <a:cubicBezTo>
                  <a:pt x="363" y="1097"/>
                  <a:pt x="366" y="1102"/>
                  <a:pt x="375" y="1102"/>
                </a:cubicBezTo>
                <a:cubicBezTo>
                  <a:pt x="383" y="1102"/>
                  <a:pt x="393" y="1097"/>
                  <a:pt x="397" y="1092"/>
                </a:cubicBezTo>
                <a:cubicBezTo>
                  <a:pt x="401" y="1086"/>
                  <a:pt x="397" y="1082"/>
                  <a:pt x="389" y="1082"/>
                </a:cubicBezTo>
                <a:cubicBezTo>
                  <a:pt x="389" y="1082"/>
                  <a:pt x="389" y="1082"/>
                  <a:pt x="389" y="1082"/>
                </a:cubicBezTo>
                <a:moveTo>
                  <a:pt x="432" y="1081"/>
                </a:moveTo>
                <a:cubicBezTo>
                  <a:pt x="424" y="1081"/>
                  <a:pt x="414" y="1086"/>
                  <a:pt x="410" y="1092"/>
                </a:cubicBezTo>
                <a:cubicBezTo>
                  <a:pt x="406" y="1097"/>
                  <a:pt x="410" y="1102"/>
                  <a:pt x="418" y="1102"/>
                </a:cubicBezTo>
                <a:cubicBezTo>
                  <a:pt x="427" y="1102"/>
                  <a:pt x="437" y="1097"/>
                  <a:pt x="440" y="1091"/>
                </a:cubicBezTo>
                <a:cubicBezTo>
                  <a:pt x="444" y="1086"/>
                  <a:pt x="440" y="1081"/>
                  <a:pt x="432" y="1081"/>
                </a:cubicBezTo>
                <a:cubicBezTo>
                  <a:pt x="432" y="1081"/>
                  <a:pt x="432" y="1081"/>
                  <a:pt x="432" y="1081"/>
                </a:cubicBezTo>
                <a:moveTo>
                  <a:pt x="475" y="1081"/>
                </a:moveTo>
                <a:cubicBezTo>
                  <a:pt x="467" y="1081"/>
                  <a:pt x="457" y="1086"/>
                  <a:pt x="453" y="1091"/>
                </a:cubicBezTo>
                <a:cubicBezTo>
                  <a:pt x="449" y="1097"/>
                  <a:pt x="453" y="1102"/>
                  <a:pt x="462" y="1102"/>
                </a:cubicBezTo>
                <a:cubicBezTo>
                  <a:pt x="470" y="1101"/>
                  <a:pt x="480" y="1097"/>
                  <a:pt x="484" y="1091"/>
                </a:cubicBezTo>
                <a:cubicBezTo>
                  <a:pt x="487" y="1086"/>
                  <a:pt x="483" y="1081"/>
                  <a:pt x="475" y="1081"/>
                </a:cubicBezTo>
                <a:cubicBezTo>
                  <a:pt x="475" y="1081"/>
                  <a:pt x="475" y="1081"/>
                  <a:pt x="475" y="1081"/>
                </a:cubicBezTo>
                <a:moveTo>
                  <a:pt x="518" y="1081"/>
                </a:moveTo>
                <a:cubicBezTo>
                  <a:pt x="510" y="1081"/>
                  <a:pt x="500" y="1086"/>
                  <a:pt x="497" y="1091"/>
                </a:cubicBezTo>
                <a:cubicBezTo>
                  <a:pt x="493" y="1097"/>
                  <a:pt x="497" y="1101"/>
                  <a:pt x="505" y="1101"/>
                </a:cubicBezTo>
                <a:cubicBezTo>
                  <a:pt x="514" y="1101"/>
                  <a:pt x="524" y="1097"/>
                  <a:pt x="527" y="1091"/>
                </a:cubicBezTo>
                <a:cubicBezTo>
                  <a:pt x="531" y="1086"/>
                  <a:pt x="527" y="1081"/>
                  <a:pt x="519" y="1081"/>
                </a:cubicBezTo>
                <a:cubicBezTo>
                  <a:pt x="519" y="1081"/>
                  <a:pt x="518" y="1081"/>
                  <a:pt x="518" y="1081"/>
                </a:cubicBezTo>
                <a:moveTo>
                  <a:pt x="563" y="1081"/>
                </a:moveTo>
                <a:cubicBezTo>
                  <a:pt x="555" y="1081"/>
                  <a:pt x="545" y="1086"/>
                  <a:pt x="542" y="1091"/>
                </a:cubicBezTo>
                <a:cubicBezTo>
                  <a:pt x="538" y="1097"/>
                  <a:pt x="542" y="1101"/>
                  <a:pt x="550" y="1101"/>
                </a:cubicBezTo>
                <a:cubicBezTo>
                  <a:pt x="559" y="1101"/>
                  <a:pt x="569" y="1097"/>
                  <a:pt x="572" y="1091"/>
                </a:cubicBezTo>
                <a:cubicBezTo>
                  <a:pt x="575" y="1085"/>
                  <a:pt x="572" y="1081"/>
                  <a:pt x="563" y="1081"/>
                </a:cubicBezTo>
                <a:cubicBezTo>
                  <a:pt x="563" y="1081"/>
                  <a:pt x="563" y="1081"/>
                  <a:pt x="563" y="1081"/>
                </a:cubicBezTo>
                <a:moveTo>
                  <a:pt x="606" y="1081"/>
                </a:moveTo>
                <a:cubicBezTo>
                  <a:pt x="598" y="1081"/>
                  <a:pt x="588" y="1085"/>
                  <a:pt x="585" y="1091"/>
                </a:cubicBezTo>
                <a:cubicBezTo>
                  <a:pt x="581" y="1097"/>
                  <a:pt x="585" y="1101"/>
                  <a:pt x="594" y="1101"/>
                </a:cubicBezTo>
                <a:cubicBezTo>
                  <a:pt x="602" y="1101"/>
                  <a:pt x="612" y="1097"/>
                  <a:pt x="615" y="1091"/>
                </a:cubicBezTo>
                <a:cubicBezTo>
                  <a:pt x="619" y="1085"/>
                  <a:pt x="615" y="1081"/>
                  <a:pt x="606" y="1081"/>
                </a:cubicBezTo>
                <a:cubicBezTo>
                  <a:pt x="606" y="1081"/>
                  <a:pt x="606" y="1081"/>
                  <a:pt x="606" y="1081"/>
                </a:cubicBezTo>
                <a:moveTo>
                  <a:pt x="650" y="1081"/>
                </a:moveTo>
                <a:cubicBezTo>
                  <a:pt x="641" y="1081"/>
                  <a:pt x="632" y="1085"/>
                  <a:pt x="628" y="1091"/>
                </a:cubicBezTo>
                <a:cubicBezTo>
                  <a:pt x="625" y="1096"/>
                  <a:pt x="629" y="1101"/>
                  <a:pt x="638" y="1101"/>
                </a:cubicBezTo>
                <a:cubicBezTo>
                  <a:pt x="646" y="1101"/>
                  <a:pt x="656" y="1096"/>
                  <a:pt x="659" y="1091"/>
                </a:cubicBezTo>
                <a:cubicBezTo>
                  <a:pt x="662" y="1085"/>
                  <a:pt x="658" y="1081"/>
                  <a:pt x="650" y="1081"/>
                </a:cubicBezTo>
                <a:cubicBezTo>
                  <a:pt x="650" y="1081"/>
                  <a:pt x="650" y="1081"/>
                  <a:pt x="650" y="1081"/>
                </a:cubicBezTo>
                <a:moveTo>
                  <a:pt x="694" y="1081"/>
                </a:moveTo>
                <a:cubicBezTo>
                  <a:pt x="685" y="1081"/>
                  <a:pt x="676" y="1085"/>
                  <a:pt x="672" y="1091"/>
                </a:cubicBezTo>
                <a:cubicBezTo>
                  <a:pt x="669" y="1096"/>
                  <a:pt x="673" y="1101"/>
                  <a:pt x="682" y="1101"/>
                </a:cubicBezTo>
                <a:cubicBezTo>
                  <a:pt x="690" y="1101"/>
                  <a:pt x="700" y="1096"/>
                  <a:pt x="703" y="1091"/>
                </a:cubicBezTo>
                <a:cubicBezTo>
                  <a:pt x="706" y="1085"/>
                  <a:pt x="702" y="1081"/>
                  <a:pt x="694" y="1081"/>
                </a:cubicBezTo>
                <a:cubicBezTo>
                  <a:pt x="694" y="1081"/>
                  <a:pt x="694" y="1081"/>
                  <a:pt x="694" y="1081"/>
                </a:cubicBezTo>
                <a:moveTo>
                  <a:pt x="737" y="1080"/>
                </a:moveTo>
                <a:cubicBezTo>
                  <a:pt x="728" y="1080"/>
                  <a:pt x="719" y="1085"/>
                  <a:pt x="716" y="1091"/>
                </a:cubicBezTo>
                <a:cubicBezTo>
                  <a:pt x="712" y="1096"/>
                  <a:pt x="717" y="1101"/>
                  <a:pt x="725" y="1101"/>
                </a:cubicBezTo>
                <a:cubicBezTo>
                  <a:pt x="733" y="1101"/>
                  <a:pt x="743" y="1096"/>
                  <a:pt x="746" y="1090"/>
                </a:cubicBezTo>
                <a:cubicBezTo>
                  <a:pt x="749" y="1085"/>
                  <a:pt x="745" y="1080"/>
                  <a:pt x="737" y="1080"/>
                </a:cubicBezTo>
                <a:cubicBezTo>
                  <a:pt x="737" y="1080"/>
                  <a:pt x="737" y="1080"/>
                  <a:pt x="737" y="1080"/>
                </a:cubicBezTo>
                <a:moveTo>
                  <a:pt x="780" y="1080"/>
                </a:moveTo>
                <a:cubicBezTo>
                  <a:pt x="772" y="1080"/>
                  <a:pt x="762" y="1085"/>
                  <a:pt x="759" y="1090"/>
                </a:cubicBezTo>
                <a:cubicBezTo>
                  <a:pt x="756" y="1096"/>
                  <a:pt x="760" y="1101"/>
                  <a:pt x="769" y="1101"/>
                </a:cubicBezTo>
                <a:cubicBezTo>
                  <a:pt x="777" y="1101"/>
                  <a:pt x="786" y="1096"/>
                  <a:pt x="789" y="1090"/>
                </a:cubicBezTo>
                <a:cubicBezTo>
                  <a:pt x="793" y="1085"/>
                  <a:pt x="788" y="1080"/>
                  <a:pt x="780" y="1080"/>
                </a:cubicBezTo>
                <a:cubicBezTo>
                  <a:pt x="780" y="1080"/>
                  <a:pt x="780" y="1080"/>
                  <a:pt x="780" y="1080"/>
                </a:cubicBezTo>
                <a:moveTo>
                  <a:pt x="823" y="1080"/>
                </a:moveTo>
                <a:cubicBezTo>
                  <a:pt x="815" y="1080"/>
                  <a:pt x="805" y="1085"/>
                  <a:pt x="802" y="1090"/>
                </a:cubicBezTo>
                <a:cubicBezTo>
                  <a:pt x="799" y="1096"/>
                  <a:pt x="804" y="1100"/>
                  <a:pt x="812" y="1100"/>
                </a:cubicBezTo>
                <a:cubicBezTo>
                  <a:pt x="820" y="1100"/>
                  <a:pt x="830" y="1096"/>
                  <a:pt x="833" y="1090"/>
                </a:cubicBezTo>
                <a:cubicBezTo>
                  <a:pt x="836" y="1085"/>
                  <a:pt x="831" y="1080"/>
                  <a:pt x="823" y="1080"/>
                </a:cubicBezTo>
                <a:cubicBezTo>
                  <a:pt x="823" y="1080"/>
                  <a:pt x="823" y="1080"/>
                  <a:pt x="823" y="1080"/>
                </a:cubicBezTo>
                <a:moveTo>
                  <a:pt x="866" y="1080"/>
                </a:moveTo>
                <a:cubicBezTo>
                  <a:pt x="858" y="1080"/>
                  <a:pt x="849" y="1085"/>
                  <a:pt x="846" y="1090"/>
                </a:cubicBezTo>
                <a:cubicBezTo>
                  <a:pt x="843" y="1096"/>
                  <a:pt x="847" y="1100"/>
                  <a:pt x="856" y="1100"/>
                </a:cubicBezTo>
                <a:cubicBezTo>
                  <a:pt x="864" y="1100"/>
                  <a:pt x="873" y="1096"/>
                  <a:pt x="876" y="1090"/>
                </a:cubicBezTo>
                <a:cubicBezTo>
                  <a:pt x="879" y="1084"/>
                  <a:pt x="875" y="1080"/>
                  <a:pt x="866" y="1080"/>
                </a:cubicBezTo>
                <a:cubicBezTo>
                  <a:pt x="866" y="1080"/>
                  <a:pt x="866" y="1080"/>
                  <a:pt x="866" y="1080"/>
                </a:cubicBezTo>
                <a:moveTo>
                  <a:pt x="910" y="1080"/>
                </a:moveTo>
                <a:cubicBezTo>
                  <a:pt x="902" y="1080"/>
                  <a:pt x="893" y="1084"/>
                  <a:pt x="890" y="1090"/>
                </a:cubicBezTo>
                <a:cubicBezTo>
                  <a:pt x="887" y="1096"/>
                  <a:pt x="891" y="1100"/>
                  <a:pt x="900" y="1100"/>
                </a:cubicBezTo>
                <a:cubicBezTo>
                  <a:pt x="908" y="1100"/>
                  <a:pt x="917" y="1096"/>
                  <a:pt x="920" y="1090"/>
                </a:cubicBezTo>
                <a:cubicBezTo>
                  <a:pt x="923" y="1084"/>
                  <a:pt x="919" y="1080"/>
                  <a:pt x="910" y="1080"/>
                </a:cubicBezTo>
                <a:cubicBezTo>
                  <a:pt x="910" y="1080"/>
                  <a:pt x="910" y="1080"/>
                  <a:pt x="910" y="1080"/>
                </a:cubicBezTo>
                <a:moveTo>
                  <a:pt x="2121" y="1077"/>
                </a:moveTo>
                <a:cubicBezTo>
                  <a:pt x="2113" y="1077"/>
                  <a:pt x="2105" y="1082"/>
                  <a:pt x="2105" y="1087"/>
                </a:cubicBezTo>
                <a:cubicBezTo>
                  <a:pt x="2104" y="1093"/>
                  <a:pt x="2110" y="1098"/>
                  <a:pt x="2119" y="1098"/>
                </a:cubicBezTo>
                <a:cubicBezTo>
                  <a:pt x="2127" y="1097"/>
                  <a:pt x="2135" y="1093"/>
                  <a:pt x="2135" y="1087"/>
                </a:cubicBezTo>
                <a:cubicBezTo>
                  <a:pt x="2136" y="1082"/>
                  <a:pt x="2130" y="1077"/>
                  <a:pt x="2121" y="1077"/>
                </a:cubicBezTo>
                <a:cubicBezTo>
                  <a:pt x="2121" y="1077"/>
                  <a:pt x="2121" y="1077"/>
                  <a:pt x="2121" y="1077"/>
                </a:cubicBezTo>
                <a:moveTo>
                  <a:pt x="2165" y="1077"/>
                </a:moveTo>
                <a:cubicBezTo>
                  <a:pt x="2157" y="1077"/>
                  <a:pt x="2149" y="1082"/>
                  <a:pt x="2149" y="1087"/>
                </a:cubicBezTo>
                <a:cubicBezTo>
                  <a:pt x="2148" y="1093"/>
                  <a:pt x="2154" y="1097"/>
                  <a:pt x="2163" y="1097"/>
                </a:cubicBezTo>
                <a:cubicBezTo>
                  <a:pt x="2171" y="1097"/>
                  <a:pt x="2179" y="1093"/>
                  <a:pt x="2179" y="1087"/>
                </a:cubicBezTo>
                <a:cubicBezTo>
                  <a:pt x="2180" y="1081"/>
                  <a:pt x="2173" y="1077"/>
                  <a:pt x="2165" y="1077"/>
                </a:cubicBezTo>
                <a:cubicBezTo>
                  <a:pt x="2165" y="1077"/>
                  <a:pt x="2165" y="1077"/>
                  <a:pt x="2165" y="1077"/>
                </a:cubicBezTo>
                <a:moveTo>
                  <a:pt x="2208" y="1077"/>
                </a:moveTo>
                <a:cubicBezTo>
                  <a:pt x="2200" y="1077"/>
                  <a:pt x="2192" y="1081"/>
                  <a:pt x="2192" y="1087"/>
                </a:cubicBezTo>
                <a:cubicBezTo>
                  <a:pt x="2191" y="1093"/>
                  <a:pt x="2198" y="1097"/>
                  <a:pt x="2206" y="1097"/>
                </a:cubicBezTo>
                <a:cubicBezTo>
                  <a:pt x="2215" y="1097"/>
                  <a:pt x="2222" y="1093"/>
                  <a:pt x="2222" y="1087"/>
                </a:cubicBezTo>
                <a:cubicBezTo>
                  <a:pt x="2223" y="1081"/>
                  <a:pt x="2216" y="1077"/>
                  <a:pt x="2208" y="1077"/>
                </a:cubicBezTo>
                <a:cubicBezTo>
                  <a:pt x="2208" y="1077"/>
                  <a:pt x="2208" y="1077"/>
                  <a:pt x="2208" y="1077"/>
                </a:cubicBezTo>
                <a:moveTo>
                  <a:pt x="2251" y="1077"/>
                </a:moveTo>
                <a:cubicBezTo>
                  <a:pt x="2243" y="1077"/>
                  <a:pt x="2236" y="1081"/>
                  <a:pt x="2235" y="1087"/>
                </a:cubicBezTo>
                <a:cubicBezTo>
                  <a:pt x="2235" y="1093"/>
                  <a:pt x="2241" y="1097"/>
                  <a:pt x="2250" y="1097"/>
                </a:cubicBezTo>
                <a:cubicBezTo>
                  <a:pt x="2258" y="1097"/>
                  <a:pt x="2265" y="1092"/>
                  <a:pt x="2266" y="1087"/>
                </a:cubicBezTo>
                <a:cubicBezTo>
                  <a:pt x="2266" y="1081"/>
                  <a:pt x="2260" y="1077"/>
                  <a:pt x="2251" y="1077"/>
                </a:cubicBezTo>
                <a:cubicBezTo>
                  <a:pt x="2251" y="1077"/>
                  <a:pt x="2251" y="1077"/>
                  <a:pt x="2251" y="1077"/>
                </a:cubicBezTo>
                <a:moveTo>
                  <a:pt x="2294" y="1077"/>
                </a:moveTo>
                <a:cubicBezTo>
                  <a:pt x="2286" y="1077"/>
                  <a:pt x="2279" y="1081"/>
                  <a:pt x="2278" y="1087"/>
                </a:cubicBezTo>
                <a:cubicBezTo>
                  <a:pt x="2278" y="1092"/>
                  <a:pt x="2285" y="1097"/>
                  <a:pt x="2293" y="1097"/>
                </a:cubicBezTo>
                <a:cubicBezTo>
                  <a:pt x="2301" y="1097"/>
                  <a:pt x="2309" y="1092"/>
                  <a:pt x="2309" y="1087"/>
                </a:cubicBezTo>
                <a:cubicBezTo>
                  <a:pt x="2309" y="1081"/>
                  <a:pt x="2303" y="1077"/>
                  <a:pt x="2294" y="1077"/>
                </a:cubicBezTo>
                <a:cubicBezTo>
                  <a:pt x="2294" y="1077"/>
                  <a:pt x="2294" y="1077"/>
                  <a:pt x="2294" y="1077"/>
                </a:cubicBezTo>
                <a:moveTo>
                  <a:pt x="2338" y="1076"/>
                </a:moveTo>
                <a:cubicBezTo>
                  <a:pt x="2329" y="1076"/>
                  <a:pt x="2322" y="1081"/>
                  <a:pt x="2322" y="1087"/>
                </a:cubicBezTo>
                <a:cubicBezTo>
                  <a:pt x="2322" y="1092"/>
                  <a:pt x="2328" y="1097"/>
                  <a:pt x="2337" y="1097"/>
                </a:cubicBezTo>
                <a:cubicBezTo>
                  <a:pt x="2345" y="1097"/>
                  <a:pt x="2352" y="1092"/>
                  <a:pt x="2352" y="1087"/>
                </a:cubicBezTo>
                <a:cubicBezTo>
                  <a:pt x="2353" y="1081"/>
                  <a:pt x="2346" y="1076"/>
                  <a:pt x="2338" y="1076"/>
                </a:cubicBezTo>
                <a:cubicBezTo>
                  <a:pt x="2338" y="1076"/>
                  <a:pt x="2338" y="1076"/>
                  <a:pt x="2338" y="1076"/>
                </a:cubicBezTo>
                <a:moveTo>
                  <a:pt x="2381" y="1076"/>
                </a:moveTo>
                <a:cubicBezTo>
                  <a:pt x="2373" y="1076"/>
                  <a:pt x="2366" y="1081"/>
                  <a:pt x="2366" y="1087"/>
                </a:cubicBezTo>
                <a:cubicBezTo>
                  <a:pt x="2366" y="1092"/>
                  <a:pt x="2372" y="1097"/>
                  <a:pt x="2381" y="1097"/>
                </a:cubicBezTo>
                <a:cubicBezTo>
                  <a:pt x="2389" y="1097"/>
                  <a:pt x="2396" y="1092"/>
                  <a:pt x="2396" y="1086"/>
                </a:cubicBezTo>
                <a:cubicBezTo>
                  <a:pt x="2396" y="1081"/>
                  <a:pt x="2390" y="1076"/>
                  <a:pt x="2381" y="1076"/>
                </a:cubicBezTo>
                <a:cubicBezTo>
                  <a:pt x="2381" y="1076"/>
                  <a:pt x="2381" y="1076"/>
                  <a:pt x="2381" y="1076"/>
                </a:cubicBezTo>
                <a:moveTo>
                  <a:pt x="2424" y="1076"/>
                </a:moveTo>
                <a:cubicBezTo>
                  <a:pt x="2416" y="1076"/>
                  <a:pt x="2409" y="1081"/>
                  <a:pt x="2409" y="1086"/>
                </a:cubicBezTo>
                <a:cubicBezTo>
                  <a:pt x="2409" y="1092"/>
                  <a:pt x="2416" y="1097"/>
                  <a:pt x="2424" y="1097"/>
                </a:cubicBezTo>
                <a:cubicBezTo>
                  <a:pt x="2432" y="1097"/>
                  <a:pt x="2439" y="1092"/>
                  <a:pt x="2439" y="1086"/>
                </a:cubicBezTo>
                <a:cubicBezTo>
                  <a:pt x="2439" y="1081"/>
                  <a:pt x="2433" y="1076"/>
                  <a:pt x="2424" y="1076"/>
                </a:cubicBezTo>
                <a:cubicBezTo>
                  <a:pt x="2424" y="1076"/>
                  <a:pt x="2424" y="1076"/>
                  <a:pt x="2424" y="1076"/>
                </a:cubicBezTo>
                <a:moveTo>
                  <a:pt x="2468" y="1076"/>
                </a:moveTo>
                <a:cubicBezTo>
                  <a:pt x="2459" y="1076"/>
                  <a:pt x="2452" y="1081"/>
                  <a:pt x="2452" y="1086"/>
                </a:cubicBezTo>
                <a:cubicBezTo>
                  <a:pt x="2452" y="1092"/>
                  <a:pt x="2459" y="1096"/>
                  <a:pt x="2468" y="1096"/>
                </a:cubicBezTo>
                <a:cubicBezTo>
                  <a:pt x="2476" y="1096"/>
                  <a:pt x="2483" y="1092"/>
                  <a:pt x="2483" y="1086"/>
                </a:cubicBezTo>
                <a:cubicBezTo>
                  <a:pt x="2483" y="1081"/>
                  <a:pt x="2476" y="1076"/>
                  <a:pt x="2468" y="1076"/>
                </a:cubicBezTo>
                <a:cubicBezTo>
                  <a:pt x="2468" y="1076"/>
                  <a:pt x="2468" y="1076"/>
                  <a:pt x="2468" y="1076"/>
                </a:cubicBezTo>
                <a:moveTo>
                  <a:pt x="2511" y="1076"/>
                </a:moveTo>
                <a:cubicBezTo>
                  <a:pt x="2502" y="1076"/>
                  <a:pt x="2496" y="1080"/>
                  <a:pt x="2496" y="1086"/>
                </a:cubicBezTo>
                <a:cubicBezTo>
                  <a:pt x="2496" y="1092"/>
                  <a:pt x="2502" y="1096"/>
                  <a:pt x="2511" y="1096"/>
                </a:cubicBezTo>
                <a:cubicBezTo>
                  <a:pt x="2519" y="1096"/>
                  <a:pt x="2526" y="1092"/>
                  <a:pt x="2526" y="1086"/>
                </a:cubicBezTo>
                <a:cubicBezTo>
                  <a:pt x="2526" y="1080"/>
                  <a:pt x="2519" y="1076"/>
                  <a:pt x="2511" y="1076"/>
                </a:cubicBezTo>
                <a:cubicBezTo>
                  <a:pt x="2511" y="1076"/>
                  <a:pt x="2511" y="1076"/>
                  <a:pt x="2511" y="1076"/>
                </a:cubicBezTo>
                <a:moveTo>
                  <a:pt x="2554" y="1076"/>
                </a:moveTo>
                <a:cubicBezTo>
                  <a:pt x="2546" y="1076"/>
                  <a:pt x="2539" y="1080"/>
                  <a:pt x="2539" y="1086"/>
                </a:cubicBezTo>
                <a:cubicBezTo>
                  <a:pt x="2539" y="1092"/>
                  <a:pt x="2546" y="1096"/>
                  <a:pt x="2555" y="1096"/>
                </a:cubicBezTo>
                <a:cubicBezTo>
                  <a:pt x="2563" y="1096"/>
                  <a:pt x="2570" y="1091"/>
                  <a:pt x="2569" y="1086"/>
                </a:cubicBezTo>
                <a:cubicBezTo>
                  <a:pt x="2569" y="1080"/>
                  <a:pt x="2562" y="1076"/>
                  <a:pt x="2554" y="1076"/>
                </a:cubicBezTo>
                <a:cubicBezTo>
                  <a:pt x="2554" y="1076"/>
                  <a:pt x="2554" y="1076"/>
                  <a:pt x="2554" y="1076"/>
                </a:cubicBezTo>
                <a:moveTo>
                  <a:pt x="2598" y="1076"/>
                </a:moveTo>
                <a:cubicBezTo>
                  <a:pt x="2589" y="1076"/>
                  <a:pt x="2583" y="1080"/>
                  <a:pt x="2583" y="1086"/>
                </a:cubicBezTo>
                <a:cubicBezTo>
                  <a:pt x="2583" y="1091"/>
                  <a:pt x="2590" y="1096"/>
                  <a:pt x="2599" y="1096"/>
                </a:cubicBezTo>
                <a:cubicBezTo>
                  <a:pt x="2607" y="1096"/>
                  <a:pt x="2614" y="1091"/>
                  <a:pt x="2613" y="1086"/>
                </a:cubicBezTo>
                <a:cubicBezTo>
                  <a:pt x="2613" y="1080"/>
                  <a:pt x="2606" y="1076"/>
                  <a:pt x="2598" y="1076"/>
                </a:cubicBezTo>
                <a:cubicBezTo>
                  <a:pt x="2598" y="1076"/>
                  <a:pt x="2598" y="1076"/>
                  <a:pt x="2598" y="1076"/>
                </a:cubicBezTo>
                <a:moveTo>
                  <a:pt x="2641" y="1075"/>
                </a:moveTo>
                <a:cubicBezTo>
                  <a:pt x="2632" y="1075"/>
                  <a:pt x="2626" y="1080"/>
                  <a:pt x="2626" y="1086"/>
                </a:cubicBezTo>
                <a:cubicBezTo>
                  <a:pt x="2626" y="1091"/>
                  <a:pt x="2633" y="1096"/>
                  <a:pt x="2642" y="1096"/>
                </a:cubicBezTo>
                <a:cubicBezTo>
                  <a:pt x="2650" y="1096"/>
                  <a:pt x="2657" y="1091"/>
                  <a:pt x="2657" y="1086"/>
                </a:cubicBezTo>
                <a:cubicBezTo>
                  <a:pt x="2656" y="1080"/>
                  <a:pt x="2649" y="1075"/>
                  <a:pt x="2641" y="1075"/>
                </a:cubicBezTo>
                <a:cubicBezTo>
                  <a:pt x="2641" y="1075"/>
                  <a:pt x="2641" y="1075"/>
                  <a:pt x="2641" y="1075"/>
                </a:cubicBezTo>
                <a:moveTo>
                  <a:pt x="2684" y="1075"/>
                </a:moveTo>
                <a:cubicBezTo>
                  <a:pt x="2676" y="1075"/>
                  <a:pt x="2670" y="1080"/>
                  <a:pt x="2670" y="1086"/>
                </a:cubicBezTo>
                <a:cubicBezTo>
                  <a:pt x="2670" y="1091"/>
                  <a:pt x="2677" y="1096"/>
                  <a:pt x="2686" y="1096"/>
                </a:cubicBezTo>
                <a:cubicBezTo>
                  <a:pt x="2694" y="1096"/>
                  <a:pt x="2701" y="1091"/>
                  <a:pt x="2700" y="1085"/>
                </a:cubicBezTo>
                <a:cubicBezTo>
                  <a:pt x="2700" y="1080"/>
                  <a:pt x="2693" y="1075"/>
                  <a:pt x="2685" y="1075"/>
                </a:cubicBezTo>
                <a:cubicBezTo>
                  <a:pt x="2684" y="1075"/>
                  <a:pt x="2684" y="1075"/>
                  <a:pt x="2684" y="1075"/>
                </a:cubicBezTo>
                <a:moveTo>
                  <a:pt x="2726" y="1075"/>
                </a:moveTo>
                <a:cubicBezTo>
                  <a:pt x="2718" y="1075"/>
                  <a:pt x="2711" y="1080"/>
                  <a:pt x="2712" y="1085"/>
                </a:cubicBezTo>
                <a:cubicBezTo>
                  <a:pt x="2712" y="1091"/>
                  <a:pt x="2719" y="1096"/>
                  <a:pt x="2728" y="1096"/>
                </a:cubicBezTo>
                <a:cubicBezTo>
                  <a:pt x="2736" y="1096"/>
                  <a:pt x="2743" y="1091"/>
                  <a:pt x="2742" y="1085"/>
                </a:cubicBezTo>
                <a:cubicBezTo>
                  <a:pt x="2742" y="1080"/>
                  <a:pt x="2735" y="1075"/>
                  <a:pt x="2726" y="1075"/>
                </a:cubicBezTo>
                <a:cubicBezTo>
                  <a:pt x="2726" y="1075"/>
                  <a:pt x="2726" y="1075"/>
                  <a:pt x="2726" y="1075"/>
                </a:cubicBezTo>
                <a:moveTo>
                  <a:pt x="2770" y="1075"/>
                </a:moveTo>
                <a:cubicBezTo>
                  <a:pt x="2761" y="1075"/>
                  <a:pt x="2755" y="1080"/>
                  <a:pt x="2756" y="1085"/>
                </a:cubicBezTo>
                <a:cubicBezTo>
                  <a:pt x="2756" y="1091"/>
                  <a:pt x="2763" y="1095"/>
                  <a:pt x="2772" y="1095"/>
                </a:cubicBezTo>
                <a:cubicBezTo>
                  <a:pt x="2780" y="1095"/>
                  <a:pt x="2787" y="1091"/>
                  <a:pt x="2786" y="1085"/>
                </a:cubicBezTo>
                <a:cubicBezTo>
                  <a:pt x="2785" y="1080"/>
                  <a:pt x="2778" y="1075"/>
                  <a:pt x="2770" y="1075"/>
                </a:cubicBezTo>
                <a:cubicBezTo>
                  <a:pt x="2770" y="1075"/>
                  <a:pt x="2770" y="1075"/>
                  <a:pt x="2770" y="1075"/>
                </a:cubicBezTo>
                <a:moveTo>
                  <a:pt x="2811" y="1075"/>
                </a:moveTo>
                <a:cubicBezTo>
                  <a:pt x="2803" y="1075"/>
                  <a:pt x="2797" y="1079"/>
                  <a:pt x="2797" y="1085"/>
                </a:cubicBezTo>
                <a:cubicBezTo>
                  <a:pt x="2798" y="1091"/>
                  <a:pt x="2805" y="1095"/>
                  <a:pt x="2814" y="1095"/>
                </a:cubicBezTo>
                <a:cubicBezTo>
                  <a:pt x="2822" y="1095"/>
                  <a:pt x="2828" y="1091"/>
                  <a:pt x="2828" y="1085"/>
                </a:cubicBezTo>
                <a:cubicBezTo>
                  <a:pt x="2827" y="1079"/>
                  <a:pt x="2820" y="1075"/>
                  <a:pt x="2812" y="1075"/>
                </a:cubicBezTo>
                <a:cubicBezTo>
                  <a:pt x="2811" y="1075"/>
                  <a:pt x="2811" y="1075"/>
                  <a:pt x="2811" y="1075"/>
                </a:cubicBezTo>
                <a:moveTo>
                  <a:pt x="2857" y="1075"/>
                </a:moveTo>
                <a:cubicBezTo>
                  <a:pt x="2849" y="1075"/>
                  <a:pt x="2843" y="1079"/>
                  <a:pt x="2843" y="1085"/>
                </a:cubicBezTo>
                <a:cubicBezTo>
                  <a:pt x="2844" y="1091"/>
                  <a:pt x="2851" y="1095"/>
                  <a:pt x="2860" y="1095"/>
                </a:cubicBezTo>
                <a:cubicBezTo>
                  <a:pt x="2868" y="1095"/>
                  <a:pt x="2874" y="1091"/>
                  <a:pt x="2874" y="1085"/>
                </a:cubicBezTo>
                <a:cubicBezTo>
                  <a:pt x="2873" y="1079"/>
                  <a:pt x="2866" y="1075"/>
                  <a:pt x="2857" y="1075"/>
                </a:cubicBezTo>
                <a:cubicBezTo>
                  <a:pt x="2857" y="1075"/>
                  <a:pt x="2857" y="1075"/>
                  <a:pt x="2857" y="1075"/>
                </a:cubicBezTo>
                <a:moveTo>
                  <a:pt x="3895" y="1074"/>
                </a:moveTo>
                <a:cubicBezTo>
                  <a:pt x="3886" y="1074"/>
                  <a:pt x="3882" y="1079"/>
                  <a:pt x="3884" y="1084"/>
                </a:cubicBezTo>
                <a:cubicBezTo>
                  <a:pt x="3887" y="1090"/>
                  <a:pt x="3896" y="1094"/>
                  <a:pt x="3904" y="1094"/>
                </a:cubicBezTo>
                <a:cubicBezTo>
                  <a:pt x="3913" y="1094"/>
                  <a:pt x="3917" y="1090"/>
                  <a:pt x="3915" y="1084"/>
                </a:cubicBezTo>
                <a:cubicBezTo>
                  <a:pt x="3912" y="1078"/>
                  <a:pt x="3903" y="1074"/>
                  <a:pt x="3895" y="1074"/>
                </a:cubicBezTo>
                <a:cubicBezTo>
                  <a:pt x="3895" y="1074"/>
                  <a:pt x="3895" y="1074"/>
                  <a:pt x="3895" y="1074"/>
                </a:cubicBezTo>
                <a:moveTo>
                  <a:pt x="3984" y="1074"/>
                </a:moveTo>
                <a:cubicBezTo>
                  <a:pt x="3976" y="1074"/>
                  <a:pt x="3971" y="1078"/>
                  <a:pt x="3974" y="1084"/>
                </a:cubicBezTo>
                <a:cubicBezTo>
                  <a:pt x="3977" y="1090"/>
                  <a:pt x="3986" y="1094"/>
                  <a:pt x="3994" y="1094"/>
                </a:cubicBezTo>
                <a:cubicBezTo>
                  <a:pt x="4003" y="1094"/>
                  <a:pt x="4007" y="1089"/>
                  <a:pt x="4004" y="1084"/>
                </a:cubicBezTo>
                <a:cubicBezTo>
                  <a:pt x="4002" y="1078"/>
                  <a:pt x="3992" y="1074"/>
                  <a:pt x="3984" y="1074"/>
                </a:cubicBezTo>
                <a:cubicBezTo>
                  <a:pt x="3984" y="1074"/>
                  <a:pt x="3984" y="1074"/>
                  <a:pt x="3984" y="1074"/>
                </a:cubicBezTo>
                <a:moveTo>
                  <a:pt x="4196" y="1071"/>
                </a:moveTo>
                <a:cubicBezTo>
                  <a:pt x="4188" y="1072"/>
                  <a:pt x="4184" y="1076"/>
                  <a:pt x="4187" y="1082"/>
                </a:cubicBezTo>
                <a:cubicBezTo>
                  <a:pt x="4190" y="1087"/>
                  <a:pt x="4200" y="1092"/>
                  <a:pt x="4208" y="1092"/>
                </a:cubicBezTo>
                <a:cubicBezTo>
                  <a:pt x="4216" y="1092"/>
                  <a:pt x="4221" y="1087"/>
                  <a:pt x="4217" y="1082"/>
                </a:cubicBezTo>
                <a:cubicBezTo>
                  <a:pt x="4214" y="1076"/>
                  <a:pt x="4205" y="1071"/>
                  <a:pt x="4196" y="1071"/>
                </a:cubicBezTo>
                <a:cubicBezTo>
                  <a:pt x="4196" y="1071"/>
                  <a:pt x="4196" y="1071"/>
                  <a:pt x="4196" y="1071"/>
                </a:cubicBezTo>
                <a:moveTo>
                  <a:pt x="4239" y="1071"/>
                </a:moveTo>
                <a:cubicBezTo>
                  <a:pt x="4231" y="1071"/>
                  <a:pt x="4227" y="1076"/>
                  <a:pt x="4230" y="1082"/>
                </a:cubicBezTo>
                <a:cubicBezTo>
                  <a:pt x="4233" y="1087"/>
                  <a:pt x="4243" y="1092"/>
                  <a:pt x="4251" y="1092"/>
                </a:cubicBezTo>
                <a:cubicBezTo>
                  <a:pt x="4260" y="1092"/>
                  <a:pt x="4264" y="1087"/>
                  <a:pt x="4260" y="1082"/>
                </a:cubicBezTo>
                <a:cubicBezTo>
                  <a:pt x="4257" y="1076"/>
                  <a:pt x="4248" y="1071"/>
                  <a:pt x="4239" y="1071"/>
                </a:cubicBezTo>
                <a:cubicBezTo>
                  <a:pt x="4239" y="1071"/>
                  <a:pt x="4239" y="1071"/>
                  <a:pt x="4239" y="1071"/>
                </a:cubicBezTo>
                <a:moveTo>
                  <a:pt x="4283" y="1071"/>
                </a:moveTo>
                <a:cubicBezTo>
                  <a:pt x="4274" y="1071"/>
                  <a:pt x="4270" y="1076"/>
                  <a:pt x="4274" y="1082"/>
                </a:cubicBezTo>
                <a:cubicBezTo>
                  <a:pt x="4277" y="1087"/>
                  <a:pt x="4286" y="1092"/>
                  <a:pt x="4295" y="1092"/>
                </a:cubicBezTo>
                <a:cubicBezTo>
                  <a:pt x="4303" y="1092"/>
                  <a:pt x="4307" y="1087"/>
                  <a:pt x="4304" y="1081"/>
                </a:cubicBezTo>
                <a:cubicBezTo>
                  <a:pt x="4301" y="1076"/>
                  <a:pt x="4291" y="1071"/>
                  <a:pt x="4283" y="1071"/>
                </a:cubicBezTo>
                <a:cubicBezTo>
                  <a:pt x="4283" y="1071"/>
                  <a:pt x="4283" y="1071"/>
                  <a:pt x="4283" y="1071"/>
                </a:cubicBezTo>
                <a:moveTo>
                  <a:pt x="408" y="1054"/>
                </a:moveTo>
                <a:cubicBezTo>
                  <a:pt x="399" y="1054"/>
                  <a:pt x="389" y="1058"/>
                  <a:pt x="386" y="1064"/>
                </a:cubicBezTo>
                <a:cubicBezTo>
                  <a:pt x="382" y="1069"/>
                  <a:pt x="385" y="1074"/>
                  <a:pt x="394" y="1074"/>
                </a:cubicBezTo>
                <a:cubicBezTo>
                  <a:pt x="402" y="1074"/>
                  <a:pt x="412" y="1069"/>
                  <a:pt x="416" y="1064"/>
                </a:cubicBezTo>
                <a:cubicBezTo>
                  <a:pt x="420" y="1058"/>
                  <a:pt x="416" y="1054"/>
                  <a:pt x="408" y="1054"/>
                </a:cubicBezTo>
                <a:cubicBezTo>
                  <a:pt x="408" y="1054"/>
                  <a:pt x="408" y="1054"/>
                  <a:pt x="408" y="1054"/>
                </a:cubicBezTo>
                <a:moveTo>
                  <a:pt x="451" y="1053"/>
                </a:moveTo>
                <a:cubicBezTo>
                  <a:pt x="442" y="1053"/>
                  <a:pt x="432" y="1058"/>
                  <a:pt x="429" y="1064"/>
                </a:cubicBezTo>
                <a:cubicBezTo>
                  <a:pt x="425" y="1069"/>
                  <a:pt x="429" y="1074"/>
                  <a:pt x="437" y="1074"/>
                </a:cubicBezTo>
                <a:cubicBezTo>
                  <a:pt x="445" y="1074"/>
                  <a:pt x="455" y="1069"/>
                  <a:pt x="459" y="1064"/>
                </a:cubicBezTo>
                <a:cubicBezTo>
                  <a:pt x="463" y="1058"/>
                  <a:pt x="459" y="1053"/>
                  <a:pt x="451" y="1053"/>
                </a:cubicBezTo>
                <a:cubicBezTo>
                  <a:pt x="451" y="1053"/>
                  <a:pt x="451" y="1053"/>
                  <a:pt x="451" y="1053"/>
                </a:cubicBezTo>
                <a:moveTo>
                  <a:pt x="493" y="1053"/>
                </a:moveTo>
                <a:cubicBezTo>
                  <a:pt x="485" y="1053"/>
                  <a:pt x="475" y="1058"/>
                  <a:pt x="472" y="1064"/>
                </a:cubicBezTo>
                <a:cubicBezTo>
                  <a:pt x="468" y="1069"/>
                  <a:pt x="472" y="1074"/>
                  <a:pt x="480" y="1074"/>
                </a:cubicBezTo>
                <a:cubicBezTo>
                  <a:pt x="488" y="1074"/>
                  <a:pt x="498" y="1069"/>
                  <a:pt x="502" y="1063"/>
                </a:cubicBezTo>
                <a:cubicBezTo>
                  <a:pt x="505" y="1058"/>
                  <a:pt x="502" y="1053"/>
                  <a:pt x="493" y="1053"/>
                </a:cubicBezTo>
                <a:cubicBezTo>
                  <a:pt x="493" y="1053"/>
                  <a:pt x="493" y="1053"/>
                  <a:pt x="493" y="1053"/>
                </a:cubicBezTo>
                <a:moveTo>
                  <a:pt x="536" y="1053"/>
                </a:moveTo>
                <a:cubicBezTo>
                  <a:pt x="528" y="1053"/>
                  <a:pt x="518" y="1058"/>
                  <a:pt x="515" y="1063"/>
                </a:cubicBezTo>
                <a:cubicBezTo>
                  <a:pt x="511" y="1069"/>
                  <a:pt x="515" y="1073"/>
                  <a:pt x="523" y="1073"/>
                </a:cubicBezTo>
                <a:cubicBezTo>
                  <a:pt x="532" y="1073"/>
                  <a:pt x="541" y="1069"/>
                  <a:pt x="545" y="1063"/>
                </a:cubicBezTo>
                <a:cubicBezTo>
                  <a:pt x="548" y="1058"/>
                  <a:pt x="545" y="1053"/>
                  <a:pt x="536" y="1053"/>
                </a:cubicBezTo>
                <a:cubicBezTo>
                  <a:pt x="536" y="1053"/>
                  <a:pt x="536" y="1053"/>
                  <a:pt x="536" y="1053"/>
                </a:cubicBezTo>
                <a:moveTo>
                  <a:pt x="581" y="1053"/>
                </a:moveTo>
                <a:cubicBezTo>
                  <a:pt x="572" y="1053"/>
                  <a:pt x="563" y="1058"/>
                  <a:pt x="559" y="1063"/>
                </a:cubicBezTo>
                <a:cubicBezTo>
                  <a:pt x="556" y="1069"/>
                  <a:pt x="560" y="1073"/>
                  <a:pt x="568" y="1073"/>
                </a:cubicBezTo>
                <a:cubicBezTo>
                  <a:pt x="576" y="1073"/>
                  <a:pt x="586" y="1069"/>
                  <a:pt x="589" y="1063"/>
                </a:cubicBezTo>
                <a:cubicBezTo>
                  <a:pt x="593" y="1058"/>
                  <a:pt x="589" y="1053"/>
                  <a:pt x="581" y="1053"/>
                </a:cubicBezTo>
                <a:cubicBezTo>
                  <a:pt x="581" y="1053"/>
                  <a:pt x="581" y="1053"/>
                  <a:pt x="581" y="1053"/>
                </a:cubicBezTo>
                <a:moveTo>
                  <a:pt x="623" y="1053"/>
                </a:moveTo>
                <a:cubicBezTo>
                  <a:pt x="615" y="1053"/>
                  <a:pt x="605" y="1057"/>
                  <a:pt x="602" y="1063"/>
                </a:cubicBezTo>
                <a:cubicBezTo>
                  <a:pt x="599" y="1069"/>
                  <a:pt x="603" y="1073"/>
                  <a:pt x="611" y="1073"/>
                </a:cubicBezTo>
                <a:cubicBezTo>
                  <a:pt x="619" y="1073"/>
                  <a:pt x="629" y="1069"/>
                  <a:pt x="632" y="1063"/>
                </a:cubicBezTo>
                <a:cubicBezTo>
                  <a:pt x="636" y="1057"/>
                  <a:pt x="632" y="1053"/>
                  <a:pt x="623" y="1053"/>
                </a:cubicBezTo>
                <a:cubicBezTo>
                  <a:pt x="623" y="1053"/>
                  <a:pt x="623" y="1053"/>
                  <a:pt x="623" y="1053"/>
                </a:cubicBezTo>
                <a:moveTo>
                  <a:pt x="666" y="1053"/>
                </a:moveTo>
                <a:cubicBezTo>
                  <a:pt x="658" y="1053"/>
                  <a:pt x="649" y="1057"/>
                  <a:pt x="645" y="1063"/>
                </a:cubicBezTo>
                <a:cubicBezTo>
                  <a:pt x="642" y="1069"/>
                  <a:pt x="646" y="1073"/>
                  <a:pt x="654" y="1073"/>
                </a:cubicBezTo>
                <a:cubicBezTo>
                  <a:pt x="663" y="1073"/>
                  <a:pt x="672" y="1068"/>
                  <a:pt x="675" y="1063"/>
                </a:cubicBezTo>
                <a:cubicBezTo>
                  <a:pt x="679" y="1057"/>
                  <a:pt x="675" y="1053"/>
                  <a:pt x="666" y="1053"/>
                </a:cubicBezTo>
                <a:cubicBezTo>
                  <a:pt x="666" y="1053"/>
                  <a:pt x="666" y="1053"/>
                  <a:pt x="666" y="1053"/>
                </a:cubicBezTo>
                <a:moveTo>
                  <a:pt x="710" y="1053"/>
                </a:moveTo>
                <a:cubicBezTo>
                  <a:pt x="701" y="1053"/>
                  <a:pt x="692" y="1057"/>
                  <a:pt x="689" y="1063"/>
                </a:cubicBezTo>
                <a:cubicBezTo>
                  <a:pt x="685" y="1068"/>
                  <a:pt x="690" y="1073"/>
                  <a:pt x="698" y="1073"/>
                </a:cubicBezTo>
                <a:cubicBezTo>
                  <a:pt x="706" y="1073"/>
                  <a:pt x="716" y="1068"/>
                  <a:pt x="719" y="1063"/>
                </a:cubicBezTo>
                <a:cubicBezTo>
                  <a:pt x="722" y="1057"/>
                  <a:pt x="718" y="1053"/>
                  <a:pt x="710" y="1053"/>
                </a:cubicBezTo>
                <a:cubicBezTo>
                  <a:pt x="710" y="1053"/>
                  <a:pt x="710" y="1053"/>
                  <a:pt x="710" y="1053"/>
                </a:cubicBezTo>
                <a:moveTo>
                  <a:pt x="752" y="1052"/>
                </a:moveTo>
                <a:cubicBezTo>
                  <a:pt x="744" y="1052"/>
                  <a:pt x="735" y="1057"/>
                  <a:pt x="732" y="1063"/>
                </a:cubicBezTo>
                <a:cubicBezTo>
                  <a:pt x="728" y="1068"/>
                  <a:pt x="733" y="1073"/>
                  <a:pt x="741" y="1073"/>
                </a:cubicBezTo>
                <a:cubicBezTo>
                  <a:pt x="749" y="1073"/>
                  <a:pt x="759" y="1068"/>
                  <a:pt x="762" y="1063"/>
                </a:cubicBezTo>
                <a:cubicBezTo>
                  <a:pt x="765" y="1057"/>
                  <a:pt x="761" y="1052"/>
                  <a:pt x="752" y="1052"/>
                </a:cubicBezTo>
                <a:cubicBezTo>
                  <a:pt x="752" y="1052"/>
                  <a:pt x="752" y="1052"/>
                  <a:pt x="752" y="1052"/>
                </a:cubicBezTo>
                <a:moveTo>
                  <a:pt x="796" y="1052"/>
                </a:moveTo>
                <a:cubicBezTo>
                  <a:pt x="787" y="1052"/>
                  <a:pt x="778" y="1057"/>
                  <a:pt x="775" y="1062"/>
                </a:cubicBezTo>
                <a:cubicBezTo>
                  <a:pt x="772" y="1068"/>
                  <a:pt x="776" y="1072"/>
                  <a:pt x="784" y="1072"/>
                </a:cubicBezTo>
                <a:cubicBezTo>
                  <a:pt x="793" y="1072"/>
                  <a:pt x="802" y="1068"/>
                  <a:pt x="805" y="1062"/>
                </a:cubicBezTo>
                <a:cubicBezTo>
                  <a:pt x="808" y="1056"/>
                  <a:pt x="804" y="1052"/>
                  <a:pt x="796" y="1052"/>
                </a:cubicBezTo>
                <a:cubicBezTo>
                  <a:pt x="796" y="1052"/>
                  <a:pt x="796" y="1052"/>
                  <a:pt x="796" y="1052"/>
                </a:cubicBezTo>
                <a:moveTo>
                  <a:pt x="838" y="1052"/>
                </a:moveTo>
                <a:cubicBezTo>
                  <a:pt x="830" y="1052"/>
                  <a:pt x="821" y="1056"/>
                  <a:pt x="818" y="1062"/>
                </a:cubicBezTo>
                <a:cubicBezTo>
                  <a:pt x="815" y="1068"/>
                  <a:pt x="819" y="1072"/>
                  <a:pt x="827" y="1072"/>
                </a:cubicBezTo>
                <a:cubicBezTo>
                  <a:pt x="836" y="1072"/>
                  <a:pt x="845" y="1068"/>
                  <a:pt x="848" y="1062"/>
                </a:cubicBezTo>
                <a:cubicBezTo>
                  <a:pt x="851" y="1056"/>
                  <a:pt x="847" y="1052"/>
                  <a:pt x="838" y="1052"/>
                </a:cubicBezTo>
                <a:cubicBezTo>
                  <a:pt x="838" y="1052"/>
                  <a:pt x="838" y="1052"/>
                  <a:pt x="838" y="1052"/>
                </a:cubicBezTo>
                <a:moveTo>
                  <a:pt x="882" y="1050"/>
                </a:moveTo>
                <a:cubicBezTo>
                  <a:pt x="874" y="1050"/>
                  <a:pt x="865" y="1054"/>
                  <a:pt x="862" y="1060"/>
                </a:cubicBezTo>
                <a:cubicBezTo>
                  <a:pt x="859" y="1066"/>
                  <a:pt x="863" y="1070"/>
                  <a:pt x="872" y="1070"/>
                </a:cubicBezTo>
                <a:cubicBezTo>
                  <a:pt x="880" y="1070"/>
                  <a:pt x="889" y="1066"/>
                  <a:pt x="892" y="1060"/>
                </a:cubicBezTo>
                <a:cubicBezTo>
                  <a:pt x="895" y="1054"/>
                  <a:pt x="891" y="1050"/>
                  <a:pt x="882" y="1050"/>
                </a:cubicBezTo>
                <a:cubicBezTo>
                  <a:pt x="882" y="1050"/>
                  <a:pt x="882" y="1050"/>
                  <a:pt x="882" y="1050"/>
                </a:cubicBezTo>
                <a:moveTo>
                  <a:pt x="1737" y="1049"/>
                </a:moveTo>
                <a:cubicBezTo>
                  <a:pt x="1729" y="1049"/>
                  <a:pt x="1721" y="1053"/>
                  <a:pt x="1720" y="1059"/>
                </a:cubicBezTo>
                <a:cubicBezTo>
                  <a:pt x="1718" y="1065"/>
                  <a:pt x="1724" y="1069"/>
                  <a:pt x="1732" y="1069"/>
                </a:cubicBezTo>
                <a:cubicBezTo>
                  <a:pt x="1741" y="1069"/>
                  <a:pt x="1749" y="1065"/>
                  <a:pt x="1750" y="1059"/>
                </a:cubicBezTo>
                <a:cubicBezTo>
                  <a:pt x="1751" y="1053"/>
                  <a:pt x="1746" y="1049"/>
                  <a:pt x="1737" y="1049"/>
                </a:cubicBezTo>
                <a:cubicBezTo>
                  <a:pt x="1737" y="1049"/>
                  <a:pt x="1737" y="1049"/>
                  <a:pt x="1737" y="1049"/>
                </a:cubicBezTo>
                <a:moveTo>
                  <a:pt x="1780" y="1049"/>
                </a:moveTo>
                <a:cubicBezTo>
                  <a:pt x="1772" y="1049"/>
                  <a:pt x="1764" y="1053"/>
                  <a:pt x="1763" y="1059"/>
                </a:cubicBezTo>
                <a:cubicBezTo>
                  <a:pt x="1762" y="1065"/>
                  <a:pt x="1767" y="1069"/>
                  <a:pt x="1776" y="1069"/>
                </a:cubicBezTo>
                <a:cubicBezTo>
                  <a:pt x="1784" y="1069"/>
                  <a:pt x="1792" y="1064"/>
                  <a:pt x="1793" y="1059"/>
                </a:cubicBezTo>
                <a:cubicBezTo>
                  <a:pt x="1794" y="1053"/>
                  <a:pt x="1789" y="1049"/>
                  <a:pt x="1780" y="1049"/>
                </a:cubicBezTo>
                <a:cubicBezTo>
                  <a:pt x="1780" y="1049"/>
                  <a:pt x="1780" y="1049"/>
                  <a:pt x="1780" y="1049"/>
                </a:cubicBezTo>
                <a:moveTo>
                  <a:pt x="1824" y="1049"/>
                </a:moveTo>
                <a:cubicBezTo>
                  <a:pt x="1815" y="1049"/>
                  <a:pt x="1808" y="1053"/>
                  <a:pt x="1806" y="1059"/>
                </a:cubicBezTo>
                <a:cubicBezTo>
                  <a:pt x="1805" y="1064"/>
                  <a:pt x="1811" y="1069"/>
                  <a:pt x="1819" y="1069"/>
                </a:cubicBezTo>
                <a:cubicBezTo>
                  <a:pt x="1828" y="1069"/>
                  <a:pt x="1835" y="1064"/>
                  <a:pt x="1836" y="1059"/>
                </a:cubicBezTo>
                <a:cubicBezTo>
                  <a:pt x="1838" y="1053"/>
                  <a:pt x="1832" y="1049"/>
                  <a:pt x="1824" y="1049"/>
                </a:cubicBezTo>
                <a:cubicBezTo>
                  <a:pt x="1824" y="1049"/>
                  <a:pt x="1824" y="1049"/>
                  <a:pt x="1824" y="1049"/>
                </a:cubicBezTo>
                <a:moveTo>
                  <a:pt x="1866" y="1048"/>
                </a:moveTo>
                <a:cubicBezTo>
                  <a:pt x="1858" y="1048"/>
                  <a:pt x="1850" y="1053"/>
                  <a:pt x="1849" y="1059"/>
                </a:cubicBezTo>
                <a:cubicBezTo>
                  <a:pt x="1848" y="1064"/>
                  <a:pt x="1854" y="1069"/>
                  <a:pt x="1862" y="1069"/>
                </a:cubicBezTo>
                <a:cubicBezTo>
                  <a:pt x="1870" y="1069"/>
                  <a:pt x="1878" y="1064"/>
                  <a:pt x="1879" y="1059"/>
                </a:cubicBezTo>
                <a:cubicBezTo>
                  <a:pt x="1880" y="1053"/>
                  <a:pt x="1875" y="1048"/>
                  <a:pt x="1866" y="1048"/>
                </a:cubicBezTo>
                <a:cubicBezTo>
                  <a:pt x="1866" y="1048"/>
                  <a:pt x="1866" y="1048"/>
                  <a:pt x="1866" y="1048"/>
                </a:cubicBezTo>
                <a:moveTo>
                  <a:pt x="1909" y="1048"/>
                </a:moveTo>
                <a:cubicBezTo>
                  <a:pt x="1901" y="1048"/>
                  <a:pt x="1893" y="1053"/>
                  <a:pt x="1892" y="1059"/>
                </a:cubicBezTo>
                <a:cubicBezTo>
                  <a:pt x="1891" y="1064"/>
                  <a:pt x="1897" y="1069"/>
                  <a:pt x="1905" y="1069"/>
                </a:cubicBezTo>
                <a:cubicBezTo>
                  <a:pt x="1914" y="1069"/>
                  <a:pt x="1921" y="1064"/>
                  <a:pt x="1922" y="1058"/>
                </a:cubicBezTo>
                <a:cubicBezTo>
                  <a:pt x="1923" y="1053"/>
                  <a:pt x="1917" y="1048"/>
                  <a:pt x="1909" y="1048"/>
                </a:cubicBezTo>
                <a:cubicBezTo>
                  <a:pt x="1909" y="1048"/>
                  <a:pt x="1909" y="1048"/>
                  <a:pt x="1909" y="1048"/>
                </a:cubicBezTo>
                <a:moveTo>
                  <a:pt x="2039" y="1048"/>
                </a:moveTo>
                <a:cubicBezTo>
                  <a:pt x="2031" y="1048"/>
                  <a:pt x="2023" y="1052"/>
                  <a:pt x="2022" y="1058"/>
                </a:cubicBezTo>
                <a:cubicBezTo>
                  <a:pt x="2022" y="1064"/>
                  <a:pt x="2028" y="1068"/>
                  <a:pt x="2036" y="1068"/>
                </a:cubicBezTo>
                <a:cubicBezTo>
                  <a:pt x="2044" y="1068"/>
                  <a:pt x="2052" y="1064"/>
                  <a:pt x="2053" y="1058"/>
                </a:cubicBezTo>
                <a:cubicBezTo>
                  <a:pt x="2053" y="1052"/>
                  <a:pt x="2047" y="1048"/>
                  <a:pt x="2039" y="1048"/>
                </a:cubicBezTo>
                <a:cubicBezTo>
                  <a:pt x="2039" y="1048"/>
                  <a:pt x="2039" y="1048"/>
                  <a:pt x="2039" y="1048"/>
                </a:cubicBezTo>
                <a:moveTo>
                  <a:pt x="2082" y="1048"/>
                </a:moveTo>
                <a:cubicBezTo>
                  <a:pt x="2073" y="1048"/>
                  <a:pt x="2066" y="1052"/>
                  <a:pt x="2065" y="1058"/>
                </a:cubicBezTo>
                <a:cubicBezTo>
                  <a:pt x="2064" y="1064"/>
                  <a:pt x="2071" y="1068"/>
                  <a:pt x="2079" y="1068"/>
                </a:cubicBezTo>
                <a:cubicBezTo>
                  <a:pt x="2087" y="1068"/>
                  <a:pt x="2095" y="1064"/>
                  <a:pt x="2095" y="1058"/>
                </a:cubicBezTo>
                <a:cubicBezTo>
                  <a:pt x="2096" y="1052"/>
                  <a:pt x="2090" y="1048"/>
                  <a:pt x="2082" y="1048"/>
                </a:cubicBezTo>
                <a:cubicBezTo>
                  <a:pt x="2082" y="1048"/>
                  <a:pt x="2082" y="1048"/>
                  <a:pt x="2082" y="1048"/>
                </a:cubicBezTo>
                <a:moveTo>
                  <a:pt x="2125" y="1048"/>
                </a:moveTo>
                <a:cubicBezTo>
                  <a:pt x="2116" y="1048"/>
                  <a:pt x="2109" y="1052"/>
                  <a:pt x="2108" y="1058"/>
                </a:cubicBezTo>
                <a:cubicBezTo>
                  <a:pt x="2108" y="1063"/>
                  <a:pt x="2114" y="1068"/>
                  <a:pt x="2122" y="1068"/>
                </a:cubicBezTo>
                <a:cubicBezTo>
                  <a:pt x="2131" y="1068"/>
                  <a:pt x="2138" y="1063"/>
                  <a:pt x="2138" y="1058"/>
                </a:cubicBezTo>
                <a:cubicBezTo>
                  <a:pt x="2139" y="1052"/>
                  <a:pt x="2133" y="1048"/>
                  <a:pt x="2125" y="1048"/>
                </a:cubicBezTo>
                <a:cubicBezTo>
                  <a:pt x="2125" y="1048"/>
                  <a:pt x="2125" y="1048"/>
                  <a:pt x="2125" y="1048"/>
                </a:cubicBezTo>
                <a:moveTo>
                  <a:pt x="2168" y="1047"/>
                </a:moveTo>
                <a:cubicBezTo>
                  <a:pt x="2160" y="1047"/>
                  <a:pt x="2152" y="1052"/>
                  <a:pt x="2152" y="1058"/>
                </a:cubicBezTo>
                <a:cubicBezTo>
                  <a:pt x="2151" y="1063"/>
                  <a:pt x="2157" y="1068"/>
                  <a:pt x="2166" y="1068"/>
                </a:cubicBezTo>
                <a:cubicBezTo>
                  <a:pt x="2174" y="1068"/>
                  <a:pt x="2181" y="1063"/>
                  <a:pt x="2182" y="1058"/>
                </a:cubicBezTo>
                <a:cubicBezTo>
                  <a:pt x="2182" y="1052"/>
                  <a:pt x="2176" y="1047"/>
                  <a:pt x="2168" y="1047"/>
                </a:cubicBezTo>
                <a:cubicBezTo>
                  <a:pt x="2168" y="1047"/>
                  <a:pt x="2168" y="1047"/>
                  <a:pt x="2168" y="1047"/>
                </a:cubicBezTo>
                <a:moveTo>
                  <a:pt x="2210" y="1047"/>
                </a:moveTo>
                <a:cubicBezTo>
                  <a:pt x="2202" y="1047"/>
                  <a:pt x="2195" y="1052"/>
                  <a:pt x="2195" y="1058"/>
                </a:cubicBezTo>
                <a:cubicBezTo>
                  <a:pt x="2194" y="1063"/>
                  <a:pt x="2200" y="1068"/>
                  <a:pt x="2209" y="1068"/>
                </a:cubicBezTo>
                <a:cubicBezTo>
                  <a:pt x="2217" y="1068"/>
                  <a:pt x="2224" y="1063"/>
                  <a:pt x="2225" y="1057"/>
                </a:cubicBezTo>
                <a:cubicBezTo>
                  <a:pt x="2225" y="1052"/>
                  <a:pt x="2219" y="1047"/>
                  <a:pt x="2211" y="1047"/>
                </a:cubicBezTo>
                <a:cubicBezTo>
                  <a:pt x="2211" y="1047"/>
                  <a:pt x="2211" y="1047"/>
                  <a:pt x="2210" y="1047"/>
                </a:cubicBezTo>
                <a:moveTo>
                  <a:pt x="2253" y="1047"/>
                </a:moveTo>
                <a:cubicBezTo>
                  <a:pt x="2245" y="1047"/>
                  <a:pt x="2238" y="1052"/>
                  <a:pt x="2238" y="1057"/>
                </a:cubicBezTo>
                <a:cubicBezTo>
                  <a:pt x="2237" y="1063"/>
                  <a:pt x="2244" y="1068"/>
                  <a:pt x="2252" y="1068"/>
                </a:cubicBezTo>
                <a:cubicBezTo>
                  <a:pt x="2260" y="1068"/>
                  <a:pt x="2267" y="1063"/>
                  <a:pt x="2268" y="1057"/>
                </a:cubicBezTo>
                <a:cubicBezTo>
                  <a:pt x="2268" y="1052"/>
                  <a:pt x="2262" y="1047"/>
                  <a:pt x="2253" y="1047"/>
                </a:cubicBezTo>
                <a:cubicBezTo>
                  <a:pt x="2253" y="1047"/>
                  <a:pt x="2253" y="1047"/>
                  <a:pt x="2253" y="1047"/>
                </a:cubicBezTo>
                <a:moveTo>
                  <a:pt x="2296" y="1047"/>
                </a:moveTo>
                <a:cubicBezTo>
                  <a:pt x="2288" y="1047"/>
                  <a:pt x="2281" y="1052"/>
                  <a:pt x="2280" y="1057"/>
                </a:cubicBezTo>
                <a:cubicBezTo>
                  <a:pt x="2280" y="1063"/>
                  <a:pt x="2286" y="1067"/>
                  <a:pt x="2295" y="1067"/>
                </a:cubicBezTo>
                <a:cubicBezTo>
                  <a:pt x="2303" y="1067"/>
                  <a:pt x="2310" y="1063"/>
                  <a:pt x="2310" y="1057"/>
                </a:cubicBezTo>
                <a:cubicBezTo>
                  <a:pt x="2311" y="1052"/>
                  <a:pt x="2304" y="1047"/>
                  <a:pt x="2296" y="1047"/>
                </a:cubicBezTo>
                <a:cubicBezTo>
                  <a:pt x="2296" y="1047"/>
                  <a:pt x="2296" y="1047"/>
                  <a:pt x="2296" y="1047"/>
                </a:cubicBezTo>
                <a:moveTo>
                  <a:pt x="2339" y="1047"/>
                </a:moveTo>
                <a:cubicBezTo>
                  <a:pt x="2331" y="1047"/>
                  <a:pt x="2324" y="1051"/>
                  <a:pt x="2323" y="1057"/>
                </a:cubicBezTo>
                <a:cubicBezTo>
                  <a:pt x="2323" y="1063"/>
                  <a:pt x="2330" y="1067"/>
                  <a:pt x="2338" y="1067"/>
                </a:cubicBezTo>
                <a:cubicBezTo>
                  <a:pt x="2346" y="1067"/>
                  <a:pt x="2353" y="1063"/>
                  <a:pt x="2353" y="1057"/>
                </a:cubicBezTo>
                <a:cubicBezTo>
                  <a:pt x="2354" y="1051"/>
                  <a:pt x="2347" y="1047"/>
                  <a:pt x="2339" y="1047"/>
                </a:cubicBezTo>
                <a:cubicBezTo>
                  <a:pt x="2339" y="1047"/>
                  <a:pt x="2339" y="1047"/>
                  <a:pt x="2339" y="1047"/>
                </a:cubicBezTo>
                <a:moveTo>
                  <a:pt x="2382" y="1047"/>
                </a:moveTo>
                <a:cubicBezTo>
                  <a:pt x="2374" y="1047"/>
                  <a:pt x="2367" y="1051"/>
                  <a:pt x="2367" y="1057"/>
                </a:cubicBezTo>
                <a:cubicBezTo>
                  <a:pt x="2367" y="1063"/>
                  <a:pt x="2373" y="1067"/>
                  <a:pt x="2382" y="1067"/>
                </a:cubicBezTo>
                <a:cubicBezTo>
                  <a:pt x="2390" y="1067"/>
                  <a:pt x="2397" y="1063"/>
                  <a:pt x="2397" y="1057"/>
                </a:cubicBezTo>
                <a:cubicBezTo>
                  <a:pt x="2397" y="1051"/>
                  <a:pt x="2391" y="1047"/>
                  <a:pt x="2382" y="1047"/>
                </a:cubicBezTo>
                <a:cubicBezTo>
                  <a:pt x="2382" y="1047"/>
                  <a:pt x="2382" y="1047"/>
                  <a:pt x="2382" y="1047"/>
                </a:cubicBezTo>
                <a:moveTo>
                  <a:pt x="2425" y="1047"/>
                </a:moveTo>
                <a:cubicBezTo>
                  <a:pt x="2417" y="1047"/>
                  <a:pt x="2410" y="1051"/>
                  <a:pt x="2410" y="1057"/>
                </a:cubicBezTo>
                <a:cubicBezTo>
                  <a:pt x="2410" y="1062"/>
                  <a:pt x="2416" y="1067"/>
                  <a:pt x="2425" y="1067"/>
                </a:cubicBezTo>
                <a:cubicBezTo>
                  <a:pt x="2433" y="1067"/>
                  <a:pt x="2440" y="1062"/>
                  <a:pt x="2440" y="1057"/>
                </a:cubicBezTo>
                <a:cubicBezTo>
                  <a:pt x="2440" y="1051"/>
                  <a:pt x="2433" y="1047"/>
                  <a:pt x="2425" y="1047"/>
                </a:cubicBezTo>
                <a:cubicBezTo>
                  <a:pt x="2425" y="1047"/>
                  <a:pt x="2425" y="1047"/>
                  <a:pt x="2425" y="1047"/>
                </a:cubicBezTo>
                <a:moveTo>
                  <a:pt x="2468" y="1046"/>
                </a:moveTo>
                <a:cubicBezTo>
                  <a:pt x="2459" y="1046"/>
                  <a:pt x="2453" y="1051"/>
                  <a:pt x="2453" y="1057"/>
                </a:cubicBezTo>
                <a:cubicBezTo>
                  <a:pt x="2453" y="1062"/>
                  <a:pt x="2459" y="1067"/>
                  <a:pt x="2468" y="1067"/>
                </a:cubicBezTo>
                <a:cubicBezTo>
                  <a:pt x="2476" y="1067"/>
                  <a:pt x="2483" y="1062"/>
                  <a:pt x="2483" y="1057"/>
                </a:cubicBezTo>
                <a:cubicBezTo>
                  <a:pt x="2483" y="1051"/>
                  <a:pt x="2476" y="1046"/>
                  <a:pt x="2468" y="1046"/>
                </a:cubicBezTo>
                <a:cubicBezTo>
                  <a:pt x="2468" y="1046"/>
                  <a:pt x="2468" y="1046"/>
                  <a:pt x="2468" y="1046"/>
                </a:cubicBezTo>
                <a:moveTo>
                  <a:pt x="2510" y="1046"/>
                </a:moveTo>
                <a:cubicBezTo>
                  <a:pt x="2502" y="1046"/>
                  <a:pt x="2495" y="1051"/>
                  <a:pt x="2495" y="1057"/>
                </a:cubicBezTo>
                <a:cubicBezTo>
                  <a:pt x="2495" y="1062"/>
                  <a:pt x="2502" y="1067"/>
                  <a:pt x="2511" y="1067"/>
                </a:cubicBezTo>
                <a:cubicBezTo>
                  <a:pt x="2519" y="1067"/>
                  <a:pt x="2526" y="1062"/>
                  <a:pt x="2525" y="1056"/>
                </a:cubicBezTo>
                <a:cubicBezTo>
                  <a:pt x="2525" y="1051"/>
                  <a:pt x="2519" y="1046"/>
                  <a:pt x="2510" y="1046"/>
                </a:cubicBezTo>
                <a:cubicBezTo>
                  <a:pt x="2510" y="1046"/>
                  <a:pt x="2510" y="1046"/>
                  <a:pt x="2510" y="1046"/>
                </a:cubicBezTo>
                <a:moveTo>
                  <a:pt x="2553" y="1046"/>
                </a:moveTo>
                <a:cubicBezTo>
                  <a:pt x="2545" y="1046"/>
                  <a:pt x="2538" y="1051"/>
                  <a:pt x="2538" y="1056"/>
                </a:cubicBezTo>
                <a:cubicBezTo>
                  <a:pt x="2539" y="1062"/>
                  <a:pt x="2545" y="1067"/>
                  <a:pt x="2554" y="1067"/>
                </a:cubicBezTo>
                <a:cubicBezTo>
                  <a:pt x="2562" y="1067"/>
                  <a:pt x="2569" y="1062"/>
                  <a:pt x="2569" y="1056"/>
                </a:cubicBezTo>
                <a:cubicBezTo>
                  <a:pt x="2568" y="1051"/>
                  <a:pt x="2562" y="1046"/>
                  <a:pt x="2553" y="1046"/>
                </a:cubicBezTo>
                <a:cubicBezTo>
                  <a:pt x="2553" y="1046"/>
                  <a:pt x="2553" y="1046"/>
                  <a:pt x="2553" y="1046"/>
                </a:cubicBezTo>
                <a:moveTo>
                  <a:pt x="2597" y="1046"/>
                </a:moveTo>
                <a:cubicBezTo>
                  <a:pt x="2588" y="1046"/>
                  <a:pt x="2582" y="1051"/>
                  <a:pt x="2582" y="1056"/>
                </a:cubicBezTo>
                <a:cubicBezTo>
                  <a:pt x="2582" y="1062"/>
                  <a:pt x="2589" y="1066"/>
                  <a:pt x="2597" y="1066"/>
                </a:cubicBezTo>
                <a:cubicBezTo>
                  <a:pt x="2606" y="1066"/>
                  <a:pt x="2612" y="1062"/>
                  <a:pt x="2612" y="1056"/>
                </a:cubicBezTo>
                <a:cubicBezTo>
                  <a:pt x="2612" y="1051"/>
                  <a:pt x="2605" y="1046"/>
                  <a:pt x="2597" y="1046"/>
                </a:cubicBezTo>
                <a:cubicBezTo>
                  <a:pt x="2597" y="1046"/>
                  <a:pt x="2597" y="1046"/>
                  <a:pt x="2597" y="1046"/>
                </a:cubicBezTo>
                <a:moveTo>
                  <a:pt x="2639" y="1046"/>
                </a:moveTo>
                <a:cubicBezTo>
                  <a:pt x="2631" y="1046"/>
                  <a:pt x="2624" y="1050"/>
                  <a:pt x="2625" y="1056"/>
                </a:cubicBezTo>
                <a:cubicBezTo>
                  <a:pt x="2625" y="1062"/>
                  <a:pt x="2632" y="1066"/>
                  <a:pt x="2640" y="1066"/>
                </a:cubicBezTo>
                <a:cubicBezTo>
                  <a:pt x="2649" y="1066"/>
                  <a:pt x="2655" y="1062"/>
                  <a:pt x="2655" y="1056"/>
                </a:cubicBezTo>
                <a:cubicBezTo>
                  <a:pt x="2654" y="1050"/>
                  <a:pt x="2647" y="1046"/>
                  <a:pt x="2639" y="1046"/>
                </a:cubicBezTo>
                <a:cubicBezTo>
                  <a:pt x="2639" y="1046"/>
                  <a:pt x="2639" y="1046"/>
                  <a:pt x="2639" y="1046"/>
                </a:cubicBezTo>
                <a:moveTo>
                  <a:pt x="2682" y="1046"/>
                </a:moveTo>
                <a:cubicBezTo>
                  <a:pt x="2674" y="1046"/>
                  <a:pt x="2668" y="1050"/>
                  <a:pt x="2668" y="1056"/>
                </a:cubicBezTo>
                <a:cubicBezTo>
                  <a:pt x="2668" y="1062"/>
                  <a:pt x="2675" y="1066"/>
                  <a:pt x="2684" y="1066"/>
                </a:cubicBezTo>
                <a:cubicBezTo>
                  <a:pt x="2692" y="1066"/>
                  <a:pt x="2699" y="1062"/>
                  <a:pt x="2698" y="1056"/>
                </a:cubicBezTo>
                <a:cubicBezTo>
                  <a:pt x="2698" y="1050"/>
                  <a:pt x="2691" y="1046"/>
                  <a:pt x="2682" y="1046"/>
                </a:cubicBezTo>
                <a:cubicBezTo>
                  <a:pt x="2682" y="1046"/>
                  <a:pt x="2682" y="1046"/>
                  <a:pt x="2682" y="1046"/>
                </a:cubicBezTo>
                <a:moveTo>
                  <a:pt x="2724" y="1046"/>
                </a:moveTo>
                <a:cubicBezTo>
                  <a:pt x="2715" y="1046"/>
                  <a:pt x="2709" y="1050"/>
                  <a:pt x="2709" y="1056"/>
                </a:cubicBezTo>
                <a:cubicBezTo>
                  <a:pt x="2710" y="1062"/>
                  <a:pt x="2717" y="1066"/>
                  <a:pt x="2725" y="1066"/>
                </a:cubicBezTo>
                <a:cubicBezTo>
                  <a:pt x="2734" y="1066"/>
                  <a:pt x="2740" y="1061"/>
                  <a:pt x="2740" y="1056"/>
                </a:cubicBezTo>
                <a:cubicBezTo>
                  <a:pt x="2739" y="1050"/>
                  <a:pt x="2732" y="1046"/>
                  <a:pt x="2724" y="1046"/>
                </a:cubicBezTo>
                <a:cubicBezTo>
                  <a:pt x="2724" y="1046"/>
                  <a:pt x="2724" y="1046"/>
                  <a:pt x="2724" y="1046"/>
                </a:cubicBezTo>
                <a:moveTo>
                  <a:pt x="2767" y="1045"/>
                </a:moveTo>
                <a:cubicBezTo>
                  <a:pt x="2759" y="1045"/>
                  <a:pt x="2752" y="1050"/>
                  <a:pt x="2753" y="1056"/>
                </a:cubicBezTo>
                <a:cubicBezTo>
                  <a:pt x="2753" y="1061"/>
                  <a:pt x="2761" y="1066"/>
                  <a:pt x="2769" y="1066"/>
                </a:cubicBezTo>
                <a:cubicBezTo>
                  <a:pt x="2777" y="1066"/>
                  <a:pt x="2784" y="1061"/>
                  <a:pt x="2783" y="1056"/>
                </a:cubicBezTo>
                <a:cubicBezTo>
                  <a:pt x="2782" y="1050"/>
                  <a:pt x="2775" y="1045"/>
                  <a:pt x="2767" y="1045"/>
                </a:cubicBezTo>
                <a:cubicBezTo>
                  <a:pt x="2767" y="1045"/>
                  <a:pt x="2767" y="1045"/>
                  <a:pt x="2767" y="1045"/>
                </a:cubicBezTo>
                <a:moveTo>
                  <a:pt x="2808" y="1045"/>
                </a:moveTo>
                <a:cubicBezTo>
                  <a:pt x="2800" y="1045"/>
                  <a:pt x="2794" y="1050"/>
                  <a:pt x="2794" y="1056"/>
                </a:cubicBezTo>
                <a:cubicBezTo>
                  <a:pt x="2795" y="1061"/>
                  <a:pt x="2802" y="1066"/>
                  <a:pt x="2810" y="1066"/>
                </a:cubicBezTo>
                <a:cubicBezTo>
                  <a:pt x="2819" y="1066"/>
                  <a:pt x="2825" y="1061"/>
                  <a:pt x="2824" y="1055"/>
                </a:cubicBezTo>
                <a:cubicBezTo>
                  <a:pt x="2824" y="1050"/>
                  <a:pt x="2817" y="1045"/>
                  <a:pt x="2808" y="1045"/>
                </a:cubicBezTo>
                <a:cubicBezTo>
                  <a:pt x="2808" y="1045"/>
                  <a:pt x="2808" y="1045"/>
                  <a:pt x="2808" y="1045"/>
                </a:cubicBezTo>
                <a:moveTo>
                  <a:pt x="2853" y="1045"/>
                </a:moveTo>
                <a:cubicBezTo>
                  <a:pt x="2845" y="1045"/>
                  <a:pt x="2839" y="1050"/>
                  <a:pt x="2840" y="1055"/>
                </a:cubicBezTo>
                <a:cubicBezTo>
                  <a:pt x="2840" y="1061"/>
                  <a:pt x="2848" y="1066"/>
                  <a:pt x="2856" y="1066"/>
                </a:cubicBezTo>
                <a:cubicBezTo>
                  <a:pt x="2864" y="1066"/>
                  <a:pt x="2870" y="1061"/>
                  <a:pt x="2870" y="1055"/>
                </a:cubicBezTo>
                <a:cubicBezTo>
                  <a:pt x="2869" y="1050"/>
                  <a:pt x="2862" y="1045"/>
                  <a:pt x="2853" y="1045"/>
                </a:cubicBezTo>
                <a:cubicBezTo>
                  <a:pt x="2853" y="1045"/>
                  <a:pt x="2853" y="1045"/>
                  <a:pt x="2853" y="1045"/>
                </a:cubicBezTo>
                <a:moveTo>
                  <a:pt x="2897" y="1045"/>
                </a:moveTo>
                <a:cubicBezTo>
                  <a:pt x="2888" y="1045"/>
                  <a:pt x="2882" y="1050"/>
                  <a:pt x="2883" y="1055"/>
                </a:cubicBezTo>
                <a:cubicBezTo>
                  <a:pt x="2884" y="1061"/>
                  <a:pt x="2891" y="1065"/>
                  <a:pt x="2899" y="1065"/>
                </a:cubicBezTo>
                <a:cubicBezTo>
                  <a:pt x="2908" y="1065"/>
                  <a:pt x="2914" y="1061"/>
                  <a:pt x="2913" y="1055"/>
                </a:cubicBezTo>
                <a:cubicBezTo>
                  <a:pt x="2912" y="1050"/>
                  <a:pt x="2905" y="1045"/>
                  <a:pt x="2897" y="1045"/>
                </a:cubicBezTo>
                <a:cubicBezTo>
                  <a:pt x="2897" y="1045"/>
                  <a:pt x="2897" y="1045"/>
                  <a:pt x="2897" y="1045"/>
                </a:cubicBezTo>
                <a:moveTo>
                  <a:pt x="3924" y="1044"/>
                </a:moveTo>
                <a:cubicBezTo>
                  <a:pt x="3916" y="1044"/>
                  <a:pt x="3911" y="1049"/>
                  <a:pt x="3914" y="1054"/>
                </a:cubicBezTo>
                <a:cubicBezTo>
                  <a:pt x="3917" y="1060"/>
                  <a:pt x="3926" y="1065"/>
                  <a:pt x="3934" y="1065"/>
                </a:cubicBezTo>
                <a:cubicBezTo>
                  <a:pt x="3942" y="1065"/>
                  <a:pt x="3947" y="1060"/>
                  <a:pt x="3944" y="1054"/>
                </a:cubicBezTo>
                <a:cubicBezTo>
                  <a:pt x="3941" y="1049"/>
                  <a:pt x="3932" y="1044"/>
                  <a:pt x="3924" y="1044"/>
                </a:cubicBezTo>
                <a:cubicBezTo>
                  <a:pt x="3924" y="1044"/>
                  <a:pt x="3924" y="1044"/>
                  <a:pt x="3924" y="1044"/>
                </a:cubicBezTo>
                <a:moveTo>
                  <a:pt x="3970" y="1044"/>
                </a:moveTo>
                <a:cubicBezTo>
                  <a:pt x="3961" y="1044"/>
                  <a:pt x="3957" y="1049"/>
                  <a:pt x="3960" y="1054"/>
                </a:cubicBezTo>
                <a:cubicBezTo>
                  <a:pt x="3962" y="1060"/>
                  <a:pt x="3971" y="1065"/>
                  <a:pt x="3980" y="1064"/>
                </a:cubicBezTo>
                <a:cubicBezTo>
                  <a:pt x="3988" y="1064"/>
                  <a:pt x="3992" y="1060"/>
                  <a:pt x="3990" y="1054"/>
                </a:cubicBezTo>
                <a:cubicBezTo>
                  <a:pt x="3987" y="1048"/>
                  <a:pt x="3978" y="1044"/>
                  <a:pt x="3970" y="1044"/>
                </a:cubicBezTo>
                <a:cubicBezTo>
                  <a:pt x="3970" y="1044"/>
                  <a:pt x="3970" y="1044"/>
                  <a:pt x="3970" y="1044"/>
                </a:cubicBezTo>
                <a:moveTo>
                  <a:pt x="4266" y="1043"/>
                </a:moveTo>
                <a:cubicBezTo>
                  <a:pt x="4258" y="1043"/>
                  <a:pt x="4254" y="1047"/>
                  <a:pt x="4257" y="1053"/>
                </a:cubicBezTo>
                <a:cubicBezTo>
                  <a:pt x="4260" y="1059"/>
                  <a:pt x="4270" y="1063"/>
                  <a:pt x="4278" y="1063"/>
                </a:cubicBezTo>
                <a:cubicBezTo>
                  <a:pt x="4286" y="1063"/>
                  <a:pt x="4290" y="1059"/>
                  <a:pt x="4287" y="1053"/>
                </a:cubicBezTo>
                <a:cubicBezTo>
                  <a:pt x="4284" y="1047"/>
                  <a:pt x="4274" y="1043"/>
                  <a:pt x="4266" y="1043"/>
                </a:cubicBezTo>
                <a:cubicBezTo>
                  <a:pt x="4266" y="1043"/>
                  <a:pt x="4266" y="1043"/>
                  <a:pt x="4266" y="1043"/>
                </a:cubicBezTo>
                <a:moveTo>
                  <a:pt x="727" y="1023"/>
                </a:moveTo>
                <a:cubicBezTo>
                  <a:pt x="718" y="1023"/>
                  <a:pt x="709" y="1028"/>
                  <a:pt x="706" y="1034"/>
                </a:cubicBezTo>
                <a:cubicBezTo>
                  <a:pt x="703" y="1039"/>
                  <a:pt x="707" y="1044"/>
                  <a:pt x="715" y="1044"/>
                </a:cubicBezTo>
                <a:cubicBezTo>
                  <a:pt x="723" y="1044"/>
                  <a:pt x="732" y="1039"/>
                  <a:pt x="736" y="1033"/>
                </a:cubicBezTo>
                <a:cubicBezTo>
                  <a:pt x="739" y="1028"/>
                  <a:pt x="735" y="1023"/>
                  <a:pt x="727" y="1023"/>
                </a:cubicBezTo>
                <a:cubicBezTo>
                  <a:pt x="727" y="1023"/>
                  <a:pt x="727" y="1023"/>
                  <a:pt x="727" y="1023"/>
                </a:cubicBezTo>
                <a:moveTo>
                  <a:pt x="346" y="1023"/>
                </a:moveTo>
                <a:cubicBezTo>
                  <a:pt x="337" y="1023"/>
                  <a:pt x="328" y="1028"/>
                  <a:pt x="324" y="1033"/>
                </a:cubicBezTo>
                <a:cubicBezTo>
                  <a:pt x="320" y="1039"/>
                  <a:pt x="323" y="1044"/>
                  <a:pt x="331" y="1044"/>
                </a:cubicBezTo>
                <a:cubicBezTo>
                  <a:pt x="340" y="1044"/>
                  <a:pt x="349" y="1039"/>
                  <a:pt x="353" y="1033"/>
                </a:cubicBezTo>
                <a:cubicBezTo>
                  <a:pt x="357" y="1028"/>
                  <a:pt x="354" y="1023"/>
                  <a:pt x="346" y="1023"/>
                </a:cubicBezTo>
                <a:cubicBezTo>
                  <a:pt x="346" y="1023"/>
                  <a:pt x="346" y="1023"/>
                  <a:pt x="346" y="1023"/>
                </a:cubicBezTo>
                <a:moveTo>
                  <a:pt x="769" y="1023"/>
                </a:moveTo>
                <a:cubicBezTo>
                  <a:pt x="761" y="1023"/>
                  <a:pt x="751" y="1028"/>
                  <a:pt x="748" y="1033"/>
                </a:cubicBezTo>
                <a:cubicBezTo>
                  <a:pt x="745" y="1039"/>
                  <a:pt x="749" y="1044"/>
                  <a:pt x="757" y="1044"/>
                </a:cubicBezTo>
                <a:cubicBezTo>
                  <a:pt x="766" y="1044"/>
                  <a:pt x="775" y="1039"/>
                  <a:pt x="778" y="1033"/>
                </a:cubicBezTo>
                <a:cubicBezTo>
                  <a:pt x="781" y="1028"/>
                  <a:pt x="777" y="1023"/>
                  <a:pt x="769" y="1023"/>
                </a:cubicBezTo>
                <a:cubicBezTo>
                  <a:pt x="769" y="1023"/>
                  <a:pt x="769" y="1023"/>
                  <a:pt x="769" y="1023"/>
                </a:cubicBezTo>
                <a:moveTo>
                  <a:pt x="390" y="1023"/>
                </a:moveTo>
                <a:cubicBezTo>
                  <a:pt x="382" y="1023"/>
                  <a:pt x="372" y="1028"/>
                  <a:pt x="368" y="1033"/>
                </a:cubicBezTo>
                <a:cubicBezTo>
                  <a:pt x="364" y="1039"/>
                  <a:pt x="368" y="1043"/>
                  <a:pt x="376" y="1043"/>
                </a:cubicBezTo>
                <a:cubicBezTo>
                  <a:pt x="384" y="1043"/>
                  <a:pt x="394" y="1039"/>
                  <a:pt x="398" y="1033"/>
                </a:cubicBezTo>
                <a:cubicBezTo>
                  <a:pt x="402" y="1028"/>
                  <a:pt x="398" y="1023"/>
                  <a:pt x="390" y="1023"/>
                </a:cubicBezTo>
                <a:cubicBezTo>
                  <a:pt x="390" y="1023"/>
                  <a:pt x="390" y="1023"/>
                  <a:pt x="390" y="1023"/>
                </a:cubicBezTo>
                <a:moveTo>
                  <a:pt x="428" y="1023"/>
                </a:moveTo>
                <a:cubicBezTo>
                  <a:pt x="420" y="1023"/>
                  <a:pt x="410" y="1028"/>
                  <a:pt x="407" y="1033"/>
                </a:cubicBezTo>
                <a:cubicBezTo>
                  <a:pt x="403" y="1039"/>
                  <a:pt x="406" y="1043"/>
                  <a:pt x="415" y="1043"/>
                </a:cubicBezTo>
                <a:cubicBezTo>
                  <a:pt x="423" y="1043"/>
                  <a:pt x="433" y="1039"/>
                  <a:pt x="436" y="1033"/>
                </a:cubicBezTo>
                <a:cubicBezTo>
                  <a:pt x="440" y="1028"/>
                  <a:pt x="437" y="1023"/>
                  <a:pt x="428" y="1023"/>
                </a:cubicBezTo>
                <a:cubicBezTo>
                  <a:pt x="428" y="1023"/>
                  <a:pt x="428" y="1023"/>
                  <a:pt x="428" y="1023"/>
                </a:cubicBezTo>
                <a:moveTo>
                  <a:pt x="471" y="1023"/>
                </a:moveTo>
                <a:cubicBezTo>
                  <a:pt x="463" y="1023"/>
                  <a:pt x="453" y="1027"/>
                  <a:pt x="449" y="1033"/>
                </a:cubicBezTo>
                <a:cubicBezTo>
                  <a:pt x="445" y="1039"/>
                  <a:pt x="449" y="1043"/>
                  <a:pt x="457" y="1043"/>
                </a:cubicBezTo>
                <a:cubicBezTo>
                  <a:pt x="466" y="1043"/>
                  <a:pt x="475" y="1039"/>
                  <a:pt x="479" y="1033"/>
                </a:cubicBezTo>
                <a:cubicBezTo>
                  <a:pt x="483" y="1027"/>
                  <a:pt x="479" y="1023"/>
                  <a:pt x="471" y="1023"/>
                </a:cubicBezTo>
                <a:cubicBezTo>
                  <a:pt x="471" y="1023"/>
                  <a:pt x="471" y="1023"/>
                  <a:pt x="471" y="1023"/>
                </a:cubicBezTo>
                <a:moveTo>
                  <a:pt x="513" y="1023"/>
                </a:moveTo>
                <a:cubicBezTo>
                  <a:pt x="505" y="1023"/>
                  <a:pt x="495" y="1027"/>
                  <a:pt x="492" y="1033"/>
                </a:cubicBezTo>
                <a:cubicBezTo>
                  <a:pt x="488" y="1038"/>
                  <a:pt x="492" y="1043"/>
                  <a:pt x="500" y="1043"/>
                </a:cubicBezTo>
                <a:cubicBezTo>
                  <a:pt x="508" y="1043"/>
                  <a:pt x="518" y="1038"/>
                  <a:pt x="521" y="1033"/>
                </a:cubicBezTo>
                <a:cubicBezTo>
                  <a:pt x="525" y="1027"/>
                  <a:pt x="521" y="1023"/>
                  <a:pt x="513" y="1023"/>
                </a:cubicBezTo>
                <a:cubicBezTo>
                  <a:pt x="513" y="1023"/>
                  <a:pt x="513" y="1023"/>
                  <a:pt x="513" y="1023"/>
                </a:cubicBezTo>
                <a:moveTo>
                  <a:pt x="556" y="1023"/>
                </a:moveTo>
                <a:cubicBezTo>
                  <a:pt x="548" y="1023"/>
                  <a:pt x="538" y="1027"/>
                  <a:pt x="534" y="1033"/>
                </a:cubicBezTo>
                <a:cubicBezTo>
                  <a:pt x="531" y="1038"/>
                  <a:pt x="535" y="1043"/>
                  <a:pt x="543" y="1043"/>
                </a:cubicBezTo>
                <a:cubicBezTo>
                  <a:pt x="551" y="1043"/>
                  <a:pt x="561" y="1038"/>
                  <a:pt x="564" y="1033"/>
                </a:cubicBezTo>
                <a:cubicBezTo>
                  <a:pt x="568" y="1027"/>
                  <a:pt x="564" y="1023"/>
                  <a:pt x="556" y="1023"/>
                </a:cubicBezTo>
                <a:cubicBezTo>
                  <a:pt x="556" y="1023"/>
                  <a:pt x="556" y="1023"/>
                  <a:pt x="556" y="1023"/>
                </a:cubicBezTo>
                <a:moveTo>
                  <a:pt x="600" y="1022"/>
                </a:moveTo>
                <a:cubicBezTo>
                  <a:pt x="591" y="1022"/>
                  <a:pt x="582" y="1027"/>
                  <a:pt x="578" y="1033"/>
                </a:cubicBezTo>
                <a:cubicBezTo>
                  <a:pt x="575" y="1038"/>
                  <a:pt x="579" y="1043"/>
                  <a:pt x="587" y="1043"/>
                </a:cubicBezTo>
                <a:cubicBezTo>
                  <a:pt x="595" y="1043"/>
                  <a:pt x="605" y="1038"/>
                  <a:pt x="608" y="1033"/>
                </a:cubicBezTo>
                <a:cubicBezTo>
                  <a:pt x="612" y="1027"/>
                  <a:pt x="608" y="1022"/>
                  <a:pt x="600" y="1022"/>
                </a:cubicBezTo>
                <a:cubicBezTo>
                  <a:pt x="600" y="1022"/>
                  <a:pt x="600" y="1022"/>
                  <a:pt x="600" y="1022"/>
                </a:cubicBezTo>
                <a:moveTo>
                  <a:pt x="642" y="1022"/>
                </a:moveTo>
                <a:cubicBezTo>
                  <a:pt x="634" y="1022"/>
                  <a:pt x="624" y="1027"/>
                  <a:pt x="621" y="1032"/>
                </a:cubicBezTo>
                <a:cubicBezTo>
                  <a:pt x="617" y="1038"/>
                  <a:pt x="621" y="1043"/>
                  <a:pt x="630" y="1043"/>
                </a:cubicBezTo>
                <a:cubicBezTo>
                  <a:pt x="638" y="1043"/>
                  <a:pt x="647" y="1038"/>
                  <a:pt x="651" y="1032"/>
                </a:cubicBezTo>
                <a:cubicBezTo>
                  <a:pt x="654" y="1027"/>
                  <a:pt x="650" y="1022"/>
                  <a:pt x="642" y="1022"/>
                </a:cubicBezTo>
                <a:cubicBezTo>
                  <a:pt x="642" y="1022"/>
                  <a:pt x="642" y="1022"/>
                  <a:pt x="642" y="1022"/>
                </a:cubicBezTo>
                <a:moveTo>
                  <a:pt x="684" y="1022"/>
                </a:moveTo>
                <a:cubicBezTo>
                  <a:pt x="676" y="1022"/>
                  <a:pt x="667" y="1027"/>
                  <a:pt x="664" y="1032"/>
                </a:cubicBezTo>
                <a:cubicBezTo>
                  <a:pt x="660" y="1038"/>
                  <a:pt x="664" y="1042"/>
                  <a:pt x="672" y="1042"/>
                </a:cubicBezTo>
                <a:cubicBezTo>
                  <a:pt x="681" y="1042"/>
                  <a:pt x="690" y="1038"/>
                  <a:pt x="693" y="1032"/>
                </a:cubicBezTo>
                <a:cubicBezTo>
                  <a:pt x="697" y="1027"/>
                  <a:pt x="693" y="1022"/>
                  <a:pt x="685" y="1022"/>
                </a:cubicBezTo>
                <a:cubicBezTo>
                  <a:pt x="685" y="1022"/>
                  <a:pt x="684" y="1022"/>
                  <a:pt x="684" y="1022"/>
                </a:cubicBezTo>
                <a:moveTo>
                  <a:pt x="1702" y="1020"/>
                </a:moveTo>
                <a:cubicBezTo>
                  <a:pt x="1694" y="1020"/>
                  <a:pt x="1686" y="1024"/>
                  <a:pt x="1685" y="1030"/>
                </a:cubicBezTo>
                <a:cubicBezTo>
                  <a:pt x="1683" y="1035"/>
                  <a:pt x="1689" y="1040"/>
                  <a:pt x="1697" y="1040"/>
                </a:cubicBezTo>
                <a:cubicBezTo>
                  <a:pt x="1705" y="1040"/>
                  <a:pt x="1713" y="1035"/>
                  <a:pt x="1714" y="1030"/>
                </a:cubicBezTo>
                <a:cubicBezTo>
                  <a:pt x="1716" y="1024"/>
                  <a:pt x="1710" y="1020"/>
                  <a:pt x="1702" y="1020"/>
                </a:cubicBezTo>
                <a:cubicBezTo>
                  <a:pt x="1702" y="1020"/>
                  <a:pt x="1702" y="1020"/>
                  <a:pt x="1702" y="1020"/>
                </a:cubicBezTo>
                <a:moveTo>
                  <a:pt x="1744" y="1019"/>
                </a:moveTo>
                <a:cubicBezTo>
                  <a:pt x="1736" y="1019"/>
                  <a:pt x="1728" y="1024"/>
                  <a:pt x="1727" y="1030"/>
                </a:cubicBezTo>
                <a:cubicBezTo>
                  <a:pt x="1726" y="1035"/>
                  <a:pt x="1731" y="1040"/>
                  <a:pt x="1739" y="1040"/>
                </a:cubicBezTo>
                <a:cubicBezTo>
                  <a:pt x="1748" y="1040"/>
                  <a:pt x="1755" y="1035"/>
                  <a:pt x="1757" y="1030"/>
                </a:cubicBezTo>
                <a:cubicBezTo>
                  <a:pt x="1758" y="1024"/>
                  <a:pt x="1753" y="1019"/>
                  <a:pt x="1744" y="1019"/>
                </a:cubicBezTo>
                <a:cubicBezTo>
                  <a:pt x="1744" y="1019"/>
                  <a:pt x="1744" y="1019"/>
                  <a:pt x="1744" y="1019"/>
                </a:cubicBezTo>
                <a:moveTo>
                  <a:pt x="1787" y="1019"/>
                </a:moveTo>
                <a:cubicBezTo>
                  <a:pt x="1779" y="1019"/>
                  <a:pt x="1771" y="1024"/>
                  <a:pt x="1770" y="1030"/>
                </a:cubicBezTo>
                <a:cubicBezTo>
                  <a:pt x="1768" y="1035"/>
                  <a:pt x="1774" y="1040"/>
                  <a:pt x="1782" y="1040"/>
                </a:cubicBezTo>
                <a:cubicBezTo>
                  <a:pt x="1791" y="1040"/>
                  <a:pt x="1798" y="1035"/>
                  <a:pt x="1800" y="1029"/>
                </a:cubicBezTo>
                <a:cubicBezTo>
                  <a:pt x="1801" y="1024"/>
                  <a:pt x="1795" y="1019"/>
                  <a:pt x="1787" y="1019"/>
                </a:cubicBezTo>
                <a:cubicBezTo>
                  <a:pt x="1787" y="1019"/>
                  <a:pt x="1787" y="1019"/>
                  <a:pt x="1787" y="1019"/>
                </a:cubicBezTo>
                <a:moveTo>
                  <a:pt x="1830" y="1019"/>
                </a:moveTo>
                <a:cubicBezTo>
                  <a:pt x="1822" y="1019"/>
                  <a:pt x="1814" y="1024"/>
                  <a:pt x="1813" y="1029"/>
                </a:cubicBezTo>
                <a:cubicBezTo>
                  <a:pt x="1812" y="1035"/>
                  <a:pt x="1817" y="1040"/>
                  <a:pt x="1826" y="1040"/>
                </a:cubicBezTo>
                <a:cubicBezTo>
                  <a:pt x="1834" y="1040"/>
                  <a:pt x="1841" y="1035"/>
                  <a:pt x="1843" y="1029"/>
                </a:cubicBezTo>
                <a:cubicBezTo>
                  <a:pt x="1844" y="1024"/>
                  <a:pt x="1838" y="1019"/>
                  <a:pt x="1830" y="1019"/>
                </a:cubicBezTo>
                <a:cubicBezTo>
                  <a:pt x="1830" y="1019"/>
                  <a:pt x="1830" y="1019"/>
                  <a:pt x="1830" y="1019"/>
                </a:cubicBezTo>
                <a:moveTo>
                  <a:pt x="1872" y="1019"/>
                </a:moveTo>
                <a:cubicBezTo>
                  <a:pt x="1864" y="1019"/>
                  <a:pt x="1856" y="1024"/>
                  <a:pt x="1855" y="1029"/>
                </a:cubicBezTo>
                <a:cubicBezTo>
                  <a:pt x="1854" y="1035"/>
                  <a:pt x="1860" y="1039"/>
                  <a:pt x="1868" y="1039"/>
                </a:cubicBezTo>
                <a:cubicBezTo>
                  <a:pt x="1876" y="1039"/>
                  <a:pt x="1884" y="1035"/>
                  <a:pt x="1885" y="1029"/>
                </a:cubicBezTo>
                <a:cubicBezTo>
                  <a:pt x="1886" y="1024"/>
                  <a:pt x="1880" y="1019"/>
                  <a:pt x="1872" y="1019"/>
                </a:cubicBezTo>
                <a:cubicBezTo>
                  <a:pt x="1872" y="1019"/>
                  <a:pt x="1872" y="1019"/>
                  <a:pt x="1872" y="1019"/>
                </a:cubicBezTo>
                <a:moveTo>
                  <a:pt x="1915" y="1019"/>
                </a:moveTo>
                <a:cubicBezTo>
                  <a:pt x="1906" y="1019"/>
                  <a:pt x="1899" y="1023"/>
                  <a:pt x="1898" y="1029"/>
                </a:cubicBezTo>
                <a:cubicBezTo>
                  <a:pt x="1897" y="1035"/>
                  <a:pt x="1902" y="1039"/>
                  <a:pt x="1911" y="1039"/>
                </a:cubicBezTo>
                <a:cubicBezTo>
                  <a:pt x="1919" y="1039"/>
                  <a:pt x="1927" y="1035"/>
                  <a:pt x="1928" y="1029"/>
                </a:cubicBezTo>
                <a:cubicBezTo>
                  <a:pt x="1929" y="1023"/>
                  <a:pt x="1923" y="1019"/>
                  <a:pt x="1915" y="1019"/>
                </a:cubicBezTo>
                <a:cubicBezTo>
                  <a:pt x="1915" y="1019"/>
                  <a:pt x="1915" y="1019"/>
                  <a:pt x="1915" y="1019"/>
                </a:cubicBezTo>
                <a:moveTo>
                  <a:pt x="1957" y="1019"/>
                </a:moveTo>
                <a:cubicBezTo>
                  <a:pt x="1949" y="1019"/>
                  <a:pt x="1941" y="1023"/>
                  <a:pt x="1940" y="1029"/>
                </a:cubicBezTo>
                <a:cubicBezTo>
                  <a:pt x="1939" y="1035"/>
                  <a:pt x="1945" y="1039"/>
                  <a:pt x="1953" y="1039"/>
                </a:cubicBezTo>
                <a:cubicBezTo>
                  <a:pt x="1962" y="1039"/>
                  <a:pt x="1969" y="1034"/>
                  <a:pt x="1970" y="1029"/>
                </a:cubicBezTo>
                <a:cubicBezTo>
                  <a:pt x="1971" y="1023"/>
                  <a:pt x="1965" y="1019"/>
                  <a:pt x="1957" y="1019"/>
                </a:cubicBezTo>
                <a:cubicBezTo>
                  <a:pt x="1957" y="1019"/>
                  <a:pt x="1957" y="1019"/>
                  <a:pt x="1957" y="1019"/>
                </a:cubicBezTo>
                <a:moveTo>
                  <a:pt x="1999" y="1019"/>
                </a:moveTo>
                <a:cubicBezTo>
                  <a:pt x="1991" y="1019"/>
                  <a:pt x="1984" y="1023"/>
                  <a:pt x="1983" y="1029"/>
                </a:cubicBezTo>
                <a:cubicBezTo>
                  <a:pt x="1982" y="1034"/>
                  <a:pt x="1988" y="1039"/>
                  <a:pt x="1996" y="1039"/>
                </a:cubicBezTo>
                <a:cubicBezTo>
                  <a:pt x="2004" y="1039"/>
                  <a:pt x="2012" y="1034"/>
                  <a:pt x="2013" y="1029"/>
                </a:cubicBezTo>
                <a:cubicBezTo>
                  <a:pt x="2013" y="1023"/>
                  <a:pt x="2008" y="1019"/>
                  <a:pt x="1999" y="1019"/>
                </a:cubicBezTo>
                <a:cubicBezTo>
                  <a:pt x="1999" y="1019"/>
                  <a:pt x="1999" y="1019"/>
                  <a:pt x="1999" y="1019"/>
                </a:cubicBezTo>
                <a:moveTo>
                  <a:pt x="2043" y="1018"/>
                </a:moveTo>
                <a:cubicBezTo>
                  <a:pt x="2035" y="1018"/>
                  <a:pt x="2028" y="1023"/>
                  <a:pt x="2027" y="1029"/>
                </a:cubicBezTo>
                <a:cubicBezTo>
                  <a:pt x="2026" y="1034"/>
                  <a:pt x="2032" y="1039"/>
                  <a:pt x="2040" y="1039"/>
                </a:cubicBezTo>
                <a:cubicBezTo>
                  <a:pt x="2048" y="1039"/>
                  <a:pt x="2056" y="1034"/>
                  <a:pt x="2057" y="1029"/>
                </a:cubicBezTo>
                <a:cubicBezTo>
                  <a:pt x="2057" y="1023"/>
                  <a:pt x="2051" y="1018"/>
                  <a:pt x="2043" y="1018"/>
                </a:cubicBezTo>
                <a:cubicBezTo>
                  <a:pt x="2043" y="1018"/>
                  <a:pt x="2043" y="1018"/>
                  <a:pt x="2043" y="1018"/>
                </a:cubicBezTo>
                <a:moveTo>
                  <a:pt x="2085" y="1018"/>
                </a:moveTo>
                <a:cubicBezTo>
                  <a:pt x="2077" y="1018"/>
                  <a:pt x="2070" y="1023"/>
                  <a:pt x="2069" y="1029"/>
                </a:cubicBezTo>
                <a:cubicBezTo>
                  <a:pt x="2068" y="1034"/>
                  <a:pt x="2074" y="1039"/>
                  <a:pt x="2083" y="1039"/>
                </a:cubicBezTo>
                <a:cubicBezTo>
                  <a:pt x="2091" y="1039"/>
                  <a:pt x="2098" y="1034"/>
                  <a:pt x="2099" y="1028"/>
                </a:cubicBezTo>
                <a:cubicBezTo>
                  <a:pt x="2100" y="1023"/>
                  <a:pt x="2094" y="1018"/>
                  <a:pt x="2085" y="1018"/>
                </a:cubicBezTo>
                <a:cubicBezTo>
                  <a:pt x="2085" y="1018"/>
                  <a:pt x="2085" y="1018"/>
                  <a:pt x="2085" y="1018"/>
                </a:cubicBezTo>
                <a:moveTo>
                  <a:pt x="2128" y="1018"/>
                </a:moveTo>
                <a:cubicBezTo>
                  <a:pt x="2120" y="1018"/>
                  <a:pt x="2112" y="1023"/>
                  <a:pt x="2112" y="1028"/>
                </a:cubicBezTo>
                <a:cubicBezTo>
                  <a:pt x="2111" y="1034"/>
                  <a:pt x="2117" y="1039"/>
                  <a:pt x="2126" y="1039"/>
                </a:cubicBezTo>
                <a:cubicBezTo>
                  <a:pt x="2134" y="1038"/>
                  <a:pt x="2141" y="1034"/>
                  <a:pt x="2142" y="1028"/>
                </a:cubicBezTo>
                <a:cubicBezTo>
                  <a:pt x="2142" y="1023"/>
                  <a:pt x="2136" y="1018"/>
                  <a:pt x="2128" y="1018"/>
                </a:cubicBezTo>
                <a:cubicBezTo>
                  <a:pt x="2128" y="1018"/>
                  <a:pt x="2128" y="1018"/>
                  <a:pt x="2128" y="1018"/>
                </a:cubicBezTo>
                <a:moveTo>
                  <a:pt x="2171" y="1018"/>
                </a:moveTo>
                <a:cubicBezTo>
                  <a:pt x="2163" y="1018"/>
                  <a:pt x="2155" y="1023"/>
                  <a:pt x="2155" y="1028"/>
                </a:cubicBezTo>
                <a:cubicBezTo>
                  <a:pt x="2154" y="1034"/>
                  <a:pt x="2161" y="1038"/>
                  <a:pt x="2169" y="1038"/>
                </a:cubicBezTo>
                <a:cubicBezTo>
                  <a:pt x="2177" y="1038"/>
                  <a:pt x="2184" y="1034"/>
                  <a:pt x="2185" y="1028"/>
                </a:cubicBezTo>
                <a:cubicBezTo>
                  <a:pt x="2185" y="1022"/>
                  <a:pt x="2179" y="1018"/>
                  <a:pt x="2171" y="1018"/>
                </a:cubicBezTo>
                <a:cubicBezTo>
                  <a:pt x="2171" y="1018"/>
                  <a:pt x="2171" y="1018"/>
                  <a:pt x="2171" y="1018"/>
                </a:cubicBezTo>
                <a:moveTo>
                  <a:pt x="2213" y="1018"/>
                </a:moveTo>
                <a:cubicBezTo>
                  <a:pt x="2205" y="1018"/>
                  <a:pt x="2198" y="1022"/>
                  <a:pt x="2197" y="1028"/>
                </a:cubicBezTo>
                <a:cubicBezTo>
                  <a:pt x="2197" y="1034"/>
                  <a:pt x="2203" y="1038"/>
                  <a:pt x="2211" y="1038"/>
                </a:cubicBezTo>
                <a:cubicBezTo>
                  <a:pt x="2220" y="1038"/>
                  <a:pt x="2227" y="1034"/>
                  <a:pt x="2227" y="1028"/>
                </a:cubicBezTo>
                <a:cubicBezTo>
                  <a:pt x="2228" y="1022"/>
                  <a:pt x="2221" y="1018"/>
                  <a:pt x="2213" y="1018"/>
                </a:cubicBezTo>
                <a:cubicBezTo>
                  <a:pt x="2213" y="1018"/>
                  <a:pt x="2213" y="1018"/>
                  <a:pt x="2213" y="1018"/>
                </a:cubicBezTo>
                <a:moveTo>
                  <a:pt x="2255" y="1018"/>
                </a:moveTo>
                <a:cubicBezTo>
                  <a:pt x="2247" y="1018"/>
                  <a:pt x="2240" y="1022"/>
                  <a:pt x="2240" y="1028"/>
                </a:cubicBezTo>
                <a:cubicBezTo>
                  <a:pt x="2239" y="1034"/>
                  <a:pt x="2246" y="1038"/>
                  <a:pt x="2254" y="1038"/>
                </a:cubicBezTo>
                <a:cubicBezTo>
                  <a:pt x="2262" y="1038"/>
                  <a:pt x="2269" y="1033"/>
                  <a:pt x="2270" y="1028"/>
                </a:cubicBezTo>
                <a:cubicBezTo>
                  <a:pt x="2270" y="1022"/>
                  <a:pt x="2264" y="1018"/>
                  <a:pt x="2256" y="1018"/>
                </a:cubicBezTo>
                <a:cubicBezTo>
                  <a:pt x="2256" y="1018"/>
                  <a:pt x="2255" y="1018"/>
                  <a:pt x="2255" y="1018"/>
                </a:cubicBezTo>
                <a:moveTo>
                  <a:pt x="2298" y="1017"/>
                </a:moveTo>
                <a:cubicBezTo>
                  <a:pt x="2289" y="1018"/>
                  <a:pt x="2283" y="1022"/>
                  <a:pt x="2282" y="1028"/>
                </a:cubicBezTo>
                <a:cubicBezTo>
                  <a:pt x="2282" y="1033"/>
                  <a:pt x="2288" y="1038"/>
                  <a:pt x="2296" y="1038"/>
                </a:cubicBezTo>
                <a:cubicBezTo>
                  <a:pt x="2305" y="1038"/>
                  <a:pt x="2312" y="1033"/>
                  <a:pt x="2312" y="1028"/>
                </a:cubicBezTo>
                <a:cubicBezTo>
                  <a:pt x="2312" y="1022"/>
                  <a:pt x="2306" y="1017"/>
                  <a:pt x="2298" y="1017"/>
                </a:cubicBezTo>
                <a:cubicBezTo>
                  <a:pt x="2298" y="1017"/>
                  <a:pt x="2298" y="1017"/>
                  <a:pt x="2298" y="1017"/>
                </a:cubicBezTo>
                <a:moveTo>
                  <a:pt x="2340" y="1017"/>
                </a:moveTo>
                <a:cubicBezTo>
                  <a:pt x="2332" y="1017"/>
                  <a:pt x="2325" y="1022"/>
                  <a:pt x="2325" y="1028"/>
                </a:cubicBezTo>
                <a:cubicBezTo>
                  <a:pt x="2325" y="1033"/>
                  <a:pt x="2331" y="1038"/>
                  <a:pt x="2339" y="1038"/>
                </a:cubicBezTo>
                <a:cubicBezTo>
                  <a:pt x="2348" y="1038"/>
                  <a:pt x="2354" y="1033"/>
                  <a:pt x="2355" y="1028"/>
                </a:cubicBezTo>
                <a:cubicBezTo>
                  <a:pt x="2355" y="1022"/>
                  <a:pt x="2348" y="1017"/>
                  <a:pt x="2340" y="1017"/>
                </a:cubicBezTo>
                <a:cubicBezTo>
                  <a:pt x="2340" y="1017"/>
                  <a:pt x="2340" y="1017"/>
                  <a:pt x="2340" y="1017"/>
                </a:cubicBezTo>
                <a:moveTo>
                  <a:pt x="2383" y="1017"/>
                </a:moveTo>
                <a:cubicBezTo>
                  <a:pt x="2375" y="1017"/>
                  <a:pt x="2368" y="1022"/>
                  <a:pt x="2368" y="1027"/>
                </a:cubicBezTo>
                <a:cubicBezTo>
                  <a:pt x="2368" y="1033"/>
                  <a:pt x="2374" y="1038"/>
                  <a:pt x="2383" y="1038"/>
                </a:cubicBezTo>
                <a:cubicBezTo>
                  <a:pt x="2391" y="1038"/>
                  <a:pt x="2398" y="1033"/>
                  <a:pt x="2398" y="1027"/>
                </a:cubicBezTo>
                <a:cubicBezTo>
                  <a:pt x="2398" y="1022"/>
                  <a:pt x="2391" y="1017"/>
                  <a:pt x="2383" y="1017"/>
                </a:cubicBezTo>
                <a:cubicBezTo>
                  <a:pt x="2383" y="1017"/>
                  <a:pt x="2383" y="1017"/>
                  <a:pt x="2383" y="1017"/>
                </a:cubicBezTo>
                <a:moveTo>
                  <a:pt x="2425" y="1017"/>
                </a:moveTo>
                <a:cubicBezTo>
                  <a:pt x="2417" y="1017"/>
                  <a:pt x="2410" y="1022"/>
                  <a:pt x="2410" y="1027"/>
                </a:cubicBezTo>
                <a:cubicBezTo>
                  <a:pt x="2410" y="1033"/>
                  <a:pt x="2417" y="1038"/>
                  <a:pt x="2425" y="1037"/>
                </a:cubicBezTo>
                <a:cubicBezTo>
                  <a:pt x="2433" y="1037"/>
                  <a:pt x="2440" y="1033"/>
                  <a:pt x="2440" y="1027"/>
                </a:cubicBezTo>
                <a:cubicBezTo>
                  <a:pt x="2440" y="1022"/>
                  <a:pt x="2434" y="1017"/>
                  <a:pt x="2425" y="1017"/>
                </a:cubicBezTo>
                <a:cubicBezTo>
                  <a:pt x="2425" y="1017"/>
                  <a:pt x="2425" y="1017"/>
                  <a:pt x="2425" y="1017"/>
                </a:cubicBezTo>
                <a:moveTo>
                  <a:pt x="2468" y="1017"/>
                </a:moveTo>
                <a:cubicBezTo>
                  <a:pt x="2460" y="1017"/>
                  <a:pt x="2453" y="1022"/>
                  <a:pt x="2453" y="1027"/>
                </a:cubicBezTo>
                <a:cubicBezTo>
                  <a:pt x="2453" y="1033"/>
                  <a:pt x="2459" y="1037"/>
                  <a:pt x="2468" y="1037"/>
                </a:cubicBezTo>
                <a:cubicBezTo>
                  <a:pt x="2476" y="1037"/>
                  <a:pt x="2483" y="1033"/>
                  <a:pt x="2483" y="1027"/>
                </a:cubicBezTo>
                <a:cubicBezTo>
                  <a:pt x="2483" y="1021"/>
                  <a:pt x="2476" y="1017"/>
                  <a:pt x="2468" y="1017"/>
                </a:cubicBezTo>
                <a:cubicBezTo>
                  <a:pt x="2468" y="1017"/>
                  <a:pt x="2468" y="1017"/>
                  <a:pt x="2468" y="1017"/>
                </a:cubicBezTo>
                <a:moveTo>
                  <a:pt x="2510" y="1017"/>
                </a:moveTo>
                <a:cubicBezTo>
                  <a:pt x="2502" y="1017"/>
                  <a:pt x="2495" y="1021"/>
                  <a:pt x="2495" y="1027"/>
                </a:cubicBezTo>
                <a:cubicBezTo>
                  <a:pt x="2495" y="1033"/>
                  <a:pt x="2502" y="1037"/>
                  <a:pt x="2510" y="1037"/>
                </a:cubicBezTo>
                <a:cubicBezTo>
                  <a:pt x="2518" y="1037"/>
                  <a:pt x="2525" y="1033"/>
                  <a:pt x="2525" y="1027"/>
                </a:cubicBezTo>
                <a:cubicBezTo>
                  <a:pt x="2525" y="1021"/>
                  <a:pt x="2518" y="1017"/>
                  <a:pt x="2510" y="1017"/>
                </a:cubicBezTo>
                <a:cubicBezTo>
                  <a:pt x="2510" y="1017"/>
                  <a:pt x="2510" y="1017"/>
                  <a:pt x="2510" y="1017"/>
                </a:cubicBezTo>
                <a:moveTo>
                  <a:pt x="2552" y="1017"/>
                </a:moveTo>
                <a:cubicBezTo>
                  <a:pt x="2544" y="1017"/>
                  <a:pt x="2538" y="1021"/>
                  <a:pt x="2538" y="1027"/>
                </a:cubicBezTo>
                <a:cubicBezTo>
                  <a:pt x="2538" y="1033"/>
                  <a:pt x="2545" y="1037"/>
                  <a:pt x="2553" y="1037"/>
                </a:cubicBezTo>
                <a:cubicBezTo>
                  <a:pt x="2561" y="1037"/>
                  <a:pt x="2568" y="1032"/>
                  <a:pt x="2568" y="1027"/>
                </a:cubicBezTo>
                <a:cubicBezTo>
                  <a:pt x="2567" y="1021"/>
                  <a:pt x="2561" y="1017"/>
                  <a:pt x="2553" y="1017"/>
                </a:cubicBezTo>
                <a:cubicBezTo>
                  <a:pt x="2553" y="1017"/>
                  <a:pt x="2552" y="1017"/>
                  <a:pt x="2552" y="1017"/>
                </a:cubicBezTo>
                <a:moveTo>
                  <a:pt x="2595" y="1016"/>
                </a:moveTo>
                <a:cubicBezTo>
                  <a:pt x="2587" y="1016"/>
                  <a:pt x="2581" y="1021"/>
                  <a:pt x="2581" y="1027"/>
                </a:cubicBezTo>
                <a:cubicBezTo>
                  <a:pt x="2581" y="1032"/>
                  <a:pt x="2588" y="1037"/>
                  <a:pt x="2596" y="1037"/>
                </a:cubicBezTo>
                <a:cubicBezTo>
                  <a:pt x="2604" y="1037"/>
                  <a:pt x="2611" y="1032"/>
                  <a:pt x="2611" y="1027"/>
                </a:cubicBezTo>
                <a:cubicBezTo>
                  <a:pt x="2610" y="1021"/>
                  <a:pt x="2604" y="1016"/>
                  <a:pt x="2595" y="1016"/>
                </a:cubicBezTo>
                <a:cubicBezTo>
                  <a:pt x="2595" y="1016"/>
                  <a:pt x="2595" y="1016"/>
                  <a:pt x="2595" y="1016"/>
                </a:cubicBezTo>
                <a:moveTo>
                  <a:pt x="2638" y="1016"/>
                </a:moveTo>
                <a:cubicBezTo>
                  <a:pt x="2629" y="1016"/>
                  <a:pt x="2623" y="1021"/>
                  <a:pt x="2623" y="1027"/>
                </a:cubicBezTo>
                <a:cubicBezTo>
                  <a:pt x="2623" y="1032"/>
                  <a:pt x="2630" y="1037"/>
                  <a:pt x="2639" y="1037"/>
                </a:cubicBezTo>
                <a:cubicBezTo>
                  <a:pt x="2647" y="1037"/>
                  <a:pt x="2653" y="1032"/>
                  <a:pt x="2653" y="1026"/>
                </a:cubicBezTo>
                <a:cubicBezTo>
                  <a:pt x="2653" y="1021"/>
                  <a:pt x="2646" y="1016"/>
                  <a:pt x="2638" y="1016"/>
                </a:cubicBezTo>
                <a:cubicBezTo>
                  <a:pt x="2638" y="1016"/>
                  <a:pt x="2638" y="1016"/>
                  <a:pt x="2638" y="1016"/>
                </a:cubicBezTo>
                <a:moveTo>
                  <a:pt x="2680" y="1016"/>
                </a:moveTo>
                <a:cubicBezTo>
                  <a:pt x="2672" y="1016"/>
                  <a:pt x="2666" y="1021"/>
                  <a:pt x="2666" y="1026"/>
                </a:cubicBezTo>
                <a:cubicBezTo>
                  <a:pt x="2667" y="1032"/>
                  <a:pt x="2674" y="1037"/>
                  <a:pt x="2682" y="1037"/>
                </a:cubicBezTo>
                <a:cubicBezTo>
                  <a:pt x="2690" y="1037"/>
                  <a:pt x="2696" y="1032"/>
                  <a:pt x="2696" y="1026"/>
                </a:cubicBezTo>
                <a:cubicBezTo>
                  <a:pt x="2696" y="1021"/>
                  <a:pt x="2689" y="1016"/>
                  <a:pt x="2680" y="1016"/>
                </a:cubicBezTo>
                <a:cubicBezTo>
                  <a:pt x="2680" y="1016"/>
                  <a:pt x="2680" y="1016"/>
                  <a:pt x="2680" y="1016"/>
                </a:cubicBezTo>
                <a:moveTo>
                  <a:pt x="2721" y="1016"/>
                </a:moveTo>
                <a:cubicBezTo>
                  <a:pt x="2713" y="1016"/>
                  <a:pt x="2707" y="1021"/>
                  <a:pt x="2707" y="1026"/>
                </a:cubicBezTo>
                <a:cubicBezTo>
                  <a:pt x="2708" y="1032"/>
                  <a:pt x="2715" y="1036"/>
                  <a:pt x="2723" y="1036"/>
                </a:cubicBezTo>
                <a:cubicBezTo>
                  <a:pt x="2731" y="1036"/>
                  <a:pt x="2737" y="1032"/>
                  <a:pt x="2737" y="1026"/>
                </a:cubicBezTo>
                <a:cubicBezTo>
                  <a:pt x="2737" y="1021"/>
                  <a:pt x="2730" y="1016"/>
                  <a:pt x="2721" y="1016"/>
                </a:cubicBezTo>
                <a:cubicBezTo>
                  <a:pt x="2721" y="1016"/>
                  <a:pt x="2721" y="1016"/>
                  <a:pt x="2721" y="1016"/>
                </a:cubicBezTo>
                <a:moveTo>
                  <a:pt x="2764" y="1016"/>
                </a:moveTo>
                <a:cubicBezTo>
                  <a:pt x="2756" y="1016"/>
                  <a:pt x="2750" y="1020"/>
                  <a:pt x="2750" y="1026"/>
                </a:cubicBezTo>
                <a:cubicBezTo>
                  <a:pt x="2751" y="1032"/>
                  <a:pt x="2758" y="1036"/>
                  <a:pt x="2766" y="1036"/>
                </a:cubicBezTo>
                <a:cubicBezTo>
                  <a:pt x="2774" y="1036"/>
                  <a:pt x="2781" y="1032"/>
                  <a:pt x="2780" y="1026"/>
                </a:cubicBezTo>
                <a:cubicBezTo>
                  <a:pt x="2779" y="1020"/>
                  <a:pt x="2772" y="1016"/>
                  <a:pt x="2764" y="1016"/>
                </a:cubicBezTo>
                <a:cubicBezTo>
                  <a:pt x="2764" y="1016"/>
                  <a:pt x="2764" y="1016"/>
                  <a:pt x="2764" y="1016"/>
                </a:cubicBezTo>
                <a:moveTo>
                  <a:pt x="2805" y="1016"/>
                </a:moveTo>
                <a:cubicBezTo>
                  <a:pt x="2797" y="1016"/>
                  <a:pt x="2791" y="1020"/>
                  <a:pt x="2791" y="1026"/>
                </a:cubicBezTo>
                <a:cubicBezTo>
                  <a:pt x="2792" y="1032"/>
                  <a:pt x="2799" y="1036"/>
                  <a:pt x="2807" y="1036"/>
                </a:cubicBezTo>
                <a:cubicBezTo>
                  <a:pt x="2815" y="1036"/>
                  <a:pt x="2822" y="1032"/>
                  <a:pt x="2821" y="1026"/>
                </a:cubicBezTo>
                <a:cubicBezTo>
                  <a:pt x="2820" y="1020"/>
                  <a:pt x="2813" y="1016"/>
                  <a:pt x="2805" y="1016"/>
                </a:cubicBezTo>
                <a:cubicBezTo>
                  <a:pt x="2805" y="1016"/>
                  <a:pt x="2805" y="1016"/>
                  <a:pt x="2805" y="1016"/>
                </a:cubicBezTo>
                <a:moveTo>
                  <a:pt x="2850" y="1016"/>
                </a:moveTo>
                <a:cubicBezTo>
                  <a:pt x="2842" y="1016"/>
                  <a:pt x="2835" y="1020"/>
                  <a:pt x="2836" y="1026"/>
                </a:cubicBezTo>
                <a:cubicBezTo>
                  <a:pt x="2837" y="1031"/>
                  <a:pt x="2844" y="1036"/>
                  <a:pt x="2852" y="1036"/>
                </a:cubicBezTo>
                <a:cubicBezTo>
                  <a:pt x="2861" y="1036"/>
                  <a:pt x="2867" y="1031"/>
                  <a:pt x="2866" y="1026"/>
                </a:cubicBezTo>
                <a:cubicBezTo>
                  <a:pt x="2865" y="1020"/>
                  <a:pt x="2858" y="1016"/>
                  <a:pt x="2850" y="1016"/>
                </a:cubicBezTo>
                <a:cubicBezTo>
                  <a:pt x="2850" y="1016"/>
                  <a:pt x="2850" y="1016"/>
                  <a:pt x="2850" y="1016"/>
                </a:cubicBezTo>
                <a:moveTo>
                  <a:pt x="2893" y="1015"/>
                </a:moveTo>
                <a:cubicBezTo>
                  <a:pt x="2884" y="1015"/>
                  <a:pt x="2878" y="1020"/>
                  <a:pt x="2879" y="1026"/>
                </a:cubicBezTo>
                <a:cubicBezTo>
                  <a:pt x="2880" y="1031"/>
                  <a:pt x="2887" y="1036"/>
                  <a:pt x="2895" y="1036"/>
                </a:cubicBezTo>
                <a:cubicBezTo>
                  <a:pt x="2904" y="1036"/>
                  <a:pt x="2910" y="1031"/>
                  <a:pt x="2909" y="1026"/>
                </a:cubicBezTo>
                <a:cubicBezTo>
                  <a:pt x="2908" y="1020"/>
                  <a:pt x="2901" y="1015"/>
                  <a:pt x="2893" y="1015"/>
                </a:cubicBezTo>
                <a:cubicBezTo>
                  <a:pt x="2893" y="1015"/>
                  <a:pt x="2893" y="1015"/>
                  <a:pt x="2893" y="1015"/>
                </a:cubicBezTo>
                <a:moveTo>
                  <a:pt x="3527" y="1015"/>
                </a:moveTo>
                <a:cubicBezTo>
                  <a:pt x="3518" y="1015"/>
                  <a:pt x="3513" y="1020"/>
                  <a:pt x="3515" y="1025"/>
                </a:cubicBezTo>
                <a:cubicBezTo>
                  <a:pt x="3517" y="1031"/>
                  <a:pt x="3526" y="1035"/>
                  <a:pt x="3534" y="1035"/>
                </a:cubicBezTo>
                <a:cubicBezTo>
                  <a:pt x="3542" y="1035"/>
                  <a:pt x="3547" y="1031"/>
                  <a:pt x="3545" y="1025"/>
                </a:cubicBezTo>
                <a:cubicBezTo>
                  <a:pt x="3543" y="1019"/>
                  <a:pt x="3535" y="1015"/>
                  <a:pt x="3527" y="1015"/>
                </a:cubicBezTo>
                <a:cubicBezTo>
                  <a:pt x="3527" y="1015"/>
                  <a:pt x="3527" y="1015"/>
                  <a:pt x="3527" y="1015"/>
                </a:cubicBezTo>
                <a:moveTo>
                  <a:pt x="3910" y="1014"/>
                </a:moveTo>
                <a:cubicBezTo>
                  <a:pt x="3902" y="1014"/>
                  <a:pt x="3897" y="1019"/>
                  <a:pt x="3900" y="1025"/>
                </a:cubicBezTo>
                <a:cubicBezTo>
                  <a:pt x="3903" y="1030"/>
                  <a:pt x="3912" y="1035"/>
                  <a:pt x="3920" y="1035"/>
                </a:cubicBezTo>
                <a:cubicBezTo>
                  <a:pt x="3928" y="1035"/>
                  <a:pt x="3933" y="1030"/>
                  <a:pt x="3930" y="1025"/>
                </a:cubicBezTo>
                <a:cubicBezTo>
                  <a:pt x="3927" y="1019"/>
                  <a:pt x="3918" y="1014"/>
                  <a:pt x="3910" y="1014"/>
                </a:cubicBezTo>
                <a:cubicBezTo>
                  <a:pt x="3910" y="1014"/>
                  <a:pt x="3910" y="1014"/>
                  <a:pt x="3910" y="1014"/>
                </a:cubicBezTo>
                <a:moveTo>
                  <a:pt x="4376" y="1010"/>
                </a:moveTo>
                <a:cubicBezTo>
                  <a:pt x="4368" y="1010"/>
                  <a:pt x="4364" y="1015"/>
                  <a:pt x="4367" y="1021"/>
                </a:cubicBezTo>
                <a:cubicBezTo>
                  <a:pt x="4371" y="1026"/>
                  <a:pt x="4380" y="1031"/>
                  <a:pt x="4389" y="1031"/>
                </a:cubicBezTo>
                <a:cubicBezTo>
                  <a:pt x="4397" y="1031"/>
                  <a:pt x="4401" y="1026"/>
                  <a:pt x="4397" y="1021"/>
                </a:cubicBezTo>
                <a:cubicBezTo>
                  <a:pt x="4394" y="1015"/>
                  <a:pt x="4384" y="1010"/>
                  <a:pt x="4376" y="1010"/>
                </a:cubicBezTo>
                <a:cubicBezTo>
                  <a:pt x="4376" y="1010"/>
                  <a:pt x="4376" y="1010"/>
                  <a:pt x="4376" y="1010"/>
                </a:cubicBezTo>
                <a:moveTo>
                  <a:pt x="4412" y="1010"/>
                </a:moveTo>
                <a:cubicBezTo>
                  <a:pt x="4404" y="1010"/>
                  <a:pt x="4400" y="1015"/>
                  <a:pt x="4404" y="1021"/>
                </a:cubicBezTo>
                <a:cubicBezTo>
                  <a:pt x="4408" y="1026"/>
                  <a:pt x="4417" y="1031"/>
                  <a:pt x="4425" y="1031"/>
                </a:cubicBezTo>
                <a:cubicBezTo>
                  <a:pt x="4434" y="1031"/>
                  <a:pt x="4437" y="1026"/>
                  <a:pt x="4434" y="1020"/>
                </a:cubicBezTo>
                <a:cubicBezTo>
                  <a:pt x="4430" y="1015"/>
                  <a:pt x="4420" y="1010"/>
                  <a:pt x="4412" y="1010"/>
                </a:cubicBezTo>
                <a:cubicBezTo>
                  <a:pt x="4412" y="1010"/>
                  <a:pt x="4412" y="1010"/>
                  <a:pt x="4412" y="1010"/>
                </a:cubicBezTo>
                <a:moveTo>
                  <a:pt x="321" y="996"/>
                </a:moveTo>
                <a:cubicBezTo>
                  <a:pt x="313" y="996"/>
                  <a:pt x="303" y="1001"/>
                  <a:pt x="299" y="1006"/>
                </a:cubicBezTo>
                <a:cubicBezTo>
                  <a:pt x="295" y="1012"/>
                  <a:pt x="299" y="1017"/>
                  <a:pt x="307" y="1017"/>
                </a:cubicBezTo>
                <a:cubicBezTo>
                  <a:pt x="315" y="1016"/>
                  <a:pt x="325" y="1012"/>
                  <a:pt x="329" y="1006"/>
                </a:cubicBezTo>
                <a:cubicBezTo>
                  <a:pt x="333" y="1001"/>
                  <a:pt x="330" y="996"/>
                  <a:pt x="322" y="996"/>
                </a:cubicBezTo>
                <a:cubicBezTo>
                  <a:pt x="321" y="996"/>
                  <a:pt x="321" y="996"/>
                  <a:pt x="321" y="996"/>
                </a:cubicBezTo>
                <a:moveTo>
                  <a:pt x="490" y="994"/>
                </a:moveTo>
                <a:cubicBezTo>
                  <a:pt x="482" y="994"/>
                  <a:pt x="472" y="999"/>
                  <a:pt x="468" y="1004"/>
                </a:cubicBezTo>
                <a:cubicBezTo>
                  <a:pt x="465" y="1010"/>
                  <a:pt x="468" y="1014"/>
                  <a:pt x="477" y="1014"/>
                </a:cubicBezTo>
                <a:cubicBezTo>
                  <a:pt x="485" y="1014"/>
                  <a:pt x="494" y="1010"/>
                  <a:pt x="498" y="1004"/>
                </a:cubicBezTo>
                <a:cubicBezTo>
                  <a:pt x="502" y="999"/>
                  <a:pt x="498" y="994"/>
                  <a:pt x="490" y="994"/>
                </a:cubicBezTo>
                <a:cubicBezTo>
                  <a:pt x="490" y="994"/>
                  <a:pt x="490" y="994"/>
                  <a:pt x="490" y="994"/>
                </a:cubicBezTo>
                <a:moveTo>
                  <a:pt x="532" y="994"/>
                </a:moveTo>
                <a:cubicBezTo>
                  <a:pt x="524" y="994"/>
                  <a:pt x="514" y="998"/>
                  <a:pt x="510" y="1004"/>
                </a:cubicBezTo>
                <a:cubicBezTo>
                  <a:pt x="507" y="1010"/>
                  <a:pt x="510" y="1014"/>
                  <a:pt x="519" y="1014"/>
                </a:cubicBezTo>
                <a:cubicBezTo>
                  <a:pt x="527" y="1014"/>
                  <a:pt x="536" y="1010"/>
                  <a:pt x="540" y="1004"/>
                </a:cubicBezTo>
                <a:cubicBezTo>
                  <a:pt x="544" y="998"/>
                  <a:pt x="540" y="994"/>
                  <a:pt x="532" y="994"/>
                </a:cubicBezTo>
                <a:cubicBezTo>
                  <a:pt x="532" y="994"/>
                  <a:pt x="532" y="994"/>
                  <a:pt x="532" y="994"/>
                </a:cubicBezTo>
                <a:moveTo>
                  <a:pt x="574" y="994"/>
                </a:moveTo>
                <a:cubicBezTo>
                  <a:pt x="566" y="994"/>
                  <a:pt x="556" y="998"/>
                  <a:pt x="553" y="1004"/>
                </a:cubicBezTo>
                <a:cubicBezTo>
                  <a:pt x="549" y="1010"/>
                  <a:pt x="553" y="1014"/>
                  <a:pt x="561" y="1014"/>
                </a:cubicBezTo>
                <a:cubicBezTo>
                  <a:pt x="569" y="1014"/>
                  <a:pt x="579" y="1009"/>
                  <a:pt x="582" y="1004"/>
                </a:cubicBezTo>
                <a:cubicBezTo>
                  <a:pt x="586" y="998"/>
                  <a:pt x="582" y="994"/>
                  <a:pt x="574" y="994"/>
                </a:cubicBezTo>
                <a:cubicBezTo>
                  <a:pt x="574" y="994"/>
                  <a:pt x="574" y="994"/>
                  <a:pt x="574" y="994"/>
                </a:cubicBezTo>
                <a:moveTo>
                  <a:pt x="617" y="994"/>
                </a:moveTo>
                <a:cubicBezTo>
                  <a:pt x="609" y="994"/>
                  <a:pt x="600" y="998"/>
                  <a:pt x="596" y="1004"/>
                </a:cubicBezTo>
                <a:cubicBezTo>
                  <a:pt x="593" y="1009"/>
                  <a:pt x="597" y="1014"/>
                  <a:pt x="605" y="1014"/>
                </a:cubicBezTo>
                <a:cubicBezTo>
                  <a:pt x="613" y="1014"/>
                  <a:pt x="623" y="1009"/>
                  <a:pt x="626" y="1004"/>
                </a:cubicBezTo>
                <a:cubicBezTo>
                  <a:pt x="629" y="998"/>
                  <a:pt x="626" y="994"/>
                  <a:pt x="618" y="994"/>
                </a:cubicBezTo>
                <a:cubicBezTo>
                  <a:pt x="618" y="994"/>
                  <a:pt x="617" y="994"/>
                  <a:pt x="617" y="994"/>
                </a:cubicBezTo>
                <a:moveTo>
                  <a:pt x="659" y="993"/>
                </a:moveTo>
                <a:cubicBezTo>
                  <a:pt x="651" y="993"/>
                  <a:pt x="642" y="998"/>
                  <a:pt x="638" y="1004"/>
                </a:cubicBezTo>
                <a:cubicBezTo>
                  <a:pt x="635" y="1009"/>
                  <a:pt x="639" y="1014"/>
                  <a:pt x="647" y="1014"/>
                </a:cubicBezTo>
                <a:cubicBezTo>
                  <a:pt x="655" y="1014"/>
                  <a:pt x="665" y="1009"/>
                  <a:pt x="668" y="1003"/>
                </a:cubicBezTo>
                <a:cubicBezTo>
                  <a:pt x="671" y="998"/>
                  <a:pt x="668" y="993"/>
                  <a:pt x="659" y="993"/>
                </a:cubicBezTo>
                <a:cubicBezTo>
                  <a:pt x="659" y="993"/>
                  <a:pt x="659" y="993"/>
                  <a:pt x="659" y="993"/>
                </a:cubicBezTo>
                <a:moveTo>
                  <a:pt x="702" y="993"/>
                </a:moveTo>
                <a:cubicBezTo>
                  <a:pt x="693" y="993"/>
                  <a:pt x="684" y="998"/>
                  <a:pt x="681" y="1003"/>
                </a:cubicBezTo>
                <a:cubicBezTo>
                  <a:pt x="677" y="1009"/>
                  <a:pt x="681" y="1014"/>
                  <a:pt x="690" y="1014"/>
                </a:cubicBezTo>
                <a:cubicBezTo>
                  <a:pt x="698" y="1014"/>
                  <a:pt x="707" y="1009"/>
                  <a:pt x="710" y="1003"/>
                </a:cubicBezTo>
                <a:cubicBezTo>
                  <a:pt x="714" y="998"/>
                  <a:pt x="710" y="993"/>
                  <a:pt x="702" y="993"/>
                </a:cubicBezTo>
                <a:cubicBezTo>
                  <a:pt x="702" y="993"/>
                  <a:pt x="702" y="993"/>
                  <a:pt x="702" y="993"/>
                </a:cubicBezTo>
                <a:moveTo>
                  <a:pt x="740" y="993"/>
                </a:moveTo>
                <a:cubicBezTo>
                  <a:pt x="731" y="993"/>
                  <a:pt x="722" y="998"/>
                  <a:pt x="719" y="1003"/>
                </a:cubicBezTo>
                <a:cubicBezTo>
                  <a:pt x="716" y="1009"/>
                  <a:pt x="720" y="1013"/>
                  <a:pt x="728" y="1013"/>
                </a:cubicBezTo>
                <a:cubicBezTo>
                  <a:pt x="736" y="1013"/>
                  <a:pt x="745" y="1009"/>
                  <a:pt x="749" y="1003"/>
                </a:cubicBezTo>
                <a:cubicBezTo>
                  <a:pt x="752" y="998"/>
                  <a:pt x="748" y="993"/>
                  <a:pt x="740" y="993"/>
                </a:cubicBezTo>
                <a:cubicBezTo>
                  <a:pt x="740" y="993"/>
                  <a:pt x="740" y="993"/>
                  <a:pt x="740" y="993"/>
                </a:cubicBezTo>
                <a:moveTo>
                  <a:pt x="1710" y="990"/>
                </a:moveTo>
                <a:cubicBezTo>
                  <a:pt x="1701" y="990"/>
                  <a:pt x="1694" y="995"/>
                  <a:pt x="1692" y="1000"/>
                </a:cubicBezTo>
                <a:cubicBezTo>
                  <a:pt x="1691" y="1006"/>
                  <a:pt x="1696" y="1011"/>
                  <a:pt x="1704" y="1011"/>
                </a:cubicBezTo>
                <a:cubicBezTo>
                  <a:pt x="1713" y="1011"/>
                  <a:pt x="1720" y="1006"/>
                  <a:pt x="1722" y="1000"/>
                </a:cubicBezTo>
                <a:cubicBezTo>
                  <a:pt x="1723" y="995"/>
                  <a:pt x="1718" y="990"/>
                  <a:pt x="1710" y="990"/>
                </a:cubicBezTo>
                <a:cubicBezTo>
                  <a:pt x="1710" y="990"/>
                  <a:pt x="1710" y="990"/>
                  <a:pt x="1710" y="990"/>
                </a:cubicBezTo>
                <a:moveTo>
                  <a:pt x="1751" y="990"/>
                </a:moveTo>
                <a:cubicBezTo>
                  <a:pt x="1743" y="990"/>
                  <a:pt x="1736" y="995"/>
                  <a:pt x="1734" y="1000"/>
                </a:cubicBezTo>
                <a:cubicBezTo>
                  <a:pt x="1733" y="1006"/>
                  <a:pt x="1738" y="1010"/>
                  <a:pt x="1747" y="1010"/>
                </a:cubicBezTo>
                <a:cubicBezTo>
                  <a:pt x="1755" y="1010"/>
                  <a:pt x="1762" y="1006"/>
                  <a:pt x="1764" y="1000"/>
                </a:cubicBezTo>
                <a:cubicBezTo>
                  <a:pt x="1765" y="995"/>
                  <a:pt x="1760" y="990"/>
                  <a:pt x="1752" y="990"/>
                </a:cubicBezTo>
                <a:cubicBezTo>
                  <a:pt x="1751" y="990"/>
                  <a:pt x="1751" y="990"/>
                  <a:pt x="1751" y="990"/>
                </a:cubicBezTo>
                <a:moveTo>
                  <a:pt x="1794" y="990"/>
                </a:moveTo>
                <a:cubicBezTo>
                  <a:pt x="1785" y="990"/>
                  <a:pt x="1778" y="994"/>
                  <a:pt x="1777" y="1000"/>
                </a:cubicBezTo>
                <a:cubicBezTo>
                  <a:pt x="1775" y="1006"/>
                  <a:pt x="1781" y="1010"/>
                  <a:pt x="1789" y="1010"/>
                </a:cubicBezTo>
                <a:cubicBezTo>
                  <a:pt x="1797" y="1010"/>
                  <a:pt x="1805" y="1006"/>
                  <a:pt x="1806" y="1000"/>
                </a:cubicBezTo>
                <a:cubicBezTo>
                  <a:pt x="1807" y="994"/>
                  <a:pt x="1802" y="990"/>
                  <a:pt x="1794" y="990"/>
                </a:cubicBezTo>
                <a:cubicBezTo>
                  <a:pt x="1794" y="990"/>
                  <a:pt x="1794" y="990"/>
                  <a:pt x="1794" y="990"/>
                </a:cubicBezTo>
                <a:moveTo>
                  <a:pt x="1836" y="990"/>
                </a:moveTo>
                <a:cubicBezTo>
                  <a:pt x="1828" y="990"/>
                  <a:pt x="1820" y="994"/>
                  <a:pt x="1819" y="1000"/>
                </a:cubicBezTo>
                <a:cubicBezTo>
                  <a:pt x="1818" y="1006"/>
                  <a:pt x="1824" y="1010"/>
                  <a:pt x="1832" y="1010"/>
                </a:cubicBezTo>
                <a:cubicBezTo>
                  <a:pt x="1840" y="1010"/>
                  <a:pt x="1848" y="1005"/>
                  <a:pt x="1849" y="1000"/>
                </a:cubicBezTo>
                <a:cubicBezTo>
                  <a:pt x="1850" y="994"/>
                  <a:pt x="1844" y="990"/>
                  <a:pt x="1836" y="990"/>
                </a:cubicBezTo>
                <a:cubicBezTo>
                  <a:pt x="1836" y="990"/>
                  <a:pt x="1836" y="990"/>
                  <a:pt x="1836" y="990"/>
                </a:cubicBezTo>
                <a:moveTo>
                  <a:pt x="1878" y="990"/>
                </a:moveTo>
                <a:cubicBezTo>
                  <a:pt x="1870" y="990"/>
                  <a:pt x="1862" y="994"/>
                  <a:pt x="1861" y="1000"/>
                </a:cubicBezTo>
                <a:cubicBezTo>
                  <a:pt x="1860" y="1005"/>
                  <a:pt x="1866" y="1010"/>
                  <a:pt x="1874" y="1010"/>
                </a:cubicBezTo>
                <a:cubicBezTo>
                  <a:pt x="1882" y="1010"/>
                  <a:pt x="1890" y="1005"/>
                  <a:pt x="1891" y="1000"/>
                </a:cubicBezTo>
                <a:cubicBezTo>
                  <a:pt x="1892" y="994"/>
                  <a:pt x="1886" y="990"/>
                  <a:pt x="1878" y="990"/>
                </a:cubicBezTo>
                <a:cubicBezTo>
                  <a:pt x="1878" y="990"/>
                  <a:pt x="1878" y="990"/>
                  <a:pt x="1878" y="990"/>
                </a:cubicBezTo>
                <a:moveTo>
                  <a:pt x="1920" y="989"/>
                </a:moveTo>
                <a:cubicBezTo>
                  <a:pt x="1912" y="989"/>
                  <a:pt x="1904" y="994"/>
                  <a:pt x="1903" y="1000"/>
                </a:cubicBezTo>
                <a:cubicBezTo>
                  <a:pt x="1902" y="1005"/>
                  <a:pt x="1908" y="1010"/>
                  <a:pt x="1916" y="1010"/>
                </a:cubicBezTo>
                <a:cubicBezTo>
                  <a:pt x="1924" y="1010"/>
                  <a:pt x="1932" y="1005"/>
                  <a:pt x="1933" y="1000"/>
                </a:cubicBezTo>
                <a:cubicBezTo>
                  <a:pt x="1934" y="994"/>
                  <a:pt x="1928" y="989"/>
                  <a:pt x="1920" y="989"/>
                </a:cubicBezTo>
                <a:cubicBezTo>
                  <a:pt x="1920" y="989"/>
                  <a:pt x="1920" y="989"/>
                  <a:pt x="1920" y="989"/>
                </a:cubicBezTo>
                <a:moveTo>
                  <a:pt x="1962" y="989"/>
                </a:moveTo>
                <a:cubicBezTo>
                  <a:pt x="1954" y="989"/>
                  <a:pt x="1946" y="994"/>
                  <a:pt x="1945" y="999"/>
                </a:cubicBezTo>
                <a:cubicBezTo>
                  <a:pt x="1944" y="1005"/>
                  <a:pt x="1950" y="1010"/>
                  <a:pt x="1958" y="1010"/>
                </a:cubicBezTo>
                <a:cubicBezTo>
                  <a:pt x="1966" y="1010"/>
                  <a:pt x="1974" y="1005"/>
                  <a:pt x="1975" y="999"/>
                </a:cubicBezTo>
                <a:cubicBezTo>
                  <a:pt x="1976" y="994"/>
                  <a:pt x="1970" y="989"/>
                  <a:pt x="1962" y="989"/>
                </a:cubicBezTo>
                <a:cubicBezTo>
                  <a:pt x="1962" y="989"/>
                  <a:pt x="1962" y="989"/>
                  <a:pt x="1962" y="989"/>
                </a:cubicBezTo>
                <a:moveTo>
                  <a:pt x="2004" y="989"/>
                </a:moveTo>
                <a:cubicBezTo>
                  <a:pt x="1996" y="989"/>
                  <a:pt x="1988" y="994"/>
                  <a:pt x="1988" y="999"/>
                </a:cubicBezTo>
                <a:cubicBezTo>
                  <a:pt x="1987" y="1005"/>
                  <a:pt x="1993" y="1010"/>
                  <a:pt x="2001" y="1009"/>
                </a:cubicBezTo>
                <a:cubicBezTo>
                  <a:pt x="2009" y="1009"/>
                  <a:pt x="2016" y="1005"/>
                  <a:pt x="2017" y="999"/>
                </a:cubicBezTo>
                <a:cubicBezTo>
                  <a:pt x="2018" y="994"/>
                  <a:pt x="2012" y="989"/>
                  <a:pt x="2004" y="989"/>
                </a:cubicBezTo>
                <a:cubicBezTo>
                  <a:pt x="2004" y="989"/>
                  <a:pt x="2004" y="989"/>
                  <a:pt x="2004" y="989"/>
                </a:cubicBezTo>
                <a:moveTo>
                  <a:pt x="2047" y="989"/>
                </a:moveTo>
                <a:cubicBezTo>
                  <a:pt x="2039" y="989"/>
                  <a:pt x="2032" y="994"/>
                  <a:pt x="2031" y="999"/>
                </a:cubicBezTo>
                <a:cubicBezTo>
                  <a:pt x="2030" y="1005"/>
                  <a:pt x="2036" y="1009"/>
                  <a:pt x="2044" y="1009"/>
                </a:cubicBezTo>
                <a:cubicBezTo>
                  <a:pt x="2053" y="1009"/>
                  <a:pt x="2060" y="1005"/>
                  <a:pt x="2061" y="999"/>
                </a:cubicBezTo>
                <a:cubicBezTo>
                  <a:pt x="2061" y="993"/>
                  <a:pt x="2055" y="989"/>
                  <a:pt x="2047" y="989"/>
                </a:cubicBezTo>
                <a:cubicBezTo>
                  <a:pt x="2047" y="989"/>
                  <a:pt x="2047" y="989"/>
                  <a:pt x="2047" y="989"/>
                </a:cubicBezTo>
                <a:moveTo>
                  <a:pt x="2089" y="989"/>
                </a:moveTo>
                <a:cubicBezTo>
                  <a:pt x="2081" y="989"/>
                  <a:pt x="2074" y="993"/>
                  <a:pt x="2073" y="999"/>
                </a:cubicBezTo>
                <a:cubicBezTo>
                  <a:pt x="2072" y="1005"/>
                  <a:pt x="2078" y="1009"/>
                  <a:pt x="2087" y="1009"/>
                </a:cubicBezTo>
                <a:cubicBezTo>
                  <a:pt x="2095" y="1009"/>
                  <a:pt x="2102" y="1005"/>
                  <a:pt x="2103" y="999"/>
                </a:cubicBezTo>
                <a:cubicBezTo>
                  <a:pt x="2103" y="993"/>
                  <a:pt x="2097" y="989"/>
                  <a:pt x="2089" y="989"/>
                </a:cubicBezTo>
                <a:cubicBezTo>
                  <a:pt x="2089" y="989"/>
                  <a:pt x="2089" y="989"/>
                  <a:pt x="2089" y="989"/>
                </a:cubicBezTo>
                <a:moveTo>
                  <a:pt x="2131" y="989"/>
                </a:moveTo>
                <a:cubicBezTo>
                  <a:pt x="2123" y="989"/>
                  <a:pt x="2116" y="993"/>
                  <a:pt x="2115" y="999"/>
                </a:cubicBezTo>
                <a:cubicBezTo>
                  <a:pt x="2115" y="1004"/>
                  <a:pt x="2121" y="1009"/>
                  <a:pt x="2129" y="1009"/>
                </a:cubicBezTo>
                <a:cubicBezTo>
                  <a:pt x="2137" y="1009"/>
                  <a:pt x="2144" y="1004"/>
                  <a:pt x="2145" y="999"/>
                </a:cubicBezTo>
                <a:cubicBezTo>
                  <a:pt x="2145" y="993"/>
                  <a:pt x="2139" y="989"/>
                  <a:pt x="2131" y="989"/>
                </a:cubicBezTo>
                <a:cubicBezTo>
                  <a:pt x="2131" y="989"/>
                  <a:pt x="2131" y="989"/>
                  <a:pt x="2131" y="989"/>
                </a:cubicBezTo>
                <a:moveTo>
                  <a:pt x="2174" y="988"/>
                </a:moveTo>
                <a:cubicBezTo>
                  <a:pt x="2166" y="988"/>
                  <a:pt x="2159" y="993"/>
                  <a:pt x="2158" y="999"/>
                </a:cubicBezTo>
                <a:cubicBezTo>
                  <a:pt x="2157" y="1004"/>
                  <a:pt x="2164" y="1009"/>
                  <a:pt x="2172" y="1009"/>
                </a:cubicBezTo>
                <a:cubicBezTo>
                  <a:pt x="2180" y="1009"/>
                  <a:pt x="2187" y="1004"/>
                  <a:pt x="2188" y="999"/>
                </a:cubicBezTo>
                <a:cubicBezTo>
                  <a:pt x="2188" y="993"/>
                  <a:pt x="2182" y="988"/>
                  <a:pt x="2174" y="988"/>
                </a:cubicBezTo>
                <a:cubicBezTo>
                  <a:pt x="2174" y="988"/>
                  <a:pt x="2174" y="988"/>
                  <a:pt x="2174" y="988"/>
                </a:cubicBezTo>
                <a:moveTo>
                  <a:pt x="2216" y="988"/>
                </a:moveTo>
                <a:cubicBezTo>
                  <a:pt x="2207" y="988"/>
                  <a:pt x="2200" y="993"/>
                  <a:pt x="2200" y="999"/>
                </a:cubicBezTo>
                <a:cubicBezTo>
                  <a:pt x="2199" y="1004"/>
                  <a:pt x="2206" y="1009"/>
                  <a:pt x="2214" y="1009"/>
                </a:cubicBezTo>
                <a:cubicBezTo>
                  <a:pt x="2222" y="1009"/>
                  <a:pt x="2229" y="1004"/>
                  <a:pt x="2229" y="998"/>
                </a:cubicBezTo>
                <a:cubicBezTo>
                  <a:pt x="2230" y="993"/>
                  <a:pt x="2224" y="988"/>
                  <a:pt x="2216" y="988"/>
                </a:cubicBezTo>
                <a:cubicBezTo>
                  <a:pt x="2216" y="988"/>
                  <a:pt x="2216" y="988"/>
                  <a:pt x="2216" y="988"/>
                </a:cubicBezTo>
                <a:moveTo>
                  <a:pt x="2258" y="988"/>
                </a:moveTo>
                <a:cubicBezTo>
                  <a:pt x="2249" y="988"/>
                  <a:pt x="2243" y="993"/>
                  <a:pt x="2242" y="998"/>
                </a:cubicBezTo>
                <a:cubicBezTo>
                  <a:pt x="2242" y="1004"/>
                  <a:pt x="2248" y="1009"/>
                  <a:pt x="2256" y="1009"/>
                </a:cubicBezTo>
                <a:cubicBezTo>
                  <a:pt x="2264" y="1009"/>
                  <a:pt x="2271" y="1004"/>
                  <a:pt x="2272" y="998"/>
                </a:cubicBezTo>
                <a:cubicBezTo>
                  <a:pt x="2272" y="993"/>
                  <a:pt x="2266" y="988"/>
                  <a:pt x="2258" y="988"/>
                </a:cubicBezTo>
                <a:cubicBezTo>
                  <a:pt x="2258" y="988"/>
                  <a:pt x="2258" y="988"/>
                  <a:pt x="2258" y="988"/>
                </a:cubicBezTo>
                <a:moveTo>
                  <a:pt x="2299" y="988"/>
                </a:moveTo>
                <a:cubicBezTo>
                  <a:pt x="2291" y="988"/>
                  <a:pt x="2284" y="993"/>
                  <a:pt x="2284" y="998"/>
                </a:cubicBezTo>
                <a:cubicBezTo>
                  <a:pt x="2284" y="1004"/>
                  <a:pt x="2290" y="1008"/>
                  <a:pt x="2298" y="1008"/>
                </a:cubicBezTo>
                <a:cubicBezTo>
                  <a:pt x="2306" y="1008"/>
                  <a:pt x="2313" y="1004"/>
                  <a:pt x="2314" y="998"/>
                </a:cubicBezTo>
                <a:cubicBezTo>
                  <a:pt x="2314" y="993"/>
                  <a:pt x="2308" y="988"/>
                  <a:pt x="2299" y="988"/>
                </a:cubicBezTo>
                <a:cubicBezTo>
                  <a:pt x="2299" y="988"/>
                  <a:pt x="2299" y="988"/>
                  <a:pt x="2299" y="988"/>
                </a:cubicBezTo>
                <a:moveTo>
                  <a:pt x="2342" y="988"/>
                </a:moveTo>
                <a:cubicBezTo>
                  <a:pt x="2333" y="988"/>
                  <a:pt x="2327" y="992"/>
                  <a:pt x="2326" y="998"/>
                </a:cubicBezTo>
                <a:cubicBezTo>
                  <a:pt x="2326" y="1004"/>
                  <a:pt x="2332" y="1008"/>
                  <a:pt x="2341" y="1008"/>
                </a:cubicBezTo>
                <a:cubicBezTo>
                  <a:pt x="2349" y="1008"/>
                  <a:pt x="2356" y="1004"/>
                  <a:pt x="2356" y="998"/>
                </a:cubicBezTo>
                <a:cubicBezTo>
                  <a:pt x="2356" y="992"/>
                  <a:pt x="2350" y="988"/>
                  <a:pt x="2342" y="988"/>
                </a:cubicBezTo>
                <a:cubicBezTo>
                  <a:pt x="2342" y="988"/>
                  <a:pt x="2342" y="988"/>
                  <a:pt x="2342" y="988"/>
                </a:cubicBezTo>
                <a:moveTo>
                  <a:pt x="2384" y="988"/>
                </a:moveTo>
                <a:cubicBezTo>
                  <a:pt x="2376" y="988"/>
                  <a:pt x="2369" y="992"/>
                  <a:pt x="2369" y="998"/>
                </a:cubicBezTo>
                <a:cubicBezTo>
                  <a:pt x="2369" y="1004"/>
                  <a:pt x="2375" y="1008"/>
                  <a:pt x="2383" y="1008"/>
                </a:cubicBezTo>
                <a:cubicBezTo>
                  <a:pt x="2392" y="1008"/>
                  <a:pt x="2398" y="1003"/>
                  <a:pt x="2398" y="998"/>
                </a:cubicBezTo>
                <a:cubicBezTo>
                  <a:pt x="2399" y="992"/>
                  <a:pt x="2392" y="988"/>
                  <a:pt x="2384" y="988"/>
                </a:cubicBezTo>
                <a:cubicBezTo>
                  <a:pt x="2384" y="988"/>
                  <a:pt x="2384" y="988"/>
                  <a:pt x="2384" y="988"/>
                </a:cubicBezTo>
                <a:moveTo>
                  <a:pt x="2426" y="988"/>
                </a:moveTo>
                <a:cubicBezTo>
                  <a:pt x="2418" y="988"/>
                  <a:pt x="2411" y="992"/>
                  <a:pt x="2411" y="998"/>
                </a:cubicBezTo>
                <a:cubicBezTo>
                  <a:pt x="2411" y="1003"/>
                  <a:pt x="2417" y="1008"/>
                  <a:pt x="2425" y="1008"/>
                </a:cubicBezTo>
                <a:cubicBezTo>
                  <a:pt x="2434" y="1008"/>
                  <a:pt x="2440" y="1003"/>
                  <a:pt x="2440" y="998"/>
                </a:cubicBezTo>
                <a:cubicBezTo>
                  <a:pt x="2440" y="992"/>
                  <a:pt x="2434" y="988"/>
                  <a:pt x="2426" y="988"/>
                </a:cubicBezTo>
                <a:cubicBezTo>
                  <a:pt x="2426" y="988"/>
                  <a:pt x="2426" y="988"/>
                  <a:pt x="2426" y="988"/>
                </a:cubicBezTo>
                <a:moveTo>
                  <a:pt x="2468" y="987"/>
                </a:moveTo>
                <a:cubicBezTo>
                  <a:pt x="2460" y="987"/>
                  <a:pt x="2453" y="992"/>
                  <a:pt x="2453" y="998"/>
                </a:cubicBezTo>
                <a:cubicBezTo>
                  <a:pt x="2453" y="1003"/>
                  <a:pt x="2460" y="1008"/>
                  <a:pt x="2468" y="1008"/>
                </a:cubicBezTo>
                <a:cubicBezTo>
                  <a:pt x="2476" y="1008"/>
                  <a:pt x="2483" y="1003"/>
                  <a:pt x="2483" y="998"/>
                </a:cubicBezTo>
                <a:cubicBezTo>
                  <a:pt x="2483" y="992"/>
                  <a:pt x="2476" y="987"/>
                  <a:pt x="2468" y="987"/>
                </a:cubicBezTo>
                <a:cubicBezTo>
                  <a:pt x="2468" y="987"/>
                  <a:pt x="2468" y="987"/>
                  <a:pt x="2468" y="987"/>
                </a:cubicBezTo>
                <a:moveTo>
                  <a:pt x="2510" y="987"/>
                </a:moveTo>
                <a:cubicBezTo>
                  <a:pt x="2501" y="987"/>
                  <a:pt x="2495" y="992"/>
                  <a:pt x="2495" y="997"/>
                </a:cubicBezTo>
                <a:cubicBezTo>
                  <a:pt x="2495" y="1003"/>
                  <a:pt x="2502" y="1008"/>
                  <a:pt x="2510" y="1008"/>
                </a:cubicBezTo>
                <a:cubicBezTo>
                  <a:pt x="2518" y="1008"/>
                  <a:pt x="2525" y="1003"/>
                  <a:pt x="2524" y="997"/>
                </a:cubicBezTo>
                <a:cubicBezTo>
                  <a:pt x="2524" y="992"/>
                  <a:pt x="2518" y="987"/>
                  <a:pt x="2510" y="987"/>
                </a:cubicBezTo>
                <a:cubicBezTo>
                  <a:pt x="2510" y="987"/>
                  <a:pt x="2510" y="987"/>
                  <a:pt x="2510" y="987"/>
                </a:cubicBezTo>
                <a:moveTo>
                  <a:pt x="3433" y="987"/>
                </a:moveTo>
                <a:cubicBezTo>
                  <a:pt x="3425" y="987"/>
                  <a:pt x="3420" y="992"/>
                  <a:pt x="3422" y="997"/>
                </a:cubicBezTo>
                <a:cubicBezTo>
                  <a:pt x="3424" y="1003"/>
                  <a:pt x="3432" y="1008"/>
                  <a:pt x="3440" y="1008"/>
                </a:cubicBezTo>
                <a:cubicBezTo>
                  <a:pt x="3448" y="1008"/>
                  <a:pt x="3453" y="1003"/>
                  <a:pt x="3451" y="997"/>
                </a:cubicBezTo>
                <a:cubicBezTo>
                  <a:pt x="3450" y="992"/>
                  <a:pt x="3442" y="987"/>
                  <a:pt x="3434" y="987"/>
                </a:cubicBezTo>
                <a:cubicBezTo>
                  <a:pt x="3433" y="987"/>
                  <a:pt x="3433" y="987"/>
                  <a:pt x="3433" y="987"/>
                </a:cubicBezTo>
                <a:moveTo>
                  <a:pt x="2552" y="987"/>
                </a:moveTo>
                <a:cubicBezTo>
                  <a:pt x="2544" y="987"/>
                  <a:pt x="2537" y="992"/>
                  <a:pt x="2537" y="997"/>
                </a:cubicBezTo>
                <a:cubicBezTo>
                  <a:pt x="2537" y="1003"/>
                  <a:pt x="2544" y="1008"/>
                  <a:pt x="2552" y="1008"/>
                </a:cubicBezTo>
                <a:cubicBezTo>
                  <a:pt x="2560" y="1007"/>
                  <a:pt x="2567" y="1003"/>
                  <a:pt x="2567" y="997"/>
                </a:cubicBezTo>
                <a:cubicBezTo>
                  <a:pt x="2567" y="992"/>
                  <a:pt x="2560" y="987"/>
                  <a:pt x="2552" y="987"/>
                </a:cubicBezTo>
                <a:cubicBezTo>
                  <a:pt x="2552" y="987"/>
                  <a:pt x="2552" y="987"/>
                  <a:pt x="2552" y="987"/>
                </a:cubicBezTo>
                <a:moveTo>
                  <a:pt x="3476" y="987"/>
                </a:moveTo>
                <a:cubicBezTo>
                  <a:pt x="3467" y="987"/>
                  <a:pt x="3462" y="992"/>
                  <a:pt x="3464" y="997"/>
                </a:cubicBezTo>
                <a:cubicBezTo>
                  <a:pt x="3466" y="1003"/>
                  <a:pt x="3474" y="1008"/>
                  <a:pt x="3482" y="1007"/>
                </a:cubicBezTo>
                <a:cubicBezTo>
                  <a:pt x="3490" y="1007"/>
                  <a:pt x="3496" y="1003"/>
                  <a:pt x="3494" y="997"/>
                </a:cubicBezTo>
                <a:cubicBezTo>
                  <a:pt x="3492" y="992"/>
                  <a:pt x="3484" y="987"/>
                  <a:pt x="3476" y="987"/>
                </a:cubicBezTo>
                <a:cubicBezTo>
                  <a:pt x="3476" y="987"/>
                  <a:pt x="3476" y="987"/>
                  <a:pt x="3476" y="987"/>
                </a:cubicBezTo>
                <a:moveTo>
                  <a:pt x="2594" y="987"/>
                </a:moveTo>
                <a:cubicBezTo>
                  <a:pt x="2586" y="987"/>
                  <a:pt x="2580" y="992"/>
                  <a:pt x="2580" y="997"/>
                </a:cubicBezTo>
                <a:cubicBezTo>
                  <a:pt x="2580" y="1003"/>
                  <a:pt x="2587" y="1007"/>
                  <a:pt x="2595" y="1007"/>
                </a:cubicBezTo>
                <a:cubicBezTo>
                  <a:pt x="2603" y="1007"/>
                  <a:pt x="2610" y="1003"/>
                  <a:pt x="2609" y="997"/>
                </a:cubicBezTo>
                <a:cubicBezTo>
                  <a:pt x="2609" y="991"/>
                  <a:pt x="2602" y="987"/>
                  <a:pt x="2594" y="987"/>
                </a:cubicBezTo>
                <a:cubicBezTo>
                  <a:pt x="2594" y="987"/>
                  <a:pt x="2594" y="987"/>
                  <a:pt x="2594" y="987"/>
                </a:cubicBezTo>
                <a:moveTo>
                  <a:pt x="2636" y="987"/>
                </a:moveTo>
                <a:cubicBezTo>
                  <a:pt x="2628" y="987"/>
                  <a:pt x="2621" y="991"/>
                  <a:pt x="2622" y="997"/>
                </a:cubicBezTo>
                <a:cubicBezTo>
                  <a:pt x="2622" y="1003"/>
                  <a:pt x="2629" y="1007"/>
                  <a:pt x="2637" y="1007"/>
                </a:cubicBezTo>
                <a:cubicBezTo>
                  <a:pt x="2645" y="1007"/>
                  <a:pt x="2652" y="1003"/>
                  <a:pt x="2651" y="997"/>
                </a:cubicBezTo>
                <a:cubicBezTo>
                  <a:pt x="2651" y="991"/>
                  <a:pt x="2644" y="987"/>
                  <a:pt x="2636" y="987"/>
                </a:cubicBezTo>
                <a:cubicBezTo>
                  <a:pt x="2636" y="987"/>
                  <a:pt x="2636" y="987"/>
                  <a:pt x="2636" y="987"/>
                </a:cubicBezTo>
                <a:moveTo>
                  <a:pt x="2678" y="987"/>
                </a:moveTo>
                <a:cubicBezTo>
                  <a:pt x="2670" y="987"/>
                  <a:pt x="2664" y="991"/>
                  <a:pt x="2664" y="997"/>
                </a:cubicBezTo>
                <a:cubicBezTo>
                  <a:pt x="2665" y="1003"/>
                  <a:pt x="2672" y="1007"/>
                  <a:pt x="2680" y="1007"/>
                </a:cubicBezTo>
                <a:cubicBezTo>
                  <a:pt x="2688" y="1007"/>
                  <a:pt x="2694" y="1002"/>
                  <a:pt x="2694" y="997"/>
                </a:cubicBezTo>
                <a:cubicBezTo>
                  <a:pt x="2693" y="991"/>
                  <a:pt x="2687" y="987"/>
                  <a:pt x="2678" y="987"/>
                </a:cubicBezTo>
                <a:cubicBezTo>
                  <a:pt x="2678" y="987"/>
                  <a:pt x="2678" y="987"/>
                  <a:pt x="2678" y="987"/>
                </a:cubicBezTo>
                <a:moveTo>
                  <a:pt x="2719" y="986"/>
                </a:moveTo>
                <a:cubicBezTo>
                  <a:pt x="2711" y="986"/>
                  <a:pt x="2705" y="991"/>
                  <a:pt x="2705" y="997"/>
                </a:cubicBezTo>
                <a:cubicBezTo>
                  <a:pt x="2705" y="1002"/>
                  <a:pt x="2712" y="1007"/>
                  <a:pt x="2721" y="1007"/>
                </a:cubicBezTo>
                <a:cubicBezTo>
                  <a:pt x="2729" y="1007"/>
                  <a:pt x="2735" y="1002"/>
                  <a:pt x="2734" y="997"/>
                </a:cubicBezTo>
                <a:cubicBezTo>
                  <a:pt x="2734" y="991"/>
                  <a:pt x="2727" y="986"/>
                  <a:pt x="2719" y="986"/>
                </a:cubicBezTo>
                <a:cubicBezTo>
                  <a:pt x="2719" y="986"/>
                  <a:pt x="2719" y="986"/>
                  <a:pt x="2719" y="986"/>
                </a:cubicBezTo>
                <a:moveTo>
                  <a:pt x="2761" y="986"/>
                </a:moveTo>
                <a:cubicBezTo>
                  <a:pt x="2753" y="986"/>
                  <a:pt x="2747" y="991"/>
                  <a:pt x="2747" y="997"/>
                </a:cubicBezTo>
                <a:cubicBezTo>
                  <a:pt x="2748" y="1002"/>
                  <a:pt x="2755" y="1007"/>
                  <a:pt x="2763" y="1007"/>
                </a:cubicBezTo>
                <a:cubicBezTo>
                  <a:pt x="2771" y="1007"/>
                  <a:pt x="2778" y="1002"/>
                  <a:pt x="2777" y="996"/>
                </a:cubicBezTo>
                <a:cubicBezTo>
                  <a:pt x="2776" y="991"/>
                  <a:pt x="2769" y="986"/>
                  <a:pt x="2761" y="986"/>
                </a:cubicBezTo>
                <a:cubicBezTo>
                  <a:pt x="2761" y="986"/>
                  <a:pt x="2761" y="986"/>
                  <a:pt x="2761" y="986"/>
                </a:cubicBezTo>
                <a:moveTo>
                  <a:pt x="2802" y="986"/>
                </a:moveTo>
                <a:cubicBezTo>
                  <a:pt x="2794" y="986"/>
                  <a:pt x="2788" y="991"/>
                  <a:pt x="2788" y="996"/>
                </a:cubicBezTo>
                <a:cubicBezTo>
                  <a:pt x="2789" y="1002"/>
                  <a:pt x="2796" y="1007"/>
                  <a:pt x="2804" y="1007"/>
                </a:cubicBezTo>
                <a:cubicBezTo>
                  <a:pt x="2812" y="1007"/>
                  <a:pt x="2818" y="1002"/>
                  <a:pt x="2818" y="996"/>
                </a:cubicBezTo>
                <a:cubicBezTo>
                  <a:pt x="2817" y="991"/>
                  <a:pt x="2810" y="986"/>
                  <a:pt x="2802" y="986"/>
                </a:cubicBezTo>
                <a:cubicBezTo>
                  <a:pt x="2802" y="986"/>
                  <a:pt x="2802" y="986"/>
                  <a:pt x="2802" y="986"/>
                </a:cubicBezTo>
                <a:moveTo>
                  <a:pt x="2846" y="986"/>
                </a:moveTo>
                <a:cubicBezTo>
                  <a:pt x="2838" y="986"/>
                  <a:pt x="2832" y="991"/>
                  <a:pt x="2833" y="996"/>
                </a:cubicBezTo>
                <a:cubicBezTo>
                  <a:pt x="2833" y="1002"/>
                  <a:pt x="2840" y="1006"/>
                  <a:pt x="2849" y="1006"/>
                </a:cubicBezTo>
                <a:cubicBezTo>
                  <a:pt x="2857" y="1006"/>
                  <a:pt x="2863" y="1002"/>
                  <a:pt x="2862" y="996"/>
                </a:cubicBezTo>
                <a:cubicBezTo>
                  <a:pt x="2861" y="991"/>
                  <a:pt x="2854" y="986"/>
                  <a:pt x="2846" y="986"/>
                </a:cubicBezTo>
                <a:cubicBezTo>
                  <a:pt x="2846" y="986"/>
                  <a:pt x="2846" y="986"/>
                  <a:pt x="2846" y="986"/>
                </a:cubicBezTo>
                <a:moveTo>
                  <a:pt x="2889" y="986"/>
                </a:moveTo>
                <a:cubicBezTo>
                  <a:pt x="2880" y="986"/>
                  <a:pt x="2874" y="990"/>
                  <a:pt x="2875" y="996"/>
                </a:cubicBezTo>
                <a:cubicBezTo>
                  <a:pt x="2876" y="1002"/>
                  <a:pt x="2883" y="1006"/>
                  <a:pt x="2891" y="1006"/>
                </a:cubicBezTo>
                <a:cubicBezTo>
                  <a:pt x="2899" y="1006"/>
                  <a:pt x="2905" y="1002"/>
                  <a:pt x="2905" y="996"/>
                </a:cubicBezTo>
                <a:cubicBezTo>
                  <a:pt x="2904" y="990"/>
                  <a:pt x="2897" y="986"/>
                  <a:pt x="2889" y="986"/>
                </a:cubicBezTo>
                <a:cubicBezTo>
                  <a:pt x="2889" y="986"/>
                  <a:pt x="2889" y="986"/>
                  <a:pt x="2889" y="986"/>
                </a:cubicBezTo>
                <a:moveTo>
                  <a:pt x="2931" y="986"/>
                </a:moveTo>
                <a:cubicBezTo>
                  <a:pt x="2923" y="986"/>
                  <a:pt x="2917" y="990"/>
                  <a:pt x="2918" y="996"/>
                </a:cubicBezTo>
                <a:cubicBezTo>
                  <a:pt x="2919" y="1002"/>
                  <a:pt x="2926" y="1006"/>
                  <a:pt x="2935" y="1006"/>
                </a:cubicBezTo>
                <a:cubicBezTo>
                  <a:pt x="2943" y="1006"/>
                  <a:pt x="2949" y="1001"/>
                  <a:pt x="2948" y="996"/>
                </a:cubicBezTo>
                <a:cubicBezTo>
                  <a:pt x="2947" y="990"/>
                  <a:pt x="2940" y="986"/>
                  <a:pt x="2932" y="986"/>
                </a:cubicBezTo>
                <a:cubicBezTo>
                  <a:pt x="2932" y="986"/>
                  <a:pt x="2931" y="986"/>
                  <a:pt x="2931" y="986"/>
                </a:cubicBezTo>
                <a:moveTo>
                  <a:pt x="3854" y="985"/>
                </a:moveTo>
                <a:cubicBezTo>
                  <a:pt x="3846" y="985"/>
                  <a:pt x="3841" y="990"/>
                  <a:pt x="3844" y="995"/>
                </a:cubicBezTo>
                <a:cubicBezTo>
                  <a:pt x="3847" y="1001"/>
                  <a:pt x="3855" y="1006"/>
                  <a:pt x="3863" y="1006"/>
                </a:cubicBezTo>
                <a:cubicBezTo>
                  <a:pt x="3872" y="1005"/>
                  <a:pt x="3876" y="1001"/>
                  <a:pt x="3873" y="995"/>
                </a:cubicBezTo>
                <a:cubicBezTo>
                  <a:pt x="3871" y="990"/>
                  <a:pt x="3862" y="985"/>
                  <a:pt x="3854" y="985"/>
                </a:cubicBezTo>
                <a:cubicBezTo>
                  <a:pt x="3854" y="985"/>
                  <a:pt x="3854" y="985"/>
                  <a:pt x="3854" y="985"/>
                </a:cubicBezTo>
                <a:moveTo>
                  <a:pt x="3982" y="983"/>
                </a:moveTo>
                <a:cubicBezTo>
                  <a:pt x="3973" y="983"/>
                  <a:pt x="3969" y="988"/>
                  <a:pt x="3972" y="994"/>
                </a:cubicBezTo>
                <a:cubicBezTo>
                  <a:pt x="3975" y="999"/>
                  <a:pt x="3984" y="1004"/>
                  <a:pt x="3992" y="1004"/>
                </a:cubicBezTo>
                <a:cubicBezTo>
                  <a:pt x="4000" y="1004"/>
                  <a:pt x="4004" y="999"/>
                  <a:pt x="4001" y="994"/>
                </a:cubicBezTo>
                <a:cubicBezTo>
                  <a:pt x="3999" y="988"/>
                  <a:pt x="3990" y="983"/>
                  <a:pt x="3982" y="983"/>
                </a:cubicBezTo>
                <a:cubicBezTo>
                  <a:pt x="3982" y="983"/>
                  <a:pt x="3982" y="983"/>
                  <a:pt x="3982" y="983"/>
                </a:cubicBezTo>
                <a:moveTo>
                  <a:pt x="4232" y="981"/>
                </a:moveTo>
                <a:cubicBezTo>
                  <a:pt x="4224" y="981"/>
                  <a:pt x="4220" y="986"/>
                  <a:pt x="4223" y="991"/>
                </a:cubicBezTo>
                <a:cubicBezTo>
                  <a:pt x="4226" y="997"/>
                  <a:pt x="4236" y="1002"/>
                  <a:pt x="4244" y="1002"/>
                </a:cubicBezTo>
                <a:cubicBezTo>
                  <a:pt x="4252" y="1002"/>
                  <a:pt x="4256" y="997"/>
                  <a:pt x="4253" y="991"/>
                </a:cubicBezTo>
                <a:cubicBezTo>
                  <a:pt x="4249" y="986"/>
                  <a:pt x="4240" y="981"/>
                  <a:pt x="4232" y="981"/>
                </a:cubicBezTo>
                <a:cubicBezTo>
                  <a:pt x="4232" y="981"/>
                  <a:pt x="4232" y="981"/>
                  <a:pt x="4232" y="981"/>
                </a:cubicBezTo>
                <a:moveTo>
                  <a:pt x="4323" y="981"/>
                </a:moveTo>
                <a:cubicBezTo>
                  <a:pt x="4315" y="981"/>
                  <a:pt x="4311" y="985"/>
                  <a:pt x="4314" y="991"/>
                </a:cubicBezTo>
                <a:cubicBezTo>
                  <a:pt x="4318" y="997"/>
                  <a:pt x="4327" y="1001"/>
                  <a:pt x="4335" y="1001"/>
                </a:cubicBezTo>
                <a:cubicBezTo>
                  <a:pt x="4344" y="1001"/>
                  <a:pt x="4347" y="997"/>
                  <a:pt x="4344" y="991"/>
                </a:cubicBezTo>
                <a:cubicBezTo>
                  <a:pt x="4340" y="985"/>
                  <a:pt x="4331" y="981"/>
                  <a:pt x="4323" y="981"/>
                </a:cubicBezTo>
                <a:cubicBezTo>
                  <a:pt x="4323" y="981"/>
                  <a:pt x="4323" y="981"/>
                  <a:pt x="4323" y="981"/>
                </a:cubicBezTo>
                <a:moveTo>
                  <a:pt x="301" y="967"/>
                </a:moveTo>
                <a:cubicBezTo>
                  <a:pt x="293" y="967"/>
                  <a:pt x="283" y="972"/>
                  <a:pt x="279" y="977"/>
                </a:cubicBezTo>
                <a:cubicBezTo>
                  <a:pt x="275" y="983"/>
                  <a:pt x="278" y="987"/>
                  <a:pt x="286" y="987"/>
                </a:cubicBezTo>
                <a:cubicBezTo>
                  <a:pt x="294" y="987"/>
                  <a:pt x="304" y="983"/>
                  <a:pt x="308" y="977"/>
                </a:cubicBezTo>
                <a:cubicBezTo>
                  <a:pt x="312" y="972"/>
                  <a:pt x="309" y="967"/>
                  <a:pt x="301" y="967"/>
                </a:cubicBezTo>
                <a:cubicBezTo>
                  <a:pt x="301" y="967"/>
                  <a:pt x="301" y="967"/>
                  <a:pt x="301" y="967"/>
                </a:cubicBezTo>
                <a:moveTo>
                  <a:pt x="342" y="967"/>
                </a:moveTo>
                <a:cubicBezTo>
                  <a:pt x="334" y="967"/>
                  <a:pt x="324" y="972"/>
                  <a:pt x="320" y="977"/>
                </a:cubicBezTo>
                <a:cubicBezTo>
                  <a:pt x="316" y="983"/>
                  <a:pt x="320" y="987"/>
                  <a:pt x="328" y="987"/>
                </a:cubicBezTo>
                <a:cubicBezTo>
                  <a:pt x="336" y="987"/>
                  <a:pt x="346" y="983"/>
                  <a:pt x="350" y="977"/>
                </a:cubicBezTo>
                <a:cubicBezTo>
                  <a:pt x="354" y="971"/>
                  <a:pt x="350" y="967"/>
                  <a:pt x="342" y="967"/>
                </a:cubicBezTo>
                <a:cubicBezTo>
                  <a:pt x="342" y="967"/>
                  <a:pt x="342" y="967"/>
                  <a:pt x="342" y="967"/>
                </a:cubicBezTo>
                <a:moveTo>
                  <a:pt x="550" y="965"/>
                </a:moveTo>
                <a:cubicBezTo>
                  <a:pt x="542" y="965"/>
                  <a:pt x="533" y="970"/>
                  <a:pt x="529" y="975"/>
                </a:cubicBezTo>
                <a:cubicBezTo>
                  <a:pt x="526" y="981"/>
                  <a:pt x="529" y="985"/>
                  <a:pt x="537" y="985"/>
                </a:cubicBezTo>
                <a:cubicBezTo>
                  <a:pt x="545" y="985"/>
                  <a:pt x="555" y="981"/>
                  <a:pt x="558" y="975"/>
                </a:cubicBezTo>
                <a:cubicBezTo>
                  <a:pt x="562" y="970"/>
                  <a:pt x="558" y="965"/>
                  <a:pt x="550" y="965"/>
                </a:cubicBezTo>
                <a:cubicBezTo>
                  <a:pt x="550" y="965"/>
                  <a:pt x="550" y="965"/>
                  <a:pt x="550" y="965"/>
                </a:cubicBezTo>
                <a:moveTo>
                  <a:pt x="635" y="965"/>
                </a:moveTo>
                <a:cubicBezTo>
                  <a:pt x="627" y="965"/>
                  <a:pt x="618" y="969"/>
                  <a:pt x="614" y="975"/>
                </a:cubicBezTo>
                <a:cubicBezTo>
                  <a:pt x="611" y="980"/>
                  <a:pt x="615" y="985"/>
                  <a:pt x="623" y="985"/>
                </a:cubicBezTo>
                <a:cubicBezTo>
                  <a:pt x="631" y="985"/>
                  <a:pt x="640" y="980"/>
                  <a:pt x="644" y="975"/>
                </a:cubicBezTo>
                <a:cubicBezTo>
                  <a:pt x="647" y="969"/>
                  <a:pt x="643" y="965"/>
                  <a:pt x="635" y="965"/>
                </a:cubicBezTo>
                <a:cubicBezTo>
                  <a:pt x="635" y="965"/>
                  <a:pt x="635" y="965"/>
                  <a:pt x="635" y="965"/>
                </a:cubicBezTo>
                <a:moveTo>
                  <a:pt x="1677" y="962"/>
                </a:moveTo>
                <a:cubicBezTo>
                  <a:pt x="1669" y="962"/>
                  <a:pt x="1662" y="967"/>
                  <a:pt x="1660" y="973"/>
                </a:cubicBezTo>
                <a:cubicBezTo>
                  <a:pt x="1659" y="978"/>
                  <a:pt x="1664" y="983"/>
                  <a:pt x="1672" y="983"/>
                </a:cubicBezTo>
                <a:cubicBezTo>
                  <a:pt x="1680" y="983"/>
                  <a:pt x="1688" y="978"/>
                  <a:pt x="1689" y="973"/>
                </a:cubicBezTo>
                <a:cubicBezTo>
                  <a:pt x="1691" y="967"/>
                  <a:pt x="1686" y="962"/>
                  <a:pt x="1678" y="962"/>
                </a:cubicBezTo>
                <a:cubicBezTo>
                  <a:pt x="1678" y="962"/>
                  <a:pt x="1678" y="962"/>
                  <a:pt x="1677" y="962"/>
                </a:cubicBezTo>
                <a:moveTo>
                  <a:pt x="1717" y="962"/>
                </a:moveTo>
                <a:cubicBezTo>
                  <a:pt x="1709" y="962"/>
                  <a:pt x="1701" y="967"/>
                  <a:pt x="1699" y="972"/>
                </a:cubicBezTo>
                <a:cubicBezTo>
                  <a:pt x="1698" y="978"/>
                  <a:pt x="1703" y="983"/>
                  <a:pt x="1712" y="983"/>
                </a:cubicBezTo>
                <a:cubicBezTo>
                  <a:pt x="1720" y="983"/>
                  <a:pt x="1727" y="978"/>
                  <a:pt x="1729" y="972"/>
                </a:cubicBezTo>
                <a:cubicBezTo>
                  <a:pt x="1730" y="967"/>
                  <a:pt x="1725" y="962"/>
                  <a:pt x="1717" y="962"/>
                </a:cubicBezTo>
                <a:cubicBezTo>
                  <a:pt x="1717" y="962"/>
                  <a:pt x="1717" y="962"/>
                  <a:pt x="1717" y="962"/>
                </a:cubicBezTo>
                <a:moveTo>
                  <a:pt x="1758" y="962"/>
                </a:moveTo>
                <a:cubicBezTo>
                  <a:pt x="1750" y="962"/>
                  <a:pt x="1742" y="967"/>
                  <a:pt x="1741" y="972"/>
                </a:cubicBezTo>
                <a:cubicBezTo>
                  <a:pt x="1740" y="978"/>
                  <a:pt x="1745" y="983"/>
                  <a:pt x="1753" y="982"/>
                </a:cubicBezTo>
                <a:cubicBezTo>
                  <a:pt x="1761" y="982"/>
                  <a:pt x="1769" y="978"/>
                  <a:pt x="1770" y="972"/>
                </a:cubicBezTo>
                <a:cubicBezTo>
                  <a:pt x="1772" y="967"/>
                  <a:pt x="1766" y="962"/>
                  <a:pt x="1758" y="962"/>
                </a:cubicBezTo>
                <a:cubicBezTo>
                  <a:pt x="1758" y="962"/>
                  <a:pt x="1758" y="962"/>
                  <a:pt x="1758" y="962"/>
                </a:cubicBezTo>
                <a:moveTo>
                  <a:pt x="1800" y="962"/>
                </a:moveTo>
                <a:cubicBezTo>
                  <a:pt x="1792" y="962"/>
                  <a:pt x="1784" y="967"/>
                  <a:pt x="1783" y="972"/>
                </a:cubicBezTo>
                <a:cubicBezTo>
                  <a:pt x="1782" y="978"/>
                  <a:pt x="1787" y="982"/>
                  <a:pt x="1795" y="982"/>
                </a:cubicBezTo>
                <a:cubicBezTo>
                  <a:pt x="1803" y="982"/>
                  <a:pt x="1811" y="978"/>
                  <a:pt x="1812" y="972"/>
                </a:cubicBezTo>
                <a:cubicBezTo>
                  <a:pt x="1813" y="966"/>
                  <a:pt x="1808" y="962"/>
                  <a:pt x="1800" y="962"/>
                </a:cubicBezTo>
                <a:cubicBezTo>
                  <a:pt x="1800" y="962"/>
                  <a:pt x="1800" y="962"/>
                  <a:pt x="1800" y="962"/>
                </a:cubicBezTo>
                <a:moveTo>
                  <a:pt x="1842" y="962"/>
                </a:moveTo>
                <a:cubicBezTo>
                  <a:pt x="1834" y="962"/>
                  <a:pt x="1826" y="966"/>
                  <a:pt x="1825" y="972"/>
                </a:cubicBezTo>
                <a:cubicBezTo>
                  <a:pt x="1824" y="978"/>
                  <a:pt x="1830" y="982"/>
                  <a:pt x="1838" y="982"/>
                </a:cubicBezTo>
                <a:cubicBezTo>
                  <a:pt x="1846" y="982"/>
                  <a:pt x="1853" y="978"/>
                  <a:pt x="1855" y="972"/>
                </a:cubicBezTo>
                <a:cubicBezTo>
                  <a:pt x="1856" y="966"/>
                  <a:pt x="1850" y="962"/>
                  <a:pt x="1842" y="962"/>
                </a:cubicBezTo>
                <a:cubicBezTo>
                  <a:pt x="1842" y="962"/>
                  <a:pt x="1842" y="962"/>
                  <a:pt x="1842" y="962"/>
                </a:cubicBezTo>
                <a:moveTo>
                  <a:pt x="1883" y="962"/>
                </a:moveTo>
                <a:cubicBezTo>
                  <a:pt x="1875" y="962"/>
                  <a:pt x="1868" y="966"/>
                  <a:pt x="1867" y="972"/>
                </a:cubicBezTo>
                <a:cubicBezTo>
                  <a:pt x="1866" y="977"/>
                  <a:pt x="1871" y="982"/>
                  <a:pt x="1879" y="982"/>
                </a:cubicBezTo>
                <a:cubicBezTo>
                  <a:pt x="1888" y="982"/>
                  <a:pt x="1895" y="977"/>
                  <a:pt x="1896" y="972"/>
                </a:cubicBezTo>
                <a:cubicBezTo>
                  <a:pt x="1897" y="966"/>
                  <a:pt x="1892" y="962"/>
                  <a:pt x="1884" y="962"/>
                </a:cubicBezTo>
                <a:cubicBezTo>
                  <a:pt x="1884" y="962"/>
                  <a:pt x="1883" y="962"/>
                  <a:pt x="1883" y="962"/>
                </a:cubicBezTo>
                <a:moveTo>
                  <a:pt x="1925" y="961"/>
                </a:moveTo>
                <a:cubicBezTo>
                  <a:pt x="1917" y="961"/>
                  <a:pt x="1910" y="966"/>
                  <a:pt x="1909" y="972"/>
                </a:cubicBezTo>
                <a:cubicBezTo>
                  <a:pt x="1908" y="977"/>
                  <a:pt x="1913" y="982"/>
                  <a:pt x="1921" y="982"/>
                </a:cubicBezTo>
                <a:cubicBezTo>
                  <a:pt x="1929" y="982"/>
                  <a:pt x="1937" y="977"/>
                  <a:pt x="1938" y="972"/>
                </a:cubicBezTo>
                <a:cubicBezTo>
                  <a:pt x="1939" y="966"/>
                  <a:pt x="1933" y="961"/>
                  <a:pt x="1925" y="961"/>
                </a:cubicBezTo>
                <a:cubicBezTo>
                  <a:pt x="1925" y="961"/>
                  <a:pt x="1925" y="961"/>
                  <a:pt x="1925" y="961"/>
                </a:cubicBezTo>
                <a:moveTo>
                  <a:pt x="1967" y="961"/>
                </a:moveTo>
                <a:cubicBezTo>
                  <a:pt x="1958" y="961"/>
                  <a:pt x="1951" y="966"/>
                  <a:pt x="1950" y="972"/>
                </a:cubicBezTo>
                <a:cubicBezTo>
                  <a:pt x="1949" y="977"/>
                  <a:pt x="1955" y="982"/>
                  <a:pt x="1963" y="982"/>
                </a:cubicBezTo>
                <a:cubicBezTo>
                  <a:pt x="1971" y="982"/>
                  <a:pt x="1979" y="977"/>
                  <a:pt x="1979" y="971"/>
                </a:cubicBezTo>
                <a:cubicBezTo>
                  <a:pt x="1980" y="966"/>
                  <a:pt x="1975" y="961"/>
                  <a:pt x="1967" y="961"/>
                </a:cubicBezTo>
                <a:cubicBezTo>
                  <a:pt x="1967" y="961"/>
                  <a:pt x="1967" y="961"/>
                  <a:pt x="1967" y="961"/>
                </a:cubicBezTo>
                <a:moveTo>
                  <a:pt x="2008" y="961"/>
                </a:moveTo>
                <a:cubicBezTo>
                  <a:pt x="2000" y="961"/>
                  <a:pt x="1993" y="966"/>
                  <a:pt x="1992" y="971"/>
                </a:cubicBezTo>
                <a:cubicBezTo>
                  <a:pt x="1991" y="977"/>
                  <a:pt x="1997" y="982"/>
                  <a:pt x="2005" y="982"/>
                </a:cubicBezTo>
                <a:cubicBezTo>
                  <a:pt x="2013" y="982"/>
                  <a:pt x="2020" y="977"/>
                  <a:pt x="2021" y="971"/>
                </a:cubicBezTo>
                <a:cubicBezTo>
                  <a:pt x="2022" y="966"/>
                  <a:pt x="2016" y="961"/>
                  <a:pt x="2008" y="961"/>
                </a:cubicBezTo>
                <a:cubicBezTo>
                  <a:pt x="2008" y="961"/>
                  <a:pt x="2008" y="961"/>
                  <a:pt x="2008" y="961"/>
                </a:cubicBezTo>
                <a:moveTo>
                  <a:pt x="2051" y="961"/>
                </a:moveTo>
                <a:cubicBezTo>
                  <a:pt x="2043" y="961"/>
                  <a:pt x="2036" y="966"/>
                  <a:pt x="2035" y="971"/>
                </a:cubicBezTo>
                <a:cubicBezTo>
                  <a:pt x="2034" y="977"/>
                  <a:pt x="2040" y="981"/>
                  <a:pt x="2048" y="981"/>
                </a:cubicBezTo>
                <a:cubicBezTo>
                  <a:pt x="2057" y="981"/>
                  <a:pt x="2064" y="977"/>
                  <a:pt x="2064" y="971"/>
                </a:cubicBezTo>
                <a:cubicBezTo>
                  <a:pt x="2065" y="965"/>
                  <a:pt x="2059" y="961"/>
                  <a:pt x="2051" y="961"/>
                </a:cubicBezTo>
                <a:cubicBezTo>
                  <a:pt x="2051" y="961"/>
                  <a:pt x="2051" y="961"/>
                  <a:pt x="2051" y="961"/>
                </a:cubicBezTo>
                <a:moveTo>
                  <a:pt x="2093" y="961"/>
                </a:moveTo>
                <a:cubicBezTo>
                  <a:pt x="2085" y="961"/>
                  <a:pt x="2078" y="965"/>
                  <a:pt x="2077" y="971"/>
                </a:cubicBezTo>
                <a:cubicBezTo>
                  <a:pt x="2076" y="977"/>
                  <a:pt x="2082" y="981"/>
                  <a:pt x="2090" y="981"/>
                </a:cubicBezTo>
                <a:cubicBezTo>
                  <a:pt x="2098" y="981"/>
                  <a:pt x="2105" y="977"/>
                  <a:pt x="2106" y="971"/>
                </a:cubicBezTo>
                <a:cubicBezTo>
                  <a:pt x="2107" y="965"/>
                  <a:pt x="2101" y="961"/>
                  <a:pt x="2093" y="961"/>
                </a:cubicBezTo>
                <a:cubicBezTo>
                  <a:pt x="2093" y="961"/>
                  <a:pt x="2093" y="961"/>
                  <a:pt x="2093" y="961"/>
                </a:cubicBezTo>
                <a:moveTo>
                  <a:pt x="2134" y="961"/>
                </a:moveTo>
                <a:cubicBezTo>
                  <a:pt x="2126" y="961"/>
                  <a:pt x="2119" y="965"/>
                  <a:pt x="2119" y="971"/>
                </a:cubicBezTo>
                <a:cubicBezTo>
                  <a:pt x="2118" y="977"/>
                  <a:pt x="2124" y="981"/>
                  <a:pt x="2132" y="981"/>
                </a:cubicBezTo>
                <a:cubicBezTo>
                  <a:pt x="2140" y="981"/>
                  <a:pt x="2147" y="976"/>
                  <a:pt x="2148" y="971"/>
                </a:cubicBezTo>
                <a:cubicBezTo>
                  <a:pt x="2149" y="965"/>
                  <a:pt x="2143" y="961"/>
                  <a:pt x="2135" y="961"/>
                </a:cubicBezTo>
                <a:cubicBezTo>
                  <a:pt x="2135" y="961"/>
                  <a:pt x="2134" y="961"/>
                  <a:pt x="2134" y="961"/>
                </a:cubicBezTo>
                <a:moveTo>
                  <a:pt x="2177" y="960"/>
                </a:moveTo>
                <a:cubicBezTo>
                  <a:pt x="2169" y="961"/>
                  <a:pt x="2162" y="965"/>
                  <a:pt x="2161" y="971"/>
                </a:cubicBezTo>
                <a:cubicBezTo>
                  <a:pt x="2160" y="976"/>
                  <a:pt x="2166" y="981"/>
                  <a:pt x="2175" y="981"/>
                </a:cubicBezTo>
                <a:cubicBezTo>
                  <a:pt x="2183" y="981"/>
                  <a:pt x="2190" y="976"/>
                  <a:pt x="2190" y="971"/>
                </a:cubicBezTo>
                <a:cubicBezTo>
                  <a:pt x="2191" y="965"/>
                  <a:pt x="2185" y="960"/>
                  <a:pt x="2177" y="960"/>
                </a:cubicBezTo>
                <a:cubicBezTo>
                  <a:pt x="2177" y="960"/>
                  <a:pt x="2177" y="960"/>
                  <a:pt x="2177" y="960"/>
                </a:cubicBezTo>
                <a:moveTo>
                  <a:pt x="2218" y="960"/>
                </a:moveTo>
                <a:cubicBezTo>
                  <a:pt x="2210" y="960"/>
                  <a:pt x="2203" y="965"/>
                  <a:pt x="2202" y="971"/>
                </a:cubicBezTo>
                <a:cubicBezTo>
                  <a:pt x="2202" y="976"/>
                  <a:pt x="2208" y="981"/>
                  <a:pt x="2216" y="981"/>
                </a:cubicBezTo>
                <a:cubicBezTo>
                  <a:pt x="2224" y="981"/>
                  <a:pt x="2231" y="976"/>
                  <a:pt x="2232" y="970"/>
                </a:cubicBezTo>
                <a:cubicBezTo>
                  <a:pt x="2232" y="965"/>
                  <a:pt x="2226" y="960"/>
                  <a:pt x="2218" y="960"/>
                </a:cubicBezTo>
                <a:cubicBezTo>
                  <a:pt x="2218" y="960"/>
                  <a:pt x="2218" y="960"/>
                  <a:pt x="2218" y="960"/>
                </a:cubicBezTo>
                <a:moveTo>
                  <a:pt x="2260" y="960"/>
                </a:moveTo>
                <a:cubicBezTo>
                  <a:pt x="2252" y="960"/>
                  <a:pt x="2245" y="965"/>
                  <a:pt x="2244" y="970"/>
                </a:cubicBezTo>
                <a:cubicBezTo>
                  <a:pt x="2244" y="976"/>
                  <a:pt x="2250" y="981"/>
                  <a:pt x="2258" y="981"/>
                </a:cubicBezTo>
                <a:cubicBezTo>
                  <a:pt x="2266" y="981"/>
                  <a:pt x="2273" y="976"/>
                  <a:pt x="2273" y="970"/>
                </a:cubicBezTo>
                <a:cubicBezTo>
                  <a:pt x="2274" y="965"/>
                  <a:pt x="2268" y="960"/>
                  <a:pt x="2260" y="960"/>
                </a:cubicBezTo>
                <a:cubicBezTo>
                  <a:pt x="2260" y="960"/>
                  <a:pt x="2260" y="960"/>
                  <a:pt x="2260" y="960"/>
                </a:cubicBezTo>
                <a:moveTo>
                  <a:pt x="2301" y="960"/>
                </a:moveTo>
                <a:cubicBezTo>
                  <a:pt x="2293" y="960"/>
                  <a:pt x="2286" y="965"/>
                  <a:pt x="2286" y="970"/>
                </a:cubicBezTo>
                <a:cubicBezTo>
                  <a:pt x="2285" y="976"/>
                  <a:pt x="2292" y="980"/>
                  <a:pt x="2300" y="980"/>
                </a:cubicBezTo>
                <a:cubicBezTo>
                  <a:pt x="2308" y="980"/>
                  <a:pt x="2315" y="976"/>
                  <a:pt x="2315" y="970"/>
                </a:cubicBezTo>
                <a:cubicBezTo>
                  <a:pt x="2315" y="965"/>
                  <a:pt x="2309" y="960"/>
                  <a:pt x="2301" y="960"/>
                </a:cubicBezTo>
                <a:cubicBezTo>
                  <a:pt x="2301" y="960"/>
                  <a:pt x="2301" y="960"/>
                  <a:pt x="2301" y="960"/>
                </a:cubicBezTo>
                <a:moveTo>
                  <a:pt x="2343" y="960"/>
                </a:moveTo>
                <a:cubicBezTo>
                  <a:pt x="2335" y="960"/>
                  <a:pt x="2328" y="964"/>
                  <a:pt x="2328" y="970"/>
                </a:cubicBezTo>
                <a:cubicBezTo>
                  <a:pt x="2327" y="976"/>
                  <a:pt x="2334" y="980"/>
                  <a:pt x="2342" y="980"/>
                </a:cubicBezTo>
                <a:cubicBezTo>
                  <a:pt x="2350" y="980"/>
                  <a:pt x="2357" y="976"/>
                  <a:pt x="2357" y="970"/>
                </a:cubicBezTo>
                <a:cubicBezTo>
                  <a:pt x="2357" y="964"/>
                  <a:pt x="2351" y="960"/>
                  <a:pt x="2343" y="960"/>
                </a:cubicBezTo>
                <a:cubicBezTo>
                  <a:pt x="2343" y="960"/>
                  <a:pt x="2343" y="960"/>
                  <a:pt x="2343" y="960"/>
                </a:cubicBezTo>
                <a:moveTo>
                  <a:pt x="2385" y="960"/>
                </a:moveTo>
                <a:cubicBezTo>
                  <a:pt x="2377" y="960"/>
                  <a:pt x="2370" y="964"/>
                  <a:pt x="2370" y="970"/>
                </a:cubicBezTo>
                <a:cubicBezTo>
                  <a:pt x="2370" y="976"/>
                  <a:pt x="2376" y="980"/>
                  <a:pt x="2384" y="980"/>
                </a:cubicBezTo>
                <a:cubicBezTo>
                  <a:pt x="2392" y="980"/>
                  <a:pt x="2399" y="976"/>
                  <a:pt x="2399" y="970"/>
                </a:cubicBezTo>
                <a:cubicBezTo>
                  <a:pt x="2399" y="964"/>
                  <a:pt x="2393" y="960"/>
                  <a:pt x="2385" y="960"/>
                </a:cubicBezTo>
                <a:cubicBezTo>
                  <a:pt x="2385" y="960"/>
                  <a:pt x="2385" y="960"/>
                  <a:pt x="2385" y="960"/>
                </a:cubicBezTo>
                <a:moveTo>
                  <a:pt x="2426" y="960"/>
                </a:moveTo>
                <a:cubicBezTo>
                  <a:pt x="2418" y="960"/>
                  <a:pt x="2412" y="964"/>
                  <a:pt x="2411" y="970"/>
                </a:cubicBezTo>
                <a:cubicBezTo>
                  <a:pt x="2411" y="975"/>
                  <a:pt x="2418" y="980"/>
                  <a:pt x="2426" y="980"/>
                </a:cubicBezTo>
                <a:cubicBezTo>
                  <a:pt x="2434" y="980"/>
                  <a:pt x="2441" y="975"/>
                  <a:pt x="2441" y="970"/>
                </a:cubicBezTo>
                <a:cubicBezTo>
                  <a:pt x="2441" y="964"/>
                  <a:pt x="2434" y="960"/>
                  <a:pt x="2426" y="960"/>
                </a:cubicBezTo>
                <a:cubicBezTo>
                  <a:pt x="2426" y="960"/>
                  <a:pt x="2426" y="960"/>
                  <a:pt x="2426" y="960"/>
                </a:cubicBezTo>
                <a:moveTo>
                  <a:pt x="2468" y="959"/>
                </a:moveTo>
                <a:cubicBezTo>
                  <a:pt x="2460" y="959"/>
                  <a:pt x="2453" y="964"/>
                  <a:pt x="2453" y="970"/>
                </a:cubicBezTo>
                <a:cubicBezTo>
                  <a:pt x="2453" y="975"/>
                  <a:pt x="2460" y="980"/>
                  <a:pt x="2468" y="980"/>
                </a:cubicBezTo>
                <a:cubicBezTo>
                  <a:pt x="2476" y="980"/>
                  <a:pt x="2483" y="975"/>
                  <a:pt x="2483" y="970"/>
                </a:cubicBezTo>
                <a:cubicBezTo>
                  <a:pt x="2482" y="964"/>
                  <a:pt x="2476" y="959"/>
                  <a:pt x="2468" y="959"/>
                </a:cubicBezTo>
                <a:cubicBezTo>
                  <a:pt x="2468" y="959"/>
                  <a:pt x="2468" y="959"/>
                  <a:pt x="2468" y="959"/>
                </a:cubicBezTo>
                <a:moveTo>
                  <a:pt x="2509" y="959"/>
                </a:moveTo>
                <a:cubicBezTo>
                  <a:pt x="2501" y="959"/>
                  <a:pt x="2495" y="964"/>
                  <a:pt x="2495" y="969"/>
                </a:cubicBezTo>
                <a:cubicBezTo>
                  <a:pt x="2495" y="975"/>
                  <a:pt x="2501" y="980"/>
                  <a:pt x="2509" y="980"/>
                </a:cubicBezTo>
                <a:cubicBezTo>
                  <a:pt x="2518" y="980"/>
                  <a:pt x="2524" y="975"/>
                  <a:pt x="2524" y="969"/>
                </a:cubicBezTo>
                <a:cubicBezTo>
                  <a:pt x="2524" y="964"/>
                  <a:pt x="2517" y="959"/>
                  <a:pt x="2509" y="959"/>
                </a:cubicBezTo>
                <a:cubicBezTo>
                  <a:pt x="2509" y="959"/>
                  <a:pt x="2509" y="959"/>
                  <a:pt x="2509" y="959"/>
                </a:cubicBezTo>
                <a:moveTo>
                  <a:pt x="2551" y="959"/>
                </a:moveTo>
                <a:cubicBezTo>
                  <a:pt x="2543" y="959"/>
                  <a:pt x="2537" y="964"/>
                  <a:pt x="2537" y="969"/>
                </a:cubicBezTo>
                <a:cubicBezTo>
                  <a:pt x="2537" y="975"/>
                  <a:pt x="2543" y="980"/>
                  <a:pt x="2552" y="980"/>
                </a:cubicBezTo>
                <a:cubicBezTo>
                  <a:pt x="2560" y="979"/>
                  <a:pt x="2566" y="975"/>
                  <a:pt x="2566" y="969"/>
                </a:cubicBezTo>
                <a:cubicBezTo>
                  <a:pt x="2566" y="964"/>
                  <a:pt x="2559" y="959"/>
                  <a:pt x="2551" y="959"/>
                </a:cubicBezTo>
                <a:cubicBezTo>
                  <a:pt x="2551" y="959"/>
                  <a:pt x="2551" y="959"/>
                  <a:pt x="2551" y="959"/>
                </a:cubicBezTo>
                <a:moveTo>
                  <a:pt x="2593" y="959"/>
                </a:moveTo>
                <a:cubicBezTo>
                  <a:pt x="2585" y="959"/>
                  <a:pt x="2579" y="964"/>
                  <a:pt x="2579" y="969"/>
                </a:cubicBezTo>
                <a:cubicBezTo>
                  <a:pt x="2579" y="975"/>
                  <a:pt x="2586" y="979"/>
                  <a:pt x="2594" y="979"/>
                </a:cubicBezTo>
                <a:cubicBezTo>
                  <a:pt x="2602" y="979"/>
                  <a:pt x="2608" y="975"/>
                  <a:pt x="2608" y="969"/>
                </a:cubicBezTo>
                <a:cubicBezTo>
                  <a:pt x="2608" y="963"/>
                  <a:pt x="2601" y="959"/>
                  <a:pt x="2593" y="959"/>
                </a:cubicBezTo>
                <a:cubicBezTo>
                  <a:pt x="2593" y="959"/>
                  <a:pt x="2593" y="959"/>
                  <a:pt x="2593" y="959"/>
                </a:cubicBezTo>
                <a:moveTo>
                  <a:pt x="2635" y="959"/>
                </a:moveTo>
                <a:cubicBezTo>
                  <a:pt x="2626" y="959"/>
                  <a:pt x="2620" y="963"/>
                  <a:pt x="2620" y="969"/>
                </a:cubicBezTo>
                <a:cubicBezTo>
                  <a:pt x="2621" y="975"/>
                  <a:pt x="2627" y="979"/>
                  <a:pt x="2636" y="979"/>
                </a:cubicBezTo>
                <a:cubicBezTo>
                  <a:pt x="2644" y="979"/>
                  <a:pt x="2650" y="975"/>
                  <a:pt x="2650" y="969"/>
                </a:cubicBezTo>
                <a:cubicBezTo>
                  <a:pt x="2649" y="963"/>
                  <a:pt x="2643" y="959"/>
                  <a:pt x="2635" y="959"/>
                </a:cubicBezTo>
                <a:cubicBezTo>
                  <a:pt x="2635" y="959"/>
                  <a:pt x="2635" y="959"/>
                  <a:pt x="2635" y="959"/>
                </a:cubicBezTo>
                <a:moveTo>
                  <a:pt x="2677" y="959"/>
                </a:moveTo>
                <a:cubicBezTo>
                  <a:pt x="2668" y="959"/>
                  <a:pt x="2662" y="963"/>
                  <a:pt x="2663" y="969"/>
                </a:cubicBezTo>
                <a:cubicBezTo>
                  <a:pt x="2663" y="975"/>
                  <a:pt x="2670" y="979"/>
                  <a:pt x="2678" y="979"/>
                </a:cubicBezTo>
                <a:cubicBezTo>
                  <a:pt x="2686" y="979"/>
                  <a:pt x="2692" y="974"/>
                  <a:pt x="2692" y="969"/>
                </a:cubicBezTo>
                <a:cubicBezTo>
                  <a:pt x="2691" y="963"/>
                  <a:pt x="2685" y="959"/>
                  <a:pt x="2677" y="959"/>
                </a:cubicBezTo>
                <a:cubicBezTo>
                  <a:pt x="2677" y="959"/>
                  <a:pt x="2677" y="959"/>
                  <a:pt x="2677" y="959"/>
                </a:cubicBezTo>
                <a:moveTo>
                  <a:pt x="2717" y="958"/>
                </a:moveTo>
                <a:cubicBezTo>
                  <a:pt x="2709" y="958"/>
                  <a:pt x="2702" y="963"/>
                  <a:pt x="2703" y="969"/>
                </a:cubicBezTo>
                <a:cubicBezTo>
                  <a:pt x="2703" y="974"/>
                  <a:pt x="2710" y="979"/>
                  <a:pt x="2718" y="979"/>
                </a:cubicBezTo>
                <a:cubicBezTo>
                  <a:pt x="2726" y="979"/>
                  <a:pt x="2733" y="974"/>
                  <a:pt x="2732" y="969"/>
                </a:cubicBezTo>
                <a:cubicBezTo>
                  <a:pt x="2732" y="963"/>
                  <a:pt x="2725" y="958"/>
                  <a:pt x="2717" y="958"/>
                </a:cubicBezTo>
                <a:cubicBezTo>
                  <a:pt x="2717" y="958"/>
                  <a:pt x="2717" y="958"/>
                  <a:pt x="2717" y="958"/>
                </a:cubicBezTo>
                <a:moveTo>
                  <a:pt x="2759" y="958"/>
                </a:moveTo>
                <a:cubicBezTo>
                  <a:pt x="2751" y="958"/>
                  <a:pt x="2744" y="963"/>
                  <a:pt x="2745" y="969"/>
                </a:cubicBezTo>
                <a:cubicBezTo>
                  <a:pt x="2745" y="974"/>
                  <a:pt x="2752" y="979"/>
                  <a:pt x="2761" y="979"/>
                </a:cubicBezTo>
                <a:cubicBezTo>
                  <a:pt x="2769" y="979"/>
                  <a:pt x="2775" y="974"/>
                  <a:pt x="2774" y="968"/>
                </a:cubicBezTo>
                <a:cubicBezTo>
                  <a:pt x="2774" y="963"/>
                  <a:pt x="2767" y="958"/>
                  <a:pt x="2759" y="958"/>
                </a:cubicBezTo>
                <a:cubicBezTo>
                  <a:pt x="2759" y="958"/>
                  <a:pt x="2759" y="958"/>
                  <a:pt x="2759" y="958"/>
                </a:cubicBezTo>
                <a:moveTo>
                  <a:pt x="3424" y="957"/>
                </a:moveTo>
                <a:cubicBezTo>
                  <a:pt x="3416" y="958"/>
                  <a:pt x="3411" y="962"/>
                  <a:pt x="3413" y="968"/>
                </a:cubicBezTo>
                <a:cubicBezTo>
                  <a:pt x="3414" y="973"/>
                  <a:pt x="3422" y="978"/>
                  <a:pt x="3431" y="978"/>
                </a:cubicBezTo>
                <a:cubicBezTo>
                  <a:pt x="3439" y="978"/>
                  <a:pt x="3444" y="973"/>
                  <a:pt x="3442" y="968"/>
                </a:cubicBezTo>
                <a:cubicBezTo>
                  <a:pt x="3440" y="962"/>
                  <a:pt x="3432" y="957"/>
                  <a:pt x="3424" y="957"/>
                </a:cubicBezTo>
                <a:cubicBezTo>
                  <a:pt x="3424" y="957"/>
                  <a:pt x="3424" y="957"/>
                  <a:pt x="3424" y="957"/>
                </a:cubicBezTo>
                <a:moveTo>
                  <a:pt x="3466" y="957"/>
                </a:moveTo>
                <a:cubicBezTo>
                  <a:pt x="3458" y="957"/>
                  <a:pt x="3453" y="962"/>
                  <a:pt x="3455" y="968"/>
                </a:cubicBezTo>
                <a:cubicBezTo>
                  <a:pt x="3456" y="973"/>
                  <a:pt x="3464" y="978"/>
                  <a:pt x="3473" y="978"/>
                </a:cubicBezTo>
                <a:cubicBezTo>
                  <a:pt x="3481" y="978"/>
                  <a:pt x="3486" y="973"/>
                  <a:pt x="3484" y="968"/>
                </a:cubicBezTo>
                <a:cubicBezTo>
                  <a:pt x="3482" y="962"/>
                  <a:pt x="3474" y="957"/>
                  <a:pt x="3466" y="957"/>
                </a:cubicBezTo>
                <a:cubicBezTo>
                  <a:pt x="3466" y="957"/>
                  <a:pt x="3466" y="957"/>
                  <a:pt x="3466" y="957"/>
                </a:cubicBezTo>
                <a:moveTo>
                  <a:pt x="3840" y="954"/>
                </a:moveTo>
                <a:cubicBezTo>
                  <a:pt x="3832" y="954"/>
                  <a:pt x="3827" y="959"/>
                  <a:pt x="3830" y="964"/>
                </a:cubicBezTo>
                <a:cubicBezTo>
                  <a:pt x="3833" y="970"/>
                  <a:pt x="3841" y="974"/>
                  <a:pt x="3849" y="974"/>
                </a:cubicBezTo>
                <a:cubicBezTo>
                  <a:pt x="3857" y="974"/>
                  <a:pt x="3862" y="970"/>
                  <a:pt x="3859" y="964"/>
                </a:cubicBezTo>
                <a:cubicBezTo>
                  <a:pt x="3857" y="958"/>
                  <a:pt x="3848" y="954"/>
                  <a:pt x="3840" y="954"/>
                </a:cubicBezTo>
                <a:cubicBezTo>
                  <a:pt x="3840" y="954"/>
                  <a:pt x="3840" y="954"/>
                  <a:pt x="3840" y="954"/>
                </a:cubicBezTo>
                <a:moveTo>
                  <a:pt x="3926" y="954"/>
                </a:moveTo>
                <a:cubicBezTo>
                  <a:pt x="3918" y="954"/>
                  <a:pt x="3913" y="958"/>
                  <a:pt x="3916" y="964"/>
                </a:cubicBezTo>
                <a:cubicBezTo>
                  <a:pt x="3919" y="970"/>
                  <a:pt x="3928" y="974"/>
                  <a:pt x="3936" y="974"/>
                </a:cubicBezTo>
                <a:cubicBezTo>
                  <a:pt x="3944" y="974"/>
                  <a:pt x="3948" y="969"/>
                  <a:pt x="3945" y="964"/>
                </a:cubicBezTo>
                <a:cubicBezTo>
                  <a:pt x="3943" y="958"/>
                  <a:pt x="3934" y="954"/>
                  <a:pt x="3926" y="954"/>
                </a:cubicBezTo>
                <a:cubicBezTo>
                  <a:pt x="3926" y="954"/>
                  <a:pt x="3926" y="954"/>
                  <a:pt x="3926" y="954"/>
                </a:cubicBezTo>
                <a:moveTo>
                  <a:pt x="3967" y="953"/>
                </a:moveTo>
                <a:cubicBezTo>
                  <a:pt x="3959" y="953"/>
                  <a:pt x="3954" y="958"/>
                  <a:pt x="3957" y="964"/>
                </a:cubicBezTo>
                <a:cubicBezTo>
                  <a:pt x="3960" y="969"/>
                  <a:pt x="3969" y="974"/>
                  <a:pt x="3977" y="974"/>
                </a:cubicBezTo>
                <a:cubicBezTo>
                  <a:pt x="3985" y="974"/>
                  <a:pt x="3989" y="969"/>
                  <a:pt x="3986" y="964"/>
                </a:cubicBezTo>
                <a:cubicBezTo>
                  <a:pt x="3984" y="958"/>
                  <a:pt x="3975" y="953"/>
                  <a:pt x="3967" y="953"/>
                </a:cubicBezTo>
                <a:cubicBezTo>
                  <a:pt x="3967" y="953"/>
                  <a:pt x="3967" y="953"/>
                  <a:pt x="3967" y="953"/>
                </a:cubicBezTo>
                <a:moveTo>
                  <a:pt x="4008" y="953"/>
                </a:moveTo>
                <a:cubicBezTo>
                  <a:pt x="4000" y="953"/>
                  <a:pt x="3996" y="958"/>
                  <a:pt x="3999" y="964"/>
                </a:cubicBezTo>
                <a:cubicBezTo>
                  <a:pt x="4002" y="969"/>
                  <a:pt x="4010" y="974"/>
                  <a:pt x="4019" y="974"/>
                </a:cubicBezTo>
                <a:cubicBezTo>
                  <a:pt x="4027" y="974"/>
                  <a:pt x="4031" y="969"/>
                  <a:pt x="4028" y="963"/>
                </a:cubicBezTo>
                <a:cubicBezTo>
                  <a:pt x="4025" y="958"/>
                  <a:pt x="4016" y="953"/>
                  <a:pt x="4008" y="953"/>
                </a:cubicBezTo>
                <a:cubicBezTo>
                  <a:pt x="4008" y="953"/>
                  <a:pt x="4008" y="953"/>
                  <a:pt x="4008" y="953"/>
                </a:cubicBezTo>
                <a:moveTo>
                  <a:pt x="4050" y="953"/>
                </a:moveTo>
                <a:cubicBezTo>
                  <a:pt x="4042" y="953"/>
                  <a:pt x="4038" y="958"/>
                  <a:pt x="4040" y="963"/>
                </a:cubicBezTo>
                <a:cubicBezTo>
                  <a:pt x="4043" y="969"/>
                  <a:pt x="4052" y="974"/>
                  <a:pt x="4060" y="974"/>
                </a:cubicBezTo>
                <a:cubicBezTo>
                  <a:pt x="4069" y="974"/>
                  <a:pt x="4073" y="969"/>
                  <a:pt x="4070" y="963"/>
                </a:cubicBezTo>
                <a:cubicBezTo>
                  <a:pt x="4067" y="958"/>
                  <a:pt x="4058" y="953"/>
                  <a:pt x="4050" y="953"/>
                </a:cubicBezTo>
                <a:cubicBezTo>
                  <a:pt x="4050" y="953"/>
                  <a:pt x="4050" y="953"/>
                  <a:pt x="4050" y="953"/>
                </a:cubicBezTo>
                <a:moveTo>
                  <a:pt x="4341" y="951"/>
                </a:moveTo>
                <a:cubicBezTo>
                  <a:pt x="4332" y="951"/>
                  <a:pt x="4329" y="956"/>
                  <a:pt x="4332" y="961"/>
                </a:cubicBezTo>
                <a:cubicBezTo>
                  <a:pt x="4336" y="967"/>
                  <a:pt x="4345" y="972"/>
                  <a:pt x="4353" y="971"/>
                </a:cubicBezTo>
                <a:cubicBezTo>
                  <a:pt x="4361" y="971"/>
                  <a:pt x="4365" y="967"/>
                  <a:pt x="4361" y="961"/>
                </a:cubicBezTo>
                <a:cubicBezTo>
                  <a:pt x="4358" y="955"/>
                  <a:pt x="4349" y="951"/>
                  <a:pt x="4341" y="951"/>
                </a:cubicBezTo>
                <a:cubicBezTo>
                  <a:pt x="4341" y="951"/>
                  <a:pt x="4341" y="951"/>
                  <a:pt x="4341" y="951"/>
                </a:cubicBezTo>
                <a:moveTo>
                  <a:pt x="238" y="940"/>
                </a:moveTo>
                <a:cubicBezTo>
                  <a:pt x="230" y="940"/>
                  <a:pt x="220" y="945"/>
                  <a:pt x="216" y="950"/>
                </a:cubicBezTo>
                <a:cubicBezTo>
                  <a:pt x="211" y="956"/>
                  <a:pt x="214" y="960"/>
                  <a:pt x="222" y="960"/>
                </a:cubicBezTo>
                <a:cubicBezTo>
                  <a:pt x="230" y="960"/>
                  <a:pt x="240" y="956"/>
                  <a:pt x="245" y="950"/>
                </a:cubicBezTo>
                <a:cubicBezTo>
                  <a:pt x="249" y="944"/>
                  <a:pt x="246" y="940"/>
                  <a:pt x="238" y="940"/>
                </a:cubicBezTo>
                <a:cubicBezTo>
                  <a:pt x="238" y="940"/>
                  <a:pt x="238" y="940"/>
                  <a:pt x="238" y="940"/>
                </a:cubicBezTo>
                <a:moveTo>
                  <a:pt x="279" y="940"/>
                </a:moveTo>
                <a:cubicBezTo>
                  <a:pt x="271" y="940"/>
                  <a:pt x="261" y="944"/>
                  <a:pt x="257" y="950"/>
                </a:cubicBezTo>
                <a:cubicBezTo>
                  <a:pt x="253" y="956"/>
                  <a:pt x="256" y="960"/>
                  <a:pt x="264" y="960"/>
                </a:cubicBezTo>
                <a:cubicBezTo>
                  <a:pt x="272" y="960"/>
                  <a:pt x="282" y="955"/>
                  <a:pt x="286" y="950"/>
                </a:cubicBezTo>
                <a:cubicBezTo>
                  <a:pt x="290" y="944"/>
                  <a:pt x="287" y="940"/>
                  <a:pt x="279" y="940"/>
                </a:cubicBezTo>
                <a:cubicBezTo>
                  <a:pt x="279" y="940"/>
                  <a:pt x="279" y="940"/>
                  <a:pt x="279" y="940"/>
                </a:cubicBezTo>
                <a:moveTo>
                  <a:pt x="321" y="940"/>
                </a:moveTo>
                <a:cubicBezTo>
                  <a:pt x="313" y="940"/>
                  <a:pt x="303" y="944"/>
                  <a:pt x="299" y="950"/>
                </a:cubicBezTo>
                <a:cubicBezTo>
                  <a:pt x="295" y="955"/>
                  <a:pt x="298" y="960"/>
                  <a:pt x="306" y="960"/>
                </a:cubicBezTo>
                <a:cubicBezTo>
                  <a:pt x="314" y="960"/>
                  <a:pt x="324" y="955"/>
                  <a:pt x="328" y="950"/>
                </a:cubicBezTo>
                <a:cubicBezTo>
                  <a:pt x="332" y="944"/>
                  <a:pt x="329" y="940"/>
                  <a:pt x="321" y="940"/>
                </a:cubicBezTo>
                <a:cubicBezTo>
                  <a:pt x="321" y="940"/>
                  <a:pt x="321" y="940"/>
                  <a:pt x="321" y="940"/>
                </a:cubicBezTo>
                <a:moveTo>
                  <a:pt x="362" y="939"/>
                </a:moveTo>
                <a:cubicBezTo>
                  <a:pt x="354" y="939"/>
                  <a:pt x="344" y="944"/>
                  <a:pt x="340" y="950"/>
                </a:cubicBezTo>
                <a:cubicBezTo>
                  <a:pt x="336" y="955"/>
                  <a:pt x="339" y="960"/>
                  <a:pt x="347" y="960"/>
                </a:cubicBezTo>
                <a:cubicBezTo>
                  <a:pt x="356" y="960"/>
                  <a:pt x="365" y="955"/>
                  <a:pt x="369" y="950"/>
                </a:cubicBezTo>
                <a:cubicBezTo>
                  <a:pt x="373" y="944"/>
                  <a:pt x="370" y="939"/>
                  <a:pt x="362" y="939"/>
                </a:cubicBezTo>
                <a:cubicBezTo>
                  <a:pt x="362" y="939"/>
                  <a:pt x="362" y="939"/>
                  <a:pt x="362" y="939"/>
                </a:cubicBezTo>
                <a:moveTo>
                  <a:pt x="1685" y="933"/>
                </a:moveTo>
                <a:cubicBezTo>
                  <a:pt x="1677" y="933"/>
                  <a:pt x="1670" y="938"/>
                  <a:pt x="1668" y="943"/>
                </a:cubicBezTo>
                <a:cubicBezTo>
                  <a:pt x="1667" y="949"/>
                  <a:pt x="1672" y="953"/>
                  <a:pt x="1680" y="953"/>
                </a:cubicBezTo>
                <a:cubicBezTo>
                  <a:pt x="1688" y="953"/>
                  <a:pt x="1696" y="949"/>
                  <a:pt x="1697" y="943"/>
                </a:cubicBezTo>
                <a:cubicBezTo>
                  <a:pt x="1699" y="937"/>
                  <a:pt x="1693" y="933"/>
                  <a:pt x="1685" y="933"/>
                </a:cubicBezTo>
                <a:cubicBezTo>
                  <a:pt x="1685" y="933"/>
                  <a:pt x="1685" y="933"/>
                  <a:pt x="1685" y="933"/>
                </a:cubicBezTo>
                <a:moveTo>
                  <a:pt x="1724" y="933"/>
                </a:moveTo>
                <a:cubicBezTo>
                  <a:pt x="1716" y="933"/>
                  <a:pt x="1709" y="937"/>
                  <a:pt x="1707" y="943"/>
                </a:cubicBezTo>
                <a:cubicBezTo>
                  <a:pt x="1706" y="949"/>
                  <a:pt x="1711" y="953"/>
                  <a:pt x="1719" y="953"/>
                </a:cubicBezTo>
                <a:cubicBezTo>
                  <a:pt x="1727" y="953"/>
                  <a:pt x="1735" y="949"/>
                  <a:pt x="1736" y="943"/>
                </a:cubicBezTo>
                <a:cubicBezTo>
                  <a:pt x="1737" y="937"/>
                  <a:pt x="1732" y="933"/>
                  <a:pt x="1724" y="933"/>
                </a:cubicBezTo>
                <a:cubicBezTo>
                  <a:pt x="1724" y="933"/>
                  <a:pt x="1724" y="933"/>
                  <a:pt x="1724" y="933"/>
                </a:cubicBezTo>
                <a:moveTo>
                  <a:pt x="1765" y="933"/>
                </a:moveTo>
                <a:cubicBezTo>
                  <a:pt x="1757" y="933"/>
                  <a:pt x="1750" y="937"/>
                  <a:pt x="1748" y="943"/>
                </a:cubicBezTo>
                <a:cubicBezTo>
                  <a:pt x="1747" y="949"/>
                  <a:pt x="1752" y="953"/>
                  <a:pt x="1760" y="953"/>
                </a:cubicBezTo>
                <a:cubicBezTo>
                  <a:pt x="1768" y="953"/>
                  <a:pt x="1776" y="948"/>
                  <a:pt x="1777" y="943"/>
                </a:cubicBezTo>
                <a:cubicBezTo>
                  <a:pt x="1779" y="937"/>
                  <a:pt x="1773" y="933"/>
                  <a:pt x="1765" y="933"/>
                </a:cubicBezTo>
                <a:cubicBezTo>
                  <a:pt x="1765" y="933"/>
                  <a:pt x="1765" y="933"/>
                  <a:pt x="1765" y="933"/>
                </a:cubicBezTo>
                <a:moveTo>
                  <a:pt x="1807" y="932"/>
                </a:moveTo>
                <a:cubicBezTo>
                  <a:pt x="1799" y="933"/>
                  <a:pt x="1791" y="937"/>
                  <a:pt x="1790" y="943"/>
                </a:cubicBezTo>
                <a:cubicBezTo>
                  <a:pt x="1788" y="948"/>
                  <a:pt x="1794" y="953"/>
                  <a:pt x="1802" y="953"/>
                </a:cubicBezTo>
                <a:cubicBezTo>
                  <a:pt x="1810" y="953"/>
                  <a:pt x="1817" y="948"/>
                  <a:pt x="1819" y="943"/>
                </a:cubicBezTo>
                <a:cubicBezTo>
                  <a:pt x="1820" y="937"/>
                  <a:pt x="1815" y="932"/>
                  <a:pt x="1807" y="932"/>
                </a:cubicBezTo>
                <a:cubicBezTo>
                  <a:pt x="1807" y="932"/>
                  <a:pt x="1807" y="932"/>
                  <a:pt x="1807" y="932"/>
                </a:cubicBezTo>
                <a:moveTo>
                  <a:pt x="1848" y="932"/>
                </a:moveTo>
                <a:cubicBezTo>
                  <a:pt x="1840" y="932"/>
                  <a:pt x="1833" y="937"/>
                  <a:pt x="1832" y="943"/>
                </a:cubicBezTo>
                <a:cubicBezTo>
                  <a:pt x="1830" y="948"/>
                  <a:pt x="1836" y="953"/>
                  <a:pt x="1844" y="953"/>
                </a:cubicBezTo>
                <a:cubicBezTo>
                  <a:pt x="1852" y="953"/>
                  <a:pt x="1859" y="948"/>
                  <a:pt x="1861" y="942"/>
                </a:cubicBezTo>
                <a:cubicBezTo>
                  <a:pt x="1862" y="937"/>
                  <a:pt x="1856" y="932"/>
                  <a:pt x="1848" y="932"/>
                </a:cubicBezTo>
                <a:cubicBezTo>
                  <a:pt x="1848" y="932"/>
                  <a:pt x="1848" y="932"/>
                  <a:pt x="1848" y="932"/>
                </a:cubicBezTo>
                <a:moveTo>
                  <a:pt x="1889" y="932"/>
                </a:moveTo>
                <a:cubicBezTo>
                  <a:pt x="1881" y="932"/>
                  <a:pt x="1874" y="937"/>
                  <a:pt x="1873" y="942"/>
                </a:cubicBezTo>
                <a:cubicBezTo>
                  <a:pt x="1872" y="948"/>
                  <a:pt x="1877" y="953"/>
                  <a:pt x="1885" y="953"/>
                </a:cubicBezTo>
                <a:cubicBezTo>
                  <a:pt x="1893" y="953"/>
                  <a:pt x="1901" y="948"/>
                  <a:pt x="1902" y="942"/>
                </a:cubicBezTo>
                <a:cubicBezTo>
                  <a:pt x="1903" y="937"/>
                  <a:pt x="1897" y="932"/>
                  <a:pt x="1889" y="932"/>
                </a:cubicBezTo>
                <a:cubicBezTo>
                  <a:pt x="1889" y="932"/>
                  <a:pt x="1889" y="932"/>
                  <a:pt x="1889" y="932"/>
                </a:cubicBezTo>
                <a:moveTo>
                  <a:pt x="1931" y="932"/>
                </a:moveTo>
                <a:cubicBezTo>
                  <a:pt x="1923" y="932"/>
                  <a:pt x="1915" y="937"/>
                  <a:pt x="1914" y="942"/>
                </a:cubicBezTo>
                <a:cubicBezTo>
                  <a:pt x="1913" y="948"/>
                  <a:pt x="1919" y="952"/>
                  <a:pt x="1927" y="952"/>
                </a:cubicBezTo>
                <a:cubicBezTo>
                  <a:pt x="1935" y="952"/>
                  <a:pt x="1942" y="948"/>
                  <a:pt x="1943" y="942"/>
                </a:cubicBezTo>
                <a:cubicBezTo>
                  <a:pt x="1944" y="937"/>
                  <a:pt x="1939" y="932"/>
                  <a:pt x="1931" y="932"/>
                </a:cubicBezTo>
                <a:cubicBezTo>
                  <a:pt x="1931" y="932"/>
                  <a:pt x="1931" y="932"/>
                  <a:pt x="1931" y="932"/>
                </a:cubicBezTo>
                <a:moveTo>
                  <a:pt x="1972" y="932"/>
                </a:moveTo>
                <a:cubicBezTo>
                  <a:pt x="1964" y="932"/>
                  <a:pt x="1956" y="936"/>
                  <a:pt x="1955" y="942"/>
                </a:cubicBezTo>
                <a:cubicBezTo>
                  <a:pt x="1954" y="948"/>
                  <a:pt x="1960" y="952"/>
                  <a:pt x="1968" y="952"/>
                </a:cubicBezTo>
                <a:cubicBezTo>
                  <a:pt x="1976" y="952"/>
                  <a:pt x="1983" y="948"/>
                  <a:pt x="1984" y="942"/>
                </a:cubicBezTo>
                <a:cubicBezTo>
                  <a:pt x="1985" y="936"/>
                  <a:pt x="1980" y="932"/>
                  <a:pt x="1972" y="932"/>
                </a:cubicBezTo>
                <a:cubicBezTo>
                  <a:pt x="1972" y="932"/>
                  <a:pt x="1972" y="932"/>
                  <a:pt x="1972" y="932"/>
                </a:cubicBezTo>
                <a:moveTo>
                  <a:pt x="2013" y="932"/>
                </a:moveTo>
                <a:cubicBezTo>
                  <a:pt x="2005" y="932"/>
                  <a:pt x="1998" y="936"/>
                  <a:pt x="1997" y="942"/>
                </a:cubicBezTo>
                <a:cubicBezTo>
                  <a:pt x="1996" y="948"/>
                  <a:pt x="2002" y="952"/>
                  <a:pt x="2010" y="952"/>
                </a:cubicBezTo>
                <a:cubicBezTo>
                  <a:pt x="2018" y="952"/>
                  <a:pt x="2025" y="947"/>
                  <a:pt x="2026" y="942"/>
                </a:cubicBezTo>
                <a:cubicBezTo>
                  <a:pt x="2027" y="936"/>
                  <a:pt x="2021" y="932"/>
                  <a:pt x="2013" y="932"/>
                </a:cubicBezTo>
                <a:cubicBezTo>
                  <a:pt x="2013" y="932"/>
                  <a:pt x="2013" y="932"/>
                  <a:pt x="2013" y="932"/>
                </a:cubicBezTo>
                <a:moveTo>
                  <a:pt x="2055" y="931"/>
                </a:moveTo>
                <a:cubicBezTo>
                  <a:pt x="2047" y="932"/>
                  <a:pt x="2040" y="936"/>
                  <a:pt x="2040" y="942"/>
                </a:cubicBezTo>
                <a:cubicBezTo>
                  <a:pt x="2039" y="947"/>
                  <a:pt x="2045" y="952"/>
                  <a:pt x="2053" y="952"/>
                </a:cubicBezTo>
                <a:cubicBezTo>
                  <a:pt x="2061" y="952"/>
                  <a:pt x="2068" y="947"/>
                  <a:pt x="2069" y="942"/>
                </a:cubicBezTo>
                <a:cubicBezTo>
                  <a:pt x="2069" y="936"/>
                  <a:pt x="2063" y="931"/>
                  <a:pt x="2056" y="931"/>
                </a:cubicBezTo>
                <a:cubicBezTo>
                  <a:pt x="2056" y="931"/>
                  <a:pt x="2055" y="931"/>
                  <a:pt x="2055" y="931"/>
                </a:cubicBezTo>
                <a:moveTo>
                  <a:pt x="2096" y="931"/>
                </a:moveTo>
                <a:cubicBezTo>
                  <a:pt x="2088" y="931"/>
                  <a:pt x="2081" y="936"/>
                  <a:pt x="2081" y="942"/>
                </a:cubicBezTo>
                <a:cubicBezTo>
                  <a:pt x="2080" y="947"/>
                  <a:pt x="2086" y="952"/>
                  <a:pt x="2094" y="952"/>
                </a:cubicBezTo>
                <a:cubicBezTo>
                  <a:pt x="2102" y="952"/>
                  <a:pt x="2109" y="947"/>
                  <a:pt x="2110" y="941"/>
                </a:cubicBezTo>
                <a:cubicBezTo>
                  <a:pt x="2110" y="936"/>
                  <a:pt x="2104" y="931"/>
                  <a:pt x="2097" y="931"/>
                </a:cubicBezTo>
                <a:cubicBezTo>
                  <a:pt x="2097" y="931"/>
                  <a:pt x="2096" y="931"/>
                  <a:pt x="2096" y="931"/>
                </a:cubicBezTo>
                <a:moveTo>
                  <a:pt x="2138" y="931"/>
                </a:moveTo>
                <a:cubicBezTo>
                  <a:pt x="2130" y="931"/>
                  <a:pt x="2123" y="936"/>
                  <a:pt x="2122" y="941"/>
                </a:cubicBezTo>
                <a:cubicBezTo>
                  <a:pt x="2121" y="947"/>
                  <a:pt x="2127" y="952"/>
                  <a:pt x="2135" y="952"/>
                </a:cubicBezTo>
                <a:cubicBezTo>
                  <a:pt x="2144" y="952"/>
                  <a:pt x="2151" y="947"/>
                  <a:pt x="2151" y="941"/>
                </a:cubicBezTo>
                <a:cubicBezTo>
                  <a:pt x="2152" y="936"/>
                  <a:pt x="2146" y="931"/>
                  <a:pt x="2138" y="931"/>
                </a:cubicBezTo>
                <a:cubicBezTo>
                  <a:pt x="2138" y="931"/>
                  <a:pt x="2138" y="931"/>
                  <a:pt x="2138" y="931"/>
                </a:cubicBezTo>
                <a:moveTo>
                  <a:pt x="2180" y="931"/>
                </a:moveTo>
                <a:cubicBezTo>
                  <a:pt x="2172" y="931"/>
                  <a:pt x="2165" y="936"/>
                  <a:pt x="2164" y="941"/>
                </a:cubicBezTo>
                <a:cubicBezTo>
                  <a:pt x="2163" y="947"/>
                  <a:pt x="2169" y="951"/>
                  <a:pt x="2177" y="951"/>
                </a:cubicBezTo>
                <a:cubicBezTo>
                  <a:pt x="2186" y="951"/>
                  <a:pt x="2192" y="947"/>
                  <a:pt x="2193" y="941"/>
                </a:cubicBezTo>
                <a:cubicBezTo>
                  <a:pt x="2194" y="936"/>
                  <a:pt x="2188" y="931"/>
                  <a:pt x="2180" y="931"/>
                </a:cubicBezTo>
                <a:cubicBezTo>
                  <a:pt x="2180" y="931"/>
                  <a:pt x="2180" y="931"/>
                  <a:pt x="2180" y="931"/>
                </a:cubicBezTo>
                <a:moveTo>
                  <a:pt x="2221" y="931"/>
                </a:moveTo>
                <a:cubicBezTo>
                  <a:pt x="2213" y="931"/>
                  <a:pt x="2206" y="935"/>
                  <a:pt x="2205" y="941"/>
                </a:cubicBezTo>
                <a:cubicBezTo>
                  <a:pt x="2205" y="947"/>
                  <a:pt x="2211" y="951"/>
                  <a:pt x="2219" y="951"/>
                </a:cubicBezTo>
                <a:cubicBezTo>
                  <a:pt x="2227" y="951"/>
                  <a:pt x="2234" y="947"/>
                  <a:pt x="2234" y="941"/>
                </a:cubicBezTo>
                <a:cubicBezTo>
                  <a:pt x="2235" y="935"/>
                  <a:pt x="2229" y="931"/>
                  <a:pt x="2221" y="931"/>
                </a:cubicBezTo>
                <a:cubicBezTo>
                  <a:pt x="2221" y="931"/>
                  <a:pt x="2221" y="931"/>
                  <a:pt x="2221" y="931"/>
                </a:cubicBezTo>
                <a:moveTo>
                  <a:pt x="2262" y="931"/>
                </a:moveTo>
                <a:cubicBezTo>
                  <a:pt x="2254" y="931"/>
                  <a:pt x="2247" y="935"/>
                  <a:pt x="2247" y="941"/>
                </a:cubicBezTo>
                <a:cubicBezTo>
                  <a:pt x="2246" y="947"/>
                  <a:pt x="2252" y="951"/>
                  <a:pt x="2260" y="951"/>
                </a:cubicBezTo>
                <a:cubicBezTo>
                  <a:pt x="2268" y="951"/>
                  <a:pt x="2275" y="946"/>
                  <a:pt x="2275" y="941"/>
                </a:cubicBezTo>
                <a:cubicBezTo>
                  <a:pt x="2276" y="935"/>
                  <a:pt x="2270" y="931"/>
                  <a:pt x="2262" y="931"/>
                </a:cubicBezTo>
                <a:cubicBezTo>
                  <a:pt x="2262" y="931"/>
                  <a:pt x="2262" y="931"/>
                  <a:pt x="2262" y="931"/>
                </a:cubicBezTo>
                <a:moveTo>
                  <a:pt x="2303" y="931"/>
                </a:moveTo>
                <a:cubicBezTo>
                  <a:pt x="2295" y="931"/>
                  <a:pt x="2288" y="935"/>
                  <a:pt x="2288" y="941"/>
                </a:cubicBezTo>
                <a:cubicBezTo>
                  <a:pt x="2287" y="946"/>
                  <a:pt x="2294" y="951"/>
                  <a:pt x="2302" y="951"/>
                </a:cubicBezTo>
                <a:cubicBezTo>
                  <a:pt x="2310" y="951"/>
                  <a:pt x="2316" y="946"/>
                  <a:pt x="2317" y="941"/>
                </a:cubicBezTo>
                <a:cubicBezTo>
                  <a:pt x="2317" y="935"/>
                  <a:pt x="2311" y="931"/>
                  <a:pt x="2303" y="931"/>
                </a:cubicBezTo>
                <a:cubicBezTo>
                  <a:pt x="2303" y="931"/>
                  <a:pt x="2303" y="931"/>
                  <a:pt x="2303" y="931"/>
                </a:cubicBezTo>
                <a:moveTo>
                  <a:pt x="2344" y="930"/>
                </a:moveTo>
                <a:cubicBezTo>
                  <a:pt x="2336" y="930"/>
                  <a:pt x="2329" y="935"/>
                  <a:pt x="2329" y="941"/>
                </a:cubicBezTo>
                <a:cubicBezTo>
                  <a:pt x="2329" y="946"/>
                  <a:pt x="2335" y="951"/>
                  <a:pt x="2343" y="951"/>
                </a:cubicBezTo>
                <a:cubicBezTo>
                  <a:pt x="2351" y="951"/>
                  <a:pt x="2358" y="946"/>
                  <a:pt x="2358" y="940"/>
                </a:cubicBezTo>
                <a:cubicBezTo>
                  <a:pt x="2358" y="935"/>
                  <a:pt x="2352" y="930"/>
                  <a:pt x="2344" y="930"/>
                </a:cubicBezTo>
                <a:cubicBezTo>
                  <a:pt x="2344" y="930"/>
                  <a:pt x="2344" y="930"/>
                  <a:pt x="2344" y="930"/>
                </a:cubicBezTo>
                <a:moveTo>
                  <a:pt x="2386" y="930"/>
                </a:moveTo>
                <a:cubicBezTo>
                  <a:pt x="2378" y="930"/>
                  <a:pt x="2371" y="935"/>
                  <a:pt x="2371" y="940"/>
                </a:cubicBezTo>
                <a:cubicBezTo>
                  <a:pt x="2371" y="946"/>
                  <a:pt x="2377" y="951"/>
                  <a:pt x="2385" y="951"/>
                </a:cubicBezTo>
                <a:cubicBezTo>
                  <a:pt x="2393" y="951"/>
                  <a:pt x="2400" y="946"/>
                  <a:pt x="2400" y="940"/>
                </a:cubicBezTo>
                <a:cubicBezTo>
                  <a:pt x="2400" y="935"/>
                  <a:pt x="2394" y="930"/>
                  <a:pt x="2386" y="930"/>
                </a:cubicBezTo>
                <a:cubicBezTo>
                  <a:pt x="2386" y="930"/>
                  <a:pt x="2386" y="930"/>
                  <a:pt x="2386" y="930"/>
                </a:cubicBezTo>
                <a:moveTo>
                  <a:pt x="2427" y="930"/>
                </a:moveTo>
                <a:cubicBezTo>
                  <a:pt x="2419" y="930"/>
                  <a:pt x="2412" y="935"/>
                  <a:pt x="2412" y="940"/>
                </a:cubicBezTo>
                <a:cubicBezTo>
                  <a:pt x="2412" y="946"/>
                  <a:pt x="2418" y="950"/>
                  <a:pt x="2426" y="950"/>
                </a:cubicBezTo>
                <a:cubicBezTo>
                  <a:pt x="2434" y="950"/>
                  <a:pt x="2441" y="946"/>
                  <a:pt x="2441" y="940"/>
                </a:cubicBezTo>
                <a:cubicBezTo>
                  <a:pt x="2441" y="935"/>
                  <a:pt x="2435" y="930"/>
                  <a:pt x="2427" y="930"/>
                </a:cubicBezTo>
                <a:cubicBezTo>
                  <a:pt x="2427" y="930"/>
                  <a:pt x="2427" y="930"/>
                  <a:pt x="2427" y="930"/>
                </a:cubicBezTo>
                <a:moveTo>
                  <a:pt x="2468" y="930"/>
                </a:moveTo>
                <a:cubicBezTo>
                  <a:pt x="2460" y="930"/>
                  <a:pt x="2454" y="934"/>
                  <a:pt x="2453" y="940"/>
                </a:cubicBezTo>
                <a:cubicBezTo>
                  <a:pt x="2453" y="946"/>
                  <a:pt x="2460" y="950"/>
                  <a:pt x="2468" y="950"/>
                </a:cubicBezTo>
                <a:cubicBezTo>
                  <a:pt x="2476" y="950"/>
                  <a:pt x="2482" y="946"/>
                  <a:pt x="2482" y="940"/>
                </a:cubicBezTo>
                <a:cubicBezTo>
                  <a:pt x="2482" y="934"/>
                  <a:pt x="2476" y="930"/>
                  <a:pt x="2468" y="930"/>
                </a:cubicBezTo>
                <a:cubicBezTo>
                  <a:pt x="2468" y="930"/>
                  <a:pt x="2468" y="930"/>
                  <a:pt x="2468" y="930"/>
                </a:cubicBezTo>
                <a:moveTo>
                  <a:pt x="2509" y="930"/>
                </a:moveTo>
                <a:cubicBezTo>
                  <a:pt x="2501" y="930"/>
                  <a:pt x="2495" y="934"/>
                  <a:pt x="2495" y="940"/>
                </a:cubicBezTo>
                <a:cubicBezTo>
                  <a:pt x="2495" y="946"/>
                  <a:pt x="2501" y="950"/>
                  <a:pt x="2509" y="950"/>
                </a:cubicBezTo>
                <a:cubicBezTo>
                  <a:pt x="2517" y="950"/>
                  <a:pt x="2524" y="945"/>
                  <a:pt x="2524" y="940"/>
                </a:cubicBezTo>
                <a:cubicBezTo>
                  <a:pt x="2523" y="934"/>
                  <a:pt x="2517" y="930"/>
                  <a:pt x="2509" y="930"/>
                </a:cubicBezTo>
                <a:cubicBezTo>
                  <a:pt x="2509" y="930"/>
                  <a:pt x="2509" y="930"/>
                  <a:pt x="2509" y="930"/>
                </a:cubicBezTo>
                <a:moveTo>
                  <a:pt x="2550" y="930"/>
                </a:moveTo>
                <a:cubicBezTo>
                  <a:pt x="2542" y="930"/>
                  <a:pt x="2536" y="934"/>
                  <a:pt x="2536" y="940"/>
                </a:cubicBezTo>
                <a:cubicBezTo>
                  <a:pt x="2536" y="945"/>
                  <a:pt x="2543" y="950"/>
                  <a:pt x="2551" y="950"/>
                </a:cubicBezTo>
                <a:cubicBezTo>
                  <a:pt x="2559" y="950"/>
                  <a:pt x="2565" y="945"/>
                  <a:pt x="2565" y="940"/>
                </a:cubicBezTo>
                <a:cubicBezTo>
                  <a:pt x="2565" y="934"/>
                  <a:pt x="2558" y="930"/>
                  <a:pt x="2550" y="930"/>
                </a:cubicBezTo>
                <a:cubicBezTo>
                  <a:pt x="2550" y="930"/>
                  <a:pt x="2550" y="930"/>
                  <a:pt x="2550" y="930"/>
                </a:cubicBezTo>
                <a:moveTo>
                  <a:pt x="2592" y="929"/>
                </a:moveTo>
                <a:cubicBezTo>
                  <a:pt x="2584" y="929"/>
                  <a:pt x="2578" y="934"/>
                  <a:pt x="2578" y="940"/>
                </a:cubicBezTo>
                <a:cubicBezTo>
                  <a:pt x="2578" y="945"/>
                  <a:pt x="2585" y="950"/>
                  <a:pt x="2593" y="950"/>
                </a:cubicBezTo>
                <a:cubicBezTo>
                  <a:pt x="2601" y="950"/>
                  <a:pt x="2607" y="945"/>
                  <a:pt x="2607" y="940"/>
                </a:cubicBezTo>
                <a:cubicBezTo>
                  <a:pt x="2607" y="934"/>
                  <a:pt x="2600" y="929"/>
                  <a:pt x="2592" y="929"/>
                </a:cubicBezTo>
                <a:cubicBezTo>
                  <a:pt x="2592" y="929"/>
                  <a:pt x="2592" y="929"/>
                  <a:pt x="2592" y="929"/>
                </a:cubicBezTo>
                <a:moveTo>
                  <a:pt x="2633" y="929"/>
                </a:moveTo>
                <a:cubicBezTo>
                  <a:pt x="2625" y="929"/>
                  <a:pt x="2619" y="934"/>
                  <a:pt x="2619" y="939"/>
                </a:cubicBezTo>
                <a:cubicBezTo>
                  <a:pt x="2619" y="945"/>
                  <a:pt x="2626" y="950"/>
                  <a:pt x="2634" y="950"/>
                </a:cubicBezTo>
                <a:cubicBezTo>
                  <a:pt x="2642" y="950"/>
                  <a:pt x="2648" y="945"/>
                  <a:pt x="2648" y="939"/>
                </a:cubicBezTo>
                <a:cubicBezTo>
                  <a:pt x="2648" y="934"/>
                  <a:pt x="2641" y="929"/>
                  <a:pt x="2633" y="929"/>
                </a:cubicBezTo>
                <a:cubicBezTo>
                  <a:pt x="2633" y="929"/>
                  <a:pt x="2633" y="929"/>
                  <a:pt x="2633" y="929"/>
                </a:cubicBezTo>
                <a:moveTo>
                  <a:pt x="2675" y="929"/>
                </a:moveTo>
                <a:cubicBezTo>
                  <a:pt x="2667" y="929"/>
                  <a:pt x="2660" y="934"/>
                  <a:pt x="2661" y="939"/>
                </a:cubicBezTo>
                <a:cubicBezTo>
                  <a:pt x="2661" y="945"/>
                  <a:pt x="2668" y="950"/>
                  <a:pt x="2676" y="949"/>
                </a:cubicBezTo>
                <a:cubicBezTo>
                  <a:pt x="2684" y="949"/>
                  <a:pt x="2690" y="945"/>
                  <a:pt x="2690" y="939"/>
                </a:cubicBezTo>
                <a:cubicBezTo>
                  <a:pt x="2689" y="934"/>
                  <a:pt x="2683" y="929"/>
                  <a:pt x="2675" y="929"/>
                </a:cubicBezTo>
                <a:cubicBezTo>
                  <a:pt x="2675" y="929"/>
                  <a:pt x="2675" y="929"/>
                  <a:pt x="2675" y="929"/>
                </a:cubicBezTo>
                <a:moveTo>
                  <a:pt x="2714" y="929"/>
                </a:moveTo>
                <a:cubicBezTo>
                  <a:pt x="2706" y="929"/>
                  <a:pt x="2700" y="933"/>
                  <a:pt x="2701" y="939"/>
                </a:cubicBezTo>
                <a:cubicBezTo>
                  <a:pt x="2701" y="945"/>
                  <a:pt x="2708" y="949"/>
                  <a:pt x="2716" y="949"/>
                </a:cubicBezTo>
                <a:cubicBezTo>
                  <a:pt x="2724" y="949"/>
                  <a:pt x="2730" y="945"/>
                  <a:pt x="2730" y="939"/>
                </a:cubicBezTo>
                <a:cubicBezTo>
                  <a:pt x="2729" y="933"/>
                  <a:pt x="2722" y="929"/>
                  <a:pt x="2714" y="929"/>
                </a:cubicBezTo>
                <a:cubicBezTo>
                  <a:pt x="2714" y="929"/>
                  <a:pt x="2714" y="929"/>
                  <a:pt x="2714" y="929"/>
                </a:cubicBezTo>
                <a:moveTo>
                  <a:pt x="2756" y="929"/>
                </a:moveTo>
                <a:cubicBezTo>
                  <a:pt x="2748" y="929"/>
                  <a:pt x="2742" y="933"/>
                  <a:pt x="2742" y="939"/>
                </a:cubicBezTo>
                <a:cubicBezTo>
                  <a:pt x="2743" y="945"/>
                  <a:pt x="2750" y="949"/>
                  <a:pt x="2758" y="949"/>
                </a:cubicBezTo>
                <a:cubicBezTo>
                  <a:pt x="2766" y="949"/>
                  <a:pt x="2772" y="945"/>
                  <a:pt x="2771" y="939"/>
                </a:cubicBezTo>
                <a:cubicBezTo>
                  <a:pt x="2771" y="933"/>
                  <a:pt x="2764" y="929"/>
                  <a:pt x="2756" y="929"/>
                </a:cubicBezTo>
                <a:cubicBezTo>
                  <a:pt x="2756" y="929"/>
                  <a:pt x="2756" y="929"/>
                  <a:pt x="2756" y="929"/>
                </a:cubicBezTo>
                <a:moveTo>
                  <a:pt x="2796" y="929"/>
                </a:moveTo>
                <a:cubicBezTo>
                  <a:pt x="2788" y="929"/>
                  <a:pt x="2782" y="933"/>
                  <a:pt x="2782" y="939"/>
                </a:cubicBezTo>
                <a:cubicBezTo>
                  <a:pt x="2783" y="944"/>
                  <a:pt x="2790" y="949"/>
                  <a:pt x="2798" y="949"/>
                </a:cubicBezTo>
                <a:cubicBezTo>
                  <a:pt x="2806" y="949"/>
                  <a:pt x="2812" y="944"/>
                  <a:pt x="2811" y="939"/>
                </a:cubicBezTo>
                <a:cubicBezTo>
                  <a:pt x="2811" y="933"/>
                  <a:pt x="2804" y="929"/>
                  <a:pt x="2796" y="929"/>
                </a:cubicBezTo>
                <a:cubicBezTo>
                  <a:pt x="2796" y="929"/>
                  <a:pt x="2796" y="929"/>
                  <a:pt x="2796" y="929"/>
                </a:cubicBezTo>
                <a:moveTo>
                  <a:pt x="2839" y="928"/>
                </a:moveTo>
                <a:cubicBezTo>
                  <a:pt x="2831" y="928"/>
                  <a:pt x="2825" y="933"/>
                  <a:pt x="2826" y="939"/>
                </a:cubicBezTo>
                <a:cubicBezTo>
                  <a:pt x="2827" y="944"/>
                  <a:pt x="2834" y="949"/>
                  <a:pt x="2842" y="949"/>
                </a:cubicBezTo>
                <a:cubicBezTo>
                  <a:pt x="2850" y="949"/>
                  <a:pt x="2856" y="944"/>
                  <a:pt x="2855" y="939"/>
                </a:cubicBezTo>
                <a:cubicBezTo>
                  <a:pt x="2854" y="933"/>
                  <a:pt x="2847" y="928"/>
                  <a:pt x="2839" y="928"/>
                </a:cubicBezTo>
                <a:cubicBezTo>
                  <a:pt x="2839" y="928"/>
                  <a:pt x="2839" y="928"/>
                  <a:pt x="2839" y="928"/>
                </a:cubicBezTo>
                <a:moveTo>
                  <a:pt x="3374" y="928"/>
                </a:moveTo>
                <a:cubicBezTo>
                  <a:pt x="3366" y="928"/>
                  <a:pt x="3361" y="933"/>
                  <a:pt x="3362" y="938"/>
                </a:cubicBezTo>
                <a:cubicBezTo>
                  <a:pt x="3364" y="944"/>
                  <a:pt x="3372" y="949"/>
                  <a:pt x="3380" y="949"/>
                </a:cubicBezTo>
                <a:cubicBezTo>
                  <a:pt x="3388" y="948"/>
                  <a:pt x="3393" y="944"/>
                  <a:pt x="3391" y="938"/>
                </a:cubicBezTo>
                <a:cubicBezTo>
                  <a:pt x="3390" y="933"/>
                  <a:pt x="3382" y="928"/>
                  <a:pt x="3374" y="928"/>
                </a:cubicBezTo>
                <a:cubicBezTo>
                  <a:pt x="3374" y="928"/>
                  <a:pt x="3374" y="928"/>
                  <a:pt x="3374" y="928"/>
                </a:cubicBezTo>
                <a:moveTo>
                  <a:pt x="3415" y="928"/>
                </a:moveTo>
                <a:cubicBezTo>
                  <a:pt x="3407" y="928"/>
                  <a:pt x="3402" y="932"/>
                  <a:pt x="3403" y="938"/>
                </a:cubicBezTo>
                <a:cubicBezTo>
                  <a:pt x="3405" y="944"/>
                  <a:pt x="3413" y="948"/>
                  <a:pt x="3421" y="948"/>
                </a:cubicBezTo>
                <a:cubicBezTo>
                  <a:pt x="3429" y="948"/>
                  <a:pt x="3434" y="944"/>
                  <a:pt x="3432" y="938"/>
                </a:cubicBezTo>
                <a:cubicBezTo>
                  <a:pt x="3431" y="932"/>
                  <a:pt x="3423" y="928"/>
                  <a:pt x="3415" y="928"/>
                </a:cubicBezTo>
                <a:cubicBezTo>
                  <a:pt x="3415" y="928"/>
                  <a:pt x="3415" y="928"/>
                  <a:pt x="3415" y="928"/>
                </a:cubicBezTo>
                <a:moveTo>
                  <a:pt x="3456" y="928"/>
                </a:moveTo>
                <a:cubicBezTo>
                  <a:pt x="3448" y="928"/>
                  <a:pt x="3443" y="932"/>
                  <a:pt x="3445" y="938"/>
                </a:cubicBezTo>
                <a:cubicBezTo>
                  <a:pt x="3447" y="944"/>
                  <a:pt x="3455" y="948"/>
                  <a:pt x="3463" y="948"/>
                </a:cubicBezTo>
                <a:cubicBezTo>
                  <a:pt x="3471" y="948"/>
                  <a:pt x="3476" y="944"/>
                  <a:pt x="3474" y="938"/>
                </a:cubicBezTo>
                <a:cubicBezTo>
                  <a:pt x="3472" y="932"/>
                  <a:pt x="3464" y="928"/>
                  <a:pt x="3456" y="928"/>
                </a:cubicBezTo>
                <a:cubicBezTo>
                  <a:pt x="3456" y="928"/>
                  <a:pt x="3456" y="928"/>
                  <a:pt x="3456" y="928"/>
                </a:cubicBezTo>
                <a:moveTo>
                  <a:pt x="3828" y="926"/>
                </a:moveTo>
                <a:cubicBezTo>
                  <a:pt x="3820" y="926"/>
                  <a:pt x="3815" y="931"/>
                  <a:pt x="3818" y="937"/>
                </a:cubicBezTo>
                <a:cubicBezTo>
                  <a:pt x="3820" y="942"/>
                  <a:pt x="3829" y="947"/>
                  <a:pt x="3837" y="947"/>
                </a:cubicBezTo>
                <a:cubicBezTo>
                  <a:pt x="3845" y="947"/>
                  <a:pt x="3849" y="942"/>
                  <a:pt x="3847" y="937"/>
                </a:cubicBezTo>
                <a:cubicBezTo>
                  <a:pt x="3844" y="931"/>
                  <a:pt x="3836" y="926"/>
                  <a:pt x="3828" y="926"/>
                </a:cubicBezTo>
                <a:cubicBezTo>
                  <a:pt x="3828" y="926"/>
                  <a:pt x="3828" y="926"/>
                  <a:pt x="3828" y="926"/>
                </a:cubicBezTo>
                <a:moveTo>
                  <a:pt x="3869" y="926"/>
                </a:moveTo>
                <a:cubicBezTo>
                  <a:pt x="3861" y="926"/>
                  <a:pt x="3857" y="931"/>
                  <a:pt x="3859" y="937"/>
                </a:cubicBezTo>
                <a:cubicBezTo>
                  <a:pt x="3862" y="942"/>
                  <a:pt x="3870" y="947"/>
                  <a:pt x="3878" y="947"/>
                </a:cubicBezTo>
                <a:cubicBezTo>
                  <a:pt x="3886" y="947"/>
                  <a:pt x="3891" y="942"/>
                  <a:pt x="3888" y="937"/>
                </a:cubicBezTo>
                <a:cubicBezTo>
                  <a:pt x="3885" y="931"/>
                  <a:pt x="3877" y="926"/>
                  <a:pt x="3869" y="926"/>
                </a:cubicBezTo>
                <a:cubicBezTo>
                  <a:pt x="3869" y="926"/>
                  <a:pt x="3869" y="926"/>
                  <a:pt x="3869" y="926"/>
                </a:cubicBezTo>
                <a:moveTo>
                  <a:pt x="3913" y="926"/>
                </a:moveTo>
                <a:cubicBezTo>
                  <a:pt x="3905" y="926"/>
                  <a:pt x="3900" y="931"/>
                  <a:pt x="3903" y="936"/>
                </a:cubicBezTo>
                <a:cubicBezTo>
                  <a:pt x="3906" y="942"/>
                  <a:pt x="3914" y="947"/>
                  <a:pt x="3922" y="947"/>
                </a:cubicBezTo>
                <a:cubicBezTo>
                  <a:pt x="3930" y="947"/>
                  <a:pt x="3935" y="942"/>
                  <a:pt x="3932" y="936"/>
                </a:cubicBezTo>
                <a:cubicBezTo>
                  <a:pt x="3929" y="931"/>
                  <a:pt x="3921" y="926"/>
                  <a:pt x="3913" y="926"/>
                </a:cubicBezTo>
                <a:cubicBezTo>
                  <a:pt x="3913" y="926"/>
                  <a:pt x="3913" y="926"/>
                  <a:pt x="3913" y="926"/>
                </a:cubicBezTo>
                <a:moveTo>
                  <a:pt x="3953" y="926"/>
                </a:moveTo>
                <a:cubicBezTo>
                  <a:pt x="3945" y="926"/>
                  <a:pt x="3941" y="931"/>
                  <a:pt x="3944" y="936"/>
                </a:cubicBezTo>
                <a:cubicBezTo>
                  <a:pt x="3947" y="942"/>
                  <a:pt x="3955" y="947"/>
                  <a:pt x="3963" y="947"/>
                </a:cubicBezTo>
                <a:cubicBezTo>
                  <a:pt x="3971" y="947"/>
                  <a:pt x="3976" y="942"/>
                  <a:pt x="3973" y="936"/>
                </a:cubicBezTo>
                <a:cubicBezTo>
                  <a:pt x="3970" y="931"/>
                  <a:pt x="3961" y="926"/>
                  <a:pt x="3953" y="926"/>
                </a:cubicBezTo>
                <a:cubicBezTo>
                  <a:pt x="3953" y="926"/>
                  <a:pt x="3953" y="926"/>
                  <a:pt x="3953" y="926"/>
                </a:cubicBezTo>
                <a:moveTo>
                  <a:pt x="3994" y="926"/>
                </a:moveTo>
                <a:cubicBezTo>
                  <a:pt x="3986" y="926"/>
                  <a:pt x="3982" y="930"/>
                  <a:pt x="3985" y="936"/>
                </a:cubicBezTo>
                <a:cubicBezTo>
                  <a:pt x="3988" y="942"/>
                  <a:pt x="3997" y="946"/>
                  <a:pt x="4005" y="946"/>
                </a:cubicBezTo>
                <a:cubicBezTo>
                  <a:pt x="4013" y="946"/>
                  <a:pt x="4017" y="942"/>
                  <a:pt x="4014" y="936"/>
                </a:cubicBezTo>
                <a:cubicBezTo>
                  <a:pt x="4011" y="930"/>
                  <a:pt x="4002" y="926"/>
                  <a:pt x="3994" y="926"/>
                </a:cubicBezTo>
                <a:cubicBezTo>
                  <a:pt x="3994" y="926"/>
                  <a:pt x="3994" y="926"/>
                  <a:pt x="3994" y="926"/>
                </a:cubicBezTo>
                <a:moveTo>
                  <a:pt x="4282" y="925"/>
                </a:moveTo>
                <a:cubicBezTo>
                  <a:pt x="4274" y="925"/>
                  <a:pt x="4270" y="930"/>
                  <a:pt x="4273" y="936"/>
                </a:cubicBezTo>
                <a:cubicBezTo>
                  <a:pt x="4277" y="941"/>
                  <a:pt x="4286" y="946"/>
                  <a:pt x="4294" y="946"/>
                </a:cubicBezTo>
                <a:cubicBezTo>
                  <a:pt x="4302" y="946"/>
                  <a:pt x="4306" y="941"/>
                  <a:pt x="4302" y="936"/>
                </a:cubicBezTo>
                <a:cubicBezTo>
                  <a:pt x="4299" y="930"/>
                  <a:pt x="4290" y="925"/>
                  <a:pt x="4282" y="925"/>
                </a:cubicBezTo>
                <a:cubicBezTo>
                  <a:pt x="4282" y="925"/>
                  <a:pt x="4282" y="925"/>
                  <a:pt x="4282" y="925"/>
                </a:cubicBezTo>
                <a:moveTo>
                  <a:pt x="218" y="911"/>
                </a:moveTo>
                <a:cubicBezTo>
                  <a:pt x="210" y="911"/>
                  <a:pt x="200" y="915"/>
                  <a:pt x="196" y="921"/>
                </a:cubicBezTo>
                <a:cubicBezTo>
                  <a:pt x="191" y="927"/>
                  <a:pt x="194" y="931"/>
                  <a:pt x="202" y="931"/>
                </a:cubicBezTo>
                <a:cubicBezTo>
                  <a:pt x="210" y="931"/>
                  <a:pt x="220" y="927"/>
                  <a:pt x="225" y="921"/>
                </a:cubicBezTo>
                <a:cubicBezTo>
                  <a:pt x="229" y="915"/>
                  <a:pt x="226" y="911"/>
                  <a:pt x="218" y="911"/>
                </a:cubicBezTo>
                <a:cubicBezTo>
                  <a:pt x="218" y="911"/>
                  <a:pt x="218" y="911"/>
                  <a:pt x="218" y="911"/>
                </a:cubicBezTo>
                <a:moveTo>
                  <a:pt x="260" y="911"/>
                </a:moveTo>
                <a:cubicBezTo>
                  <a:pt x="252" y="911"/>
                  <a:pt x="242" y="915"/>
                  <a:pt x="238" y="921"/>
                </a:cubicBezTo>
                <a:cubicBezTo>
                  <a:pt x="233" y="926"/>
                  <a:pt x="236" y="931"/>
                  <a:pt x="244" y="931"/>
                </a:cubicBezTo>
                <a:cubicBezTo>
                  <a:pt x="252" y="931"/>
                  <a:pt x="262" y="926"/>
                  <a:pt x="266" y="921"/>
                </a:cubicBezTo>
                <a:cubicBezTo>
                  <a:pt x="271" y="915"/>
                  <a:pt x="268" y="911"/>
                  <a:pt x="260" y="911"/>
                </a:cubicBezTo>
                <a:cubicBezTo>
                  <a:pt x="260" y="911"/>
                  <a:pt x="260" y="911"/>
                  <a:pt x="260" y="911"/>
                </a:cubicBezTo>
                <a:moveTo>
                  <a:pt x="300" y="911"/>
                </a:moveTo>
                <a:cubicBezTo>
                  <a:pt x="292" y="911"/>
                  <a:pt x="283" y="915"/>
                  <a:pt x="278" y="921"/>
                </a:cubicBezTo>
                <a:cubicBezTo>
                  <a:pt x="274" y="926"/>
                  <a:pt x="277" y="931"/>
                  <a:pt x="285" y="931"/>
                </a:cubicBezTo>
                <a:cubicBezTo>
                  <a:pt x="293" y="931"/>
                  <a:pt x="303" y="926"/>
                  <a:pt x="307" y="921"/>
                </a:cubicBezTo>
                <a:cubicBezTo>
                  <a:pt x="311" y="915"/>
                  <a:pt x="308" y="911"/>
                  <a:pt x="300" y="911"/>
                </a:cubicBezTo>
                <a:cubicBezTo>
                  <a:pt x="300" y="911"/>
                  <a:pt x="300" y="911"/>
                  <a:pt x="300" y="911"/>
                </a:cubicBezTo>
                <a:moveTo>
                  <a:pt x="342" y="910"/>
                </a:moveTo>
                <a:cubicBezTo>
                  <a:pt x="334" y="910"/>
                  <a:pt x="324" y="915"/>
                  <a:pt x="320" y="921"/>
                </a:cubicBezTo>
                <a:cubicBezTo>
                  <a:pt x="316" y="926"/>
                  <a:pt x="319" y="931"/>
                  <a:pt x="327" y="931"/>
                </a:cubicBezTo>
                <a:cubicBezTo>
                  <a:pt x="335" y="931"/>
                  <a:pt x="345" y="926"/>
                  <a:pt x="349" y="920"/>
                </a:cubicBezTo>
                <a:cubicBezTo>
                  <a:pt x="353" y="915"/>
                  <a:pt x="350" y="910"/>
                  <a:pt x="342" y="910"/>
                </a:cubicBezTo>
                <a:cubicBezTo>
                  <a:pt x="342" y="910"/>
                  <a:pt x="342" y="910"/>
                  <a:pt x="342" y="910"/>
                </a:cubicBezTo>
                <a:moveTo>
                  <a:pt x="383" y="910"/>
                </a:moveTo>
                <a:cubicBezTo>
                  <a:pt x="375" y="910"/>
                  <a:pt x="365" y="915"/>
                  <a:pt x="361" y="920"/>
                </a:cubicBezTo>
                <a:cubicBezTo>
                  <a:pt x="357" y="926"/>
                  <a:pt x="360" y="930"/>
                  <a:pt x="368" y="930"/>
                </a:cubicBezTo>
                <a:cubicBezTo>
                  <a:pt x="376" y="930"/>
                  <a:pt x="386" y="926"/>
                  <a:pt x="390" y="920"/>
                </a:cubicBezTo>
                <a:cubicBezTo>
                  <a:pt x="394" y="915"/>
                  <a:pt x="391" y="910"/>
                  <a:pt x="383" y="910"/>
                </a:cubicBezTo>
                <a:cubicBezTo>
                  <a:pt x="383" y="910"/>
                  <a:pt x="383" y="910"/>
                  <a:pt x="383" y="910"/>
                </a:cubicBezTo>
                <a:moveTo>
                  <a:pt x="1646" y="904"/>
                </a:moveTo>
                <a:cubicBezTo>
                  <a:pt x="1638" y="904"/>
                  <a:pt x="1631" y="908"/>
                  <a:pt x="1629" y="914"/>
                </a:cubicBezTo>
                <a:cubicBezTo>
                  <a:pt x="1627" y="920"/>
                  <a:pt x="1633" y="924"/>
                  <a:pt x="1641" y="924"/>
                </a:cubicBezTo>
                <a:cubicBezTo>
                  <a:pt x="1648" y="924"/>
                  <a:pt x="1656" y="919"/>
                  <a:pt x="1658" y="914"/>
                </a:cubicBezTo>
                <a:cubicBezTo>
                  <a:pt x="1659" y="908"/>
                  <a:pt x="1654" y="904"/>
                  <a:pt x="1646" y="904"/>
                </a:cubicBezTo>
                <a:cubicBezTo>
                  <a:pt x="1646" y="904"/>
                  <a:pt x="1646" y="904"/>
                  <a:pt x="1646" y="904"/>
                </a:cubicBezTo>
                <a:moveTo>
                  <a:pt x="1693" y="904"/>
                </a:moveTo>
                <a:cubicBezTo>
                  <a:pt x="1685" y="904"/>
                  <a:pt x="1678" y="908"/>
                  <a:pt x="1676" y="914"/>
                </a:cubicBezTo>
                <a:cubicBezTo>
                  <a:pt x="1675" y="919"/>
                  <a:pt x="1680" y="924"/>
                  <a:pt x="1688" y="924"/>
                </a:cubicBezTo>
                <a:cubicBezTo>
                  <a:pt x="1696" y="924"/>
                  <a:pt x="1703" y="919"/>
                  <a:pt x="1705" y="914"/>
                </a:cubicBezTo>
                <a:cubicBezTo>
                  <a:pt x="1706" y="908"/>
                  <a:pt x="1701" y="904"/>
                  <a:pt x="1693" y="904"/>
                </a:cubicBezTo>
                <a:cubicBezTo>
                  <a:pt x="1693" y="904"/>
                  <a:pt x="1693" y="904"/>
                  <a:pt x="1693" y="904"/>
                </a:cubicBezTo>
                <a:moveTo>
                  <a:pt x="1732" y="903"/>
                </a:moveTo>
                <a:cubicBezTo>
                  <a:pt x="1724" y="903"/>
                  <a:pt x="1716" y="908"/>
                  <a:pt x="1715" y="914"/>
                </a:cubicBezTo>
                <a:cubicBezTo>
                  <a:pt x="1713" y="919"/>
                  <a:pt x="1718" y="924"/>
                  <a:pt x="1726" y="924"/>
                </a:cubicBezTo>
                <a:cubicBezTo>
                  <a:pt x="1734" y="924"/>
                  <a:pt x="1742" y="919"/>
                  <a:pt x="1743" y="913"/>
                </a:cubicBezTo>
                <a:cubicBezTo>
                  <a:pt x="1745" y="908"/>
                  <a:pt x="1739" y="903"/>
                  <a:pt x="1732" y="903"/>
                </a:cubicBezTo>
                <a:cubicBezTo>
                  <a:pt x="1732" y="903"/>
                  <a:pt x="1732" y="903"/>
                  <a:pt x="1732" y="903"/>
                </a:cubicBezTo>
                <a:moveTo>
                  <a:pt x="1772" y="903"/>
                </a:moveTo>
                <a:cubicBezTo>
                  <a:pt x="1764" y="903"/>
                  <a:pt x="1757" y="908"/>
                  <a:pt x="1755" y="913"/>
                </a:cubicBezTo>
                <a:cubicBezTo>
                  <a:pt x="1754" y="919"/>
                  <a:pt x="1759" y="924"/>
                  <a:pt x="1767" y="924"/>
                </a:cubicBezTo>
                <a:cubicBezTo>
                  <a:pt x="1775" y="924"/>
                  <a:pt x="1783" y="919"/>
                  <a:pt x="1784" y="913"/>
                </a:cubicBezTo>
                <a:cubicBezTo>
                  <a:pt x="1785" y="908"/>
                  <a:pt x="1780" y="903"/>
                  <a:pt x="1772" y="903"/>
                </a:cubicBezTo>
                <a:cubicBezTo>
                  <a:pt x="1772" y="903"/>
                  <a:pt x="1772" y="903"/>
                  <a:pt x="1772" y="903"/>
                </a:cubicBezTo>
                <a:moveTo>
                  <a:pt x="1813" y="903"/>
                </a:moveTo>
                <a:cubicBezTo>
                  <a:pt x="1805" y="903"/>
                  <a:pt x="1798" y="908"/>
                  <a:pt x="1797" y="913"/>
                </a:cubicBezTo>
                <a:cubicBezTo>
                  <a:pt x="1795" y="919"/>
                  <a:pt x="1801" y="923"/>
                  <a:pt x="1809" y="923"/>
                </a:cubicBezTo>
                <a:cubicBezTo>
                  <a:pt x="1817" y="923"/>
                  <a:pt x="1824" y="919"/>
                  <a:pt x="1825" y="913"/>
                </a:cubicBezTo>
                <a:cubicBezTo>
                  <a:pt x="1826" y="908"/>
                  <a:pt x="1821" y="903"/>
                  <a:pt x="1813" y="903"/>
                </a:cubicBezTo>
                <a:cubicBezTo>
                  <a:pt x="1813" y="903"/>
                  <a:pt x="1813" y="903"/>
                  <a:pt x="1813" y="903"/>
                </a:cubicBezTo>
                <a:moveTo>
                  <a:pt x="1854" y="903"/>
                </a:moveTo>
                <a:cubicBezTo>
                  <a:pt x="1847" y="903"/>
                  <a:pt x="1839" y="907"/>
                  <a:pt x="1838" y="913"/>
                </a:cubicBezTo>
                <a:cubicBezTo>
                  <a:pt x="1837" y="919"/>
                  <a:pt x="1842" y="923"/>
                  <a:pt x="1850" y="923"/>
                </a:cubicBezTo>
                <a:cubicBezTo>
                  <a:pt x="1858" y="923"/>
                  <a:pt x="1865" y="919"/>
                  <a:pt x="1867" y="913"/>
                </a:cubicBezTo>
                <a:cubicBezTo>
                  <a:pt x="1868" y="907"/>
                  <a:pt x="1862" y="903"/>
                  <a:pt x="1855" y="903"/>
                </a:cubicBezTo>
                <a:cubicBezTo>
                  <a:pt x="1855" y="903"/>
                  <a:pt x="1854" y="903"/>
                  <a:pt x="1854" y="903"/>
                </a:cubicBezTo>
                <a:moveTo>
                  <a:pt x="1895" y="903"/>
                </a:moveTo>
                <a:cubicBezTo>
                  <a:pt x="1887" y="903"/>
                  <a:pt x="1880" y="907"/>
                  <a:pt x="1879" y="913"/>
                </a:cubicBezTo>
                <a:cubicBezTo>
                  <a:pt x="1878" y="919"/>
                  <a:pt x="1883" y="923"/>
                  <a:pt x="1891" y="923"/>
                </a:cubicBezTo>
                <a:cubicBezTo>
                  <a:pt x="1899" y="923"/>
                  <a:pt x="1906" y="918"/>
                  <a:pt x="1907" y="913"/>
                </a:cubicBezTo>
                <a:cubicBezTo>
                  <a:pt x="1908" y="907"/>
                  <a:pt x="1903" y="903"/>
                  <a:pt x="1895" y="903"/>
                </a:cubicBezTo>
                <a:cubicBezTo>
                  <a:pt x="1895" y="903"/>
                  <a:pt x="1895" y="903"/>
                  <a:pt x="1895" y="903"/>
                </a:cubicBezTo>
                <a:moveTo>
                  <a:pt x="1936" y="903"/>
                </a:moveTo>
                <a:cubicBezTo>
                  <a:pt x="1928" y="903"/>
                  <a:pt x="1921" y="907"/>
                  <a:pt x="1920" y="913"/>
                </a:cubicBezTo>
                <a:cubicBezTo>
                  <a:pt x="1919" y="918"/>
                  <a:pt x="1924" y="923"/>
                  <a:pt x="1932" y="923"/>
                </a:cubicBezTo>
                <a:cubicBezTo>
                  <a:pt x="1940" y="923"/>
                  <a:pt x="1947" y="918"/>
                  <a:pt x="1948" y="913"/>
                </a:cubicBezTo>
                <a:cubicBezTo>
                  <a:pt x="1949" y="907"/>
                  <a:pt x="1944" y="903"/>
                  <a:pt x="1936" y="903"/>
                </a:cubicBezTo>
                <a:cubicBezTo>
                  <a:pt x="1936" y="903"/>
                  <a:pt x="1936" y="903"/>
                  <a:pt x="1936" y="903"/>
                </a:cubicBezTo>
                <a:moveTo>
                  <a:pt x="1977" y="902"/>
                </a:moveTo>
                <a:cubicBezTo>
                  <a:pt x="1969" y="902"/>
                  <a:pt x="1961" y="907"/>
                  <a:pt x="1960" y="913"/>
                </a:cubicBezTo>
                <a:cubicBezTo>
                  <a:pt x="1959" y="918"/>
                  <a:pt x="1965" y="923"/>
                  <a:pt x="1973" y="923"/>
                </a:cubicBezTo>
                <a:cubicBezTo>
                  <a:pt x="1981" y="923"/>
                  <a:pt x="1988" y="918"/>
                  <a:pt x="1989" y="912"/>
                </a:cubicBezTo>
                <a:cubicBezTo>
                  <a:pt x="1990" y="907"/>
                  <a:pt x="1984" y="902"/>
                  <a:pt x="1977" y="902"/>
                </a:cubicBezTo>
                <a:cubicBezTo>
                  <a:pt x="1977" y="902"/>
                  <a:pt x="1977" y="902"/>
                  <a:pt x="1977" y="902"/>
                </a:cubicBezTo>
                <a:moveTo>
                  <a:pt x="2017" y="902"/>
                </a:moveTo>
                <a:cubicBezTo>
                  <a:pt x="2010" y="902"/>
                  <a:pt x="2002" y="907"/>
                  <a:pt x="2002" y="912"/>
                </a:cubicBezTo>
                <a:cubicBezTo>
                  <a:pt x="2001" y="918"/>
                  <a:pt x="2006" y="923"/>
                  <a:pt x="2014" y="923"/>
                </a:cubicBezTo>
                <a:cubicBezTo>
                  <a:pt x="2022" y="923"/>
                  <a:pt x="2029" y="918"/>
                  <a:pt x="2030" y="912"/>
                </a:cubicBezTo>
                <a:cubicBezTo>
                  <a:pt x="2031" y="907"/>
                  <a:pt x="2025" y="902"/>
                  <a:pt x="2018" y="902"/>
                </a:cubicBezTo>
                <a:cubicBezTo>
                  <a:pt x="2018" y="902"/>
                  <a:pt x="2018" y="902"/>
                  <a:pt x="2017" y="902"/>
                </a:cubicBezTo>
                <a:moveTo>
                  <a:pt x="2060" y="902"/>
                </a:moveTo>
                <a:cubicBezTo>
                  <a:pt x="2052" y="902"/>
                  <a:pt x="2045" y="907"/>
                  <a:pt x="2044" y="912"/>
                </a:cubicBezTo>
                <a:cubicBezTo>
                  <a:pt x="2043" y="918"/>
                  <a:pt x="2049" y="922"/>
                  <a:pt x="2057" y="922"/>
                </a:cubicBezTo>
                <a:cubicBezTo>
                  <a:pt x="2065" y="922"/>
                  <a:pt x="2072" y="918"/>
                  <a:pt x="2073" y="912"/>
                </a:cubicBezTo>
                <a:cubicBezTo>
                  <a:pt x="2073" y="907"/>
                  <a:pt x="2068" y="902"/>
                  <a:pt x="2060" y="902"/>
                </a:cubicBezTo>
                <a:cubicBezTo>
                  <a:pt x="2060" y="902"/>
                  <a:pt x="2060" y="902"/>
                  <a:pt x="2060" y="902"/>
                </a:cubicBezTo>
                <a:moveTo>
                  <a:pt x="2100" y="902"/>
                </a:moveTo>
                <a:cubicBezTo>
                  <a:pt x="2092" y="902"/>
                  <a:pt x="2085" y="906"/>
                  <a:pt x="2085" y="912"/>
                </a:cubicBezTo>
                <a:cubicBezTo>
                  <a:pt x="2084" y="918"/>
                  <a:pt x="2090" y="922"/>
                  <a:pt x="2098" y="922"/>
                </a:cubicBezTo>
                <a:cubicBezTo>
                  <a:pt x="2106" y="922"/>
                  <a:pt x="2113" y="918"/>
                  <a:pt x="2113" y="912"/>
                </a:cubicBezTo>
                <a:cubicBezTo>
                  <a:pt x="2114" y="906"/>
                  <a:pt x="2108" y="902"/>
                  <a:pt x="2100" y="902"/>
                </a:cubicBezTo>
                <a:cubicBezTo>
                  <a:pt x="2100" y="902"/>
                  <a:pt x="2100" y="902"/>
                  <a:pt x="2100" y="902"/>
                </a:cubicBezTo>
                <a:moveTo>
                  <a:pt x="2141" y="902"/>
                </a:moveTo>
                <a:cubicBezTo>
                  <a:pt x="2133" y="902"/>
                  <a:pt x="2126" y="906"/>
                  <a:pt x="2126" y="912"/>
                </a:cubicBezTo>
                <a:cubicBezTo>
                  <a:pt x="2125" y="918"/>
                  <a:pt x="2131" y="922"/>
                  <a:pt x="2139" y="922"/>
                </a:cubicBezTo>
                <a:cubicBezTo>
                  <a:pt x="2147" y="922"/>
                  <a:pt x="2154" y="917"/>
                  <a:pt x="2154" y="912"/>
                </a:cubicBezTo>
                <a:cubicBezTo>
                  <a:pt x="2155" y="906"/>
                  <a:pt x="2149" y="902"/>
                  <a:pt x="2141" y="902"/>
                </a:cubicBezTo>
                <a:cubicBezTo>
                  <a:pt x="2141" y="902"/>
                  <a:pt x="2141" y="902"/>
                  <a:pt x="2141" y="902"/>
                </a:cubicBezTo>
                <a:moveTo>
                  <a:pt x="2182" y="901"/>
                </a:moveTo>
                <a:cubicBezTo>
                  <a:pt x="2175" y="902"/>
                  <a:pt x="2168" y="906"/>
                  <a:pt x="2167" y="912"/>
                </a:cubicBezTo>
                <a:cubicBezTo>
                  <a:pt x="2167" y="917"/>
                  <a:pt x="2172" y="922"/>
                  <a:pt x="2180" y="922"/>
                </a:cubicBezTo>
                <a:cubicBezTo>
                  <a:pt x="2188" y="922"/>
                  <a:pt x="2195" y="917"/>
                  <a:pt x="2196" y="912"/>
                </a:cubicBezTo>
                <a:cubicBezTo>
                  <a:pt x="2196" y="906"/>
                  <a:pt x="2190" y="901"/>
                  <a:pt x="2183" y="901"/>
                </a:cubicBezTo>
                <a:cubicBezTo>
                  <a:pt x="2183" y="901"/>
                  <a:pt x="2183" y="901"/>
                  <a:pt x="2182" y="901"/>
                </a:cubicBezTo>
                <a:moveTo>
                  <a:pt x="2223" y="901"/>
                </a:moveTo>
                <a:cubicBezTo>
                  <a:pt x="2215" y="901"/>
                  <a:pt x="2208" y="906"/>
                  <a:pt x="2208" y="912"/>
                </a:cubicBezTo>
                <a:cubicBezTo>
                  <a:pt x="2207" y="917"/>
                  <a:pt x="2213" y="922"/>
                  <a:pt x="2221" y="922"/>
                </a:cubicBezTo>
                <a:cubicBezTo>
                  <a:pt x="2229" y="922"/>
                  <a:pt x="2236" y="917"/>
                  <a:pt x="2237" y="911"/>
                </a:cubicBezTo>
                <a:cubicBezTo>
                  <a:pt x="2237" y="906"/>
                  <a:pt x="2231" y="901"/>
                  <a:pt x="2223" y="901"/>
                </a:cubicBezTo>
                <a:cubicBezTo>
                  <a:pt x="2223" y="901"/>
                  <a:pt x="2223" y="901"/>
                  <a:pt x="2223" y="901"/>
                </a:cubicBezTo>
                <a:moveTo>
                  <a:pt x="2836" y="901"/>
                </a:moveTo>
                <a:cubicBezTo>
                  <a:pt x="2828" y="901"/>
                  <a:pt x="2822" y="906"/>
                  <a:pt x="2823" y="911"/>
                </a:cubicBezTo>
                <a:cubicBezTo>
                  <a:pt x="2824" y="917"/>
                  <a:pt x="2831" y="922"/>
                  <a:pt x="2838" y="922"/>
                </a:cubicBezTo>
                <a:cubicBezTo>
                  <a:pt x="2846" y="922"/>
                  <a:pt x="2852" y="917"/>
                  <a:pt x="2852" y="911"/>
                </a:cubicBezTo>
                <a:cubicBezTo>
                  <a:pt x="2851" y="906"/>
                  <a:pt x="2844" y="901"/>
                  <a:pt x="2836" y="901"/>
                </a:cubicBezTo>
                <a:cubicBezTo>
                  <a:pt x="2836" y="901"/>
                  <a:pt x="2836" y="901"/>
                  <a:pt x="2836" y="901"/>
                </a:cubicBezTo>
                <a:moveTo>
                  <a:pt x="2264" y="901"/>
                </a:moveTo>
                <a:cubicBezTo>
                  <a:pt x="2256" y="901"/>
                  <a:pt x="2249" y="906"/>
                  <a:pt x="2249" y="911"/>
                </a:cubicBezTo>
                <a:cubicBezTo>
                  <a:pt x="2248" y="917"/>
                  <a:pt x="2254" y="922"/>
                  <a:pt x="2262" y="922"/>
                </a:cubicBezTo>
                <a:cubicBezTo>
                  <a:pt x="2270" y="922"/>
                  <a:pt x="2277" y="917"/>
                  <a:pt x="2277" y="911"/>
                </a:cubicBezTo>
                <a:cubicBezTo>
                  <a:pt x="2278" y="906"/>
                  <a:pt x="2272" y="901"/>
                  <a:pt x="2264" y="901"/>
                </a:cubicBezTo>
                <a:cubicBezTo>
                  <a:pt x="2264" y="901"/>
                  <a:pt x="2264" y="901"/>
                  <a:pt x="2264" y="901"/>
                </a:cubicBezTo>
                <a:moveTo>
                  <a:pt x="2304" y="901"/>
                </a:moveTo>
                <a:cubicBezTo>
                  <a:pt x="2297" y="901"/>
                  <a:pt x="2290" y="906"/>
                  <a:pt x="2290" y="911"/>
                </a:cubicBezTo>
                <a:cubicBezTo>
                  <a:pt x="2289" y="917"/>
                  <a:pt x="2295" y="921"/>
                  <a:pt x="2303" y="921"/>
                </a:cubicBezTo>
                <a:cubicBezTo>
                  <a:pt x="2311" y="921"/>
                  <a:pt x="2318" y="917"/>
                  <a:pt x="2318" y="911"/>
                </a:cubicBezTo>
                <a:cubicBezTo>
                  <a:pt x="2319" y="906"/>
                  <a:pt x="2312" y="901"/>
                  <a:pt x="2305" y="901"/>
                </a:cubicBezTo>
                <a:cubicBezTo>
                  <a:pt x="2305" y="901"/>
                  <a:pt x="2305" y="901"/>
                  <a:pt x="2304" y="901"/>
                </a:cubicBezTo>
                <a:moveTo>
                  <a:pt x="2917" y="901"/>
                </a:moveTo>
                <a:cubicBezTo>
                  <a:pt x="2909" y="901"/>
                  <a:pt x="2904" y="906"/>
                  <a:pt x="2904" y="911"/>
                </a:cubicBezTo>
                <a:cubicBezTo>
                  <a:pt x="2905" y="917"/>
                  <a:pt x="2912" y="921"/>
                  <a:pt x="2920" y="921"/>
                </a:cubicBezTo>
                <a:cubicBezTo>
                  <a:pt x="2928" y="921"/>
                  <a:pt x="2934" y="917"/>
                  <a:pt x="2933" y="911"/>
                </a:cubicBezTo>
                <a:cubicBezTo>
                  <a:pt x="2932" y="905"/>
                  <a:pt x="2925" y="901"/>
                  <a:pt x="2917" y="901"/>
                </a:cubicBezTo>
                <a:cubicBezTo>
                  <a:pt x="2917" y="901"/>
                  <a:pt x="2917" y="901"/>
                  <a:pt x="2917" y="901"/>
                </a:cubicBezTo>
                <a:moveTo>
                  <a:pt x="2345" y="901"/>
                </a:moveTo>
                <a:cubicBezTo>
                  <a:pt x="2338" y="901"/>
                  <a:pt x="2331" y="905"/>
                  <a:pt x="2331" y="911"/>
                </a:cubicBezTo>
                <a:cubicBezTo>
                  <a:pt x="2330" y="917"/>
                  <a:pt x="2337" y="921"/>
                  <a:pt x="2344" y="921"/>
                </a:cubicBezTo>
                <a:cubicBezTo>
                  <a:pt x="2352" y="921"/>
                  <a:pt x="2359" y="917"/>
                  <a:pt x="2359" y="911"/>
                </a:cubicBezTo>
                <a:cubicBezTo>
                  <a:pt x="2360" y="905"/>
                  <a:pt x="2353" y="901"/>
                  <a:pt x="2346" y="901"/>
                </a:cubicBezTo>
                <a:cubicBezTo>
                  <a:pt x="2345" y="901"/>
                  <a:pt x="2345" y="901"/>
                  <a:pt x="2345" y="901"/>
                </a:cubicBezTo>
                <a:moveTo>
                  <a:pt x="2387" y="901"/>
                </a:moveTo>
                <a:cubicBezTo>
                  <a:pt x="2379" y="901"/>
                  <a:pt x="2372" y="905"/>
                  <a:pt x="2372" y="911"/>
                </a:cubicBezTo>
                <a:cubicBezTo>
                  <a:pt x="2372" y="917"/>
                  <a:pt x="2378" y="921"/>
                  <a:pt x="2386" y="921"/>
                </a:cubicBezTo>
                <a:cubicBezTo>
                  <a:pt x="2394" y="921"/>
                  <a:pt x="2401" y="916"/>
                  <a:pt x="2401" y="911"/>
                </a:cubicBezTo>
                <a:cubicBezTo>
                  <a:pt x="2401" y="905"/>
                  <a:pt x="2395" y="901"/>
                  <a:pt x="2387" y="901"/>
                </a:cubicBezTo>
                <a:cubicBezTo>
                  <a:pt x="2387" y="901"/>
                  <a:pt x="2387" y="901"/>
                  <a:pt x="2387" y="901"/>
                </a:cubicBezTo>
                <a:moveTo>
                  <a:pt x="2427" y="900"/>
                </a:moveTo>
                <a:cubicBezTo>
                  <a:pt x="2419" y="901"/>
                  <a:pt x="2413" y="905"/>
                  <a:pt x="2413" y="911"/>
                </a:cubicBezTo>
                <a:cubicBezTo>
                  <a:pt x="2413" y="916"/>
                  <a:pt x="2419" y="921"/>
                  <a:pt x="2427" y="921"/>
                </a:cubicBezTo>
                <a:cubicBezTo>
                  <a:pt x="2435" y="921"/>
                  <a:pt x="2441" y="916"/>
                  <a:pt x="2441" y="911"/>
                </a:cubicBezTo>
                <a:cubicBezTo>
                  <a:pt x="2442" y="905"/>
                  <a:pt x="2435" y="900"/>
                  <a:pt x="2427" y="900"/>
                </a:cubicBezTo>
                <a:cubicBezTo>
                  <a:pt x="2427" y="900"/>
                  <a:pt x="2427" y="900"/>
                  <a:pt x="2427" y="900"/>
                </a:cubicBezTo>
                <a:moveTo>
                  <a:pt x="2468" y="900"/>
                </a:moveTo>
                <a:cubicBezTo>
                  <a:pt x="2460" y="900"/>
                  <a:pt x="2454" y="905"/>
                  <a:pt x="2454" y="911"/>
                </a:cubicBezTo>
                <a:cubicBezTo>
                  <a:pt x="2454" y="916"/>
                  <a:pt x="2460" y="921"/>
                  <a:pt x="2468" y="921"/>
                </a:cubicBezTo>
                <a:cubicBezTo>
                  <a:pt x="2476" y="921"/>
                  <a:pt x="2482" y="916"/>
                  <a:pt x="2482" y="910"/>
                </a:cubicBezTo>
                <a:cubicBezTo>
                  <a:pt x="2482" y="905"/>
                  <a:pt x="2476" y="900"/>
                  <a:pt x="2468" y="900"/>
                </a:cubicBezTo>
                <a:cubicBezTo>
                  <a:pt x="2468" y="900"/>
                  <a:pt x="2468" y="900"/>
                  <a:pt x="2468" y="900"/>
                </a:cubicBezTo>
                <a:moveTo>
                  <a:pt x="2509" y="900"/>
                </a:moveTo>
                <a:cubicBezTo>
                  <a:pt x="2501" y="900"/>
                  <a:pt x="2494" y="905"/>
                  <a:pt x="2494" y="910"/>
                </a:cubicBezTo>
                <a:cubicBezTo>
                  <a:pt x="2494" y="916"/>
                  <a:pt x="2501" y="921"/>
                  <a:pt x="2509" y="921"/>
                </a:cubicBezTo>
                <a:cubicBezTo>
                  <a:pt x="2517" y="921"/>
                  <a:pt x="2523" y="916"/>
                  <a:pt x="2523" y="910"/>
                </a:cubicBezTo>
                <a:cubicBezTo>
                  <a:pt x="2523" y="905"/>
                  <a:pt x="2517" y="900"/>
                  <a:pt x="2509" y="900"/>
                </a:cubicBezTo>
                <a:cubicBezTo>
                  <a:pt x="2509" y="900"/>
                  <a:pt x="2509" y="900"/>
                  <a:pt x="2509" y="900"/>
                </a:cubicBezTo>
                <a:moveTo>
                  <a:pt x="2550" y="900"/>
                </a:moveTo>
                <a:cubicBezTo>
                  <a:pt x="2542" y="900"/>
                  <a:pt x="2535" y="905"/>
                  <a:pt x="2536" y="910"/>
                </a:cubicBezTo>
                <a:cubicBezTo>
                  <a:pt x="2536" y="916"/>
                  <a:pt x="2542" y="920"/>
                  <a:pt x="2550" y="920"/>
                </a:cubicBezTo>
                <a:cubicBezTo>
                  <a:pt x="2558" y="920"/>
                  <a:pt x="2564" y="916"/>
                  <a:pt x="2564" y="910"/>
                </a:cubicBezTo>
                <a:cubicBezTo>
                  <a:pt x="2564" y="905"/>
                  <a:pt x="2558" y="900"/>
                  <a:pt x="2550" y="900"/>
                </a:cubicBezTo>
                <a:cubicBezTo>
                  <a:pt x="2550" y="900"/>
                  <a:pt x="2550" y="900"/>
                  <a:pt x="2550" y="900"/>
                </a:cubicBezTo>
                <a:moveTo>
                  <a:pt x="2591" y="900"/>
                </a:moveTo>
                <a:cubicBezTo>
                  <a:pt x="2583" y="900"/>
                  <a:pt x="2577" y="904"/>
                  <a:pt x="2577" y="910"/>
                </a:cubicBezTo>
                <a:cubicBezTo>
                  <a:pt x="2577" y="916"/>
                  <a:pt x="2584" y="920"/>
                  <a:pt x="2592" y="920"/>
                </a:cubicBezTo>
                <a:cubicBezTo>
                  <a:pt x="2600" y="920"/>
                  <a:pt x="2606" y="916"/>
                  <a:pt x="2606" y="910"/>
                </a:cubicBezTo>
                <a:cubicBezTo>
                  <a:pt x="2605" y="904"/>
                  <a:pt x="2599" y="900"/>
                  <a:pt x="2591" y="900"/>
                </a:cubicBezTo>
                <a:cubicBezTo>
                  <a:pt x="2591" y="900"/>
                  <a:pt x="2591" y="900"/>
                  <a:pt x="2591" y="900"/>
                </a:cubicBezTo>
                <a:moveTo>
                  <a:pt x="2874" y="900"/>
                </a:moveTo>
                <a:cubicBezTo>
                  <a:pt x="2866" y="900"/>
                  <a:pt x="2861" y="904"/>
                  <a:pt x="2861" y="910"/>
                </a:cubicBezTo>
                <a:cubicBezTo>
                  <a:pt x="2862" y="916"/>
                  <a:pt x="2869" y="920"/>
                  <a:pt x="2877" y="920"/>
                </a:cubicBezTo>
                <a:cubicBezTo>
                  <a:pt x="2885" y="920"/>
                  <a:pt x="2891" y="916"/>
                  <a:pt x="2890" y="910"/>
                </a:cubicBezTo>
                <a:cubicBezTo>
                  <a:pt x="2889" y="904"/>
                  <a:pt x="2882" y="900"/>
                  <a:pt x="2874" y="900"/>
                </a:cubicBezTo>
                <a:cubicBezTo>
                  <a:pt x="2874" y="900"/>
                  <a:pt x="2874" y="900"/>
                  <a:pt x="2874" y="900"/>
                </a:cubicBezTo>
                <a:moveTo>
                  <a:pt x="2631" y="900"/>
                </a:moveTo>
                <a:cubicBezTo>
                  <a:pt x="2624" y="900"/>
                  <a:pt x="2617" y="904"/>
                  <a:pt x="2618" y="910"/>
                </a:cubicBezTo>
                <a:cubicBezTo>
                  <a:pt x="2618" y="916"/>
                  <a:pt x="2625" y="920"/>
                  <a:pt x="2632" y="920"/>
                </a:cubicBezTo>
                <a:cubicBezTo>
                  <a:pt x="2640" y="920"/>
                  <a:pt x="2647" y="915"/>
                  <a:pt x="2646" y="910"/>
                </a:cubicBezTo>
                <a:cubicBezTo>
                  <a:pt x="2646" y="904"/>
                  <a:pt x="2639" y="900"/>
                  <a:pt x="2632" y="900"/>
                </a:cubicBezTo>
                <a:cubicBezTo>
                  <a:pt x="2632" y="900"/>
                  <a:pt x="2631" y="900"/>
                  <a:pt x="2631" y="900"/>
                </a:cubicBezTo>
                <a:moveTo>
                  <a:pt x="2673" y="899"/>
                </a:moveTo>
                <a:cubicBezTo>
                  <a:pt x="2665" y="899"/>
                  <a:pt x="2659" y="904"/>
                  <a:pt x="2659" y="910"/>
                </a:cubicBezTo>
                <a:cubicBezTo>
                  <a:pt x="2659" y="915"/>
                  <a:pt x="2666" y="920"/>
                  <a:pt x="2674" y="920"/>
                </a:cubicBezTo>
                <a:cubicBezTo>
                  <a:pt x="2682" y="920"/>
                  <a:pt x="2688" y="915"/>
                  <a:pt x="2688" y="910"/>
                </a:cubicBezTo>
                <a:cubicBezTo>
                  <a:pt x="2687" y="904"/>
                  <a:pt x="2681" y="899"/>
                  <a:pt x="2673" y="899"/>
                </a:cubicBezTo>
                <a:cubicBezTo>
                  <a:pt x="2673" y="899"/>
                  <a:pt x="2673" y="899"/>
                  <a:pt x="2673" y="899"/>
                </a:cubicBezTo>
                <a:moveTo>
                  <a:pt x="2955" y="899"/>
                </a:moveTo>
                <a:cubicBezTo>
                  <a:pt x="2948" y="899"/>
                  <a:pt x="2942" y="904"/>
                  <a:pt x="2943" y="910"/>
                </a:cubicBezTo>
                <a:cubicBezTo>
                  <a:pt x="2944" y="915"/>
                  <a:pt x="2951" y="920"/>
                  <a:pt x="2959" y="920"/>
                </a:cubicBezTo>
                <a:cubicBezTo>
                  <a:pt x="2967" y="920"/>
                  <a:pt x="2972" y="915"/>
                  <a:pt x="2971" y="910"/>
                </a:cubicBezTo>
                <a:cubicBezTo>
                  <a:pt x="2971" y="904"/>
                  <a:pt x="2963" y="899"/>
                  <a:pt x="2956" y="899"/>
                </a:cubicBezTo>
                <a:cubicBezTo>
                  <a:pt x="2956" y="899"/>
                  <a:pt x="2955" y="899"/>
                  <a:pt x="2955" y="899"/>
                </a:cubicBezTo>
                <a:moveTo>
                  <a:pt x="3365" y="898"/>
                </a:moveTo>
                <a:cubicBezTo>
                  <a:pt x="3357" y="898"/>
                  <a:pt x="3352" y="903"/>
                  <a:pt x="3354" y="909"/>
                </a:cubicBezTo>
                <a:cubicBezTo>
                  <a:pt x="3355" y="914"/>
                  <a:pt x="3363" y="919"/>
                  <a:pt x="3371" y="919"/>
                </a:cubicBezTo>
                <a:cubicBezTo>
                  <a:pt x="3379" y="919"/>
                  <a:pt x="3384" y="914"/>
                  <a:pt x="3382" y="909"/>
                </a:cubicBezTo>
                <a:cubicBezTo>
                  <a:pt x="3381" y="903"/>
                  <a:pt x="3373" y="898"/>
                  <a:pt x="3365" y="898"/>
                </a:cubicBezTo>
                <a:cubicBezTo>
                  <a:pt x="3365" y="898"/>
                  <a:pt x="3365" y="898"/>
                  <a:pt x="3365" y="898"/>
                </a:cubicBezTo>
                <a:moveTo>
                  <a:pt x="3405" y="898"/>
                </a:moveTo>
                <a:cubicBezTo>
                  <a:pt x="3398" y="898"/>
                  <a:pt x="3393" y="903"/>
                  <a:pt x="3394" y="909"/>
                </a:cubicBezTo>
                <a:cubicBezTo>
                  <a:pt x="3396" y="914"/>
                  <a:pt x="3404" y="919"/>
                  <a:pt x="3412" y="919"/>
                </a:cubicBezTo>
                <a:cubicBezTo>
                  <a:pt x="3420" y="919"/>
                  <a:pt x="3425" y="914"/>
                  <a:pt x="3423" y="908"/>
                </a:cubicBezTo>
                <a:cubicBezTo>
                  <a:pt x="3421" y="903"/>
                  <a:pt x="3413" y="898"/>
                  <a:pt x="3406" y="898"/>
                </a:cubicBezTo>
                <a:cubicBezTo>
                  <a:pt x="3406" y="898"/>
                  <a:pt x="3406" y="898"/>
                  <a:pt x="3405" y="898"/>
                </a:cubicBezTo>
                <a:moveTo>
                  <a:pt x="3446" y="898"/>
                </a:moveTo>
                <a:cubicBezTo>
                  <a:pt x="3439" y="898"/>
                  <a:pt x="3434" y="903"/>
                  <a:pt x="3435" y="908"/>
                </a:cubicBezTo>
                <a:cubicBezTo>
                  <a:pt x="3437" y="914"/>
                  <a:pt x="3445" y="919"/>
                  <a:pt x="3453" y="919"/>
                </a:cubicBezTo>
                <a:cubicBezTo>
                  <a:pt x="3461" y="919"/>
                  <a:pt x="3466" y="914"/>
                  <a:pt x="3464" y="908"/>
                </a:cubicBezTo>
                <a:cubicBezTo>
                  <a:pt x="3462" y="903"/>
                  <a:pt x="3454" y="898"/>
                  <a:pt x="3446" y="898"/>
                </a:cubicBezTo>
                <a:cubicBezTo>
                  <a:pt x="3446" y="898"/>
                  <a:pt x="3446" y="898"/>
                  <a:pt x="3446" y="898"/>
                </a:cubicBezTo>
                <a:moveTo>
                  <a:pt x="2794" y="898"/>
                </a:moveTo>
                <a:cubicBezTo>
                  <a:pt x="2786" y="898"/>
                  <a:pt x="2781" y="902"/>
                  <a:pt x="2781" y="908"/>
                </a:cubicBezTo>
                <a:cubicBezTo>
                  <a:pt x="2782" y="913"/>
                  <a:pt x="2789" y="918"/>
                  <a:pt x="2797" y="918"/>
                </a:cubicBezTo>
                <a:cubicBezTo>
                  <a:pt x="2804" y="918"/>
                  <a:pt x="2810" y="913"/>
                  <a:pt x="2810" y="908"/>
                </a:cubicBezTo>
                <a:cubicBezTo>
                  <a:pt x="2809" y="902"/>
                  <a:pt x="2802" y="898"/>
                  <a:pt x="2794" y="898"/>
                </a:cubicBezTo>
                <a:cubicBezTo>
                  <a:pt x="2794" y="898"/>
                  <a:pt x="2794" y="898"/>
                  <a:pt x="2794" y="898"/>
                </a:cubicBezTo>
                <a:moveTo>
                  <a:pt x="3814" y="897"/>
                </a:moveTo>
                <a:cubicBezTo>
                  <a:pt x="3806" y="897"/>
                  <a:pt x="3802" y="901"/>
                  <a:pt x="3805" y="907"/>
                </a:cubicBezTo>
                <a:cubicBezTo>
                  <a:pt x="3807" y="913"/>
                  <a:pt x="3816" y="917"/>
                  <a:pt x="3823" y="917"/>
                </a:cubicBezTo>
                <a:cubicBezTo>
                  <a:pt x="3831" y="917"/>
                  <a:pt x="3836" y="913"/>
                  <a:pt x="3833" y="907"/>
                </a:cubicBezTo>
                <a:cubicBezTo>
                  <a:pt x="3831" y="901"/>
                  <a:pt x="3822" y="897"/>
                  <a:pt x="3814" y="897"/>
                </a:cubicBezTo>
                <a:cubicBezTo>
                  <a:pt x="3814" y="897"/>
                  <a:pt x="3814" y="897"/>
                  <a:pt x="3814" y="897"/>
                </a:cubicBezTo>
                <a:moveTo>
                  <a:pt x="3855" y="897"/>
                </a:moveTo>
                <a:cubicBezTo>
                  <a:pt x="3847" y="897"/>
                  <a:pt x="3843" y="901"/>
                  <a:pt x="3846" y="907"/>
                </a:cubicBezTo>
                <a:cubicBezTo>
                  <a:pt x="3848" y="913"/>
                  <a:pt x="3857" y="917"/>
                  <a:pt x="3865" y="917"/>
                </a:cubicBezTo>
                <a:cubicBezTo>
                  <a:pt x="3873" y="917"/>
                  <a:pt x="3877" y="913"/>
                  <a:pt x="3874" y="907"/>
                </a:cubicBezTo>
                <a:cubicBezTo>
                  <a:pt x="3872" y="901"/>
                  <a:pt x="3863" y="897"/>
                  <a:pt x="3855" y="897"/>
                </a:cubicBezTo>
                <a:cubicBezTo>
                  <a:pt x="3855" y="897"/>
                  <a:pt x="3855" y="897"/>
                  <a:pt x="3855" y="897"/>
                </a:cubicBezTo>
                <a:moveTo>
                  <a:pt x="3898" y="896"/>
                </a:moveTo>
                <a:cubicBezTo>
                  <a:pt x="3891" y="897"/>
                  <a:pt x="3886" y="901"/>
                  <a:pt x="3889" y="907"/>
                </a:cubicBezTo>
                <a:cubicBezTo>
                  <a:pt x="3892" y="912"/>
                  <a:pt x="3900" y="917"/>
                  <a:pt x="3908" y="917"/>
                </a:cubicBezTo>
                <a:cubicBezTo>
                  <a:pt x="3916" y="917"/>
                  <a:pt x="3920" y="912"/>
                  <a:pt x="3918" y="907"/>
                </a:cubicBezTo>
                <a:cubicBezTo>
                  <a:pt x="3915" y="901"/>
                  <a:pt x="3906" y="896"/>
                  <a:pt x="3899" y="896"/>
                </a:cubicBezTo>
                <a:cubicBezTo>
                  <a:pt x="3899" y="896"/>
                  <a:pt x="3898" y="896"/>
                  <a:pt x="3898" y="896"/>
                </a:cubicBezTo>
                <a:moveTo>
                  <a:pt x="3939" y="896"/>
                </a:moveTo>
                <a:cubicBezTo>
                  <a:pt x="3931" y="896"/>
                  <a:pt x="3927" y="901"/>
                  <a:pt x="3929" y="907"/>
                </a:cubicBezTo>
                <a:cubicBezTo>
                  <a:pt x="3932" y="912"/>
                  <a:pt x="3941" y="917"/>
                  <a:pt x="3949" y="917"/>
                </a:cubicBezTo>
                <a:cubicBezTo>
                  <a:pt x="3957" y="917"/>
                  <a:pt x="3961" y="912"/>
                  <a:pt x="3958" y="907"/>
                </a:cubicBezTo>
                <a:cubicBezTo>
                  <a:pt x="3955" y="901"/>
                  <a:pt x="3947" y="896"/>
                  <a:pt x="3939" y="896"/>
                </a:cubicBezTo>
                <a:cubicBezTo>
                  <a:pt x="3939" y="896"/>
                  <a:pt x="3939" y="896"/>
                  <a:pt x="3939" y="896"/>
                </a:cubicBezTo>
                <a:moveTo>
                  <a:pt x="3979" y="896"/>
                </a:moveTo>
                <a:cubicBezTo>
                  <a:pt x="3971" y="896"/>
                  <a:pt x="3967" y="901"/>
                  <a:pt x="3970" y="906"/>
                </a:cubicBezTo>
                <a:cubicBezTo>
                  <a:pt x="3973" y="912"/>
                  <a:pt x="3982" y="917"/>
                  <a:pt x="3990" y="917"/>
                </a:cubicBezTo>
                <a:cubicBezTo>
                  <a:pt x="3997" y="917"/>
                  <a:pt x="4002" y="912"/>
                  <a:pt x="3999" y="906"/>
                </a:cubicBezTo>
                <a:cubicBezTo>
                  <a:pt x="3996" y="901"/>
                  <a:pt x="3987" y="896"/>
                  <a:pt x="3979" y="896"/>
                </a:cubicBezTo>
                <a:cubicBezTo>
                  <a:pt x="3979" y="896"/>
                  <a:pt x="3979" y="896"/>
                  <a:pt x="3979" y="896"/>
                </a:cubicBezTo>
                <a:moveTo>
                  <a:pt x="4223" y="894"/>
                </a:moveTo>
                <a:cubicBezTo>
                  <a:pt x="4215" y="894"/>
                  <a:pt x="4211" y="898"/>
                  <a:pt x="4215" y="904"/>
                </a:cubicBezTo>
                <a:cubicBezTo>
                  <a:pt x="4218" y="910"/>
                  <a:pt x="4227" y="914"/>
                  <a:pt x="4235" y="914"/>
                </a:cubicBezTo>
                <a:cubicBezTo>
                  <a:pt x="4243" y="914"/>
                  <a:pt x="4247" y="910"/>
                  <a:pt x="4243" y="904"/>
                </a:cubicBezTo>
                <a:cubicBezTo>
                  <a:pt x="4240" y="898"/>
                  <a:pt x="4231" y="894"/>
                  <a:pt x="4223" y="894"/>
                </a:cubicBezTo>
                <a:cubicBezTo>
                  <a:pt x="4223" y="894"/>
                  <a:pt x="4223" y="894"/>
                  <a:pt x="4223" y="894"/>
                </a:cubicBezTo>
                <a:moveTo>
                  <a:pt x="118" y="883"/>
                </a:moveTo>
                <a:cubicBezTo>
                  <a:pt x="110" y="883"/>
                  <a:pt x="100" y="888"/>
                  <a:pt x="95" y="894"/>
                </a:cubicBezTo>
                <a:cubicBezTo>
                  <a:pt x="91" y="899"/>
                  <a:pt x="94" y="904"/>
                  <a:pt x="101" y="904"/>
                </a:cubicBezTo>
                <a:cubicBezTo>
                  <a:pt x="109" y="904"/>
                  <a:pt x="119" y="899"/>
                  <a:pt x="124" y="894"/>
                </a:cubicBezTo>
                <a:cubicBezTo>
                  <a:pt x="128" y="888"/>
                  <a:pt x="126" y="883"/>
                  <a:pt x="118" y="883"/>
                </a:cubicBezTo>
                <a:cubicBezTo>
                  <a:pt x="118" y="883"/>
                  <a:pt x="118" y="883"/>
                  <a:pt x="118" y="883"/>
                </a:cubicBezTo>
                <a:moveTo>
                  <a:pt x="160" y="883"/>
                </a:moveTo>
                <a:cubicBezTo>
                  <a:pt x="152" y="883"/>
                  <a:pt x="142" y="888"/>
                  <a:pt x="137" y="893"/>
                </a:cubicBezTo>
                <a:cubicBezTo>
                  <a:pt x="133" y="899"/>
                  <a:pt x="136" y="904"/>
                  <a:pt x="144" y="904"/>
                </a:cubicBezTo>
                <a:cubicBezTo>
                  <a:pt x="152" y="903"/>
                  <a:pt x="161" y="899"/>
                  <a:pt x="166" y="893"/>
                </a:cubicBezTo>
                <a:cubicBezTo>
                  <a:pt x="170" y="888"/>
                  <a:pt x="167" y="883"/>
                  <a:pt x="160" y="883"/>
                </a:cubicBezTo>
                <a:cubicBezTo>
                  <a:pt x="160" y="883"/>
                  <a:pt x="160" y="883"/>
                  <a:pt x="160" y="883"/>
                </a:cubicBezTo>
                <a:moveTo>
                  <a:pt x="199" y="882"/>
                </a:moveTo>
                <a:cubicBezTo>
                  <a:pt x="191" y="882"/>
                  <a:pt x="181" y="887"/>
                  <a:pt x="177" y="892"/>
                </a:cubicBezTo>
                <a:cubicBezTo>
                  <a:pt x="172" y="898"/>
                  <a:pt x="175" y="902"/>
                  <a:pt x="183" y="902"/>
                </a:cubicBezTo>
                <a:cubicBezTo>
                  <a:pt x="191" y="902"/>
                  <a:pt x="201" y="898"/>
                  <a:pt x="205" y="892"/>
                </a:cubicBezTo>
                <a:cubicBezTo>
                  <a:pt x="209" y="887"/>
                  <a:pt x="206" y="882"/>
                  <a:pt x="199" y="882"/>
                </a:cubicBezTo>
                <a:cubicBezTo>
                  <a:pt x="199" y="882"/>
                  <a:pt x="199" y="882"/>
                  <a:pt x="199" y="882"/>
                </a:cubicBezTo>
                <a:moveTo>
                  <a:pt x="239" y="882"/>
                </a:moveTo>
                <a:cubicBezTo>
                  <a:pt x="231" y="882"/>
                  <a:pt x="221" y="887"/>
                  <a:pt x="217" y="892"/>
                </a:cubicBezTo>
                <a:cubicBezTo>
                  <a:pt x="213" y="898"/>
                  <a:pt x="216" y="902"/>
                  <a:pt x="224" y="902"/>
                </a:cubicBezTo>
                <a:cubicBezTo>
                  <a:pt x="231" y="902"/>
                  <a:pt x="241" y="898"/>
                  <a:pt x="246" y="892"/>
                </a:cubicBezTo>
                <a:cubicBezTo>
                  <a:pt x="250" y="886"/>
                  <a:pt x="247" y="882"/>
                  <a:pt x="239" y="882"/>
                </a:cubicBezTo>
                <a:cubicBezTo>
                  <a:pt x="239" y="882"/>
                  <a:pt x="239" y="882"/>
                  <a:pt x="239" y="882"/>
                </a:cubicBezTo>
                <a:moveTo>
                  <a:pt x="280" y="882"/>
                </a:moveTo>
                <a:cubicBezTo>
                  <a:pt x="272" y="882"/>
                  <a:pt x="262" y="886"/>
                  <a:pt x="258" y="892"/>
                </a:cubicBezTo>
                <a:cubicBezTo>
                  <a:pt x="254" y="898"/>
                  <a:pt x="257" y="902"/>
                  <a:pt x="264" y="902"/>
                </a:cubicBezTo>
                <a:cubicBezTo>
                  <a:pt x="272" y="902"/>
                  <a:pt x="282" y="897"/>
                  <a:pt x="286" y="892"/>
                </a:cubicBezTo>
                <a:cubicBezTo>
                  <a:pt x="290" y="886"/>
                  <a:pt x="287" y="882"/>
                  <a:pt x="280" y="882"/>
                </a:cubicBezTo>
                <a:cubicBezTo>
                  <a:pt x="280" y="882"/>
                  <a:pt x="280" y="882"/>
                  <a:pt x="280" y="882"/>
                </a:cubicBezTo>
                <a:moveTo>
                  <a:pt x="321" y="882"/>
                </a:moveTo>
                <a:cubicBezTo>
                  <a:pt x="314" y="882"/>
                  <a:pt x="304" y="886"/>
                  <a:pt x="300" y="892"/>
                </a:cubicBezTo>
                <a:cubicBezTo>
                  <a:pt x="296" y="897"/>
                  <a:pt x="299" y="902"/>
                  <a:pt x="307" y="902"/>
                </a:cubicBezTo>
                <a:cubicBezTo>
                  <a:pt x="315" y="902"/>
                  <a:pt x="324" y="897"/>
                  <a:pt x="328" y="892"/>
                </a:cubicBezTo>
                <a:cubicBezTo>
                  <a:pt x="332" y="886"/>
                  <a:pt x="329" y="882"/>
                  <a:pt x="322" y="882"/>
                </a:cubicBezTo>
                <a:cubicBezTo>
                  <a:pt x="322" y="882"/>
                  <a:pt x="322" y="882"/>
                  <a:pt x="321" y="882"/>
                </a:cubicBezTo>
                <a:moveTo>
                  <a:pt x="1701" y="874"/>
                </a:moveTo>
                <a:cubicBezTo>
                  <a:pt x="1693" y="874"/>
                  <a:pt x="1685" y="879"/>
                  <a:pt x="1684" y="884"/>
                </a:cubicBezTo>
                <a:cubicBezTo>
                  <a:pt x="1682" y="890"/>
                  <a:pt x="1688" y="894"/>
                  <a:pt x="1696" y="894"/>
                </a:cubicBezTo>
                <a:cubicBezTo>
                  <a:pt x="1703" y="894"/>
                  <a:pt x="1711" y="890"/>
                  <a:pt x="1712" y="884"/>
                </a:cubicBezTo>
                <a:cubicBezTo>
                  <a:pt x="1714" y="879"/>
                  <a:pt x="1709" y="874"/>
                  <a:pt x="1701" y="874"/>
                </a:cubicBezTo>
                <a:cubicBezTo>
                  <a:pt x="1701" y="874"/>
                  <a:pt x="1701" y="874"/>
                  <a:pt x="1701" y="874"/>
                </a:cubicBezTo>
                <a:moveTo>
                  <a:pt x="1739" y="874"/>
                </a:moveTo>
                <a:cubicBezTo>
                  <a:pt x="1731" y="874"/>
                  <a:pt x="1724" y="879"/>
                  <a:pt x="1722" y="884"/>
                </a:cubicBezTo>
                <a:cubicBezTo>
                  <a:pt x="1721" y="890"/>
                  <a:pt x="1726" y="894"/>
                  <a:pt x="1734" y="894"/>
                </a:cubicBezTo>
                <a:cubicBezTo>
                  <a:pt x="1742" y="894"/>
                  <a:pt x="1749" y="890"/>
                  <a:pt x="1751" y="884"/>
                </a:cubicBezTo>
                <a:cubicBezTo>
                  <a:pt x="1752" y="878"/>
                  <a:pt x="1747" y="874"/>
                  <a:pt x="1739" y="874"/>
                </a:cubicBezTo>
                <a:cubicBezTo>
                  <a:pt x="1739" y="874"/>
                  <a:pt x="1739" y="874"/>
                  <a:pt x="1739" y="874"/>
                </a:cubicBezTo>
                <a:moveTo>
                  <a:pt x="1779" y="874"/>
                </a:moveTo>
                <a:cubicBezTo>
                  <a:pt x="1771" y="874"/>
                  <a:pt x="1764" y="878"/>
                  <a:pt x="1763" y="884"/>
                </a:cubicBezTo>
                <a:cubicBezTo>
                  <a:pt x="1761" y="890"/>
                  <a:pt x="1766" y="894"/>
                  <a:pt x="1774" y="894"/>
                </a:cubicBezTo>
                <a:cubicBezTo>
                  <a:pt x="1782" y="894"/>
                  <a:pt x="1790" y="889"/>
                  <a:pt x="1791" y="884"/>
                </a:cubicBezTo>
                <a:cubicBezTo>
                  <a:pt x="1792" y="878"/>
                  <a:pt x="1787" y="874"/>
                  <a:pt x="1779" y="874"/>
                </a:cubicBezTo>
                <a:cubicBezTo>
                  <a:pt x="1779" y="874"/>
                  <a:pt x="1779" y="874"/>
                  <a:pt x="1779" y="874"/>
                </a:cubicBezTo>
                <a:moveTo>
                  <a:pt x="1820" y="874"/>
                </a:moveTo>
                <a:cubicBezTo>
                  <a:pt x="1812" y="874"/>
                  <a:pt x="1805" y="878"/>
                  <a:pt x="1803" y="884"/>
                </a:cubicBezTo>
                <a:cubicBezTo>
                  <a:pt x="1802" y="889"/>
                  <a:pt x="1807" y="894"/>
                  <a:pt x="1815" y="894"/>
                </a:cubicBezTo>
                <a:cubicBezTo>
                  <a:pt x="1823" y="894"/>
                  <a:pt x="1830" y="889"/>
                  <a:pt x="1832" y="884"/>
                </a:cubicBezTo>
                <a:cubicBezTo>
                  <a:pt x="1833" y="878"/>
                  <a:pt x="1828" y="874"/>
                  <a:pt x="1820" y="874"/>
                </a:cubicBezTo>
                <a:cubicBezTo>
                  <a:pt x="1820" y="874"/>
                  <a:pt x="1820" y="874"/>
                  <a:pt x="1820" y="874"/>
                </a:cubicBezTo>
                <a:moveTo>
                  <a:pt x="1861" y="873"/>
                </a:moveTo>
                <a:cubicBezTo>
                  <a:pt x="1853" y="873"/>
                  <a:pt x="1845" y="878"/>
                  <a:pt x="1844" y="884"/>
                </a:cubicBezTo>
                <a:cubicBezTo>
                  <a:pt x="1843" y="889"/>
                  <a:pt x="1848" y="894"/>
                  <a:pt x="1856" y="894"/>
                </a:cubicBezTo>
                <a:cubicBezTo>
                  <a:pt x="1864" y="894"/>
                  <a:pt x="1872" y="889"/>
                  <a:pt x="1873" y="884"/>
                </a:cubicBezTo>
                <a:cubicBezTo>
                  <a:pt x="1874" y="878"/>
                  <a:pt x="1868" y="873"/>
                  <a:pt x="1861" y="873"/>
                </a:cubicBezTo>
                <a:cubicBezTo>
                  <a:pt x="1861" y="873"/>
                  <a:pt x="1861" y="873"/>
                  <a:pt x="1861" y="873"/>
                </a:cubicBezTo>
                <a:moveTo>
                  <a:pt x="1901" y="873"/>
                </a:moveTo>
                <a:cubicBezTo>
                  <a:pt x="1893" y="873"/>
                  <a:pt x="1886" y="878"/>
                  <a:pt x="1885" y="883"/>
                </a:cubicBezTo>
                <a:cubicBezTo>
                  <a:pt x="1883" y="889"/>
                  <a:pt x="1889" y="894"/>
                  <a:pt x="1897" y="894"/>
                </a:cubicBezTo>
                <a:cubicBezTo>
                  <a:pt x="1905" y="894"/>
                  <a:pt x="1912" y="889"/>
                  <a:pt x="1913" y="883"/>
                </a:cubicBezTo>
                <a:cubicBezTo>
                  <a:pt x="1914" y="878"/>
                  <a:pt x="1909" y="873"/>
                  <a:pt x="1901" y="873"/>
                </a:cubicBezTo>
                <a:cubicBezTo>
                  <a:pt x="1901" y="873"/>
                  <a:pt x="1901" y="873"/>
                  <a:pt x="1901" y="873"/>
                </a:cubicBezTo>
                <a:moveTo>
                  <a:pt x="1941" y="873"/>
                </a:moveTo>
                <a:cubicBezTo>
                  <a:pt x="1933" y="873"/>
                  <a:pt x="1926" y="878"/>
                  <a:pt x="1925" y="883"/>
                </a:cubicBezTo>
                <a:cubicBezTo>
                  <a:pt x="1924" y="889"/>
                  <a:pt x="1930" y="893"/>
                  <a:pt x="1938" y="893"/>
                </a:cubicBezTo>
                <a:cubicBezTo>
                  <a:pt x="1945" y="893"/>
                  <a:pt x="1953" y="889"/>
                  <a:pt x="1954" y="883"/>
                </a:cubicBezTo>
                <a:cubicBezTo>
                  <a:pt x="1955" y="878"/>
                  <a:pt x="1949" y="873"/>
                  <a:pt x="1941" y="873"/>
                </a:cubicBezTo>
                <a:cubicBezTo>
                  <a:pt x="1941" y="873"/>
                  <a:pt x="1941" y="873"/>
                  <a:pt x="1941" y="873"/>
                </a:cubicBezTo>
                <a:moveTo>
                  <a:pt x="1981" y="873"/>
                </a:moveTo>
                <a:cubicBezTo>
                  <a:pt x="1974" y="873"/>
                  <a:pt x="1967" y="877"/>
                  <a:pt x="1966" y="883"/>
                </a:cubicBezTo>
                <a:cubicBezTo>
                  <a:pt x="1965" y="889"/>
                  <a:pt x="1970" y="893"/>
                  <a:pt x="1978" y="893"/>
                </a:cubicBezTo>
                <a:cubicBezTo>
                  <a:pt x="1986" y="893"/>
                  <a:pt x="1993" y="889"/>
                  <a:pt x="1994" y="883"/>
                </a:cubicBezTo>
                <a:cubicBezTo>
                  <a:pt x="1995" y="877"/>
                  <a:pt x="1989" y="873"/>
                  <a:pt x="1982" y="873"/>
                </a:cubicBezTo>
                <a:cubicBezTo>
                  <a:pt x="1982" y="873"/>
                  <a:pt x="1982" y="873"/>
                  <a:pt x="1981" y="873"/>
                </a:cubicBezTo>
                <a:moveTo>
                  <a:pt x="2022" y="873"/>
                </a:moveTo>
                <a:cubicBezTo>
                  <a:pt x="2014" y="873"/>
                  <a:pt x="2007" y="877"/>
                  <a:pt x="2006" y="883"/>
                </a:cubicBezTo>
                <a:cubicBezTo>
                  <a:pt x="2005" y="889"/>
                  <a:pt x="2011" y="893"/>
                  <a:pt x="2019" y="893"/>
                </a:cubicBezTo>
                <a:cubicBezTo>
                  <a:pt x="2027" y="893"/>
                  <a:pt x="2034" y="888"/>
                  <a:pt x="2035" y="883"/>
                </a:cubicBezTo>
                <a:cubicBezTo>
                  <a:pt x="2036" y="877"/>
                  <a:pt x="2030" y="873"/>
                  <a:pt x="2022" y="873"/>
                </a:cubicBezTo>
                <a:cubicBezTo>
                  <a:pt x="2022" y="873"/>
                  <a:pt x="2022" y="873"/>
                  <a:pt x="2022" y="873"/>
                </a:cubicBezTo>
                <a:moveTo>
                  <a:pt x="2064" y="873"/>
                </a:moveTo>
                <a:cubicBezTo>
                  <a:pt x="2056" y="873"/>
                  <a:pt x="2049" y="877"/>
                  <a:pt x="2048" y="883"/>
                </a:cubicBezTo>
                <a:cubicBezTo>
                  <a:pt x="2047" y="888"/>
                  <a:pt x="2053" y="893"/>
                  <a:pt x="2061" y="893"/>
                </a:cubicBezTo>
                <a:cubicBezTo>
                  <a:pt x="2069" y="893"/>
                  <a:pt x="2076" y="888"/>
                  <a:pt x="2077" y="883"/>
                </a:cubicBezTo>
                <a:cubicBezTo>
                  <a:pt x="2077" y="877"/>
                  <a:pt x="2072" y="873"/>
                  <a:pt x="2064" y="873"/>
                </a:cubicBezTo>
                <a:cubicBezTo>
                  <a:pt x="2064" y="873"/>
                  <a:pt x="2064" y="873"/>
                  <a:pt x="2064" y="873"/>
                </a:cubicBezTo>
                <a:moveTo>
                  <a:pt x="2104" y="872"/>
                </a:moveTo>
                <a:cubicBezTo>
                  <a:pt x="2096" y="872"/>
                  <a:pt x="2089" y="877"/>
                  <a:pt x="2088" y="883"/>
                </a:cubicBezTo>
                <a:cubicBezTo>
                  <a:pt x="2088" y="888"/>
                  <a:pt x="2093" y="893"/>
                  <a:pt x="2101" y="893"/>
                </a:cubicBezTo>
                <a:cubicBezTo>
                  <a:pt x="2109" y="893"/>
                  <a:pt x="2116" y="888"/>
                  <a:pt x="2117" y="882"/>
                </a:cubicBezTo>
                <a:cubicBezTo>
                  <a:pt x="2118" y="877"/>
                  <a:pt x="2112" y="872"/>
                  <a:pt x="2104" y="872"/>
                </a:cubicBezTo>
                <a:cubicBezTo>
                  <a:pt x="2104" y="872"/>
                  <a:pt x="2104" y="872"/>
                  <a:pt x="2104" y="872"/>
                </a:cubicBezTo>
                <a:moveTo>
                  <a:pt x="2145" y="872"/>
                </a:moveTo>
                <a:cubicBezTo>
                  <a:pt x="2137" y="872"/>
                  <a:pt x="2130" y="877"/>
                  <a:pt x="2129" y="882"/>
                </a:cubicBezTo>
                <a:cubicBezTo>
                  <a:pt x="2128" y="888"/>
                  <a:pt x="2134" y="893"/>
                  <a:pt x="2142" y="893"/>
                </a:cubicBezTo>
                <a:cubicBezTo>
                  <a:pt x="2150" y="893"/>
                  <a:pt x="2157" y="888"/>
                  <a:pt x="2158" y="882"/>
                </a:cubicBezTo>
                <a:cubicBezTo>
                  <a:pt x="2158" y="877"/>
                  <a:pt x="2152" y="872"/>
                  <a:pt x="2145" y="872"/>
                </a:cubicBezTo>
                <a:cubicBezTo>
                  <a:pt x="2145" y="872"/>
                  <a:pt x="2145" y="872"/>
                  <a:pt x="2145" y="872"/>
                </a:cubicBezTo>
                <a:moveTo>
                  <a:pt x="2833" y="872"/>
                </a:moveTo>
                <a:cubicBezTo>
                  <a:pt x="2825" y="872"/>
                  <a:pt x="2819" y="877"/>
                  <a:pt x="2820" y="882"/>
                </a:cubicBezTo>
                <a:cubicBezTo>
                  <a:pt x="2820" y="888"/>
                  <a:pt x="2827" y="893"/>
                  <a:pt x="2835" y="893"/>
                </a:cubicBezTo>
                <a:cubicBezTo>
                  <a:pt x="2843" y="893"/>
                  <a:pt x="2849" y="888"/>
                  <a:pt x="2848" y="882"/>
                </a:cubicBezTo>
                <a:cubicBezTo>
                  <a:pt x="2847" y="877"/>
                  <a:pt x="2840" y="872"/>
                  <a:pt x="2833" y="872"/>
                </a:cubicBezTo>
                <a:cubicBezTo>
                  <a:pt x="2833" y="872"/>
                  <a:pt x="2833" y="872"/>
                  <a:pt x="2833" y="872"/>
                </a:cubicBezTo>
                <a:moveTo>
                  <a:pt x="2185" y="872"/>
                </a:moveTo>
                <a:cubicBezTo>
                  <a:pt x="2178" y="872"/>
                  <a:pt x="2171" y="877"/>
                  <a:pt x="2170" y="882"/>
                </a:cubicBezTo>
                <a:cubicBezTo>
                  <a:pt x="2170" y="888"/>
                  <a:pt x="2175" y="892"/>
                  <a:pt x="2183" y="892"/>
                </a:cubicBezTo>
                <a:cubicBezTo>
                  <a:pt x="2191" y="892"/>
                  <a:pt x="2198" y="888"/>
                  <a:pt x="2199" y="882"/>
                </a:cubicBezTo>
                <a:cubicBezTo>
                  <a:pt x="2199" y="877"/>
                  <a:pt x="2193" y="872"/>
                  <a:pt x="2185" y="872"/>
                </a:cubicBezTo>
                <a:cubicBezTo>
                  <a:pt x="2185" y="872"/>
                  <a:pt x="2185" y="872"/>
                  <a:pt x="2185" y="872"/>
                </a:cubicBezTo>
                <a:moveTo>
                  <a:pt x="2226" y="872"/>
                </a:moveTo>
                <a:cubicBezTo>
                  <a:pt x="2218" y="872"/>
                  <a:pt x="2211" y="876"/>
                  <a:pt x="2211" y="882"/>
                </a:cubicBezTo>
                <a:cubicBezTo>
                  <a:pt x="2210" y="888"/>
                  <a:pt x="2216" y="892"/>
                  <a:pt x="2224" y="892"/>
                </a:cubicBezTo>
                <a:cubicBezTo>
                  <a:pt x="2232" y="892"/>
                  <a:pt x="2238" y="888"/>
                  <a:pt x="2239" y="882"/>
                </a:cubicBezTo>
                <a:cubicBezTo>
                  <a:pt x="2239" y="876"/>
                  <a:pt x="2233" y="872"/>
                  <a:pt x="2226" y="872"/>
                </a:cubicBezTo>
                <a:cubicBezTo>
                  <a:pt x="2226" y="872"/>
                  <a:pt x="2226" y="872"/>
                  <a:pt x="2226" y="872"/>
                </a:cubicBezTo>
                <a:moveTo>
                  <a:pt x="2913" y="872"/>
                </a:moveTo>
                <a:cubicBezTo>
                  <a:pt x="2905" y="872"/>
                  <a:pt x="2900" y="876"/>
                  <a:pt x="2900" y="882"/>
                </a:cubicBezTo>
                <a:cubicBezTo>
                  <a:pt x="2901" y="888"/>
                  <a:pt x="2908" y="892"/>
                  <a:pt x="2916" y="892"/>
                </a:cubicBezTo>
                <a:cubicBezTo>
                  <a:pt x="2924" y="892"/>
                  <a:pt x="2930" y="888"/>
                  <a:pt x="2929" y="882"/>
                </a:cubicBezTo>
                <a:cubicBezTo>
                  <a:pt x="2928" y="876"/>
                  <a:pt x="2921" y="872"/>
                  <a:pt x="2913" y="872"/>
                </a:cubicBezTo>
                <a:cubicBezTo>
                  <a:pt x="2913" y="872"/>
                  <a:pt x="2913" y="872"/>
                  <a:pt x="2913" y="872"/>
                </a:cubicBezTo>
                <a:moveTo>
                  <a:pt x="2871" y="872"/>
                </a:moveTo>
                <a:cubicBezTo>
                  <a:pt x="2863" y="872"/>
                  <a:pt x="2857" y="876"/>
                  <a:pt x="2858" y="882"/>
                </a:cubicBezTo>
                <a:cubicBezTo>
                  <a:pt x="2858" y="888"/>
                  <a:pt x="2865" y="892"/>
                  <a:pt x="2873" y="892"/>
                </a:cubicBezTo>
                <a:cubicBezTo>
                  <a:pt x="2881" y="892"/>
                  <a:pt x="2887" y="887"/>
                  <a:pt x="2886" y="882"/>
                </a:cubicBezTo>
                <a:cubicBezTo>
                  <a:pt x="2885" y="876"/>
                  <a:pt x="2878" y="872"/>
                  <a:pt x="2871" y="872"/>
                </a:cubicBezTo>
                <a:cubicBezTo>
                  <a:pt x="2871" y="872"/>
                  <a:pt x="2871" y="872"/>
                  <a:pt x="2871" y="872"/>
                </a:cubicBezTo>
                <a:moveTo>
                  <a:pt x="2266" y="872"/>
                </a:moveTo>
                <a:cubicBezTo>
                  <a:pt x="2258" y="872"/>
                  <a:pt x="2252" y="876"/>
                  <a:pt x="2251" y="882"/>
                </a:cubicBezTo>
                <a:cubicBezTo>
                  <a:pt x="2251" y="888"/>
                  <a:pt x="2257" y="892"/>
                  <a:pt x="2265" y="892"/>
                </a:cubicBezTo>
                <a:cubicBezTo>
                  <a:pt x="2272" y="892"/>
                  <a:pt x="2279" y="887"/>
                  <a:pt x="2279" y="882"/>
                </a:cubicBezTo>
                <a:cubicBezTo>
                  <a:pt x="2280" y="876"/>
                  <a:pt x="2274" y="872"/>
                  <a:pt x="2266" y="872"/>
                </a:cubicBezTo>
                <a:cubicBezTo>
                  <a:pt x="2266" y="872"/>
                  <a:pt x="2266" y="872"/>
                  <a:pt x="2266" y="872"/>
                </a:cubicBezTo>
                <a:moveTo>
                  <a:pt x="2306" y="871"/>
                </a:moveTo>
                <a:cubicBezTo>
                  <a:pt x="2298" y="871"/>
                  <a:pt x="2292" y="876"/>
                  <a:pt x="2291" y="882"/>
                </a:cubicBezTo>
                <a:cubicBezTo>
                  <a:pt x="2291" y="887"/>
                  <a:pt x="2297" y="892"/>
                  <a:pt x="2305" y="892"/>
                </a:cubicBezTo>
                <a:cubicBezTo>
                  <a:pt x="2313" y="892"/>
                  <a:pt x="2320" y="887"/>
                  <a:pt x="2320" y="882"/>
                </a:cubicBezTo>
                <a:cubicBezTo>
                  <a:pt x="2320" y="876"/>
                  <a:pt x="2314" y="871"/>
                  <a:pt x="2306" y="871"/>
                </a:cubicBezTo>
                <a:cubicBezTo>
                  <a:pt x="2306" y="871"/>
                  <a:pt x="2306" y="871"/>
                  <a:pt x="2306" y="871"/>
                </a:cubicBezTo>
                <a:moveTo>
                  <a:pt x="2995" y="871"/>
                </a:moveTo>
                <a:cubicBezTo>
                  <a:pt x="2988" y="871"/>
                  <a:pt x="2982" y="876"/>
                  <a:pt x="2983" y="882"/>
                </a:cubicBezTo>
                <a:cubicBezTo>
                  <a:pt x="2984" y="887"/>
                  <a:pt x="2991" y="892"/>
                  <a:pt x="2999" y="892"/>
                </a:cubicBezTo>
                <a:cubicBezTo>
                  <a:pt x="3007" y="892"/>
                  <a:pt x="3012" y="887"/>
                  <a:pt x="3011" y="882"/>
                </a:cubicBezTo>
                <a:cubicBezTo>
                  <a:pt x="3010" y="876"/>
                  <a:pt x="3003" y="871"/>
                  <a:pt x="2995" y="871"/>
                </a:cubicBezTo>
                <a:cubicBezTo>
                  <a:pt x="2995" y="871"/>
                  <a:pt x="2995" y="871"/>
                  <a:pt x="2995" y="871"/>
                </a:cubicBezTo>
                <a:moveTo>
                  <a:pt x="2951" y="871"/>
                </a:moveTo>
                <a:cubicBezTo>
                  <a:pt x="2943" y="871"/>
                  <a:pt x="2938" y="876"/>
                  <a:pt x="2938" y="882"/>
                </a:cubicBezTo>
                <a:cubicBezTo>
                  <a:pt x="2939" y="887"/>
                  <a:pt x="2946" y="892"/>
                  <a:pt x="2954" y="892"/>
                </a:cubicBezTo>
                <a:cubicBezTo>
                  <a:pt x="2962" y="892"/>
                  <a:pt x="2968" y="887"/>
                  <a:pt x="2967" y="882"/>
                </a:cubicBezTo>
                <a:cubicBezTo>
                  <a:pt x="2966" y="876"/>
                  <a:pt x="2959" y="871"/>
                  <a:pt x="2951" y="871"/>
                </a:cubicBezTo>
                <a:cubicBezTo>
                  <a:pt x="2951" y="871"/>
                  <a:pt x="2951" y="871"/>
                  <a:pt x="2951" y="871"/>
                </a:cubicBezTo>
                <a:moveTo>
                  <a:pt x="2347" y="871"/>
                </a:moveTo>
                <a:cubicBezTo>
                  <a:pt x="2339" y="871"/>
                  <a:pt x="2332" y="876"/>
                  <a:pt x="2332" y="882"/>
                </a:cubicBezTo>
                <a:cubicBezTo>
                  <a:pt x="2332" y="887"/>
                  <a:pt x="2338" y="892"/>
                  <a:pt x="2346" y="892"/>
                </a:cubicBezTo>
                <a:cubicBezTo>
                  <a:pt x="2354" y="892"/>
                  <a:pt x="2360" y="887"/>
                  <a:pt x="2360" y="881"/>
                </a:cubicBezTo>
                <a:cubicBezTo>
                  <a:pt x="2361" y="876"/>
                  <a:pt x="2355" y="871"/>
                  <a:pt x="2347" y="871"/>
                </a:cubicBezTo>
                <a:cubicBezTo>
                  <a:pt x="2347" y="871"/>
                  <a:pt x="2347" y="871"/>
                  <a:pt x="2347" y="871"/>
                </a:cubicBezTo>
                <a:moveTo>
                  <a:pt x="2388" y="871"/>
                </a:moveTo>
                <a:cubicBezTo>
                  <a:pt x="2380" y="871"/>
                  <a:pt x="2373" y="876"/>
                  <a:pt x="2373" y="881"/>
                </a:cubicBezTo>
                <a:cubicBezTo>
                  <a:pt x="2373" y="887"/>
                  <a:pt x="2379" y="892"/>
                  <a:pt x="2387" y="892"/>
                </a:cubicBezTo>
                <a:cubicBezTo>
                  <a:pt x="2395" y="892"/>
                  <a:pt x="2401" y="887"/>
                  <a:pt x="2402" y="881"/>
                </a:cubicBezTo>
                <a:cubicBezTo>
                  <a:pt x="2402" y="876"/>
                  <a:pt x="2395" y="871"/>
                  <a:pt x="2388" y="871"/>
                </a:cubicBezTo>
                <a:cubicBezTo>
                  <a:pt x="2388" y="871"/>
                  <a:pt x="2388" y="871"/>
                  <a:pt x="2388" y="871"/>
                </a:cubicBezTo>
                <a:moveTo>
                  <a:pt x="2428" y="871"/>
                </a:moveTo>
                <a:cubicBezTo>
                  <a:pt x="2420" y="871"/>
                  <a:pt x="2414" y="876"/>
                  <a:pt x="2413" y="881"/>
                </a:cubicBezTo>
                <a:cubicBezTo>
                  <a:pt x="2413" y="887"/>
                  <a:pt x="2420" y="891"/>
                  <a:pt x="2427" y="891"/>
                </a:cubicBezTo>
                <a:cubicBezTo>
                  <a:pt x="2435" y="891"/>
                  <a:pt x="2442" y="887"/>
                  <a:pt x="2442" y="881"/>
                </a:cubicBezTo>
                <a:cubicBezTo>
                  <a:pt x="2442" y="875"/>
                  <a:pt x="2436" y="871"/>
                  <a:pt x="2428" y="871"/>
                </a:cubicBezTo>
                <a:cubicBezTo>
                  <a:pt x="2428" y="871"/>
                  <a:pt x="2428" y="871"/>
                  <a:pt x="2428" y="871"/>
                </a:cubicBezTo>
                <a:moveTo>
                  <a:pt x="2468" y="871"/>
                </a:moveTo>
                <a:cubicBezTo>
                  <a:pt x="2460" y="871"/>
                  <a:pt x="2454" y="875"/>
                  <a:pt x="2454" y="881"/>
                </a:cubicBezTo>
                <a:cubicBezTo>
                  <a:pt x="2454" y="887"/>
                  <a:pt x="2460" y="891"/>
                  <a:pt x="2468" y="891"/>
                </a:cubicBezTo>
                <a:cubicBezTo>
                  <a:pt x="2476" y="891"/>
                  <a:pt x="2482" y="887"/>
                  <a:pt x="2482" y="881"/>
                </a:cubicBezTo>
                <a:cubicBezTo>
                  <a:pt x="2482" y="875"/>
                  <a:pt x="2476" y="871"/>
                  <a:pt x="2468" y="871"/>
                </a:cubicBezTo>
                <a:cubicBezTo>
                  <a:pt x="2468" y="871"/>
                  <a:pt x="2468" y="871"/>
                  <a:pt x="2468" y="871"/>
                </a:cubicBezTo>
                <a:moveTo>
                  <a:pt x="2508" y="871"/>
                </a:moveTo>
                <a:cubicBezTo>
                  <a:pt x="2501" y="871"/>
                  <a:pt x="2494" y="875"/>
                  <a:pt x="2494" y="881"/>
                </a:cubicBezTo>
                <a:cubicBezTo>
                  <a:pt x="2494" y="887"/>
                  <a:pt x="2501" y="891"/>
                  <a:pt x="2509" y="891"/>
                </a:cubicBezTo>
                <a:cubicBezTo>
                  <a:pt x="2516" y="891"/>
                  <a:pt x="2523" y="886"/>
                  <a:pt x="2523" y="881"/>
                </a:cubicBezTo>
                <a:cubicBezTo>
                  <a:pt x="2523" y="875"/>
                  <a:pt x="2516" y="871"/>
                  <a:pt x="2508" y="871"/>
                </a:cubicBezTo>
                <a:cubicBezTo>
                  <a:pt x="2508" y="871"/>
                  <a:pt x="2508" y="871"/>
                  <a:pt x="2508" y="871"/>
                </a:cubicBezTo>
                <a:moveTo>
                  <a:pt x="2549" y="870"/>
                </a:moveTo>
                <a:cubicBezTo>
                  <a:pt x="2541" y="870"/>
                  <a:pt x="2535" y="875"/>
                  <a:pt x="2535" y="881"/>
                </a:cubicBezTo>
                <a:cubicBezTo>
                  <a:pt x="2535" y="886"/>
                  <a:pt x="2542" y="891"/>
                  <a:pt x="2549" y="891"/>
                </a:cubicBezTo>
                <a:cubicBezTo>
                  <a:pt x="2557" y="891"/>
                  <a:pt x="2563" y="886"/>
                  <a:pt x="2563" y="881"/>
                </a:cubicBezTo>
                <a:cubicBezTo>
                  <a:pt x="2563" y="875"/>
                  <a:pt x="2557" y="870"/>
                  <a:pt x="2549" y="870"/>
                </a:cubicBezTo>
                <a:cubicBezTo>
                  <a:pt x="2549" y="870"/>
                  <a:pt x="2549" y="870"/>
                  <a:pt x="2549" y="870"/>
                </a:cubicBezTo>
                <a:moveTo>
                  <a:pt x="2590" y="870"/>
                </a:moveTo>
                <a:cubicBezTo>
                  <a:pt x="2582" y="870"/>
                  <a:pt x="2576" y="875"/>
                  <a:pt x="2576" y="881"/>
                </a:cubicBezTo>
                <a:cubicBezTo>
                  <a:pt x="2576" y="886"/>
                  <a:pt x="2583" y="891"/>
                  <a:pt x="2591" y="891"/>
                </a:cubicBezTo>
                <a:cubicBezTo>
                  <a:pt x="2598" y="891"/>
                  <a:pt x="2605" y="886"/>
                  <a:pt x="2604" y="880"/>
                </a:cubicBezTo>
                <a:cubicBezTo>
                  <a:pt x="2604" y="875"/>
                  <a:pt x="2598" y="870"/>
                  <a:pt x="2590" y="870"/>
                </a:cubicBezTo>
                <a:cubicBezTo>
                  <a:pt x="2590" y="870"/>
                  <a:pt x="2590" y="870"/>
                  <a:pt x="2590" y="870"/>
                </a:cubicBezTo>
                <a:moveTo>
                  <a:pt x="2630" y="870"/>
                </a:moveTo>
                <a:cubicBezTo>
                  <a:pt x="2622" y="870"/>
                  <a:pt x="2616" y="875"/>
                  <a:pt x="2616" y="880"/>
                </a:cubicBezTo>
                <a:cubicBezTo>
                  <a:pt x="2617" y="886"/>
                  <a:pt x="2623" y="891"/>
                  <a:pt x="2631" y="891"/>
                </a:cubicBezTo>
                <a:cubicBezTo>
                  <a:pt x="2639" y="890"/>
                  <a:pt x="2645" y="886"/>
                  <a:pt x="2645" y="880"/>
                </a:cubicBezTo>
                <a:cubicBezTo>
                  <a:pt x="2644" y="875"/>
                  <a:pt x="2638" y="870"/>
                  <a:pt x="2630" y="870"/>
                </a:cubicBezTo>
                <a:cubicBezTo>
                  <a:pt x="2630" y="870"/>
                  <a:pt x="2630" y="870"/>
                  <a:pt x="2630" y="870"/>
                </a:cubicBezTo>
                <a:moveTo>
                  <a:pt x="2671" y="870"/>
                </a:moveTo>
                <a:cubicBezTo>
                  <a:pt x="2663" y="870"/>
                  <a:pt x="2657" y="875"/>
                  <a:pt x="2657" y="880"/>
                </a:cubicBezTo>
                <a:cubicBezTo>
                  <a:pt x="2658" y="886"/>
                  <a:pt x="2664" y="890"/>
                  <a:pt x="2672" y="890"/>
                </a:cubicBezTo>
                <a:cubicBezTo>
                  <a:pt x="2680" y="890"/>
                  <a:pt x="2686" y="886"/>
                  <a:pt x="2686" y="880"/>
                </a:cubicBezTo>
                <a:cubicBezTo>
                  <a:pt x="2685" y="874"/>
                  <a:pt x="2679" y="870"/>
                  <a:pt x="2671" y="870"/>
                </a:cubicBezTo>
                <a:cubicBezTo>
                  <a:pt x="2671" y="870"/>
                  <a:pt x="2671" y="870"/>
                  <a:pt x="2671" y="870"/>
                </a:cubicBezTo>
                <a:moveTo>
                  <a:pt x="3316" y="869"/>
                </a:moveTo>
                <a:cubicBezTo>
                  <a:pt x="3309" y="869"/>
                  <a:pt x="3303" y="874"/>
                  <a:pt x="3305" y="879"/>
                </a:cubicBezTo>
                <a:cubicBezTo>
                  <a:pt x="3307" y="885"/>
                  <a:pt x="3314" y="890"/>
                  <a:pt x="3322" y="890"/>
                </a:cubicBezTo>
                <a:cubicBezTo>
                  <a:pt x="3330" y="890"/>
                  <a:pt x="3335" y="885"/>
                  <a:pt x="3333" y="879"/>
                </a:cubicBezTo>
                <a:cubicBezTo>
                  <a:pt x="3332" y="874"/>
                  <a:pt x="3324" y="869"/>
                  <a:pt x="3316" y="869"/>
                </a:cubicBezTo>
                <a:cubicBezTo>
                  <a:pt x="3316" y="869"/>
                  <a:pt x="3316" y="869"/>
                  <a:pt x="3316" y="869"/>
                </a:cubicBezTo>
                <a:moveTo>
                  <a:pt x="3357" y="869"/>
                </a:moveTo>
                <a:cubicBezTo>
                  <a:pt x="3349" y="869"/>
                  <a:pt x="3344" y="874"/>
                  <a:pt x="3346" y="879"/>
                </a:cubicBezTo>
                <a:cubicBezTo>
                  <a:pt x="3348" y="885"/>
                  <a:pt x="3355" y="889"/>
                  <a:pt x="3363" y="889"/>
                </a:cubicBezTo>
                <a:cubicBezTo>
                  <a:pt x="3371" y="889"/>
                  <a:pt x="3376" y="885"/>
                  <a:pt x="3374" y="879"/>
                </a:cubicBezTo>
                <a:cubicBezTo>
                  <a:pt x="3373" y="873"/>
                  <a:pt x="3365" y="869"/>
                  <a:pt x="3357" y="869"/>
                </a:cubicBezTo>
                <a:cubicBezTo>
                  <a:pt x="3357" y="869"/>
                  <a:pt x="3357" y="869"/>
                  <a:pt x="3357" y="869"/>
                </a:cubicBezTo>
                <a:moveTo>
                  <a:pt x="3397" y="869"/>
                </a:moveTo>
                <a:cubicBezTo>
                  <a:pt x="3389" y="869"/>
                  <a:pt x="3384" y="873"/>
                  <a:pt x="3386" y="879"/>
                </a:cubicBezTo>
                <a:cubicBezTo>
                  <a:pt x="3388" y="885"/>
                  <a:pt x="3396" y="889"/>
                  <a:pt x="3403" y="889"/>
                </a:cubicBezTo>
                <a:cubicBezTo>
                  <a:pt x="3411" y="889"/>
                  <a:pt x="3416" y="885"/>
                  <a:pt x="3414" y="879"/>
                </a:cubicBezTo>
                <a:cubicBezTo>
                  <a:pt x="3413" y="873"/>
                  <a:pt x="3405" y="869"/>
                  <a:pt x="3397" y="869"/>
                </a:cubicBezTo>
                <a:cubicBezTo>
                  <a:pt x="3397" y="869"/>
                  <a:pt x="3397" y="869"/>
                  <a:pt x="3397" y="869"/>
                </a:cubicBezTo>
                <a:moveTo>
                  <a:pt x="2749" y="869"/>
                </a:moveTo>
                <a:cubicBezTo>
                  <a:pt x="2741" y="869"/>
                  <a:pt x="2735" y="873"/>
                  <a:pt x="2736" y="879"/>
                </a:cubicBezTo>
                <a:cubicBezTo>
                  <a:pt x="2736" y="885"/>
                  <a:pt x="2743" y="889"/>
                  <a:pt x="2751" y="889"/>
                </a:cubicBezTo>
                <a:cubicBezTo>
                  <a:pt x="2759" y="889"/>
                  <a:pt x="2765" y="884"/>
                  <a:pt x="2764" y="879"/>
                </a:cubicBezTo>
                <a:cubicBezTo>
                  <a:pt x="2763" y="873"/>
                  <a:pt x="2757" y="869"/>
                  <a:pt x="2749" y="869"/>
                </a:cubicBezTo>
                <a:cubicBezTo>
                  <a:pt x="2749" y="869"/>
                  <a:pt x="2749" y="869"/>
                  <a:pt x="2749" y="869"/>
                </a:cubicBezTo>
                <a:moveTo>
                  <a:pt x="3437" y="869"/>
                </a:moveTo>
                <a:cubicBezTo>
                  <a:pt x="3429" y="869"/>
                  <a:pt x="3425" y="873"/>
                  <a:pt x="3426" y="879"/>
                </a:cubicBezTo>
                <a:cubicBezTo>
                  <a:pt x="3428" y="885"/>
                  <a:pt x="3436" y="889"/>
                  <a:pt x="3444" y="889"/>
                </a:cubicBezTo>
                <a:cubicBezTo>
                  <a:pt x="3452" y="889"/>
                  <a:pt x="3457" y="884"/>
                  <a:pt x="3455" y="879"/>
                </a:cubicBezTo>
                <a:cubicBezTo>
                  <a:pt x="3453" y="873"/>
                  <a:pt x="3445" y="869"/>
                  <a:pt x="3437" y="869"/>
                </a:cubicBezTo>
                <a:cubicBezTo>
                  <a:pt x="3437" y="869"/>
                  <a:pt x="3437" y="869"/>
                  <a:pt x="3437" y="869"/>
                </a:cubicBezTo>
                <a:moveTo>
                  <a:pt x="2791" y="868"/>
                </a:moveTo>
                <a:cubicBezTo>
                  <a:pt x="2783" y="868"/>
                  <a:pt x="2778" y="873"/>
                  <a:pt x="2778" y="879"/>
                </a:cubicBezTo>
                <a:cubicBezTo>
                  <a:pt x="2779" y="884"/>
                  <a:pt x="2786" y="889"/>
                  <a:pt x="2793" y="889"/>
                </a:cubicBezTo>
                <a:cubicBezTo>
                  <a:pt x="2801" y="889"/>
                  <a:pt x="2807" y="884"/>
                  <a:pt x="2807" y="879"/>
                </a:cubicBezTo>
                <a:cubicBezTo>
                  <a:pt x="2806" y="873"/>
                  <a:pt x="2799" y="868"/>
                  <a:pt x="2791" y="868"/>
                </a:cubicBezTo>
                <a:cubicBezTo>
                  <a:pt x="2791" y="868"/>
                  <a:pt x="2791" y="868"/>
                  <a:pt x="2791" y="868"/>
                </a:cubicBezTo>
                <a:moveTo>
                  <a:pt x="3478" y="868"/>
                </a:moveTo>
                <a:cubicBezTo>
                  <a:pt x="3470" y="868"/>
                  <a:pt x="3465" y="873"/>
                  <a:pt x="3467" y="879"/>
                </a:cubicBezTo>
                <a:cubicBezTo>
                  <a:pt x="3469" y="884"/>
                  <a:pt x="3477" y="889"/>
                  <a:pt x="3485" y="889"/>
                </a:cubicBezTo>
                <a:cubicBezTo>
                  <a:pt x="3492" y="889"/>
                  <a:pt x="3497" y="884"/>
                  <a:pt x="3495" y="879"/>
                </a:cubicBezTo>
                <a:cubicBezTo>
                  <a:pt x="3493" y="873"/>
                  <a:pt x="3486" y="868"/>
                  <a:pt x="3478" y="868"/>
                </a:cubicBezTo>
                <a:cubicBezTo>
                  <a:pt x="3478" y="868"/>
                  <a:pt x="3478" y="868"/>
                  <a:pt x="3478" y="868"/>
                </a:cubicBezTo>
                <a:moveTo>
                  <a:pt x="3720" y="867"/>
                </a:moveTo>
                <a:cubicBezTo>
                  <a:pt x="3713" y="867"/>
                  <a:pt x="3708" y="872"/>
                  <a:pt x="3711" y="878"/>
                </a:cubicBezTo>
                <a:cubicBezTo>
                  <a:pt x="3713" y="883"/>
                  <a:pt x="3721" y="888"/>
                  <a:pt x="3729" y="888"/>
                </a:cubicBezTo>
                <a:cubicBezTo>
                  <a:pt x="3737" y="888"/>
                  <a:pt x="3741" y="883"/>
                  <a:pt x="3739" y="878"/>
                </a:cubicBezTo>
                <a:cubicBezTo>
                  <a:pt x="3737" y="872"/>
                  <a:pt x="3728" y="867"/>
                  <a:pt x="3721" y="867"/>
                </a:cubicBezTo>
                <a:cubicBezTo>
                  <a:pt x="3721" y="867"/>
                  <a:pt x="3721" y="867"/>
                  <a:pt x="3720" y="867"/>
                </a:cubicBezTo>
                <a:moveTo>
                  <a:pt x="3761" y="867"/>
                </a:moveTo>
                <a:cubicBezTo>
                  <a:pt x="3753" y="867"/>
                  <a:pt x="3749" y="872"/>
                  <a:pt x="3751" y="878"/>
                </a:cubicBezTo>
                <a:cubicBezTo>
                  <a:pt x="3754" y="883"/>
                  <a:pt x="3762" y="888"/>
                  <a:pt x="3770" y="888"/>
                </a:cubicBezTo>
                <a:cubicBezTo>
                  <a:pt x="3778" y="888"/>
                  <a:pt x="3782" y="883"/>
                  <a:pt x="3780" y="878"/>
                </a:cubicBezTo>
                <a:cubicBezTo>
                  <a:pt x="3777" y="872"/>
                  <a:pt x="3769" y="867"/>
                  <a:pt x="3761" y="867"/>
                </a:cubicBezTo>
                <a:cubicBezTo>
                  <a:pt x="3761" y="867"/>
                  <a:pt x="3761" y="867"/>
                  <a:pt x="3761" y="867"/>
                </a:cubicBezTo>
                <a:moveTo>
                  <a:pt x="3801" y="867"/>
                </a:moveTo>
                <a:cubicBezTo>
                  <a:pt x="3793" y="867"/>
                  <a:pt x="3789" y="872"/>
                  <a:pt x="3791" y="878"/>
                </a:cubicBezTo>
                <a:cubicBezTo>
                  <a:pt x="3794" y="883"/>
                  <a:pt x="3802" y="888"/>
                  <a:pt x="3810" y="888"/>
                </a:cubicBezTo>
                <a:cubicBezTo>
                  <a:pt x="3818" y="888"/>
                  <a:pt x="3822" y="883"/>
                  <a:pt x="3820" y="877"/>
                </a:cubicBezTo>
                <a:cubicBezTo>
                  <a:pt x="3817" y="872"/>
                  <a:pt x="3809" y="867"/>
                  <a:pt x="3801" y="867"/>
                </a:cubicBezTo>
                <a:cubicBezTo>
                  <a:pt x="3801" y="867"/>
                  <a:pt x="3801" y="867"/>
                  <a:pt x="3801" y="867"/>
                </a:cubicBezTo>
                <a:moveTo>
                  <a:pt x="3842" y="867"/>
                </a:moveTo>
                <a:cubicBezTo>
                  <a:pt x="3834" y="867"/>
                  <a:pt x="3829" y="872"/>
                  <a:pt x="3832" y="877"/>
                </a:cubicBezTo>
                <a:cubicBezTo>
                  <a:pt x="3835" y="883"/>
                  <a:pt x="3843" y="888"/>
                  <a:pt x="3851" y="888"/>
                </a:cubicBezTo>
                <a:cubicBezTo>
                  <a:pt x="3859" y="888"/>
                  <a:pt x="3863" y="883"/>
                  <a:pt x="3860" y="877"/>
                </a:cubicBezTo>
                <a:cubicBezTo>
                  <a:pt x="3858" y="872"/>
                  <a:pt x="3849" y="867"/>
                  <a:pt x="3842" y="867"/>
                </a:cubicBezTo>
                <a:cubicBezTo>
                  <a:pt x="3842" y="867"/>
                  <a:pt x="3842" y="867"/>
                  <a:pt x="3842" y="867"/>
                </a:cubicBezTo>
                <a:moveTo>
                  <a:pt x="3884" y="867"/>
                </a:moveTo>
                <a:cubicBezTo>
                  <a:pt x="3877" y="867"/>
                  <a:pt x="3872" y="872"/>
                  <a:pt x="3875" y="877"/>
                </a:cubicBezTo>
                <a:cubicBezTo>
                  <a:pt x="3878" y="883"/>
                  <a:pt x="3886" y="887"/>
                  <a:pt x="3894" y="887"/>
                </a:cubicBezTo>
                <a:cubicBezTo>
                  <a:pt x="3902" y="887"/>
                  <a:pt x="3906" y="883"/>
                  <a:pt x="3903" y="877"/>
                </a:cubicBezTo>
                <a:cubicBezTo>
                  <a:pt x="3901" y="871"/>
                  <a:pt x="3892" y="867"/>
                  <a:pt x="3884" y="867"/>
                </a:cubicBezTo>
                <a:cubicBezTo>
                  <a:pt x="3884" y="867"/>
                  <a:pt x="3884" y="867"/>
                  <a:pt x="3884" y="867"/>
                </a:cubicBezTo>
                <a:moveTo>
                  <a:pt x="3924" y="867"/>
                </a:moveTo>
                <a:cubicBezTo>
                  <a:pt x="3916" y="867"/>
                  <a:pt x="3912" y="871"/>
                  <a:pt x="3915" y="877"/>
                </a:cubicBezTo>
                <a:cubicBezTo>
                  <a:pt x="3918" y="883"/>
                  <a:pt x="3926" y="887"/>
                  <a:pt x="3934" y="887"/>
                </a:cubicBezTo>
                <a:cubicBezTo>
                  <a:pt x="3942" y="887"/>
                  <a:pt x="3946" y="883"/>
                  <a:pt x="3943" y="877"/>
                </a:cubicBezTo>
                <a:cubicBezTo>
                  <a:pt x="3941" y="871"/>
                  <a:pt x="3932" y="867"/>
                  <a:pt x="3924" y="867"/>
                </a:cubicBezTo>
                <a:cubicBezTo>
                  <a:pt x="3924" y="867"/>
                  <a:pt x="3924" y="867"/>
                  <a:pt x="3924" y="867"/>
                </a:cubicBezTo>
                <a:moveTo>
                  <a:pt x="4205" y="863"/>
                </a:moveTo>
                <a:cubicBezTo>
                  <a:pt x="4197" y="863"/>
                  <a:pt x="4193" y="868"/>
                  <a:pt x="4197" y="873"/>
                </a:cubicBezTo>
                <a:cubicBezTo>
                  <a:pt x="4200" y="879"/>
                  <a:pt x="4209" y="883"/>
                  <a:pt x="4217" y="883"/>
                </a:cubicBezTo>
                <a:cubicBezTo>
                  <a:pt x="4225" y="883"/>
                  <a:pt x="4228" y="879"/>
                  <a:pt x="4225" y="873"/>
                </a:cubicBezTo>
                <a:cubicBezTo>
                  <a:pt x="4222" y="867"/>
                  <a:pt x="4213" y="863"/>
                  <a:pt x="4205" y="863"/>
                </a:cubicBezTo>
                <a:cubicBezTo>
                  <a:pt x="4205" y="863"/>
                  <a:pt x="4205" y="863"/>
                  <a:pt x="4205" y="863"/>
                </a:cubicBezTo>
                <a:moveTo>
                  <a:pt x="62" y="853"/>
                </a:moveTo>
                <a:cubicBezTo>
                  <a:pt x="54" y="853"/>
                  <a:pt x="44" y="858"/>
                  <a:pt x="39" y="863"/>
                </a:cubicBezTo>
                <a:cubicBezTo>
                  <a:pt x="35" y="869"/>
                  <a:pt x="37" y="874"/>
                  <a:pt x="45" y="874"/>
                </a:cubicBezTo>
                <a:cubicBezTo>
                  <a:pt x="53" y="874"/>
                  <a:pt x="63" y="869"/>
                  <a:pt x="68" y="863"/>
                </a:cubicBezTo>
                <a:cubicBezTo>
                  <a:pt x="72" y="858"/>
                  <a:pt x="70" y="853"/>
                  <a:pt x="62" y="853"/>
                </a:cubicBezTo>
                <a:cubicBezTo>
                  <a:pt x="62" y="853"/>
                  <a:pt x="62" y="853"/>
                  <a:pt x="62" y="853"/>
                </a:cubicBezTo>
                <a:moveTo>
                  <a:pt x="102" y="853"/>
                </a:moveTo>
                <a:cubicBezTo>
                  <a:pt x="94" y="853"/>
                  <a:pt x="84" y="858"/>
                  <a:pt x="79" y="863"/>
                </a:cubicBezTo>
                <a:cubicBezTo>
                  <a:pt x="75" y="869"/>
                  <a:pt x="78" y="873"/>
                  <a:pt x="85" y="873"/>
                </a:cubicBezTo>
                <a:cubicBezTo>
                  <a:pt x="93" y="873"/>
                  <a:pt x="103" y="869"/>
                  <a:pt x="108" y="863"/>
                </a:cubicBezTo>
                <a:cubicBezTo>
                  <a:pt x="112" y="858"/>
                  <a:pt x="110" y="853"/>
                  <a:pt x="102" y="853"/>
                </a:cubicBezTo>
                <a:cubicBezTo>
                  <a:pt x="102" y="853"/>
                  <a:pt x="102" y="853"/>
                  <a:pt x="102" y="853"/>
                </a:cubicBezTo>
                <a:moveTo>
                  <a:pt x="142" y="853"/>
                </a:moveTo>
                <a:cubicBezTo>
                  <a:pt x="134" y="853"/>
                  <a:pt x="124" y="858"/>
                  <a:pt x="120" y="863"/>
                </a:cubicBezTo>
                <a:cubicBezTo>
                  <a:pt x="115" y="869"/>
                  <a:pt x="118" y="873"/>
                  <a:pt x="126" y="873"/>
                </a:cubicBezTo>
                <a:cubicBezTo>
                  <a:pt x="134" y="873"/>
                  <a:pt x="144" y="869"/>
                  <a:pt x="148" y="863"/>
                </a:cubicBezTo>
                <a:cubicBezTo>
                  <a:pt x="153" y="857"/>
                  <a:pt x="150" y="853"/>
                  <a:pt x="142" y="853"/>
                </a:cubicBezTo>
                <a:cubicBezTo>
                  <a:pt x="142" y="853"/>
                  <a:pt x="142" y="853"/>
                  <a:pt x="142" y="853"/>
                </a:cubicBezTo>
                <a:moveTo>
                  <a:pt x="221" y="853"/>
                </a:moveTo>
                <a:cubicBezTo>
                  <a:pt x="213" y="853"/>
                  <a:pt x="204" y="857"/>
                  <a:pt x="199" y="863"/>
                </a:cubicBezTo>
                <a:cubicBezTo>
                  <a:pt x="195" y="869"/>
                  <a:pt x="198" y="873"/>
                  <a:pt x="206" y="873"/>
                </a:cubicBezTo>
                <a:cubicBezTo>
                  <a:pt x="213" y="873"/>
                  <a:pt x="223" y="868"/>
                  <a:pt x="228" y="863"/>
                </a:cubicBezTo>
                <a:cubicBezTo>
                  <a:pt x="232" y="857"/>
                  <a:pt x="229" y="853"/>
                  <a:pt x="221" y="853"/>
                </a:cubicBezTo>
                <a:cubicBezTo>
                  <a:pt x="221" y="853"/>
                  <a:pt x="221" y="853"/>
                  <a:pt x="221" y="853"/>
                </a:cubicBezTo>
                <a:moveTo>
                  <a:pt x="184" y="853"/>
                </a:moveTo>
                <a:cubicBezTo>
                  <a:pt x="176" y="853"/>
                  <a:pt x="166" y="857"/>
                  <a:pt x="161" y="863"/>
                </a:cubicBezTo>
                <a:cubicBezTo>
                  <a:pt x="157" y="869"/>
                  <a:pt x="160" y="873"/>
                  <a:pt x="168" y="873"/>
                </a:cubicBezTo>
                <a:cubicBezTo>
                  <a:pt x="175" y="873"/>
                  <a:pt x="185" y="868"/>
                  <a:pt x="190" y="863"/>
                </a:cubicBezTo>
                <a:cubicBezTo>
                  <a:pt x="194" y="857"/>
                  <a:pt x="191" y="853"/>
                  <a:pt x="184" y="853"/>
                </a:cubicBezTo>
                <a:cubicBezTo>
                  <a:pt x="184" y="853"/>
                  <a:pt x="184" y="853"/>
                  <a:pt x="184" y="853"/>
                </a:cubicBezTo>
                <a:moveTo>
                  <a:pt x="343" y="852"/>
                </a:moveTo>
                <a:cubicBezTo>
                  <a:pt x="335" y="852"/>
                  <a:pt x="325" y="857"/>
                  <a:pt x="321" y="862"/>
                </a:cubicBezTo>
                <a:cubicBezTo>
                  <a:pt x="317" y="868"/>
                  <a:pt x="320" y="873"/>
                  <a:pt x="328" y="873"/>
                </a:cubicBezTo>
                <a:cubicBezTo>
                  <a:pt x="336" y="873"/>
                  <a:pt x="346" y="868"/>
                  <a:pt x="350" y="862"/>
                </a:cubicBezTo>
                <a:cubicBezTo>
                  <a:pt x="354" y="857"/>
                  <a:pt x="351" y="852"/>
                  <a:pt x="343" y="852"/>
                </a:cubicBezTo>
                <a:cubicBezTo>
                  <a:pt x="343" y="852"/>
                  <a:pt x="343" y="852"/>
                  <a:pt x="343" y="852"/>
                </a:cubicBezTo>
                <a:moveTo>
                  <a:pt x="378" y="852"/>
                </a:moveTo>
                <a:cubicBezTo>
                  <a:pt x="370" y="852"/>
                  <a:pt x="360" y="857"/>
                  <a:pt x="356" y="862"/>
                </a:cubicBezTo>
                <a:cubicBezTo>
                  <a:pt x="352" y="868"/>
                  <a:pt x="355" y="872"/>
                  <a:pt x="363" y="872"/>
                </a:cubicBezTo>
                <a:cubicBezTo>
                  <a:pt x="371" y="872"/>
                  <a:pt x="380" y="868"/>
                  <a:pt x="384" y="862"/>
                </a:cubicBezTo>
                <a:cubicBezTo>
                  <a:pt x="388" y="857"/>
                  <a:pt x="385" y="852"/>
                  <a:pt x="378" y="852"/>
                </a:cubicBezTo>
                <a:cubicBezTo>
                  <a:pt x="378" y="852"/>
                  <a:pt x="378" y="852"/>
                  <a:pt x="378" y="852"/>
                </a:cubicBezTo>
                <a:moveTo>
                  <a:pt x="662" y="850"/>
                </a:moveTo>
                <a:cubicBezTo>
                  <a:pt x="654" y="850"/>
                  <a:pt x="645" y="855"/>
                  <a:pt x="641" y="860"/>
                </a:cubicBezTo>
                <a:cubicBezTo>
                  <a:pt x="638" y="866"/>
                  <a:pt x="641" y="870"/>
                  <a:pt x="649" y="870"/>
                </a:cubicBezTo>
                <a:cubicBezTo>
                  <a:pt x="657" y="870"/>
                  <a:pt x="666" y="866"/>
                  <a:pt x="670" y="860"/>
                </a:cubicBezTo>
                <a:cubicBezTo>
                  <a:pt x="673" y="855"/>
                  <a:pt x="670" y="850"/>
                  <a:pt x="662" y="850"/>
                </a:cubicBezTo>
                <a:cubicBezTo>
                  <a:pt x="662" y="850"/>
                  <a:pt x="662" y="850"/>
                  <a:pt x="662" y="850"/>
                </a:cubicBezTo>
                <a:moveTo>
                  <a:pt x="1708" y="846"/>
                </a:moveTo>
                <a:cubicBezTo>
                  <a:pt x="1700" y="846"/>
                  <a:pt x="1693" y="851"/>
                  <a:pt x="1691" y="856"/>
                </a:cubicBezTo>
                <a:cubicBezTo>
                  <a:pt x="1690" y="862"/>
                  <a:pt x="1695" y="866"/>
                  <a:pt x="1703" y="866"/>
                </a:cubicBezTo>
                <a:cubicBezTo>
                  <a:pt x="1711" y="866"/>
                  <a:pt x="1718" y="862"/>
                  <a:pt x="1720" y="856"/>
                </a:cubicBezTo>
                <a:cubicBezTo>
                  <a:pt x="1721" y="851"/>
                  <a:pt x="1716" y="846"/>
                  <a:pt x="1708" y="846"/>
                </a:cubicBezTo>
                <a:cubicBezTo>
                  <a:pt x="1708" y="846"/>
                  <a:pt x="1708" y="846"/>
                  <a:pt x="1708" y="846"/>
                </a:cubicBezTo>
                <a:moveTo>
                  <a:pt x="1746" y="846"/>
                </a:moveTo>
                <a:cubicBezTo>
                  <a:pt x="1738" y="846"/>
                  <a:pt x="1731" y="851"/>
                  <a:pt x="1729" y="856"/>
                </a:cubicBezTo>
                <a:cubicBezTo>
                  <a:pt x="1728" y="862"/>
                  <a:pt x="1733" y="866"/>
                  <a:pt x="1741" y="866"/>
                </a:cubicBezTo>
                <a:cubicBezTo>
                  <a:pt x="1749" y="866"/>
                  <a:pt x="1756" y="862"/>
                  <a:pt x="1757" y="856"/>
                </a:cubicBezTo>
                <a:cubicBezTo>
                  <a:pt x="1759" y="850"/>
                  <a:pt x="1754" y="846"/>
                  <a:pt x="1746" y="846"/>
                </a:cubicBezTo>
                <a:cubicBezTo>
                  <a:pt x="1746" y="846"/>
                  <a:pt x="1746" y="846"/>
                  <a:pt x="1746" y="846"/>
                </a:cubicBezTo>
                <a:moveTo>
                  <a:pt x="1786" y="846"/>
                </a:moveTo>
                <a:cubicBezTo>
                  <a:pt x="1778" y="846"/>
                  <a:pt x="1771" y="850"/>
                  <a:pt x="1769" y="856"/>
                </a:cubicBezTo>
                <a:cubicBezTo>
                  <a:pt x="1768" y="862"/>
                  <a:pt x="1773" y="866"/>
                  <a:pt x="1781" y="866"/>
                </a:cubicBezTo>
                <a:cubicBezTo>
                  <a:pt x="1789" y="866"/>
                  <a:pt x="1796" y="861"/>
                  <a:pt x="1797" y="856"/>
                </a:cubicBezTo>
                <a:cubicBezTo>
                  <a:pt x="1799" y="850"/>
                  <a:pt x="1794" y="846"/>
                  <a:pt x="1786" y="846"/>
                </a:cubicBezTo>
                <a:cubicBezTo>
                  <a:pt x="1786" y="846"/>
                  <a:pt x="1786" y="846"/>
                  <a:pt x="1786" y="846"/>
                </a:cubicBezTo>
                <a:moveTo>
                  <a:pt x="1826" y="846"/>
                </a:moveTo>
                <a:cubicBezTo>
                  <a:pt x="1818" y="846"/>
                  <a:pt x="1811" y="850"/>
                  <a:pt x="1810" y="856"/>
                </a:cubicBezTo>
                <a:cubicBezTo>
                  <a:pt x="1808" y="861"/>
                  <a:pt x="1814" y="866"/>
                  <a:pt x="1821" y="866"/>
                </a:cubicBezTo>
                <a:cubicBezTo>
                  <a:pt x="1829" y="866"/>
                  <a:pt x="1837" y="861"/>
                  <a:pt x="1838" y="856"/>
                </a:cubicBezTo>
                <a:cubicBezTo>
                  <a:pt x="1839" y="850"/>
                  <a:pt x="1834" y="846"/>
                  <a:pt x="1826" y="846"/>
                </a:cubicBezTo>
                <a:cubicBezTo>
                  <a:pt x="1826" y="846"/>
                  <a:pt x="1826" y="846"/>
                  <a:pt x="1826" y="846"/>
                </a:cubicBezTo>
                <a:moveTo>
                  <a:pt x="1866" y="845"/>
                </a:moveTo>
                <a:cubicBezTo>
                  <a:pt x="1859" y="845"/>
                  <a:pt x="1851" y="850"/>
                  <a:pt x="1850" y="856"/>
                </a:cubicBezTo>
                <a:cubicBezTo>
                  <a:pt x="1849" y="861"/>
                  <a:pt x="1854" y="866"/>
                  <a:pt x="1862" y="866"/>
                </a:cubicBezTo>
                <a:cubicBezTo>
                  <a:pt x="1870" y="866"/>
                  <a:pt x="1877" y="861"/>
                  <a:pt x="1878" y="855"/>
                </a:cubicBezTo>
                <a:cubicBezTo>
                  <a:pt x="1880" y="850"/>
                  <a:pt x="1874" y="845"/>
                  <a:pt x="1867" y="845"/>
                </a:cubicBezTo>
                <a:cubicBezTo>
                  <a:pt x="1867" y="845"/>
                  <a:pt x="1867" y="845"/>
                  <a:pt x="1866" y="845"/>
                </a:cubicBezTo>
                <a:moveTo>
                  <a:pt x="1906" y="845"/>
                </a:moveTo>
                <a:cubicBezTo>
                  <a:pt x="1899" y="845"/>
                  <a:pt x="1891" y="850"/>
                  <a:pt x="1890" y="855"/>
                </a:cubicBezTo>
                <a:cubicBezTo>
                  <a:pt x="1889" y="861"/>
                  <a:pt x="1895" y="866"/>
                  <a:pt x="1902" y="866"/>
                </a:cubicBezTo>
                <a:cubicBezTo>
                  <a:pt x="1910" y="866"/>
                  <a:pt x="1917" y="861"/>
                  <a:pt x="1918" y="855"/>
                </a:cubicBezTo>
                <a:cubicBezTo>
                  <a:pt x="1919" y="850"/>
                  <a:pt x="1914" y="845"/>
                  <a:pt x="1906" y="845"/>
                </a:cubicBezTo>
                <a:cubicBezTo>
                  <a:pt x="1906" y="845"/>
                  <a:pt x="1906" y="845"/>
                  <a:pt x="1906" y="845"/>
                </a:cubicBezTo>
                <a:moveTo>
                  <a:pt x="1946" y="845"/>
                </a:moveTo>
                <a:cubicBezTo>
                  <a:pt x="1939" y="845"/>
                  <a:pt x="1932" y="850"/>
                  <a:pt x="1930" y="855"/>
                </a:cubicBezTo>
                <a:cubicBezTo>
                  <a:pt x="1929" y="861"/>
                  <a:pt x="1935" y="865"/>
                  <a:pt x="1943" y="865"/>
                </a:cubicBezTo>
                <a:cubicBezTo>
                  <a:pt x="1950" y="865"/>
                  <a:pt x="1958" y="861"/>
                  <a:pt x="1959" y="855"/>
                </a:cubicBezTo>
                <a:cubicBezTo>
                  <a:pt x="1960" y="850"/>
                  <a:pt x="1954" y="845"/>
                  <a:pt x="1946" y="845"/>
                </a:cubicBezTo>
                <a:cubicBezTo>
                  <a:pt x="1946" y="845"/>
                  <a:pt x="1946" y="845"/>
                  <a:pt x="1946" y="845"/>
                </a:cubicBezTo>
                <a:moveTo>
                  <a:pt x="1986" y="845"/>
                </a:moveTo>
                <a:cubicBezTo>
                  <a:pt x="1978" y="845"/>
                  <a:pt x="1971" y="849"/>
                  <a:pt x="1970" y="855"/>
                </a:cubicBezTo>
                <a:cubicBezTo>
                  <a:pt x="1969" y="861"/>
                  <a:pt x="1975" y="865"/>
                  <a:pt x="1983" y="865"/>
                </a:cubicBezTo>
                <a:cubicBezTo>
                  <a:pt x="1991" y="865"/>
                  <a:pt x="1998" y="861"/>
                  <a:pt x="1999" y="855"/>
                </a:cubicBezTo>
                <a:cubicBezTo>
                  <a:pt x="1999" y="849"/>
                  <a:pt x="1994" y="845"/>
                  <a:pt x="1986" y="845"/>
                </a:cubicBezTo>
                <a:cubicBezTo>
                  <a:pt x="1986" y="845"/>
                  <a:pt x="1986" y="845"/>
                  <a:pt x="1986" y="845"/>
                </a:cubicBezTo>
                <a:moveTo>
                  <a:pt x="2026" y="845"/>
                </a:moveTo>
                <a:cubicBezTo>
                  <a:pt x="2019" y="845"/>
                  <a:pt x="2012" y="849"/>
                  <a:pt x="2011" y="855"/>
                </a:cubicBezTo>
                <a:cubicBezTo>
                  <a:pt x="2010" y="861"/>
                  <a:pt x="2015" y="865"/>
                  <a:pt x="2023" y="865"/>
                </a:cubicBezTo>
                <a:cubicBezTo>
                  <a:pt x="2031" y="865"/>
                  <a:pt x="2038" y="860"/>
                  <a:pt x="2039" y="855"/>
                </a:cubicBezTo>
                <a:cubicBezTo>
                  <a:pt x="2040" y="849"/>
                  <a:pt x="2034" y="845"/>
                  <a:pt x="2026" y="845"/>
                </a:cubicBezTo>
                <a:cubicBezTo>
                  <a:pt x="2026" y="845"/>
                  <a:pt x="2026" y="845"/>
                  <a:pt x="2026" y="845"/>
                </a:cubicBezTo>
                <a:moveTo>
                  <a:pt x="2068" y="844"/>
                </a:moveTo>
                <a:cubicBezTo>
                  <a:pt x="2060" y="844"/>
                  <a:pt x="2053" y="849"/>
                  <a:pt x="2052" y="855"/>
                </a:cubicBezTo>
                <a:cubicBezTo>
                  <a:pt x="2051" y="860"/>
                  <a:pt x="2057" y="865"/>
                  <a:pt x="2065" y="865"/>
                </a:cubicBezTo>
                <a:cubicBezTo>
                  <a:pt x="2073" y="865"/>
                  <a:pt x="2080" y="860"/>
                  <a:pt x="2080" y="855"/>
                </a:cubicBezTo>
                <a:cubicBezTo>
                  <a:pt x="2081" y="849"/>
                  <a:pt x="2076" y="844"/>
                  <a:pt x="2068" y="844"/>
                </a:cubicBezTo>
                <a:cubicBezTo>
                  <a:pt x="2068" y="844"/>
                  <a:pt x="2068" y="844"/>
                  <a:pt x="2068" y="844"/>
                </a:cubicBezTo>
                <a:moveTo>
                  <a:pt x="2108" y="844"/>
                </a:moveTo>
                <a:cubicBezTo>
                  <a:pt x="2100" y="844"/>
                  <a:pt x="2093" y="849"/>
                  <a:pt x="2092" y="855"/>
                </a:cubicBezTo>
                <a:cubicBezTo>
                  <a:pt x="2091" y="860"/>
                  <a:pt x="2097" y="865"/>
                  <a:pt x="2105" y="865"/>
                </a:cubicBezTo>
                <a:cubicBezTo>
                  <a:pt x="2113" y="865"/>
                  <a:pt x="2120" y="860"/>
                  <a:pt x="2120" y="854"/>
                </a:cubicBezTo>
                <a:cubicBezTo>
                  <a:pt x="2121" y="849"/>
                  <a:pt x="2115" y="844"/>
                  <a:pt x="2108" y="844"/>
                </a:cubicBezTo>
                <a:cubicBezTo>
                  <a:pt x="2108" y="844"/>
                  <a:pt x="2108" y="844"/>
                  <a:pt x="2108" y="844"/>
                </a:cubicBezTo>
                <a:moveTo>
                  <a:pt x="2148" y="844"/>
                </a:moveTo>
                <a:cubicBezTo>
                  <a:pt x="2140" y="844"/>
                  <a:pt x="2133" y="849"/>
                  <a:pt x="2132" y="854"/>
                </a:cubicBezTo>
                <a:cubicBezTo>
                  <a:pt x="2132" y="860"/>
                  <a:pt x="2138" y="865"/>
                  <a:pt x="2145" y="865"/>
                </a:cubicBezTo>
                <a:cubicBezTo>
                  <a:pt x="2153" y="864"/>
                  <a:pt x="2160" y="860"/>
                  <a:pt x="2161" y="854"/>
                </a:cubicBezTo>
                <a:cubicBezTo>
                  <a:pt x="2161" y="849"/>
                  <a:pt x="2155" y="844"/>
                  <a:pt x="2148" y="844"/>
                </a:cubicBezTo>
                <a:cubicBezTo>
                  <a:pt x="2148" y="844"/>
                  <a:pt x="2148" y="844"/>
                  <a:pt x="2148" y="844"/>
                </a:cubicBezTo>
                <a:moveTo>
                  <a:pt x="2188" y="844"/>
                </a:moveTo>
                <a:cubicBezTo>
                  <a:pt x="2180" y="844"/>
                  <a:pt x="2174" y="849"/>
                  <a:pt x="2173" y="854"/>
                </a:cubicBezTo>
                <a:cubicBezTo>
                  <a:pt x="2173" y="860"/>
                  <a:pt x="2178" y="864"/>
                  <a:pt x="2186" y="864"/>
                </a:cubicBezTo>
                <a:cubicBezTo>
                  <a:pt x="2194" y="864"/>
                  <a:pt x="2201" y="860"/>
                  <a:pt x="2201" y="854"/>
                </a:cubicBezTo>
                <a:cubicBezTo>
                  <a:pt x="2202" y="848"/>
                  <a:pt x="2196" y="844"/>
                  <a:pt x="2188" y="844"/>
                </a:cubicBezTo>
                <a:cubicBezTo>
                  <a:pt x="2188" y="844"/>
                  <a:pt x="2188" y="844"/>
                  <a:pt x="2188" y="844"/>
                </a:cubicBezTo>
                <a:moveTo>
                  <a:pt x="2228" y="844"/>
                </a:moveTo>
                <a:cubicBezTo>
                  <a:pt x="2220" y="844"/>
                  <a:pt x="2214" y="848"/>
                  <a:pt x="2213" y="854"/>
                </a:cubicBezTo>
                <a:cubicBezTo>
                  <a:pt x="2213" y="860"/>
                  <a:pt x="2218" y="864"/>
                  <a:pt x="2226" y="864"/>
                </a:cubicBezTo>
                <a:cubicBezTo>
                  <a:pt x="2234" y="864"/>
                  <a:pt x="2241" y="860"/>
                  <a:pt x="2241" y="854"/>
                </a:cubicBezTo>
                <a:cubicBezTo>
                  <a:pt x="2242" y="848"/>
                  <a:pt x="2236" y="844"/>
                  <a:pt x="2228" y="844"/>
                </a:cubicBezTo>
                <a:cubicBezTo>
                  <a:pt x="2228" y="844"/>
                  <a:pt x="2228" y="844"/>
                  <a:pt x="2228" y="844"/>
                </a:cubicBezTo>
                <a:moveTo>
                  <a:pt x="2268" y="844"/>
                </a:moveTo>
                <a:cubicBezTo>
                  <a:pt x="2260" y="844"/>
                  <a:pt x="2254" y="848"/>
                  <a:pt x="2253" y="854"/>
                </a:cubicBezTo>
                <a:cubicBezTo>
                  <a:pt x="2253" y="859"/>
                  <a:pt x="2259" y="864"/>
                  <a:pt x="2267" y="864"/>
                </a:cubicBezTo>
                <a:cubicBezTo>
                  <a:pt x="2274" y="864"/>
                  <a:pt x="2281" y="859"/>
                  <a:pt x="2281" y="854"/>
                </a:cubicBezTo>
                <a:cubicBezTo>
                  <a:pt x="2282" y="848"/>
                  <a:pt x="2276" y="844"/>
                  <a:pt x="2268" y="844"/>
                </a:cubicBezTo>
                <a:cubicBezTo>
                  <a:pt x="2268" y="844"/>
                  <a:pt x="2268" y="844"/>
                  <a:pt x="2268" y="844"/>
                </a:cubicBezTo>
                <a:moveTo>
                  <a:pt x="2308" y="843"/>
                </a:moveTo>
                <a:cubicBezTo>
                  <a:pt x="2300" y="843"/>
                  <a:pt x="2294" y="848"/>
                  <a:pt x="2293" y="854"/>
                </a:cubicBezTo>
                <a:cubicBezTo>
                  <a:pt x="2293" y="859"/>
                  <a:pt x="2299" y="864"/>
                  <a:pt x="2307" y="864"/>
                </a:cubicBezTo>
                <a:cubicBezTo>
                  <a:pt x="2314" y="864"/>
                  <a:pt x="2321" y="859"/>
                  <a:pt x="2321" y="854"/>
                </a:cubicBezTo>
                <a:cubicBezTo>
                  <a:pt x="2322" y="848"/>
                  <a:pt x="2316" y="843"/>
                  <a:pt x="2308" y="843"/>
                </a:cubicBezTo>
                <a:cubicBezTo>
                  <a:pt x="2308" y="843"/>
                  <a:pt x="2308" y="843"/>
                  <a:pt x="2308" y="843"/>
                </a:cubicBezTo>
                <a:moveTo>
                  <a:pt x="2348" y="843"/>
                </a:moveTo>
                <a:cubicBezTo>
                  <a:pt x="2340" y="843"/>
                  <a:pt x="2334" y="848"/>
                  <a:pt x="2333" y="853"/>
                </a:cubicBezTo>
                <a:cubicBezTo>
                  <a:pt x="2333" y="859"/>
                  <a:pt x="2339" y="864"/>
                  <a:pt x="2347" y="864"/>
                </a:cubicBezTo>
                <a:cubicBezTo>
                  <a:pt x="2355" y="864"/>
                  <a:pt x="2361" y="859"/>
                  <a:pt x="2362" y="853"/>
                </a:cubicBezTo>
                <a:cubicBezTo>
                  <a:pt x="2362" y="848"/>
                  <a:pt x="2356" y="843"/>
                  <a:pt x="2348" y="843"/>
                </a:cubicBezTo>
                <a:cubicBezTo>
                  <a:pt x="2348" y="843"/>
                  <a:pt x="2348" y="843"/>
                  <a:pt x="2348" y="843"/>
                </a:cubicBezTo>
                <a:moveTo>
                  <a:pt x="2388" y="843"/>
                </a:moveTo>
                <a:cubicBezTo>
                  <a:pt x="2381" y="843"/>
                  <a:pt x="2374" y="848"/>
                  <a:pt x="2374" y="853"/>
                </a:cubicBezTo>
                <a:cubicBezTo>
                  <a:pt x="2374" y="859"/>
                  <a:pt x="2380" y="864"/>
                  <a:pt x="2388" y="863"/>
                </a:cubicBezTo>
                <a:cubicBezTo>
                  <a:pt x="2396" y="863"/>
                  <a:pt x="2402" y="859"/>
                  <a:pt x="2402" y="853"/>
                </a:cubicBezTo>
                <a:cubicBezTo>
                  <a:pt x="2402" y="848"/>
                  <a:pt x="2396" y="843"/>
                  <a:pt x="2389" y="843"/>
                </a:cubicBezTo>
                <a:cubicBezTo>
                  <a:pt x="2389" y="843"/>
                  <a:pt x="2389" y="843"/>
                  <a:pt x="2388" y="843"/>
                </a:cubicBezTo>
                <a:moveTo>
                  <a:pt x="2428" y="843"/>
                </a:moveTo>
                <a:cubicBezTo>
                  <a:pt x="2421" y="843"/>
                  <a:pt x="2414" y="847"/>
                  <a:pt x="2414" y="853"/>
                </a:cubicBezTo>
                <a:cubicBezTo>
                  <a:pt x="2414" y="859"/>
                  <a:pt x="2420" y="863"/>
                  <a:pt x="2428" y="863"/>
                </a:cubicBezTo>
                <a:cubicBezTo>
                  <a:pt x="2436" y="863"/>
                  <a:pt x="2442" y="859"/>
                  <a:pt x="2442" y="853"/>
                </a:cubicBezTo>
                <a:cubicBezTo>
                  <a:pt x="2442" y="847"/>
                  <a:pt x="2436" y="843"/>
                  <a:pt x="2428" y="843"/>
                </a:cubicBezTo>
                <a:cubicBezTo>
                  <a:pt x="2428" y="843"/>
                  <a:pt x="2428" y="843"/>
                  <a:pt x="2428" y="843"/>
                </a:cubicBezTo>
                <a:moveTo>
                  <a:pt x="2468" y="843"/>
                </a:moveTo>
                <a:cubicBezTo>
                  <a:pt x="2461" y="843"/>
                  <a:pt x="2454" y="847"/>
                  <a:pt x="2454" y="853"/>
                </a:cubicBezTo>
                <a:cubicBezTo>
                  <a:pt x="2454" y="859"/>
                  <a:pt x="2460" y="863"/>
                  <a:pt x="2468" y="863"/>
                </a:cubicBezTo>
                <a:cubicBezTo>
                  <a:pt x="2476" y="863"/>
                  <a:pt x="2482" y="858"/>
                  <a:pt x="2482" y="853"/>
                </a:cubicBezTo>
                <a:cubicBezTo>
                  <a:pt x="2482" y="847"/>
                  <a:pt x="2476" y="843"/>
                  <a:pt x="2468" y="843"/>
                </a:cubicBezTo>
                <a:cubicBezTo>
                  <a:pt x="2468" y="843"/>
                  <a:pt x="2468" y="843"/>
                  <a:pt x="2468" y="843"/>
                </a:cubicBezTo>
                <a:moveTo>
                  <a:pt x="2829" y="843"/>
                </a:moveTo>
                <a:cubicBezTo>
                  <a:pt x="2821" y="843"/>
                  <a:pt x="2816" y="847"/>
                  <a:pt x="2816" y="853"/>
                </a:cubicBezTo>
                <a:cubicBezTo>
                  <a:pt x="2817" y="858"/>
                  <a:pt x="2824" y="863"/>
                  <a:pt x="2831" y="863"/>
                </a:cubicBezTo>
                <a:cubicBezTo>
                  <a:pt x="2839" y="863"/>
                  <a:pt x="2845" y="858"/>
                  <a:pt x="2844" y="853"/>
                </a:cubicBezTo>
                <a:cubicBezTo>
                  <a:pt x="2844" y="847"/>
                  <a:pt x="2837" y="843"/>
                  <a:pt x="2829" y="843"/>
                </a:cubicBezTo>
                <a:cubicBezTo>
                  <a:pt x="2829" y="843"/>
                  <a:pt x="2829" y="843"/>
                  <a:pt x="2829" y="843"/>
                </a:cubicBezTo>
                <a:moveTo>
                  <a:pt x="2508" y="843"/>
                </a:moveTo>
                <a:cubicBezTo>
                  <a:pt x="2500" y="843"/>
                  <a:pt x="2494" y="847"/>
                  <a:pt x="2494" y="853"/>
                </a:cubicBezTo>
                <a:cubicBezTo>
                  <a:pt x="2494" y="858"/>
                  <a:pt x="2501" y="863"/>
                  <a:pt x="2508" y="863"/>
                </a:cubicBezTo>
                <a:cubicBezTo>
                  <a:pt x="2516" y="863"/>
                  <a:pt x="2522" y="858"/>
                  <a:pt x="2522" y="853"/>
                </a:cubicBezTo>
                <a:cubicBezTo>
                  <a:pt x="2522" y="847"/>
                  <a:pt x="2516" y="843"/>
                  <a:pt x="2508" y="843"/>
                </a:cubicBezTo>
                <a:cubicBezTo>
                  <a:pt x="2508" y="843"/>
                  <a:pt x="2508" y="843"/>
                  <a:pt x="2508" y="843"/>
                </a:cubicBezTo>
                <a:moveTo>
                  <a:pt x="2548" y="842"/>
                </a:moveTo>
                <a:cubicBezTo>
                  <a:pt x="2541" y="842"/>
                  <a:pt x="2534" y="847"/>
                  <a:pt x="2534" y="853"/>
                </a:cubicBezTo>
                <a:cubicBezTo>
                  <a:pt x="2535" y="858"/>
                  <a:pt x="2541" y="863"/>
                  <a:pt x="2549" y="863"/>
                </a:cubicBezTo>
                <a:cubicBezTo>
                  <a:pt x="2557" y="863"/>
                  <a:pt x="2563" y="858"/>
                  <a:pt x="2563" y="852"/>
                </a:cubicBezTo>
                <a:cubicBezTo>
                  <a:pt x="2562" y="847"/>
                  <a:pt x="2556" y="842"/>
                  <a:pt x="2548" y="842"/>
                </a:cubicBezTo>
                <a:cubicBezTo>
                  <a:pt x="2548" y="842"/>
                  <a:pt x="2548" y="842"/>
                  <a:pt x="2548" y="842"/>
                </a:cubicBezTo>
                <a:moveTo>
                  <a:pt x="2909" y="842"/>
                </a:moveTo>
                <a:cubicBezTo>
                  <a:pt x="2901" y="842"/>
                  <a:pt x="2895" y="847"/>
                  <a:pt x="2896" y="852"/>
                </a:cubicBezTo>
                <a:cubicBezTo>
                  <a:pt x="2897" y="858"/>
                  <a:pt x="2904" y="863"/>
                  <a:pt x="2912" y="863"/>
                </a:cubicBezTo>
                <a:cubicBezTo>
                  <a:pt x="2919" y="863"/>
                  <a:pt x="2925" y="858"/>
                  <a:pt x="2924" y="852"/>
                </a:cubicBezTo>
                <a:cubicBezTo>
                  <a:pt x="2923" y="847"/>
                  <a:pt x="2917" y="842"/>
                  <a:pt x="2909" y="842"/>
                </a:cubicBezTo>
                <a:cubicBezTo>
                  <a:pt x="2909" y="842"/>
                  <a:pt x="2909" y="842"/>
                  <a:pt x="2909" y="842"/>
                </a:cubicBezTo>
                <a:moveTo>
                  <a:pt x="2589" y="842"/>
                </a:moveTo>
                <a:cubicBezTo>
                  <a:pt x="2581" y="842"/>
                  <a:pt x="2575" y="847"/>
                  <a:pt x="2575" y="852"/>
                </a:cubicBezTo>
                <a:cubicBezTo>
                  <a:pt x="2575" y="858"/>
                  <a:pt x="2582" y="863"/>
                  <a:pt x="2589" y="863"/>
                </a:cubicBezTo>
                <a:cubicBezTo>
                  <a:pt x="2597" y="863"/>
                  <a:pt x="2603" y="858"/>
                  <a:pt x="2603" y="852"/>
                </a:cubicBezTo>
                <a:cubicBezTo>
                  <a:pt x="2603" y="847"/>
                  <a:pt x="2597" y="842"/>
                  <a:pt x="2589" y="842"/>
                </a:cubicBezTo>
                <a:cubicBezTo>
                  <a:pt x="2589" y="842"/>
                  <a:pt x="2589" y="842"/>
                  <a:pt x="2589" y="842"/>
                </a:cubicBezTo>
                <a:moveTo>
                  <a:pt x="2867" y="842"/>
                </a:moveTo>
                <a:cubicBezTo>
                  <a:pt x="2859" y="842"/>
                  <a:pt x="2853" y="847"/>
                  <a:pt x="2854" y="852"/>
                </a:cubicBezTo>
                <a:cubicBezTo>
                  <a:pt x="2855" y="858"/>
                  <a:pt x="2862" y="863"/>
                  <a:pt x="2869" y="863"/>
                </a:cubicBezTo>
                <a:cubicBezTo>
                  <a:pt x="2877" y="863"/>
                  <a:pt x="2883" y="858"/>
                  <a:pt x="2882" y="852"/>
                </a:cubicBezTo>
                <a:cubicBezTo>
                  <a:pt x="2881" y="847"/>
                  <a:pt x="2874" y="842"/>
                  <a:pt x="2867" y="842"/>
                </a:cubicBezTo>
                <a:cubicBezTo>
                  <a:pt x="2867" y="842"/>
                  <a:pt x="2867" y="842"/>
                  <a:pt x="2867" y="842"/>
                </a:cubicBezTo>
                <a:moveTo>
                  <a:pt x="2629" y="842"/>
                </a:moveTo>
                <a:cubicBezTo>
                  <a:pt x="2621" y="842"/>
                  <a:pt x="2615" y="847"/>
                  <a:pt x="2615" y="852"/>
                </a:cubicBezTo>
                <a:cubicBezTo>
                  <a:pt x="2615" y="858"/>
                  <a:pt x="2622" y="862"/>
                  <a:pt x="2630" y="862"/>
                </a:cubicBezTo>
                <a:cubicBezTo>
                  <a:pt x="2637" y="862"/>
                  <a:pt x="2643" y="858"/>
                  <a:pt x="2643" y="852"/>
                </a:cubicBezTo>
                <a:cubicBezTo>
                  <a:pt x="2643" y="847"/>
                  <a:pt x="2636" y="842"/>
                  <a:pt x="2629" y="842"/>
                </a:cubicBezTo>
                <a:cubicBezTo>
                  <a:pt x="2629" y="842"/>
                  <a:pt x="2629" y="842"/>
                  <a:pt x="2629" y="842"/>
                </a:cubicBezTo>
                <a:moveTo>
                  <a:pt x="2990" y="842"/>
                </a:moveTo>
                <a:cubicBezTo>
                  <a:pt x="2982" y="842"/>
                  <a:pt x="2977" y="846"/>
                  <a:pt x="2978" y="852"/>
                </a:cubicBezTo>
                <a:cubicBezTo>
                  <a:pt x="2979" y="858"/>
                  <a:pt x="2986" y="862"/>
                  <a:pt x="2994" y="862"/>
                </a:cubicBezTo>
                <a:cubicBezTo>
                  <a:pt x="3002" y="862"/>
                  <a:pt x="3007" y="858"/>
                  <a:pt x="3006" y="852"/>
                </a:cubicBezTo>
                <a:cubicBezTo>
                  <a:pt x="3005" y="846"/>
                  <a:pt x="2998" y="842"/>
                  <a:pt x="2990" y="842"/>
                </a:cubicBezTo>
                <a:cubicBezTo>
                  <a:pt x="2990" y="842"/>
                  <a:pt x="2990" y="842"/>
                  <a:pt x="2990" y="842"/>
                </a:cubicBezTo>
                <a:moveTo>
                  <a:pt x="2709" y="842"/>
                </a:moveTo>
                <a:cubicBezTo>
                  <a:pt x="2701" y="842"/>
                  <a:pt x="2695" y="846"/>
                  <a:pt x="2696" y="852"/>
                </a:cubicBezTo>
                <a:cubicBezTo>
                  <a:pt x="2696" y="858"/>
                  <a:pt x="2703" y="862"/>
                  <a:pt x="2711" y="862"/>
                </a:cubicBezTo>
                <a:cubicBezTo>
                  <a:pt x="2718" y="862"/>
                  <a:pt x="2724" y="858"/>
                  <a:pt x="2724" y="852"/>
                </a:cubicBezTo>
                <a:cubicBezTo>
                  <a:pt x="2723" y="846"/>
                  <a:pt x="2717" y="842"/>
                  <a:pt x="2709" y="842"/>
                </a:cubicBezTo>
                <a:cubicBezTo>
                  <a:pt x="2709" y="842"/>
                  <a:pt x="2709" y="842"/>
                  <a:pt x="2709" y="842"/>
                </a:cubicBezTo>
                <a:moveTo>
                  <a:pt x="2946" y="842"/>
                </a:moveTo>
                <a:cubicBezTo>
                  <a:pt x="2939" y="842"/>
                  <a:pt x="2933" y="846"/>
                  <a:pt x="2934" y="852"/>
                </a:cubicBezTo>
                <a:cubicBezTo>
                  <a:pt x="2935" y="858"/>
                  <a:pt x="2942" y="862"/>
                  <a:pt x="2950" y="862"/>
                </a:cubicBezTo>
                <a:cubicBezTo>
                  <a:pt x="2957" y="862"/>
                  <a:pt x="2963" y="858"/>
                  <a:pt x="2962" y="852"/>
                </a:cubicBezTo>
                <a:cubicBezTo>
                  <a:pt x="2961" y="846"/>
                  <a:pt x="2954" y="842"/>
                  <a:pt x="2946" y="842"/>
                </a:cubicBezTo>
                <a:cubicBezTo>
                  <a:pt x="2946" y="842"/>
                  <a:pt x="2946" y="842"/>
                  <a:pt x="2946" y="842"/>
                </a:cubicBezTo>
                <a:moveTo>
                  <a:pt x="3028" y="841"/>
                </a:moveTo>
                <a:cubicBezTo>
                  <a:pt x="3020" y="841"/>
                  <a:pt x="3015" y="846"/>
                  <a:pt x="3016" y="852"/>
                </a:cubicBezTo>
                <a:cubicBezTo>
                  <a:pt x="3017" y="857"/>
                  <a:pt x="3024" y="862"/>
                  <a:pt x="3032" y="862"/>
                </a:cubicBezTo>
                <a:cubicBezTo>
                  <a:pt x="3039" y="862"/>
                  <a:pt x="3045" y="857"/>
                  <a:pt x="3044" y="852"/>
                </a:cubicBezTo>
                <a:cubicBezTo>
                  <a:pt x="3043" y="846"/>
                  <a:pt x="3036" y="841"/>
                  <a:pt x="3028" y="841"/>
                </a:cubicBezTo>
                <a:cubicBezTo>
                  <a:pt x="3028" y="841"/>
                  <a:pt x="3028" y="841"/>
                  <a:pt x="3028" y="841"/>
                </a:cubicBezTo>
                <a:moveTo>
                  <a:pt x="2747" y="840"/>
                </a:moveTo>
                <a:cubicBezTo>
                  <a:pt x="2739" y="840"/>
                  <a:pt x="2733" y="845"/>
                  <a:pt x="2734" y="851"/>
                </a:cubicBezTo>
                <a:cubicBezTo>
                  <a:pt x="2734" y="856"/>
                  <a:pt x="2741" y="861"/>
                  <a:pt x="2749" y="861"/>
                </a:cubicBezTo>
                <a:cubicBezTo>
                  <a:pt x="2756" y="861"/>
                  <a:pt x="2762" y="856"/>
                  <a:pt x="2762" y="850"/>
                </a:cubicBezTo>
                <a:cubicBezTo>
                  <a:pt x="2761" y="845"/>
                  <a:pt x="2754" y="840"/>
                  <a:pt x="2747" y="840"/>
                </a:cubicBezTo>
                <a:cubicBezTo>
                  <a:pt x="2747" y="840"/>
                  <a:pt x="2747" y="840"/>
                  <a:pt x="2747" y="840"/>
                </a:cubicBezTo>
                <a:moveTo>
                  <a:pt x="2789" y="840"/>
                </a:moveTo>
                <a:cubicBezTo>
                  <a:pt x="2781" y="840"/>
                  <a:pt x="2775" y="845"/>
                  <a:pt x="2776" y="850"/>
                </a:cubicBezTo>
                <a:cubicBezTo>
                  <a:pt x="2776" y="856"/>
                  <a:pt x="2783" y="861"/>
                  <a:pt x="2791" y="861"/>
                </a:cubicBezTo>
                <a:cubicBezTo>
                  <a:pt x="2799" y="861"/>
                  <a:pt x="2804" y="856"/>
                  <a:pt x="2804" y="850"/>
                </a:cubicBezTo>
                <a:cubicBezTo>
                  <a:pt x="2803" y="845"/>
                  <a:pt x="2797" y="840"/>
                  <a:pt x="2789" y="840"/>
                </a:cubicBezTo>
                <a:cubicBezTo>
                  <a:pt x="2789" y="840"/>
                  <a:pt x="2789" y="840"/>
                  <a:pt x="2789" y="840"/>
                </a:cubicBezTo>
                <a:moveTo>
                  <a:pt x="3308" y="839"/>
                </a:moveTo>
                <a:cubicBezTo>
                  <a:pt x="3300" y="839"/>
                  <a:pt x="3295" y="844"/>
                  <a:pt x="3297" y="850"/>
                </a:cubicBezTo>
                <a:cubicBezTo>
                  <a:pt x="3298" y="855"/>
                  <a:pt x="3306" y="860"/>
                  <a:pt x="3314" y="860"/>
                </a:cubicBezTo>
                <a:cubicBezTo>
                  <a:pt x="3322" y="860"/>
                  <a:pt x="3327" y="855"/>
                  <a:pt x="3325" y="850"/>
                </a:cubicBezTo>
                <a:cubicBezTo>
                  <a:pt x="3323" y="844"/>
                  <a:pt x="3316" y="839"/>
                  <a:pt x="3308" y="839"/>
                </a:cubicBezTo>
                <a:cubicBezTo>
                  <a:pt x="3308" y="839"/>
                  <a:pt x="3308" y="839"/>
                  <a:pt x="3308" y="839"/>
                </a:cubicBezTo>
                <a:moveTo>
                  <a:pt x="3348" y="839"/>
                </a:moveTo>
                <a:cubicBezTo>
                  <a:pt x="3341" y="839"/>
                  <a:pt x="3336" y="844"/>
                  <a:pt x="3337" y="850"/>
                </a:cubicBezTo>
                <a:cubicBezTo>
                  <a:pt x="3339" y="855"/>
                  <a:pt x="3347" y="860"/>
                  <a:pt x="3354" y="860"/>
                </a:cubicBezTo>
                <a:cubicBezTo>
                  <a:pt x="3362" y="860"/>
                  <a:pt x="3367" y="855"/>
                  <a:pt x="3365" y="849"/>
                </a:cubicBezTo>
                <a:cubicBezTo>
                  <a:pt x="3364" y="844"/>
                  <a:pt x="3356" y="839"/>
                  <a:pt x="3349" y="839"/>
                </a:cubicBezTo>
                <a:cubicBezTo>
                  <a:pt x="3348" y="839"/>
                  <a:pt x="3348" y="839"/>
                  <a:pt x="3348" y="839"/>
                </a:cubicBezTo>
                <a:moveTo>
                  <a:pt x="3388" y="839"/>
                </a:moveTo>
                <a:cubicBezTo>
                  <a:pt x="3380" y="839"/>
                  <a:pt x="3375" y="844"/>
                  <a:pt x="3377" y="849"/>
                </a:cubicBezTo>
                <a:cubicBezTo>
                  <a:pt x="3379" y="855"/>
                  <a:pt x="3386" y="860"/>
                  <a:pt x="3394" y="860"/>
                </a:cubicBezTo>
                <a:cubicBezTo>
                  <a:pt x="3402" y="860"/>
                  <a:pt x="3407" y="855"/>
                  <a:pt x="3405" y="849"/>
                </a:cubicBezTo>
                <a:cubicBezTo>
                  <a:pt x="3403" y="844"/>
                  <a:pt x="3396" y="839"/>
                  <a:pt x="3388" y="839"/>
                </a:cubicBezTo>
                <a:cubicBezTo>
                  <a:pt x="3388" y="839"/>
                  <a:pt x="3388" y="839"/>
                  <a:pt x="3388" y="839"/>
                </a:cubicBezTo>
                <a:moveTo>
                  <a:pt x="3428" y="839"/>
                </a:moveTo>
                <a:cubicBezTo>
                  <a:pt x="3420" y="839"/>
                  <a:pt x="3415" y="844"/>
                  <a:pt x="3417" y="849"/>
                </a:cubicBezTo>
                <a:cubicBezTo>
                  <a:pt x="3419" y="855"/>
                  <a:pt x="3426" y="859"/>
                  <a:pt x="3434" y="859"/>
                </a:cubicBezTo>
                <a:cubicBezTo>
                  <a:pt x="3442" y="859"/>
                  <a:pt x="3447" y="855"/>
                  <a:pt x="3445" y="849"/>
                </a:cubicBezTo>
                <a:cubicBezTo>
                  <a:pt x="3443" y="843"/>
                  <a:pt x="3435" y="839"/>
                  <a:pt x="3428" y="839"/>
                </a:cubicBezTo>
                <a:cubicBezTo>
                  <a:pt x="3428" y="839"/>
                  <a:pt x="3428" y="839"/>
                  <a:pt x="3428" y="839"/>
                </a:cubicBezTo>
                <a:moveTo>
                  <a:pt x="3468" y="839"/>
                </a:moveTo>
                <a:cubicBezTo>
                  <a:pt x="3460" y="839"/>
                  <a:pt x="3455" y="843"/>
                  <a:pt x="3457" y="849"/>
                </a:cubicBezTo>
                <a:cubicBezTo>
                  <a:pt x="3459" y="855"/>
                  <a:pt x="3467" y="859"/>
                  <a:pt x="3475" y="859"/>
                </a:cubicBezTo>
                <a:cubicBezTo>
                  <a:pt x="3482" y="859"/>
                  <a:pt x="3487" y="855"/>
                  <a:pt x="3485" y="849"/>
                </a:cubicBezTo>
                <a:cubicBezTo>
                  <a:pt x="3483" y="843"/>
                  <a:pt x="3476" y="839"/>
                  <a:pt x="3468" y="839"/>
                </a:cubicBezTo>
                <a:cubicBezTo>
                  <a:pt x="3468" y="839"/>
                  <a:pt x="3468" y="839"/>
                  <a:pt x="3468" y="839"/>
                </a:cubicBezTo>
                <a:moveTo>
                  <a:pt x="3508" y="839"/>
                </a:moveTo>
                <a:cubicBezTo>
                  <a:pt x="3500" y="839"/>
                  <a:pt x="3496" y="843"/>
                  <a:pt x="3498" y="849"/>
                </a:cubicBezTo>
                <a:cubicBezTo>
                  <a:pt x="3500" y="855"/>
                  <a:pt x="3508" y="859"/>
                  <a:pt x="3515" y="859"/>
                </a:cubicBezTo>
                <a:cubicBezTo>
                  <a:pt x="3523" y="859"/>
                  <a:pt x="3528" y="854"/>
                  <a:pt x="3526" y="849"/>
                </a:cubicBezTo>
                <a:cubicBezTo>
                  <a:pt x="3524" y="843"/>
                  <a:pt x="3516" y="839"/>
                  <a:pt x="3508" y="839"/>
                </a:cubicBezTo>
                <a:cubicBezTo>
                  <a:pt x="3508" y="839"/>
                  <a:pt x="3508" y="839"/>
                  <a:pt x="3508" y="839"/>
                </a:cubicBezTo>
                <a:moveTo>
                  <a:pt x="3748" y="838"/>
                </a:moveTo>
                <a:cubicBezTo>
                  <a:pt x="3740" y="838"/>
                  <a:pt x="3736" y="842"/>
                  <a:pt x="3739" y="848"/>
                </a:cubicBezTo>
                <a:cubicBezTo>
                  <a:pt x="3741" y="854"/>
                  <a:pt x="3749" y="858"/>
                  <a:pt x="3757" y="858"/>
                </a:cubicBezTo>
                <a:cubicBezTo>
                  <a:pt x="3765" y="858"/>
                  <a:pt x="3769" y="854"/>
                  <a:pt x="3767" y="848"/>
                </a:cubicBezTo>
                <a:cubicBezTo>
                  <a:pt x="3764" y="842"/>
                  <a:pt x="3756" y="838"/>
                  <a:pt x="3748" y="838"/>
                </a:cubicBezTo>
                <a:cubicBezTo>
                  <a:pt x="3748" y="838"/>
                  <a:pt x="3748" y="838"/>
                  <a:pt x="3748" y="838"/>
                </a:cubicBezTo>
                <a:moveTo>
                  <a:pt x="3708" y="838"/>
                </a:moveTo>
                <a:cubicBezTo>
                  <a:pt x="3700" y="838"/>
                  <a:pt x="3696" y="842"/>
                  <a:pt x="3698" y="848"/>
                </a:cubicBezTo>
                <a:cubicBezTo>
                  <a:pt x="3701" y="854"/>
                  <a:pt x="3709" y="858"/>
                  <a:pt x="3717" y="858"/>
                </a:cubicBezTo>
                <a:cubicBezTo>
                  <a:pt x="3724" y="858"/>
                  <a:pt x="3729" y="854"/>
                  <a:pt x="3726" y="848"/>
                </a:cubicBezTo>
                <a:cubicBezTo>
                  <a:pt x="3724" y="842"/>
                  <a:pt x="3716" y="838"/>
                  <a:pt x="3708" y="838"/>
                </a:cubicBezTo>
                <a:cubicBezTo>
                  <a:pt x="3708" y="838"/>
                  <a:pt x="3708" y="838"/>
                  <a:pt x="3708" y="838"/>
                </a:cubicBezTo>
                <a:moveTo>
                  <a:pt x="3788" y="838"/>
                </a:moveTo>
                <a:cubicBezTo>
                  <a:pt x="3780" y="838"/>
                  <a:pt x="3776" y="842"/>
                  <a:pt x="3778" y="848"/>
                </a:cubicBezTo>
                <a:cubicBezTo>
                  <a:pt x="3781" y="854"/>
                  <a:pt x="3789" y="858"/>
                  <a:pt x="3797" y="858"/>
                </a:cubicBezTo>
                <a:cubicBezTo>
                  <a:pt x="3805" y="858"/>
                  <a:pt x="3809" y="853"/>
                  <a:pt x="3806" y="848"/>
                </a:cubicBezTo>
                <a:cubicBezTo>
                  <a:pt x="3804" y="842"/>
                  <a:pt x="3796" y="838"/>
                  <a:pt x="3788" y="838"/>
                </a:cubicBezTo>
                <a:cubicBezTo>
                  <a:pt x="3788" y="838"/>
                  <a:pt x="3788" y="838"/>
                  <a:pt x="3788" y="838"/>
                </a:cubicBezTo>
                <a:moveTo>
                  <a:pt x="3828" y="837"/>
                </a:moveTo>
                <a:cubicBezTo>
                  <a:pt x="3820" y="837"/>
                  <a:pt x="3816" y="842"/>
                  <a:pt x="3819" y="848"/>
                </a:cubicBezTo>
                <a:cubicBezTo>
                  <a:pt x="3821" y="853"/>
                  <a:pt x="3830" y="858"/>
                  <a:pt x="3837" y="858"/>
                </a:cubicBezTo>
                <a:cubicBezTo>
                  <a:pt x="3845" y="858"/>
                  <a:pt x="3849" y="853"/>
                  <a:pt x="3847" y="848"/>
                </a:cubicBezTo>
                <a:cubicBezTo>
                  <a:pt x="3844" y="842"/>
                  <a:pt x="3836" y="837"/>
                  <a:pt x="3828" y="837"/>
                </a:cubicBezTo>
                <a:cubicBezTo>
                  <a:pt x="3828" y="837"/>
                  <a:pt x="3828" y="837"/>
                  <a:pt x="3828" y="837"/>
                </a:cubicBezTo>
                <a:moveTo>
                  <a:pt x="3870" y="837"/>
                </a:moveTo>
                <a:cubicBezTo>
                  <a:pt x="3863" y="837"/>
                  <a:pt x="3859" y="842"/>
                  <a:pt x="3861" y="848"/>
                </a:cubicBezTo>
                <a:cubicBezTo>
                  <a:pt x="3864" y="853"/>
                  <a:pt x="3872" y="858"/>
                  <a:pt x="3880" y="858"/>
                </a:cubicBezTo>
                <a:cubicBezTo>
                  <a:pt x="3888" y="858"/>
                  <a:pt x="3892" y="853"/>
                  <a:pt x="3889" y="847"/>
                </a:cubicBezTo>
                <a:cubicBezTo>
                  <a:pt x="3887" y="842"/>
                  <a:pt x="3878" y="837"/>
                  <a:pt x="3870" y="837"/>
                </a:cubicBezTo>
                <a:cubicBezTo>
                  <a:pt x="3870" y="837"/>
                  <a:pt x="3870" y="837"/>
                  <a:pt x="3870" y="837"/>
                </a:cubicBezTo>
                <a:moveTo>
                  <a:pt x="86" y="824"/>
                </a:moveTo>
                <a:cubicBezTo>
                  <a:pt x="78" y="824"/>
                  <a:pt x="68" y="829"/>
                  <a:pt x="64" y="834"/>
                </a:cubicBezTo>
                <a:cubicBezTo>
                  <a:pt x="59" y="840"/>
                  <a:pt x="62" y="844"/>
                  <a:pt x="69" y="844"/>
                </a:cubicBezTo>
                <a:cubicBezTo>
                  <a:pt x="77" y="844"/>
                  <a:pt x="87" y="840"/>
                  <a:pt x="92" y="834"/>
                </a:cubicBezTo>
                <a:cubicBezTo>
                  <a:pt x="96" y="829"/>
                  <a:pt x="94" y="824"/>
                  <a:pt x="86" y="824"/>
                </a:cubicBezTo>
                <a:cubicBezTo>
                  <a:pt x="86" y="824"/>
                  <a:pt x="86" y="824"/>
                  <a:pt x="86" y="824"/>
                </a:cubicBezTo>
                <a:moveTo>
                  <a:pt x="125" y="824"/>
                </a:moveTo>
                <a:cubicBezTo>
                  <a:pt x="118" y="824"/>
                  <a:pt x="108" y="828"/>
                  <a:pt x="103" y="834"/>
                </a:cubicBezTo>
                <a:cubicBezTo>
                  <a:pt x="99" y="840"/>
                  <a:pt x="101" y="844"/>
                  <a:pt x="109" y="844"/>
                </a:cubicBezTo>
                <a:cubicBezTo>
                  <a:pt x="117" y="844"/>
                  <a:pt x="127" y="840"/>
                  <a:pt x="131" y="834"/>
                </a:cubicBezTo>
                <a:cubicBezTo>
                  <a:pt x="136" y="828"/>
                  <a:pt x="133" y="824"/>
                  <a:pt x="126" y="824"/>
                </a:cubicBezTo>
                <a:cubicBezTo>
                  <a:pt x="125" y="824"/>
                  <a:pt x="125" y="824"/>
                  <a:pt x="125" y="824"/>
                </a:cubicBezTo>
                <a:moveTo>
                  <a:pt x="165" y="824"/>
                </a:moveTo>
                <a:cubicBezTo>
                  <a:pt x="158" y="824"/>
                  <a:pt x="148" y="828"/>
                  <a:pt x="143" y="834"/>
                </a:cubicBezTo>
                <a:cubicBezTo>
                  <a:pt x="139" y="839"/>
                  <a:pt x="141" y="844"/>
                  <a:pt x="149" y="844"/>
                </a:cubicBezTo>
                <a:cubicBezTo>
                  <a:pt x="157" y="844"/>
                  <a:pt x="167" y="839"/>
                  <a:pt x="171" y="834"/>
                </a:cubicBezTo>
                <a:cubicBezTo>
                  <a:pt x="176" y="828"/>
                  <a:pt x="173" y="824"/>
                  <a:pt x="165" y="824"/>
                </a:cubicBezTo>
                <a:cubicBezTo>
                  <a:pt x="165" y="824"/>
                  <a:pt x="165" y="824"/>
                  <a:pt x="165" y="824"/>
                </a:cubicBezTo>
                <a:moveTo>
                  <a:pt x="206" y="824"/>
                </a:moveTo>
                <a:cubicBezTo>
                  <a:pt x="199" y="824"/>
                  <a:pt x="189" y="828"/>
                  <a:pt x="184" y="834"/>
                </a:cubicBezTo>
                <a:cubicBezTo>
                  <a:pt x="180" y="839"/>
                  <a:pt x="183" y="844"/>
                  <a:pt x="191" y="844"/>
                </a:cubicBezTo>
                <a:cubicBezTo>
                  <a:pt x="198" y="844"/>
                  <a:pt x="208" y="839"/>
                  <a:pt x="212" y="834"/>
                </a:cubicBezTo>
                <a:cubicBezTo>
                  <a:pt x="217" y="828"/>
                  <a:pt x="214" y="824"/>
                  <a:pt x="206" y="824"/>
                </a:cubicBezTo>
                <a:cubicBezTo>
                  <a:pt x="206" y="824"/>
                  <a:pt x="206" y="824"/>
                  <a:pt x="206" y="824"/>
                </a:cubicBezTo>
                <a:moveTo>
                  <a:pt x="399" y="823"/>
                </a:moveTo>
                <a:cubicBezTo>
                  <a:pt x="391" y="823"/>
                  <a:pt x="382" y="827"/>
                  <a:pt x="377" y="833"/>
                </a:cubicBezTo>
                <a:cubicBezTo>
                  <a:pt x="373" y="838"/>
                  <a:pt x="376" y="843"/>
                  <a:pt x="384" y="843"/>
                </a:cubicBezTo>
                <a:cubicBezTo>
                  <a:pt x="392" y="843"/>
                  <a:pt x="401" y="838"/>
                  <a:pt x="405" y="833"/>
                </a:cubicBezTo>
                <a:cubicBezTo>
                  <a:pt x="409" y="827"/>
                  <a:pt x="406" y="823"/>
                  <a:pt x="399" y="823"/>
                </a:cubicBezTo>
                <a:cubicBezTo>
                  <a:pt x="399" y="823"/>
                  <a:pt x="399" y="823"/>
                  <a:pt x="399" y="823"/>
                </a:cubicBezTo>
                <a:moveTo>
                  <a:pt x="564" y="821"/>
                </a:moveTo>
                <a:cubicBezTo>
                  <a:pt x="556" y="821"/>
                  <a:pt x="547" y="826"/>
                  <a:pt x="543" y="831"/>
                </a:cubicBezTo>
                <a:cubicBezTo>
                  <a:pt x="539" y="837"/>
                  <a:pt x="543" y="841"/>
                  <a:pt x="550" y="841"/>
                </a:cubicBezTo>
                <a:cubicBezTo>
                  <a:pt x="558" y="841"/>
                  <a:pt x="567" y="837"/>
                  <a:pt x="571" y="831"/>
                </a:cubicBezTo>
                <a:cubicBezTo>
                  <a:pt x="575" y="826"/>
                  <a:pt x="571" y="821"/>
                  <a:pt x="564" y="821"/>
                </a:cubicBezTo>
                <a:cubicBezTo>
                  <a:pt x="564" y="821"/>
                  <a:pt x="564" y="821"/>
                  <a:pt x="564" y="821"/>
                </a:cubicBezTo>
                <a:moveTo>
                  <a:pt x="602" y="821"/>
                </a:moveTo>
                <a:cubicBezTo>
                  <a:pt x="595" y="821"/>
                  <a:pt x="585" y="826"/>
                  <a:pt x="582" y="831"/>
                </a:cubicBezTo>
                <a:cubicBezTo>
                  <a:pt x="578" y="837"/>
                  <a:pt x="581" y="841"/>
                  <a:pt x="589" y="841"/>
                </a:cubicBezTo>
                <a:cubicBezTo>
                  <a:pt x="597" y="841"/>
                  <a:pt x="606" y="837"/>
                  <a:pt x="610" y="831"/>
                </a:cubicBezTo>
                <a:cubicBezTo>
                  <a:pt x="613" y="825"/>
                  <a:pt x="610" y="821"/>
                  <a:pt x="602" y="821"/>
                </a:cubicBezTo>
                <a:cubicBezTo>
                  <a:pt x="602" y="821"/>
                  <a:pt x="602" y="821"/>
                  <a:pt x="602" y="821"/>
                </a:cubicBezTo>
                <a:moveTo>
                  <a:pt x="1716" y="817"/>
                </a:moveTo>
                <a:cubicBezTo>
                  <a:pt x="1708" y="817"/>
                  <a:pt x="1701" y="821"/>
                  <a:pt x="1699" y="827"/>
                </a:cubicBezTo>
                <a:cubicBezTo>
                  <a:pt x="1698" y="832"/>
                  <a:pt x="1703" y="837"/>
                  <a:pt x="1711" y="837"/>
                </a:cubicBezTo>
                <a:cubicBezTo>
                  <a:pt x="1718" y="837"/>
                  <a:pt x="1726" y="832"/>
                  <a:pt x="1727" y="827"/>
                </a:cubicBezTo>
                <a:cubicBezTo>
                  <a:pt x="1729" y="821"/>
                  <a:pt x="1724" y="817"/>
                  <a:pt x="1716" y="817"/>
                </a:cubicBezTo>
                <a:cubicBezTo>
                  <a:pt x="1716" y="817"/>
                  <a:pt x="1716" y="817"/>
                  <a:pt x="1716" y="817"/>
                </a:cubicBezTo>
                <a:moveTo>
                  <a:pt x="1753" y="816"/>
                </a:moveTo>
                <a:cubicBezTo>
                  <a:pt x="1746" y="816"/>
                  <a:pt x="1738" y="821"/>
                  <a:pt x="1737" y="827"/>
                </a:cubicBezTo>
                <a:cubicBezTo>
                  <a:pt x="1735" y="832"/>
                  <a:pt x="1740" y="837"/>
                  <a:pt x="1748" y="837"/>
                </a:cubicBezTo>
                <a:cubicBezTo>
                  <a:pt x="1756" y="837"/>
                  <a:pt x="1763" y="832"/>
                  <a:pt x="1765" y="827"/>
                </a:cubicBezTo>
                <a:cubicBezTo>
                  <a:pt x="1766" y="821"/>
                  <a:pt x="1761" y="816"/>
                  <a:pt x="1753" y="816"/>
                </a:cubicBezTo>
                <a:cubicBezTo>
                  <a:pt x="1753" y="816"/>
                  <a:pt x="1753" y="816"/>
                  <a:pt x="1753" y="816"/>
                </a:cubicBezTo>
                <a:moveTo>
                  <a:pt x="1793" y="816"/>
                </a:moveTo>
                <a:cubicBezTo>
                  <a:pt x="1785" y="816"/>
                  <a:pt x="1778" y="821"/>
                  <a:pt x="1776" y="827"/>
                </a:cubicBezTo>
                <a:cubicBezTo>
                  <a:pt x="1775" y="832"/>
                  <a:pt x="1780" y="837"/>
                  <a:pt x="1788" y="837"/>
                </a:cubicBezTo>
                <a:cubicBezTo>
                  <a:pt x="1796" y="837"/>
                  <a:pt x="1803" y="832"/>
                  <a:pt x="1804" y="826"/>
                </a:cubicBezTo>
                <a:cubicBezTo>
                  <a:pt x="1806" y="821"/>
                  <a:pt x="1800" y="816"/>
                  <a:pt x="1793" y="816"/>
                </a:cubicBezTo>
                <a:cubicBezTo>
                  <a:pt x="1793" y="816"/>
                  <a:pt x="1793" y="816"/>
                  <a:pt x="1793" y="816"/>
                </a:cubicBezTo>
                <a:moveTo>
                  <a:pt x="1833" y="816"/>
                </a:moveTo>
                <a:cubicBezTo>
                  <a:pt x="1825" y="816"/>
                  <a:pt x="1818" y="821"/>
                  <a:pt x="1816" y="826"/>
                </a:cubicBezTo>
                <a:cubicBezTo>
                  <a:pt x="1815" y="832"/>
                  <a:pt x="1820" y="837"/>
                  <a:pt x="1828" y="836"/>
                </a:cubicBezTo>
                <a:cubicBezTo>
                  <a:pt x="1836" y="836"/>
                  <a:pt x="1843" y="832"/>
                  <a:pt x="1844" y="826"/>
                </a:cubicBezTo>
                <a:cubicBezTo>
                  <a:pt x="1845" y="821"/>
                  <a:pt x="1840" y="816"/>
                  <a:pt x="1833" y="816"/>
                </a:cubicBezTo>
                <a:cubicBezTo>
                  <a:pt x="1833" y="816"/>
                  <a:pt x="1833" y="816"/>
                  <a:pt x="1833" y="816"/>
                </a:cubicBezTo>
                <a:moveTo>
                  <a:pt x="1873" y="816"/>
                </a:moveTo>
                <a:cubicBezTo>
                  <a:pt x="1865" y="816"/>
                  <a:pt x="1858" y="821"/>
                  <a:pt x="1857" y="826"/>
                </a:cubicBezTo>
                <a:cubicBezTo>
                  <a:pt x="1855" y="832"/>
                  <a:pt x="1861" y="836"/>
                  <a:pt x="1868" y="836"/>
                </a:cubicBezTo>
                <a:cubicBezTo>
                  <a:pt x="1876" y="836"/>
                  <a:pt x="1883" y="832"/>
                  <a:pt x="1884" y="826"/>
                </a:cubicBezTo>
                <a:cubicBezTo>
                  <a:pt x="1886" y="820"/>
                  <a:pt x="1880" y="816"/>
                  <a:pt x="1873" y="816"/>
                </a:cubicBezTo>
                <a:cubicBezTo>
                  <a:pt x="1873" y="816"/>
                  <a:pt x="1873" y="816"/>
                  <a:pt x="1873" y="816"/>
                </a:cubicBezTo>
                <a:moveTo>
                  <a:pt x="1912" y="816"/>
                </a:moveTo>
                <a:cubicBezTo>
                  <a:pt x="1904" y="816"/>
                  <a:pt x="1897" y="820"/>
                  <a:pt x="1896" y="826"/>
                </a:cubicBezTo>
                <a:cubicBezTo>
                  <a:pt x="1895" y="832"/>
                  <a:pt x="1900" y="836"/>
                  <a:pt x="1908" y="836"/>
                </a:cubicBezTo>
                <a:cubicBezTo>
                  <a:pt x="1916" y="836"/>
                  <a:pt x="1923" y="831"/>
                  <a:pt x="1924" y="826"/>
                </a:cubicBezTo>
                <a:cubicBezTo>
                  <a:pt x="1925" y="820"/>
                  <a:pt x="1920" y="816"/>
                  <a:pt x="1912" y="816"/>
                </a:cubicBezTo>
                <a:cubicBezTo>
                  <a:pt x="1912" y="816"/>
                  <a:pt x="1912" y="816"/>
                  <a:pt x="1912" y="816"/>
                </a:cubicBezTo>
                <a:moveTo>
                  <a:pt x="1952" y="816"/>
                </a:moveTo>
                <a:cubicBezTo>
                  <a:pt x="1944" y="816"/>
                  <a:pt x="1937" y="820"/>
                  <a:pt x="1936" y="826"/>
                </a:cubicBezTo>
                <a:cubicBezTo>
                  <a:pt x="1935" y="831"/>
                  <a:pt x="1940" y="836"/>
                  <a:pt x="1948" y="836"/>
                </a:cubicBezTo>
                <a:cubicBezTo>
                  <a:pt x="1956" y="836"/>
                  <a:pt x="1963" y="831"/>
                  <a:pt x="1964" y="826"/>
                </a:cubicBezTo>
                <a:cubicBezTo>
                  <a:pt x="1965" y="820"/>
                  <a:pt x="1959" y="816"/>
                  <a:pt x="1952" y="816"/>
                </a:cubicBezTo>
                <a:cubicBezTo>
                  <a:pt x="1952" y="816"/>
                  <a:pt x="1952" y="816"/>
                  <a:pt x="1952" y="816"/>
                </a:cubicBezTo>
                <a:moveTo>
                  <a:pt x="1991" y="815"/>
                </a:moveTo>
                <a:cubicBezTo>
                  <a:pt x="1983" y="815"/>
                  <a:pt x="1976" y="820"/>
                  <a:pt x="1976" y="826"/>
                </a:cubicBezTo>
                <a:cubicBezTo>
                  <a:pt x="1975" y="831"/>
                  <a:pt x="1980" y="836"/>
                  <a:pt x="1988" y="836"/>
                </a:cubicBezTo>
                <a:cubicBezTo>
                  <a:pt x="1995" y="836"/>
                  <a:pt x="2002" y="831"/>
                  <a:pt x="2003" y="825"/>
                </a:cubicBezTo>
                <a:cubicBezTo>
                  <a:pt x="2004" y="820"/>
                  <a:pt x="1999" y="815"/>
                  <a:pt x="1991" y="815"/>
                </a:cubicBezTo>
                <a:cubicBezTo>
                  <a:pt x="1991" y="815"/>
                  <a:pt x="1991" y="815"/>
                  <a:pt x="1991" y="815"/>
                </a:cubicBezTo>
                <a:moveTo>
                  <a:pt x="2031" y="815"/>
                </a:moveTo>
                <a:cubicBezTo>
                  <a:pt x="2023" y="815"/>
                  <a:pt x="2016" y="820"/>
                  <a:pt x="2015" y="825"/>
                </a:cubicBezTo>
                <a:cubicBezTo>
                  <a:pt x="2015" y="831"/>
                  <a:pt x="2020" y="836"/>
                  <a:pt x="2028" y="836"/>
                </a:cubicBezTo>
                <a:cubicBezTo>
                  <a:pt x="2036" y="836"/>
                  <a:pt x="2042" y="831"/>
                  <a:pt x="2043" y="825"/>
                </a:cubicBezTo>
                <a:cubicBezTo>
                  <a:pt x="2044" y="820"/>
                  <a:pt x="2039" y="815"/>
                  <a:pt x="2031" y="815"/>
                </a:cubicBezTo>
                <a:cubicBezTo>
                  <a:pt x="2031" y="815"/>
                  <a:pt x="2031" y="815"/>
                  <a:pt x="2031" y="815"/>
                </a:cubicBezTo>
                <a:moveTo>
                  <a:pt x="2072" y="815"/>
                </a:moveTo>
                <a:cubicBezTo>
                  <a:pt x="2064" y="815"/>
                  <a:pt x="2057" y="820"/>
                  <a:pt x="2057" y="825"/>
                </a:cubicBezTo>
                <a:cubicBezTo>
                  <a:pt x="2056" y="831"/>
                  <a:pt x="2061" y="835"/>
                  <a:pt x="2069" y="835"/>
                </a:cubicBezTo>
                <a:cubicBezTo>
                  <a:pt x="2077" y="835"/>
                  <a:pt x="2084" y="831"/>
                  <a:pt x="2084" y="825"/>
                </a:cubicBezTo>
                <a:cubicBezTo>
                  <a:pt x="2085" y="820"/>
                  <a:pt x="2080" y="815"/>
                  <a:pt x="2072" y="815"/>
                </a:cubicBezTo>
                <a:cubicBezTo>
                  <a:pt x="2072" y="815"/>
                  <a:pt x="2072" y="815"/>
                  <a:pt x="2072" y="815"/>
                </a:cubicBezTo>
                <a:moveTo>
                  <a:pt x="2111" y="815"/>
                </a:moveTo>
                <a:cubicBezTo>
                  <a:pt x="2104" y="815"/>
                  <a:pt x="2097" y="819"/>
                  <a:pt x="2096" y="825"/>
                </a:cubicBezTo>
                <a:cubicBezTo>
                  <a:pt x="2095" y="831"/>
                  <a:pt x="2101" y="835"/>
                  <a:pt x="2109" y="835"/>
                </a:cubicBezTo>
                <a:cubicBezTo>
                  <a:pt x="2116" y="835"/>
                  <a:pt x="2123" y="831"/>
                  <a:pt x="2124" y="825"/>
                </a:cubicBezTo>
                <a:cubicBezTo>
                  <a:pt x="2125" y="819"/>
                  <a:pt x="2119" y="815"/>
                  <a:pt x="2111" y="815"/>
                </a:cubicBezTo>
                <a:cubicBezTo>
                  <a:pt x="2111" y="815"/>
                  <a:pt x="2111" y="815"/>
                  <a:pt x="2111" y="815"/>
                </a:cubicBezTo>
                <a:moveTo>
                  <a:pt x="2151" y="815"/>
                </a:moveTo>
                <a:cubicBezTo>
                  <a:pt x="2143" y="815"/>
                  <a:pt x="2137" y="819"/>
                  <a:pt x="2136" y="825"/>
                </a:cubicBezTo>
                <a:cubicBezTo>
                  <a:pt x="2135" y="831"/>
                  <a:pt x="2141" y="835"/>
                  <a:pt x="2149" y="835"/>
                </a:cubicBezTo>
                <a:cubicBezTo>
                  <a:pt x="2156" y="835"/>
                  <a:pt x="2163" y="830"/>
                  <a:pt x="2164" y="825"/>
                </a:cubicBezTo>
                <a:cubicBezTo>
                  <a:pt x="2164" y="819"/>
                  <a:pt x="2159" y="815"/>
                  <a:pt x="2151" y="815"/>
                </a:cubicBezTo>
                <a:cubicBezTo>
                  <a:pt x="2151" y="815"/>
                  <a:pt x="2151" y="815"/>
                  <a:pt x="2151" y="815"/>
                </a:cubicBezTo>
                <a:moveTo>
                  <a:pt x="2191" y="814"/>
                </a:moveTo>
                <a:cubicBezTo>
                  <a:pt x="2183" y="814"/>
                  <a:pt x="2177" y="819"/>
                  <a:pt x="2176" y="825"/>
                </a:cubicBezTo>
                <a:cubicBezTo>
                  <a:pt x="2176" y="830"/>
                  <a:pt x="2181" y="835"/>
                  <a:pt x="2189" y="835"/>
                </a:cubicBezTo>
                <a:cubicBezTo>
                  <a:pt x="2197" y="835"/>
                  <a:pt x="2204" y="830"/>
                  <a:pt x="2204" y="825"/>
                </a:cubicBezTo>
                <a:cubicBezTo>
                  <a:pt x="2205" y="819"/>
                  <a:pt x="2199" y="814"/>
                  <a:pt x="2191" y="814"/>
                </a:cubicBezTo>
                <a:cubicBezTo>
                  <a:pt x="2191" y="814"/>
                  <a:pt x="2191" y="814"/>
                  <a:pt x="2191" y="814"/>
                </a:cubicBezTo>
                <a:moveTo>
                  <a:pt x="2231" y="814"/>
                </a:moveTo>
                <a:cubicBezTo>
                  <a:pt x="2223" y="814"/>
                  <a:pt x="2216" y="819"/>
                  <a:pt x="2216" y="825"/>
                </a:cubicBezTo>
                <a:cubicBezTo>
                  <a:pt x="2215" y="830"/>
                  <a:pt x="2221" y="835"/>
                  <a:pt x="2229" y="835"/>
                </a:cubicBezTo>
                <a:cubicBezTo>
                  <a:pt x="2236" y="835"/>
                  <a:pt x="2243" y="830"/>
                  <a:pt x="2244" y="824"/>
                </a:cubicBezTo>
                <a:cubicBezTo>
                  <a:pt x="2244" y="819"/>
                  <a:pt x="2238" y="814"/>
                  <a:pt x="2231" y="814"/>
                </a:cubicBezTo>
                <a:cubicBezTo>
                  <a:pt x="2231" y="814"/>
                  <a:pt x="2231" y="814"/>
                  <a:pt x="2231" y="814"/>
                </a:cubicBezTo>
                <a:moveTo>
                  <a:pt x="2270" y="814"/>
                </a:moveTo>
                <a:cubicBezTo>
                  <a:pt x="2263" y="814"/>
                  <a:pt x="2256" y="819"/>
                  <a:pt x="2256" y="824"/>
                </a:cubicBezTo>
                <a:cubicBezTo>
                  <a:pt x="2255" y="830"/>
                  <a:pt x="2261" y="835"/>
                  <a:pt x="2269" y="834"/>
                </a:cubicBezTo>
                <a:cubicBezTo>
                  <a:pt x="2276" y="834"/>
                  <a:pt x="2283" y="830"/>
                  <a:pt x="2283" y="824"/>
                </a:cubicBezTo>
                <a:cubicBezTo>
                  <a:pt x="2284" y="819"/>
                  <a:pt x="2278" y="814"/>
                  <a:pt x="2270" y="814"/>
                </a:cubicBezTo>
                <a:cubicBezTo>
                  <a:pt x="2270" y="814"/>
                  <a:pt x="2270" y="814"/>
                  <a:pt x="2270" y="814"/>
                </a:cubicBezTo>
                <a:moveTo>
                  <a:pt x="2310" y="814"/>
                </a:moveTo>
                <a:cubicBezTo>
                  <a:pt x="2302" y="814"/>
                  <a:pt x="2295" y="819"/>
                  <a:pt x="2295" y="824"/>
                </a:cubicBezTo>
                <a:cubicBezTo>
                  <a:pt x="2295" y="830"/>
                  <a:pt x="2301" y="834"/>
                  <a:pt x="2308" y="834"/>
                </a:cubicBezTo>
                <a:cubicBezTo>
                  <a:pt x="2316" y="834"/>
                  <a:pt x="2323" y="830"/>
                  <a:pt x="2323" y="824"/>
                </a:cubicBezTo>
                <a:cubicBezTo>
                  <a:pt x="2323" y="818"/>
                  <a:pt x="2317" y="814"/>
                  <a:pt x="2310" y="814"/>
                </a:cubicBezTo>
                <a:cubicBezTo>
                  <a:pt x="2310" y="814"/>
                  <a:pt x="2310" y="814"/>
                  <a:pt x="2310" y="814"/>
                </a:cubicBezTo>
                <a:moveTo>
                  <a:pt x="2349" y="814"/>
                </a:moveTo>
                <a:cubicBezTo>
                  <a:pt x="2342" y="814"/>
                  <a:pt x="2335" y="818"/>
                  <a:pt x="2335" y="824"/>
                </a:cubicBezTo>
                <a:cubicBezTo>
                  <a:pt x="2335" y="830"/>
                  <a:pt x="2341" y="834"/>
                  <a:pt x="2348" y="834"/>
                </a:cubicBezTo>
                <a:cubicBezTo>
                  <a:pt x="2356" y="834"/>
                  <a:pt x="2363" y="829"/>
                  <a:pt x="2363" y="824"/>
                </a:cubicBezTo>
                <a:cubicBezTo>
                  <a:pt x="2363" y="818"/>
                  <a:pt x="2357" y="814"/>
                  <a:pt x="2349" y="814"/>
                </a:cubicBezTo>
                <a:cubicBezTo>
                  <a:pt x="2349" y="814"/>
                  <a:pt x="2349" y="814"/>
                  <a:pt x="2349" y="814"/>
                </a:cubicBezTo>
                <a:moveTo>
                  <a:pt x="2389" y="814"/>
                </a:moveTo>
                <a:cubicBezTo>
                  <a:pt x="2382" y="814"/>
                  <a:pt x="2375" y="818"/>
                  <a:pt x="2375" y="824"/>
                </a:cubicBezTo>
                <a:cubicBezTo>
                  <a:pt x="2375" y="829"/>
                  <a:pt x="2381" y="834"/>
                  <a:pt x="2389" y="834"/>
                </a:cubicBezTo>
                <a:cubicBezTo>
                  <a:pt x="2397" y="834"/>
                  <a:pt x="2403" y="829"/>
                  <a:pt x="2403" y="824"/>
                </a:cubicBezTo>
                <a:cubicBezTo>
                  <a:pt x="2403" y="818"/>
                  <a:pt x="2397" y="814"/>
                  <a:pt x="2390" y="814"/>
                </a:cubicBezTo>
                <a:cubicBezTo>
                  <a:pt x="2389" y="814"/>
                  <a:pt x="2389" y="814"/>
                  <a:pt x="2389" y="814"/>
                </a:cubicBezTo>
                <a:moveTo>
                  <a:pt x="2429" y="813"/>
                </a:moveTo>
                <a:cubicBezTo>
                  <a:pt x="2421" y="813"/>
                  <a:pt x="2415" y="818"/>
                  <a:pt x="2415" y="824"/>
                </a:cubicBezTo>
                <a:cubicBezTo>
                  <a:pt x="2415" y="829"/>
                  <a:pt x="2421" y="834"/>
                  <a:pt x="2428" y="834"/>
                </a:cubicBezTo>
                <a:cubicBezTo>
                  <a:pt x="2436" y="834"/>
                  <a:pt x="2443" y="829"/>
                  <a:pt x="2443" y="823"/>
                </a:cubicBezTo>
                <a:cubicBezTo>
                  <a:pt x="2443" y="818"/>
                  <a:pt x="2437" y="813"/>
                  <a:pt x="2429" y="813"/>
                </a:cubicBezTo>
                <a:cubicBezTo>
                  <a:pt x="2429" y="813"/>
                  <a:pt x="2429" y="813"/>
                  <a:pt x="2429" y="813"/>
                </a:cubicBezTo>
                <a:moveTo>
                  <a:pt x="2468" y="813"/>
                </a:moveTo>
                <a:cubicBezTo>
                  <a:pt x="2461" y="813"/>
                  <a:pt x="2455" y="818"/>
                  <a:pt x="2454" y="823"/>
                </a:cubicBezTo>
                <a:cubicBezTo>
                  <a:pt x="2454" y="829"/>
                  <a:pt x="2461" y="834"/>
                  <a:pt x="2468" y="834"/>
                </a:cubicBezTo>
                <a:cubicBezTo>
                  <a:pt x="2476" y="834"/>
                  <a:pt x="2482" y="829"/>
                  <a:pt x="2482" y="823"/>
                </a:cubicBezTo>
                <a:cubicBezTo>
                  <a:pt x="2482" y="818"/>
                  <a:pt x="2476" y="813"/>
                  <a:pt x="2469" y="813"/>
                </a:cubicBezTo>
                <a:cubicBezTo>
                  <a:pt x="2469" y="813"/>
                  <a:pt x="2469" y="813"/>
                  <a:pt x="2468" y="813"/>
                </a:cubicBezTo>
                <a:moveTo>
                  <a:pt x="2508" y="813"/>
                </a:moveTo>
                <a:cubicBezTo>
                  <a:pt x="2500" y="813"/>
                  <a:pt x="2494" y="818"/>
                  <a:pt x="2494" y="823"/>
                </a:cubicBezTo>
                <a:cubicBezTo>
                  <a:pt x="2494" y="829"/>
                  <a:pt x="2500" y="833"/>
                  <a:pt x="2508" y="833"/>
                </a:cubicBezTo>
                <a:cubicBezTo>
                  <a:pt x="2516" y="833"/>
                  <a:pt x="2522" y="829"/>
                  <a:pt x="2522" y="823"/>
                </a:cubicBezTo>
                <a:cubicBezTo>
                  <a:pt x="2522" y="817"/>
                  <a:pt x="2516" y="813"/>
                  <a:pt x="2508" y="813"/>
                </a:cubicBezTo>
                <a:cubicBezTo>
                  <a:pt x="2508" y="813"/>
                  <a:pt x="2508" y="813"/>
                  <a:pt x="2508" y="813"/>
                </a:cubicBezTo>
                <a:moveTo>
                  <a:pt x="2826" y="813"/>
                </a:moveTo>
                <a:cubicBezTo>
                  <a:pt x="2818" y="813"/>
                  <a:pt x="2812" y="818"/>
                  <a:pt x="2813" y="823"/>
                </a:cubicBezTo>
                <a:cubicBezTo>
                  <a:pt x="2813" y="829"/>
                  <a:pt x="2820" y="833"/>
                  <a:pt x="2828" y="833"/>
                </a:cubicBezTo>
                <a:cubicBezTo>
                  <a:pt x="2836" y="833"/>
                  <a:pt x="2841" y="829"/>
                  <a:pt x="2841" y="823"/>
                </a:cubicBezTo>
                <a:cubicBezTo>
                  <a:pt x="2840" y="817"/>
                  <a:pt x="2833" y="813"/>
                  <a:pt x="2826" y="813"/>
                </a:cubicBezTo>
                <a:cubicBezTo>
                  <a:pt x="2826" y="813"/>
                  <a:pt x="2826" y="813"/>
                  <a:pt x="2826" y="813"/>
                </a:cubicBezTo>
                <a:moveTo>
                  <a:pt x="2548" y="813"/>
                </a:moveTo>
                <a:cubicBezTo>
                  <a:pt x="2540" y="813"/>
                  <a:pt x="2534" y="817"/>
                  <a:pt x="2534" y="823"/>
                </a:cubicBezTo>
                <a:cubicBezTo>
                  <a:pt x="2534" y="829"/>
                  <a:pt x="2540" y="833"/>
                  <a:pt x="2548" y="833"/>
                </a:cubicBezTo>
                <a:cubicBezTo>
                  <a:pt x="2556" y="833"/>
                  <a:pt x="2562" y="829"/>
                  <a:pt x="2562" y="823"/>
                </a:cubicBezTo>
                <a:cubicBezTo>
                  <a:pt x="2562" y="817"/>
                  <a:pt x="2555" y="813"/>
                  <a:pt x="2548" y="813"/>
                </a:cubicBezTo>
                <a:cubicBezTo>
                  <a:pt x="2548" y="813"/>
                  <a:pt x="2548" y="813"/>
                  <a:pt x="2548" y="813"/>
                </a:cubicBezTo>
                <a:moveTo>
                  <a:pt x="2588" y="813"/>
                </a:moveTo>
                <a:cubicBezTo>
                  <a:pt x="2580" y="813"/>
                  <a:pt x="2574" y="817"/>
                  <a:pt x="2574" y="823"/>
                </a:cubicBezTo>
                <a:cubicBezTo>
                  <a:pt x="2574" y="829"/>
                  <a:pt x="2581" y="833"/>
                  <a:pt x="2588" y="833"/>
                </a:cubicBezTo>
                <a:cubicBezTo>
                  <a:pt x="2596" y="833"/>
                  <a:pt x="2602" y="828"/>
                  <a:pt x="2602" y="823"/>
                </a:cubicBezTo>
                <a:cubicBezTo>
                  <a:pt x="2602" y="817"/>
                  <a:pt x="2595" y="813"/>
                  <a:pt x="2588" y="813"/>
                </a:cubicBezTo>
                <a:cubicBezTo>
                  <a:pt x="2588" y="813"/>
                  <a:pt x="2588" y="813"/>
                  <a:pt x="2588" y="813"/>
                </a:cubicBezTo>
                <a:moveTo>
                  <a:pt x="2904" y="813"/>
                </a:moveTo>
                <a:cubicBezTo>
                  <a:pt x="2897" y="813"/>
                  <a:pt x="2891" y="817"/>
                  <a:pt x="2892" y="823"/>
                </a:cubicBezTo>
                <a:cubicBezTo>
                  <a:pt x="2893" y="829"/>
                  <a:pt x="2900" y="833"/>
                  <a:pt x="2907" y="833"/>
                </a:cubicBezTo>
                <a:cubicBezTo>
                  <a:pt x="2915" y="833"/>
                  <a:pt x="2921" y="828"/>
                  <a:pt x="2920" y="823"/>
                </a:cubicBezTo>
                <a:cubicBezTo>
                  <a:pt x="2919" y="817"/>
                  <a:pt x="2912" y="813"/>
                  <a:pt x="2905" y="813"/>
                </a:cubicBezTo>
                <a:cubicBezTo>
                  <a:pt x="2905" y="813"/>
                  <a:pt x="2904" y="813"/>
                  <a:pt x="2904" y="813"/>
                </a:cubicBezTo>
                <a:moveTo>
                  <a:pt x="2863" y="813"/>
                </a:moveTo>
                <a:cubicBezTo>
                  <a:pt x="2855" y="813"/>
                  <a:pt x="2850" y="817"/>
                  <a:pt x="2850" y="823"/>
                </a:cubicBezTo>
                <a:cubicBezTo>
                  <a:pt x="2851" y="828"/>
                  <a:pt x="2858" y="833"/>
                  <a:pt x="2865" y="833"/>
                </a:cubicBezTo>
                <a:cubicBezTo>
                  <a:pt x="2873" y="833"/>
                  <a:pt x="2879" y="828"/>
                  <a:pt x="2878" y="823"/>
                </a:cubicBezTo>
                <a:cubicBezTo>
                  <a:pt x="2877" y="817"/>
                  <a:pt x="2871" y="813"/>
                  <a:pt x="2863" y="813"/>
                </a:cubicBezTo>
                <a:cubicBezTo>
                  <a:pt x="2863" y="813"/>
                  <a:pt x="2863" y="813"/>
                  <a:pt x="2863" y="813"/>
                </a:cubicBezTo>
                <a:moveTo>
                  <a:pt x="2627" y="812"/>
                </a:moveTo>
                <a:cubicBezTo>
                  <a:pt x="2619" y="812"/>
                  <a:pt x="2613" y="817"/>
                  <a:pt x="2614" y="823"/>
                </a:cubicBezTo>
                <a:cubicBezTo>
                  <a:pt x="2614" y="828"/>
                  <a:pt x="2620" y="833"/>
                  <a:pt x="2628" y="833"/>
                </a:cubicBezTo>
                <a:cubicBezTo>
                  <a:pt x="2636" y="833"/>
                  <a:pt x="2642" y="828"/>
                  <a:pt x="2641" y="823"/>
                </a:cubicBezTo>
                <a:cubicBezTo>
                  <a:pt x="2641" y="817"/>
                  <a:pt x="2635" y="812"/>
                  <a:pt x="2627" y="812"/>
                </a:cubicBezTo>
                <a:cubicBezTo>
                  <a:pt x="2627" y="812"/>
                  <a:pt x="2627" y="812"/>
                  <a:pt x="2627" y="812"/>
                </a:cubicBezTo>
                <a:moveTo>
                  <a:pt x="2985" y="812"/>
                </a:moveTo>
                <a:cubicBezTo>
                  <a:pt x="2977" y="812"/>
                  <a:pt x="2972" y="817"/>
                  <a:pt x="2973" y="823"/>
                </a:cubicBezTo>
                <a:cubicBezTo>
                  <a:pt x="2974" y="828"/>
                  <a:pt x="2981" y="833"/>
                  <a:pt x="2989" y="833"/>
                </a:cubicBezTo>
                <a:cubicBezTo>
                  <a:pt x="2996" y="833"/>
                  <a:pt x="3002" y="828"/>
                  <a:pt x="3001" y="822"/>
                </a:cubicBezTo>
                <a:cubicBezTo>
                  <a:pt x="3000" y="817"/>
                  <a:pt x="2993" y="812"/>
                  <a:pt x="2985" y="812"/>
                </a:cubicBezTo>
                <a:cubicBezTo>
                  <a:pt x="2985" y="812"/>
                  <a:pt x="2985" y="812"/>
                  <a:pt x="2985" y="812"/>
                </a:cubicBezTo>
                <a:moveTo>
                  <a:pt x="2942" y="812"/>
                </a:moveTo>
                <a:cubicBezTo>
                  <a:pt x="2934" y="812"/>
                  <a:pt x="2929" y="817"/>
                  <a:pt x="2929" y="822"/>
                </a:cubicBezTo>
                <a:cubicBezTo>
                  <a:pt x="2930" y="828"/>
                  <a:pt x="2937" y="833"/>
                  <a:pt x="2945" y="833"/>
                </a:cubicBezTo>
                <a:cubicBezTo>
                  <a:pt x="2953" y="833"/>
                  <a:pt x="2958" y="828"/>
                  <a:pt x="2957" y="822"/>
                </a:cubicBezTo>
                <a:cubicBezTo>
                  <a:pt x="2956" y="817"/>
                  <a:pt x="2949" y="812"/>
                  <a:pt x="2942" y="812"/>
                </a:cubicBezTo>
                <a:cubicBezTo>
                  <a:pt x="2942" y="812"/>
                  <a:pt x="2942" y="812"/>
                  <a:pt x="2942" y="812"/>
                </a:cubicBezTo>
                <a:moveTo>
                  <a:pt x="3022" y="812"/>
                </a:moveTo>
                <a:cubicBezTo>
                  <a:pt x="3015" y="812"/>
                  <a:pt x="3009" y="816"/>
                  <a:pt x="3010" y="822"/>
                </a:cubicBezTo>
                <a:cubicBezTo>
                  <a:pt x="3011" y="828"/>
                  <a:pt x="3018" y="832"/>
                  <a:pt x="3026" y="832"/>
                </a:cubicBezTo>
                <a:cubicBezTo>
                  <a:pt x="3034" y="832"/>
                  <a:pt x="3039" y="828"/>
                  <a:pt x="3038" y="822"/>
                </a:cubicBezTo>
                <a:cubicBezTo>
                  <a:pt x="3037" y="816"/>
                  <a:pt x="3030" y="812"/>
                  <a:pt x="3022" y="812"/>
                </a:cubicBezTo>
                <a:cubicBezTo>
                  <a:pt x="3022" y="812"/>
                  <a:pt x="3022" y="812"/>
                  <a:pt x="3022" y="812"/>
                </a:cubicBezTo>
                <a:moveTo>
                  <a:pt x="2707" y="810"/>
                </a:moveTo>
                <a:cubicBezTo>
                  <a:pt x="2699" y="810"/>
                  <a:pt x="2693" y="815"/>
                  <a:pt x="2693" y="820"/>
                </a:cubicBezTo>
                <a:cubicBezTo>
                  <a:pt x="2694" y="826"/>
                  <a:pt x="2700" y="831"/>
                  <a:pt x="2708" y="831"/>
                </a:cubicBezTo>
                <a:cubicBezTo>
                  <a:pt x="2716" y="831"/>
                  <a:pt x="2722" y="826"/>
                  <a:pt x="2721" y="820"/>
                </a:cubicBezTo>
                <a:cubicBezTo>
                  <a:pt x="2721" y="815"/>
                  <a:pt x="2714" y="810"/>
                  <a:pt x="2707" y="810"/>
                </a:cubicBezTo>
                <a:cubicBezTo>
                  <a:pt x="2707" y="810"/>
                  <a:pt x="2707" y="810"/>
                  <a:pt x="2707" y="810"/>
                </a:cubicBezTo>
                <a:moveTo>
                  <a:pt x="3260" y="810"/>
                </a:moveTo>
                <a:cubicBezTo>
                  <a:pt x="3252" y="810"/>
                  <a:pt x="3247" y="815"/>
                  <a:pt x="3249" y="820"/>
                </a:cubicBezTo>
                <a:cubicBezTo>
                  <a:pt x="3250" y="826"/>
                  <a:pt x="3258" y="831"/>
                  <a:pt x="3265" y="831"/>
                </a:cubicBezTo>
                <a:cubicBezTo>
                  <a:pt x="3273" y="830"/>
                  <a:pt x="3278" y="826"/>
                  <a:pt x="3277" y="820"/>
                </a:cubicBezTo>
                <a:cubicBezTo>
                  <a:pt x="3275" y="815"/>
                  <a:pt x="3268" y="810"/>
                  <a:pt x="3260" y="810"/>
                </a:cubicBezTo>
                <a:cubicBezTo>
                  <a:pt x="3260" y="810"/>
                  <a:pt x="3260" y="810"/>
                  <a:pt x="3260" y="810"/>
                </a:cubicBezTo>
                <a:moveTo>
                  <a:pt x="2746" y="810"/>
                </a:moveTo>
                <a:cubicBezTo>
                  <a:pt x="2738" y="810"/>
                  <a:pt x="2732" y="815"/>
                  <a:pt x="2733" y="820"/>
                </a:cubicBezTo>
                <a:cubicBezTo>
                  <a:pt x="2733" y="826"/>
                  <a:pt x="2740" y="830"/>
                  <a:pt x="2748" y="830"/>
                </a:cubicBezTo>
                <a:cubicBezTo>
                  <a:pt x="2755" y="830"/>
                  <a:pt x="2761" y="826"/>
                  <a:pt x="2761" y="820"/>
                </a:cubicBezTo>
                <a:cubicBezTo>
                  <a:pt x="2760" y="814"/>
                  <a:pt x="2754" y="810"/>
                  <a:pt x="2746" y="810"/>
                </a:cubicBezTo>
                <a:cubicBezTo>
                  <a:pt x="2746" y="810"/>
                  <a:pt x="2746" y="810"/>
                  <a:pt x="2746" y="810"/>
                </a:cubicBezTo>
                <a:moveTo>
                  <a:pt x="3300" y="810"/>
                </a:moveTo>
                <a:cubicBezTo>
                  <a:pt x="3292" y="810"/>
                  <a:pt x="3287" y="814"/>
                  <a:pt x="3289" y="820"/>
                </a:cubicBezTo>
                <a:cubicBezTo>
                  <a:pt x="3290" y="826"/>
                  <a:pt x="3298" y="830"/>
                  <a:pt x="3305" y="830"/>
                </a:cubicBezTo>
                <a:cubicBezTo>
                  <a:pt x="3313" y="830"/>
                  <a:pt x="3318" y="826"/>
                  <a:pt x="3317" y="820"/>
                </a:cubicBezTo>
                <a:cubicBezTo>
                  <a:pt x="3315" y="814"/>
                  <a:pt x="3307" y="810"/>
                  <a:pt x="3300" y="810"/>
                </a:cubicBezTo>
                <a:cubicBezTo>
                  <a:pt x="3300" y="810"/>
                  <a:pt x="3300" y="810"/>
                  <a:pt x="3300" y="810"/>
                </a:cubicBezTo>
                <a:moveTo>
                  <a:pt x="2786" y="810"/>
                </a:moveTo>
                <a:cubicBezTo>
                  <a:pt x="2778" y="810"/>
                  <a:pt x="2772" y="814"/>
                  <a:pt x="2773" y="820"/>
                </a:cubicBezTo>
                <a:cubicBezTo>
                  <a:pt x="2773" y="826"/>
                  <a:pt x="2780" y="830"/>
                  <a:pt x="2788" y="830"/>
                </a:cubicBezTo>
                <a:cubicBezTo>
                  <a:pt x="2795" y="830"/>
                  <a:pt x="2801" y="826"/>
                  <a:pt x="2801" y="820"/>
                </a:cubicBezTo>
                <a:cubicBezTo>
                  <a:pt x="2800" y="814"/>
                  <a:pt x="2793" y="810"/>
                  <a:pt x="2786" y="810"/>
                </a:cubicBezTo>
                <a:cubicBezTo>
                  <a:pt x="2786" y="810"/>
                  <a:pt x="2786" y="810"/>
                  <a:pt x="2786" y="810"/>
                </a:cubicBezTo>
                <a:moveTo>
                  <a:pt x="3340" y="810"/>
                </a:moveTo>
                <a:cubicBezTo>
                  <a:pt x="3332" y="810"/>
                  <a:pt x="3327" y="814"/>
                  <a:pt x="3329" y="820"/>
                </a:cubicBezTo>
                <a:cubicBezTo>
                  <a:pt x="3331" y="826"/>
                  <a:pt x="3338" y="830"/>
                  <a:pt x="3346" y="830"/>
                </a:cubicBezTo>
                <a:cubicBezTo>
                  <a:pt x="3353" y="830"/>
                  <a:pt x="3358" y="826"/>
                  <a:pt x="3357" y="820"/>
                </a:cubicBezTo>
                <a:cubicBezTo>
                  <a:pt x="3355" y="814"/>
                  <a:pt x="3347" y="810"/>
                  <a:pt x="3340" y="810"/>
                </a:cubicBezTo>
                <a:cubicBezTo>
                  <a:pt x="3340" y="810"/>
                  <a:pt x="3340" y="810"/>
                  <a:pt x="3340" y="810"/>
                </a:cubicBezTo>
                <a:moveTo>
                  <a:pt x="3379" y="809"/>
                </a:moveTo>
                <a:cubicBezTo>
                  <a:pt x="3371" y="809"/>
                  <a:pt x="3366" y="814"/>
                  <a:pt x="3368" y="820"/>
                </a:cubicBezTo>
                <a:cubicBezTo>
                  <a:pt x="3370" y="825"/>
                  <a:pt x="3377" y="830"/>
                  <a:pt x="3385" y="830"/>
                </a:cubicBezTo>
                <a:cubicBezTo>
                  <a:pt x="3393" y="830"/>
                  <a:pt x="3398" y="825"/>
                  <a:pt x="3396" y="820"/>
                </a:cubicBezTo>
                <a:cubicBezTo>
                  <a:pt x="3394" y="814"/>
                  <a:pt x="3387" y="809"/>
                  <a:pt x="3379" y="809"/>
                </a:cubicBezTo>
                <a:cubicBezTo>
                  <a:pt x="3379" y="809"/>
                  <a:pt x="3379" y="809"/>
                  <a:pt x="3379" y="809"/>
                </a:cubicBezTo>
                <a:moveTo>
                  <a:pt x="3418" y="809"/>
                </a:moveTo>
                <a:cubicBezTo>
                  <a:pt x="3411" y="809"/>
                  <a:pt x="3406" y="814"/>
                  <a:pt x="3408" y="820"/>
                </a:cubicBezTo>
                <a:cubicBezTo>
                  <a:pt x="3409" y="825"/>
                  <a:pt x="3417" y="830"/>
                  <a:pt x="3425" y="830"/>
                </a:cubicBezTo>
                <a:cubicBezTo>
                  <a:pt x="3432" y="830"/>
                  <a:pt x="3437" y="825"/>
                  <a:pt x="3435" y="819"/>
                </a:cubicBezTo>
                <a:cubicBezTo>
                  <a:pt x="3434" y="814"/>
                  <a:pt x="3426" y="809"/>
                  <a:pt x="3418" y="809"/>
                </a:cubicBezTo>
                <a:cubicBezTo>
                  <a:pt x="3418" y="809"/>
                  <a:pt x="3418" y="809"/>
                  <a:pt x="3418" y="809"/>
                </a:cubicBezTo>
                <a:moveTo>
                  <a:pt x="3458" y="809"/>
                </a:moveTo>
                <a:cubicBezTo>
                  <a:pt x="3450" y="809"/>
                  <a:pt x="3445" y="814"/>
                  <a:pt x="3447" y="819"/>
                </a:cubicBezTo>
                <a:cubicBezTo>
                  <a:pt x="3449" y="825"/>
                  <a:pt x="3457" y="830"/>
                  <a:pt x="3465" y="830"/>
                </a:cubicBezTo>
                <a:cubicBezTo>
                  <a:pt x="3472" y="830"/>
                  <a:pt x="3477" y="825"/>
                  <a:pt x="3475" y="819"/>
                </a:cubicBezTo>
                <a:cubicBezTo>
                  <a:pt x="3473" y="814"/>
                  <a:pt x="3466" y="809"/>
                  <a:pt x="3458" y="809"/>
                </a:cubicBezTo>
                <a:cubicBezTo>
                  <a:pt x="3458" y="809"/>
                  <a:pt x="3458" y="809"/>
                  <a:pt x="3458" y="809"/>
                </a:cubicBezTo>
                <a:moveTo>
                  <a:pt x="3498" y="809"/>
                </a:moveTo>
                <a:cubicBezTo>
                  <a:pt x="3490" y="809"/>
                  <a:pt x="3486" y="814"/>
                  <a:pt x="3488" y="819"/>
                </a:cubicBezTo>
                <a:cubicBezTo>
                  <a:pt x="3489" y="825"/>
                  <a:pt x="3497" y="829"/>
                  <a:pt x="3505" y="829"/>
                </a:cubicBezTo>
                <a:cubicBezTo>
                  <a:pt x="3513" y="829"/>
                  <a:pt x="3517" y="825"/>
                  <a:pt x="3515" y="819"/>
                </a:cubicBezTo>
                <a:cubicBezTo>
                  <a:pt x="3513" y="813"/>
                  <a:pt x="3506" y="809"/>
                  <a:pt x="3498" y="809"/>
                </a:cubicBezTo>
                <a:cubicBezTo>
                  <a:pt x="3498" y="809"/>
                  <a:pt x="3498" y="809"/>
                  <a:pt x="3498" y="809"/>
                </a:cubicBezTo>
                <a:moveTo>
                  <a:pt x="3537" y="809"/>
                </a:moveTo>
                <a:cubicBezTo>
                  <a:pt x="3530" y="809"/>
                  <a:pt x="3525" y="813"/>
                  <a:pt x="3527" y="819"/>
                </a:cubicBezTo>
                <a:cubicBezTo>
                  <a:pt x="3529" y="825"/>
                  <a:pt x="3537" y="829"/>
                  <a:pt x="3545" y="829"/>
                </a:cubicBezTo>
                <a:cubicBezTo>
                  <a:pt x="3552" y="829"/>
                  <a:pt x="3557" y="825"/>
                  <a:pt x="3555" y="819"/>
                </a:cubicBezTo>
                <a:cubicBezTo>
                  <a:pt x="3553" y="813"/>
                  <a:pt x="3545" y="809"/>
                  <a:pt x="3537" y="809"/>
                </a:cubicBezTo>
                <a:cubicBezTo>
                  <a:pt x="3537" y="809"/>
                  <a:pt x="3537" y="809"/>
                  <a:pt x="3537" y="809"/>
                </a:cubicBezTo>
                <a:moveTo>
                  <a:pt x="3656" y="808"/>
                </a:moveTo>
                <a:cubicBezTo>
                  <a:pt x="3648" y="808"/>
                  <a:pt x="3644" y="813"/>
                  <a:pt x="3646" y="819"/>
                </a:cubicBezTo>
                <a:cubicBezTo>
                  <a:pt x="3648" y="824"/>
                  <a:pt x="3656" y="829"/>
                  <a:pt x="3664" y="829"/>
                </a:cubicBezTo>
                <a:cubicBezTo>
                  <a:pt x="3672" y="829"/>
                  <a:pt x="3676" y="824"/>
                  <a:pt x="3674" y="818"/>
                </a:cubicBezTo>
                <a:cubicBezTo>
                  <a:pt x="3672" y="813"/>
                  <a:pt x="3664" y="808"/>
                  <a:pt x="3656" y="808"/>
                </a:cubicBezTo>
                <a:cubicBezTo>
                  <a:pt x="3656" y="808"/>
                  <a:pt x="3656" y="808"/>
                  <a:pt x="3656" y="808"/>
                </a:cubicBezTo>
                <a:moveTo>
                  <a:pt x="3696" y="808"/>
                </a:moveTo>
                <a:cubicBezTo>
                  <a:pt x="3688" y="808"/>
                  <a:pt x="3684" y="813"/>
                  <a:pt x="3686" y="818"/>
                </a:cubicBezTo>
                <a:cubicBezTo>
                  <a:pt x="3689" y="824"/>
                  <a:pt x="3697" y="829"/>
                  <a:pt x="3704" y="829"/>
                </a:cubicBezTo>
                <a:cubicBezTo>
                  <a:pt x="3712" y="829"/>
                  <a:pt x="3716" y="824"/>
                  <a:pt x="3714" y="818"/>
                </a:cubicBezTo>
                <a:cubicBezTo>
                  <a:pt x="3712" y="813"/>
                  <a:pt x="3704" y="808"/>
                  <a:pt x="3696" y="808"/>
                </a:cubicBezTo>
                <a:cubicBezTo>
                  <a:pt x="3696" y="808"/>
                  <a:pt x="3696" y="808"/>
                  <a:pt x="3696" y="808"/>
                </a:cubicBezTo>
                <a:moveTo>
                  <a:pt x="3735" y="807"/>
                </a:moveTo>
                <a:cubicBezTo>
                  <a:pt x="3727" y="807"/>
                  <a:pt x="3723" y="811"/>
                  <a:pt x="3725" y="817"/>
                </a:cubicBezTo>
                <a:cubicBezTo>
                  <a:pt x="3728" y="823"/>
                  <a:pt x="3736" y="827"/>
                  <a:pt x="3744" y="827"/>
                </a:cubicBezTo>
                <a:cubicBezTo>
                  <a:pt x="3751" y="827"/>
                  <a:pt x="3756" y="823"/>
                  <a:pt x="3753" y="817"/>
                </a:cubicBezTo>
                <a:cubicBezTo>
                  <a:pt x="3751" y="811"/>
                  <a:pt x="3743" y="807"/>
                  <a:pt x="3735" y="807"/>
                </a:cubicBezTo>
                <a:cubicBezTo>
                  <a:pt x="3735" y="807"/>
                  <a:pt x="3735" y="807"/>
                  <a:pt x="3735" y="807"/>
                </a:cubicBezTo>
                <a:moveTo>
                  <a:pt x="3774" y="806"/>
                </a:moveTo>
                <a:cubicBezTo>
                  <a:pt x="3767" y="807"/>
                  <a:pt x="3762" y="811"/>
                  <a:pt x="3765" y="817"/>
                </a:cubicBezTo>
                <a:cubicBezTo>
                  <a:pt x="3767" y="823"/>
                  <a:pt x="3776" y="827"/>
                  <a:pt x="3783" y="827"/>
                </a:cubicBezTo>
                <a:cubicBezTo>
                  <a:pt x="3791" y="827"/>
                  <a:pt x="3795" y="822"/>
                  <a:pt x="3793" y="817"/>
                </a:cubicBezTo>
                <a:cubicBezTo>
                  <a:pt x="3790" y="811"/>
                  <a:pt x="3782" y="806"/>
                  <a:pt x="3774" y="806"/>
                </a:cubicBezTo>
                <a:cubicBezTo>
                  <a:pt x="3774" y="806"/>
                  <a:pt x="3774" y="806"/>
                  <a:pt x="3774" y="806"/>
                </a:cubicBezTo>
                <a:moveTo>
                  <a:pt x="3814" y="806"/>
                </a:moveTo>
                <a:cubicBezTo>
                  <a:pt x="3806" y="806"/>
                  <a:pt x="3802" y="811"/>
                  <a:pt x="3805" y="817"/>
                </a:cubicBezTo>
                <a:cubicBezTo>
                  <a:pt x="3807" y="822"/>
                  <a:pt x="3815" y="827"/>
                  <a:pt x="3823" y="827"/>
                </a:cubicBezTo>
                <a:cubicBezTo>
                  <a:pt x="3831" y="827"/>
                  <a:pt x="3835" y="822"/>
                  <a:pt x="3832" y="817"/>
                </a:cubicBezTo>
                <a:cubicBezTo>
                  <a:pt x="3830" y="811"/>
                  <a:pt x="3822" y="806"/>
                  <a:pt x="3814" y="806"/>
                </a:cubicBezTo>
                <a:cubicBezTo>
                  <a:pt x="3814" y="806"/>
                  <a:pt x="3814" y="806"/>
                  <a:pt x="3814" y="806"/>
                </a:cubicBezTo>
                <a:moveTo>
                  <a:pt x="3856" y="806"/>
                </a:moveTo>
                <a:cubicBezTo>
                  <a:pt x="3848" y="806"/>
                  <a:pt x="3844" y="811"/>
                  <a:pt x="3847" y="816"/>
                </a:cubicBezTo>
                <a:cubicBezTo>
                  <a:pt x="3849" y="822"/>
                  <a:pt x="3858" y="827"/>
                  <a:pt x="3866" y="827"/>
                </a:cubicBezTo>
                <a:cubicBezTo>
                  <a:pt x="3873" y="827"/>
                  <a:pt x="3877" y="822"/>
                  <a:pt x="3875" y="816"/>
                </a:cubicBezTo>
                <a:cubicBezTo>
                  <a:pt x="3872" y="811"/>
                  <a:pt x="3864" y="806"/>
                  <a:pt x="3856" y="806"/>
                </a:cubicBezTo>
                <a:cubicBezTo>
                  <a:pt x="3856" y="806"/>
                  <a:pt x="3856" y="806"/>
                  <a:pt x="3856" y="806"/>
                </a:cubicBezTo>
                <a:moveTo>
                  <a:pt x="3895" y="806"/>
                </a:moveTo>
                <a:cubicBezTo>
                  <a:pt x="3887" y="806"/>
                  <a:pt x="3883" y="811"/>
                  <a:pt x="3886" y="816"/>
                </a:cubicBezTo>
                <a:cubicBezTo>
                  <a:pt x="3889" y="822"/>
                  <a:pt x="3897" y="827"/>
                  <a:pt x="3905" y="827"/>
                </a:cubicBezTo>
                <a:cubicBezTo>
                  <a:pt x="3912" y="826"/>
                  <a:pt x="3916" y="822"/>
                  <a:pt x="3914" y="816"/>
                </a:cubicBezTo>
                <a:cubicBezTo>
                  <a:pt x="3911" y="811"/>
                  <a:pt x="3903" y="806"/>
                  <a:pt x="3895" y="806"/>
                </a:cubicBezTo>
                <a:cubicBezTo>
                  <a:pt x="3895" y="806"/>
                  <a:pt x="3895" y="806"/>
                  <a:pt x="3895" y="806"/>
                </a:cubicBezTo>
                <a:moveTo>
                  <a:pt x="3934" y="806"/>
                </a:moveTo>
                <a:cubicBezTo>
                  <a:pt x="3927" y="806"/>
                  <a:pt x="3923" y="810"/>
                  <a:pt x="3925" y="816"/>
                </a:cubicBezTo>
                <a:cubicBezTo>
                  <a:pt x="3928" y="822"/>
                  <a:pt x="3937" y="826"/>
                  <a:pt x="3944" y="826"/>
                </a:cubicBezTo>
                <a:cubicBezTo>
                  <a:pt x="3952" y="826"/>
                  <a:pt x="3956" y="822"/>
                  <a:pt x="3953" y="816"/>
                </a:cubicBezTo>
                <a:cubicBezTo>
                  <a:pt x="3950" y="810"/>
                  <a:pt x="3942" y="806"/>
                  <a:pt x="3934" y="806"/>
                </a:cubicBezTo>
                <a:cubicBezTo>
                  <a:pt x="3934" y="806"/>
                  <a:pt x="3934" y="806"/>
                  <a:pt x="3934" y="806"/>
                </a:cubicBezTo>
                <a:moveTo>
                  <a:pt x="3974" y="806"/>
                </a:moveTo>
                <a:cubicBezTo>
                  <a:pt x="3966" y="806"/>
                  <a:pt x="3962" y="810"/>
                  <a:pt x="3965" y="816"/>
                </a:cubicBezTo>
                <a:cubicBezTo>
                  <a:pt x="3968" y="822"/>
                  <a:pt x="3977" y="826"/>
                  <a:pt x="3984" y="826"/>
                </a:cubicBezTo>
                <a:cubicBezTo>
                  <a:pt x="3992" y="826"/>
                  <a:pt x="3996" y="821"/>
                  <a:pt x="3993" y="816"/>
                </a:cubicBezTo>
                <a:cubicBezTo>
                  <a:pt x="3990" y="810"/>
                  <a:pt x="3982" y="806"/>
                  <a:pt x="3974" y="806"/>
                </a:cubicBezTo>
                <a:cubicBezTo>
                  <a:pt x="3974" y="806"/>
                  <a:pt x="3974" y="806"/>
                  <a:pt x="3974" y="806"/>
                </a:cubicBezTo>
                <a:moveTo>
                  <a:pt x="28" y="798"/>
                </a:moveTo>
                <a:cubicBezTo>
                  <a:pt x="20" y="798"/>
                  <a:pt x="10" y="802"/>
                  <a:pt x="5" y="808"/>
                </a:cubicBezTo>
                <a:cubicBezTo>
                  <a:pt x="0" y="813"/>
                  <a:pt x="3" y="818"/>
                  <a:pt x="10" y="818"/>
                </a:cubicBezTo>
                <a:cubicBezTo>
                  <a:pt x="18" y="818"/>
                  <a:pt x="28" y="813"/>
                  <a:pt x="33" y="808"/>
                </a:cubicBezTo>
                <a:cubicBezTo>
                  <a:pt x="38" y="802"/>
                  <a:pt x="35" y="798"/>
                  <a:pt x="28" y="798"/>
                </a:cubicBezTo>
                <a:cubicBezTo>
                  <a:pt x="28" y="798"/>
                  <a:pt x="28" y="798"/>
                  <a:pt x="28" y="798"/>
                </a:cubicBezTo>
                <a:moveTo>
                  <a:pt x="187" y="797"/>
                </a:moveTo>
                <a:cubicBezTo>
                  <a:pt x="179" y="797"/>
                  <a:pt x="169" y="801"/>
                  <a:pt x="165" y="807"/>
                </a:cubicBezTo>
                <a:cubicBezTo>
                  <a:pt x="160" y="813"/>
                  <a:pt x="163" y="817"/>
                  <a:pt x="171" y="817"/>
                </a:cubicBezTo>
                <a:cubicBezTo>
                  <a:pt x="178" y="817"/>
                  <a:pt x="188" y="813"/>
                  <a:pt x="192" y="807"/>
                </a:cubicBezTo>
                <a:cubicBezTo>
                  <a:pt x="197" y="801"/>
                  <a:pt x="194" y="797"/>
                  <a:pt x="187" y="797"/>
                </a:cubicBezTo>
                <a:cubicBezTo>
                  <a:pt x="187" y="797"/>
                  <a:pt x="187" y="797"/>
                  <a:pt x="187" y="797"/>
                </a:cubicBezTo>
                <a:moveTo>
                  <a:pt x="228" y="795"/>
                </a:moveTo>
                <a:cubicBezTo>
                  <a:pt x="221" y="795"/>
                  <a:pt x="211" y="800"/>
                  <a:pt x="207" y="805"/>
                </a:cubicBezTo>
                <a:cubicBezTo>
                  <a:pt x="202" y="811"/>
                  <a:pt x="205" y="815"/>
                  <a:pt x="213" y="815"/>
                </a:cubicBezTo>
                <a:cubicBezTo>
                  <a:pt x="220" y="815"/>
                  <a:pt x="230" y="811"/>
                  <a:pt x="234" y="805"/>
                </a:cubicBezTo>
                <a:cubicBezTo>
                  <a:pt x="239" y="800"/>
                  <a:pt x="236" y="795"/>
                  <a:pt x="229" y="795"/>
                </a:cubicBezTo>
                <a:cubicBezTo>
                  <a:pt x="229" y="795"/>
                  <a:pt x="228" y="795"/>
                  <a:pt x="228" y="795"/>
                </a:cubicBezTo>
                <a:moveTo>
                  <a:pt x="111" y="793"/>
                </a:moveTo>
                <a:cubicBezTo>
                  <a:pt x="103" y="793"/>
                  <a:pt x="94" y="798"/>
                  <a:pt x="89" y="803"/>
                </a:cubicBezTo>
                <a:cubicBezTo>
                  <a:pt x="84" y="809"/>
                  <a:pt x="87" y="814"/>
                  <a:pt x="95" y="814"/>
                </a:cubicBezTo>
                <a:cubicBezTo>
                  <a:pt x="102" y="813"/>
                  <a:pt x="112" y="809"/>
                  <a:pt x="117" y="803"/>
                </a:cubicBezTo>
                <a:cubicBezTo>
                  <a:pt x="121" y="798"/>
                  <a:pt x="119" y="793"/>
                  <a:pt x="111" y="793"/>
                </a:cubicBezTo>
                <a:cubicBezTo>
                  <a:pt x="111" y="793"/>
                  <a:pt x="111" y="793"/>
                  <a:pt x="111" y="793"/>
                </a:cubicBezTo>
                <a:moveTo>
                  <a:pt x="150" y="793"/>
                </a:moveTo>
                <a:cubicBezTo>
                  <a:pt x="143" y="793"/>
                  <a:pt x="133" y="798"/>
                  <a:pt x="128" y="803"/>
                </a:cubicBezTo>
                <a:cubicBezTo>
                  <a:pt x="124" y="809"/>
                  <a:pt x="126" y="813"/>
                  <a:pt x="134" y="813"/>
                </a:cubicBezTo>
                <a:cubicBezTo>
                  <a:pt x="142" y="813"/>
                  <a:pt x="151" y="809"/>
                  <a:pt x="156" y="803"/>
                </a:cubicBezTo>
                <a:cubicBezTo>
                  <a:pt x="160" y="798"/>
                  <a:pt x="158" y="793"/>
                  <a:pt x="150" y="793"/>
                </a:cubicBezTo>
                <a:cubicBezTo>
                  <a:pt x="150" y="793"/>
                  <a:pt x="150" y="793"/>
                  <a:pt x="150" y="793"/>
                </a:cubicBezTo>
                <a:moveTo>
                  <a:pt x="1724" y="786"/>
                </a:moveTo>
                <a:cubicBezTo>
                  <a:pt x="1716" y="786"/>
                  <a:pt x="1709" y="791"/>
                  <a:pt x="1708" y="796"/>
                </a:cubicBezTo>
                <a:cubicBezTo>
                  <a:pt x="1706" y="802"/>
                  <a:pt x="1711" y="806"/>
                  <a:pt x="1719" y="806"/>
                </a:cubicBezTo>
                <a:cubicBezTo>
                  <a:pt x="1726" y="806"/>
                  <a:pt x="1734" y="802"/>
                  <a:pt x="1735" y="796"/>
                </a:cubicBezTo>
                <a:cubicBezTo>
                  <a:pt x="1737" y="790"/>
                  <a:pt x="1732" y="786"/>
                  <a:pt x="1724" y="786"/>
                </a:cubicBezTo>
                <a:cubicBezTo>
                  <a:pt x="1724" y="786"/>
                  <a:pt x="1724" y="786"/>
                  <a:pt x="1724" y="786"/>
                </a:cubicBezTo>
                <a:moveTo>
                  <a:pt x="1761" y="786"/>
                </a:moveTo>
                <a:cubicBezTo>
                  <a:pt x="1753" y="786"/>
                  <a:pt x="1746" y="790"/>
                  <a:pt x="1745" y="796"/>
                </a:cubicBezTo>
                <a:cubicBezTo>
                  <a:pt x="1743" y="802"/>
                  <a:pt x="1748" y="806"/>
                  <a:pt x="1756" y="806"/>
                </a:cubicBezTo>
                <a:cubicBezTo>
                  <a:pt x="1764" y="806"/>
                  <a:pt x="1771" y="802"/>
                  <a:pt x="1772" y="796"/>
                </a:cubicBezTo>
                <a:cubicBezTo>
                  <a:pt x="1774" y="790"/>
                  <a:pt x="1769" y="786"/>
                  <a:pt x="1761" y="786"/>
                </a:cubicBezTo>
                <a:cubicBezTo>
                  <a:pt x="1761" y="786"/>
                  <a:pt x="1761" y="786"/>
                  <a:pt x="1761" y="786"/>
                </a:cubicBezTo>
                <a:moveTo>
                  <a:pt x="1800" y="786"/>
                </a:moveTo>
                <a:cubicBezTo>
                  <a:pt x="1792" y="786"/>
                  <a:pt x="1785" y="790"/>
                  <a:pt x="1784" y="796"/>
                </a:cubicBezTo>
                <a:cubicBezTo>
                  <a:pt x="1782" y="801"/>
                  <a:pt x="1788" y="806"/>
                  <a:pt x="1795" y="806"/>
                </a:cubicBezTo>
                <a:cubicBezTo>
                  <a:pt x="1803" y="806"/>
                  <a:pt x="1810" y="801"/>
                  <a:pt x="1811" y="796"/>
                </a:cubicBezTo>
                <a:cubicBezTo>
                  <a:pt x="1813" y="790"/>
                  <a:pt x="1808" y="786"/>
                  <a:pt x="1800" y="786"/>
                </a:cubicBezTo>
                <a:cubicBezTo>
                  <a:pt x="1800" y="786"/>
                  <a:pt x="1800" y="786"/>
                  <a:pt x="1800" y="786"/>
                </a:cubicBezTo>
                <a:moveTo>
                  <a:pt x="1839" y="785"/>
                </a:moveTo>
                <a:cubicBezTo>
                  <a:pt x="1832" y="785"/>
                  <a:pt x="1825" y="790"/>
                  <a:pt x="1823" y="796"/>
                </a:cubicBezTo>
                <a:cubicBezTo>
                  <a:pt x="1822" y="801"/>
                  <a:pt x="1827" y="806"/>
                  <a:pt x="1835" y="806"/>
                </a:cubicBezTo>
                <a:cubicBezTo>
                  <a:pt x="1842" y="806"/>
                  <a:pt x="1850" y="801"/>
                  <a:pt x="1851" y="796"/>
                </a:cubicBezTo>
                <a:cubicBezTo>
                  <a:pt x="1852" y="790"/>
                  <a:pt x="1847" y="785"/>
                  <a:pt x="1839" y="785"/>
                </a:cubicBezTo>
                <a:cubicBezTo>
                  <a:pt x="1839" y="785"/>
                  <a:pt x="1839" y="785"/>
                  <a:pt x="1839" y="785"/>
                </a:cubicBezTo>
                <a:moveTo>
                  <a:pt x="1879" y="785"/>
                </a:moveTo>
                <a:cubicBezTo>
                  <a:pt x="1871" y="785"/>
                  <a:pt x="1864" y="790"/>
                  <a:pt x="1863" y="795"/>
                </a:cubicBezTo>
                <a:cubicBezTo>
                  <a:pt x="1862" y="801"/>
                  <a:pt x="1867" y="806"/>
                  <a:pt x="1875" y="806"/>
                </a:cubicBezTo>
                <a:cubicBezTo>
                  <a:pt x="1882" y="806"/>
                  <a:pt x="1890" y="801"/>
                  <a:pt x="1891" y="795"/>
                </a:cubicBezTo>
                <a:cubicBezTo>
                  <a:pt x="1892" y="790"/>
                  <a:pt x="1887" y="785"/>
                  <a:pt x="1879" y="785"/>
                </a:cubicBezTo>
                <a:cubicBezTo>
                  <a:pt x="1879" y="785"/>
                  <a:pt x="1879" y="785"/>
                  <a:pt x="1879" y="785"/>
                </a:cubicBezTo>
                <a:moveTo>
                  <a:pt x="1918" y="785"/>
                </a:moveTo>
                <a:cubicBezTo>
                  <a:pt x="1910" y="785"/>
                  <a:pt x="1903" y="790"/>
                  <a:pt x="1902" y="795"/>
                </a:cubicBezTo>
                <a:cubicBezTo>
                  <a:pt x="1901" y="801"/>
                  <a:pt x="1906" y="805"/>
                  <a:pt x="1914" y="805"/>
                </a:cubicBezTo>
                <a:cubicBezTo>
                  <a:pt x="1922" y="805"/>
                  <a:pt x="1929" y="801"/>
                  <a:pt x="1930" y="795"/>
                </a:cubicBezTo>
                <a:cubicBezTo>
                  <a:pt x="1931" y="790"/>
                  <a:pt x="1926" y="785"/>
                  <a:pt x="1918" y="785"/>
                </a:cubicBezTo>
                <a:cubicBezTo>
                  <a:pt x="1918" y="785"/>
                  <a:pt x="1918" y="785"/>
                  <a:pt x="1918" y="785"/>
                </a:cubicBezTo>
                <a:moveTo>
                  <a:pt x="1957" y="785"/>
                </a:moveTo>
                <a:cubicBezTo>
                  <a:pt x="1950" y="785"/>
                  <a:pt x="1943" y="789"/>
                  <a:pt x="1942" y="795"/>
                </a:cubicBezTo>
                <a:cubicBezTo>
                  <a:pt x="1941" y="801"/>
                  <a:pt x="1946" y="805"/>
                  <a:pt x="1954" y="805"/>
                </a:cubicBezTo>
                <a:cubicBezTo>
                  <a:pt x="1961" y="805"/>
                  <a:pt x="1968" y="801"/>
                  <a:pt x="1969" y="795"/>
                </a:cubicBezTo>
                <a:cubicBezTo>
                  <a:pt x="1970" y="789"/>
                  <a:pt x="1965" y="785"/>
                  <a:pt x="1957" y="785"/>
                </a:cubicBezTo>
                <a:cubicBezTo>
                  <a:pt x="1957" y="785"/>
                  <a:pt x="1957" y="785"/>
                  <a:pt x="1957" y="785"/>
                </a:cubicBezTo>
                <a:moveTo>
                  <a:pt x="1996" y="785"/>
                </a:moveTo>
                <a:cubicBezTo>
                  <a:pt x="1989" y="785"/>
                  <a:pt x="1982" y="789"/>
                  <a:pt x="1981" y="795"/>
                </a:cubicBezTo>
                <a:cubicBezTo>
                  <a:pt x="1980" y="801"/>
                  <a:pt x="1985" y="805"/>
                  <a:pt x="1993" y="805"/>
                </a:cubicBezTo>
                <a:cubicBezTo>
                  <a:pt x="2001" y="805"/>
                  <a:pt x="2007" y="800"/>
                  <a:pt x="2008" y="795"/>
                </a:cubicBezTo>
                <a:cubicBezTo>
                  <a:pt x="2009" y="789"/>
                  <a:pt x="2004" y="785"/>
                  <a:pt x="1996" y="785"/>
                </a:cubicBezTo>
                <a:cubicBezTo>
                  <a:pt x="1996" y="785"/>
                  <a:pt x="1996" y="785"/>
                  <a:pt x="1996" y="785"/>
                </a:cubicBezTo>
                <a:moveTo>
                  <a:pt x="2036" y="784"/>
                </a:moveTo>
                <a:cubicBezTo>
                  <a:pt x="2028" y="784"/>
                  <a:pt x="2021" y="789"/>
                  <a:pt x="2020" y="795"/>
                </a:cubicBezTo>
                <a:cubicBezTo>
                  <a:pt x="2019" y="800"/>
                  <a:pt x="2025" y="805"/>
                  <a:pt x="2033" y="805"/>
                </a:cubicBezTo>
                <a:cubicBezTo>
                  <a:pt x="2040" y="805"/>
                  <a:pt x="2047" y="800"/>
                  <a:pt x="2048" y="795"/>
                </a:cubicBezTo>
                <a:cubicBezTo>
                  <a:pt x="2049" y="789"/>
                  <a:pt x="2043" y="784"/>
                  <a:pt x="2036" y="784"/>
                </a:cubicBezTo>
                <a:cubicBezTo>
                  <a:pt x="2036" y="784"/>
                  <a:pt x="2036" y="784"/>
                  <a:pt x="2036" y="784"/>
                </a:cubicBezTo>
                <a:moveTo>
                  <a:pt x="2076" y="784"/>
                </a:moveTo>
                <a:cubicBezTo>
                  <a:pt x="2069" y="784"/>
                  <a:pt x="2062" y="789"/>
                  <a:pt x="2061" y="795"/>
                </a:cubicBezTo>
                <a:cubicBezTo>
                  <a:pt x="2060" y="800"/>
                  <a:pt x="2066" y="805"/>
                  <a:pt x="2073" y="805"/>
                </a:cubicBezTo>
                <a:cubicBezTo>
                  <a:pt x="2081" y="805"/>
                  <a:pt x="2088" y="800"/>
                  <a:pt x="2089" y="794"/>
                </a:cubicBezTo>
                <a:cubicBezTo>
                  <a:pt x="2089" y="789"/>
                  <a:pt x="2084" y="784"/>
                  <a:pt x="2076" y="784"/>
                </a:cubicBezTo>
                <a:cubicBezTo>
                  <a:pt x="2076" y="784"/>
                  <a:pt x="2076" y="784"/>
                  <a:pt x="2076" y="784"/>
                </a:cubicBezTo>
                <a:moveTo>
                  <a:pt x="2115" y="784"/>
                </a:moveTo>
                <a:cubicBezTo>
                  <a:pt x="2108" y="784"/>
                  <a:pt x="2101" y="789"/>
                  <a:pt x="2100" y="794"/>
                </a:cubicBezTo>
                <a:cubicBezTo>
                  <a:pt x="2099" y="800"/>
                  <a:pt x="2105" y="805"/>
                  <a:pt x="2113" y="804"/>
                </a:cubicBezTo>
                <a:cubicBezTo>
                  <a:pt x="2120" y="804"/>
                  <a:pt x="2127" y="800"/>
                  <a:pt x="2128" y="794"/>
                </a:cubicBezTo>
                <a:cubicBezTo>
                  <a:pt x="2128" y="789"/>
                  <a:pt x="2123" y="784"/>
                  <a:pt x="2115" y="784"/>
                </a:cubicBezTo>
                <a:cubicBezTo>
                  <a:pt x="2115" y="784"/>
                  <a:pt x="2115" y="784"/>
                  <a:pt x="2115" y="784"/>
                </a:cubicBezTo>
                <a:moveTo>
                  <a:pt x="2155" y="784"/>
                </a:moveTo>
                <a:cubicBezTo>
                  <a:pt x="2147" y="784"/>
                  <a:pt x="2140" y="789"/>
                  <a:pt x="2140" y="794"/>
                </a:cubicBezTo>
                <a:cubicBezTo>
                  <a:pt x="2139" y="800"/>
                  <a:pt x="2145" y="804"/>
                  <a:pt x="2152" y="804"/>
                </a:cubicBezTo>
                <a:cubicBezTo>
                  <a:pt x="2160" y="804"/>
                  <a:pt x="2167" y="800"/>
                  <a:pt x="2167" y="794"/>
                </a:cubicBezTo>
                <a:cubicBezTo>
                  <a:pt x="2168" y="788"/>
                  <a:pt x="2162" y="784"/>
                  <a:pt x="2155" y="784"/>
                </a:cubicBezTo>
                <a:cubicBezTo>
                  <a:pt x="2155" y="784"/>
                  <a:pt x="2155" y="784"/>
                  <a:pt x="2155" y="784"/>
                </a:cubicBezTo>
                <a:moveTo>
                  <a:pt x="2194" y="784"/>
                </a:moveTo>
                <a:cubicBezTo>
                  <a:pt x="2187" y="784"/>
                  <a:pt x="2180" y="788"/>
                  <a:pt x="2179" y="794"/>
                </a:cubicBezTo>
                <a:cubicBezTo>
                  <a:pt x="2179" y="800"/>
                  <a:pt x="2185" y="804"/>
                  <a:pt x="2192" y="804"/>
                </a:cubicBezTo>
                <a:cubicBezTo>
                  <a:pt x="2200" y="804"/>
                  <a:pt x="2206" y="799"/>
                  <a:pt x="2207" y="794"/>
                </a:cubicBezTo>
                <a:cubicBezTo>
                  <a:pt x="2207" y="788"/>
                  <a:pt x="2202" y="784"/>
                  <a:pt x="2194" y="784"/>
                </a:cubicBezTo>
                <a:cubicBezTo>
                  <a:pt x="2194" y="784"/>
                  <a:pt x="2194" y="784"/>
                  <a:pt x="2194" y="784"/>
                </a:cubicBezTo>
                <a:moveTo>
                  <a:pt x="2233" y="784"/>
                </a:moveTo>
                <a:cubicBezTo>
                  <a:pt x="2226" y="784"/>
                  <a:pt x="2219" y="788"/>
                  <a:pt x="2219" y="794"/>
                </a:cubicBezTo>
                <a:cubicBezTo>
                  <a:pt x="2218" y="799"/>
                  <a:pt x="2224" y="804"/>
                  <a:pt x="2231" y="804"/>
                </a:cubicBezTo>
                <a:cubicBezTo>
                  <a:pt x="2239" y="804"/>
                  <a:pt x="2246" y="799"/>
                  <a:pt x="2246" y="794"/>
                </a:cubicBezTo>
                <a:cubicBezTo>
                  <a:pt x="2247" y="788"/>
                  <a:pt x="2241" y="784"/>
                  <a:pt x="2233" y="784"/>
                </a:cubicBezTo>
                <a:cubicBezTo>
                  <a:pt x="2233" y="784"/>
                  <a:pt x="2233" y="784"/>
                  <a:pt x="2233" y="784"/>
                </a:cubicBezTo>
                <a:moveTo>
                  <a:pt x="2822" y="783"/>
                </a:moveTo>
                <a:cubicBezTo>
                  <a:pt x="2815" y="783"/>
                  <a:pt x="2809" y="788"/>
                  <a:pt x="2810" y="794"/>
                </a:cubicBezTo>
                <a:cubicBezTo>
                  <a:pt x="2810" y="799"/>
                  <a:pt x="2817" y="804"/>
                  <a:pt x="2824" y="804"/>
                </a:cubicBezTo>
                <a:cubicBezTo>
                  <a:pt x="2832" y="804"/>
                  <a:pt x="2838" y="799"/>
                  <a:pt x="2837" y="794"/>
                </a:cubicBezTo>
                <a:cubicBezTo>
                  <a:pt x="2836" y="788"/>
                  <a:pt x="2830" y="783"/>
                  <a:pt x="2822" y="783"/>
                </a:cubicBezTo>
                <a:cubicBezTo>
                  <a:pt x="2822" y="783"/>
                  <a:pt x="2822" y="783"/>
                  <a:pt x="2822" y="783"/>
                </a:cubicBezTo>
                <a:moveTo>
                  <a:pt x="2272" y="783"/>
                </a:moveTo>
                <a:cubicBezTo>
                  <a:pt x="2265" y="783"/>
                  <a:pt x="2258" y="788"/>
                  <a:pt x="2258" y="794"/>
                </a:cubicBezTo>
                <a:cubicBezTo>
                  <a:pt x="2257" y="799"/>
                  <a:pt x="2263" y="804"/>
                  <a:pt x="2271" y="804"/>
                </a:cubicBezTo>
                <a:cubicBezTo>
                  <a:pt x="2279" y="804"/>
                  <a:pt x="2285" y="799"/>
                  <a:pt x="2285" y="793"/>
                </a:cubicBezTo>
                <a:cubicBezTo>
                  <a:pt x="2286" y="788"/>
                  <a:pt x="2280" y="783"/>
                  <a:pt x="2272" y="783"/>
                </a:cubicBezTo>
                <a:cubicBezTo>
                  <a:pt x="2272" y="783"/>
                  <a:pt x="2272" y="783"/>
                  <a:pt x="2272" y="783"/>
                </a:cubicBezTo>
                <a:moveTo>
                  <a:pt x="2311" y="783"/>
                </a:moveTo>
                <a:cubicBezTo>
                  <a:pt x="2304" y="783"/>
                  <a:pt x="2297" y="788"/>
                  <a:pt x="2297" y="793"/>
                </a:cubicBezTo>
                <a:cubicBezTo>
                  <a:pt x="2297" y="799"/>
                  <a:pt x="2303" y="804"/>
                  <a:pt x="2310" y="804"/>
                </a:cubicBezTo>
                <a:cubicBezTo>
                  <a:pt x="2318" y="804"/>
                  <a:pt x="2324" y="799"/>
                  <a:pt x="2325" y="793"/>
                </a:cubicBezTo>
                <a:cubicBezTo>
                  <a:pt x="2325" y="788"/>
                  <a:pt x="2319" y="783"/>
                  <a:pt x="2312" y="783"/>
                </a:cubicBezTo>
                <a:cubicBezTo>
                  <a:pt x="2311" y="783"/>
                  <a:pt x="2311" y="783"/>
                  <a:pt x="2311" y="783"/>
                </a:cubicBezTo>
                <a:moveTo>
                  <a:pt x="2900" y="783"/>
                </a:moveTo>
                <a:cubicBezTo>
                  <a:pt x="2893" y="783"/>
                  <a:pt x="2887" y="788"/>
                  <a:pt x="2888" y="793"/>
                </a:cubicBezTo>
                <a:cubicBezTo>
                  <a:pt x="2889" y="799"/>
                  <a:pt x="2896" y="804"/>
                  <a:pt x="2903" y="803"/>
                </a:cubicBezTo>
                <a:cubicBezTo>
                  <a:pt x="2911" y="803"/>
                  <a:pt x="2916" y="799"/>
                  <a:pt x="2915" y="793"/>
                </a:cubicBezTo>
                <a:cubicBezTo>
                  <a:pt x="2915" y="788"/>
                  <a:pt x="2908" y="783"/>
                  <a:pt x="2900" y="783"/>
                </a:cubicBezTo>
                <a:cubicBezTo>
                  <a:pt x="2900" y="783"/>
                  <a:pt x="2900" y="783"/>
                  <a:pt x="2900" y="783"/>
                </a:cubicBezTo>
                <a:moveTo>
                  <a:pt x="2351" y="783"/>
                </a:moveTo>
                <a:cubicBezTo>
                  <a:pt x="2343" y="783"/>
                  <a:pt x="2337" y="788"/>
                  <a:pt x="2336" y="793"/>
                </a:cubicBezTo>
                <a:cubicBezTo>
                  <a:pt x="2336" y="799"/>
                  <a:pt x="2342" y="803"/>
                  <a:pt x="2350" y="803"/>
                </a:cubicBezTo>
                <a:cubicBezTo>
                  <a:pt x="2357" y="803"/>
                  <a:pt x="2364" y="799"/>
                  <a:pt x="2364" y="793"/>
                </a:cubicBezTo>
                <a:cubicBezTo>
                  <a:pt x="2364" y="787"/>
                  <a:pt x="2358" y="783"/>
                  <a:pt x="2351" y="783"/>
                </a:cubicBezTo>
                <a:cubicBezTo>
                  <a:pt x="2351" y="783"/>
                  <a:pt x="2351" y="783"/>
                  <a:pt x="2351" y="783"/>
                </a:cubicBezTo>
                <a:moveTo>
                  <a:pt x="2859" y="783"/>
                </a:moveTo>
                <a:cubicBezTo>
                  <a:pt x="2851" y="783"/>
                  <a:pt x="2846" y="788"/>
                  <a:pt x="2847" y="793"/>
                </a:cubicBezTo>
                <a:cubicBezTo>
                  <a:pt x="2847" y="799"/>
                  <a:pt x="2854" y="803"/>
                  <a:pt x="2862" y="803"/>
                </a:cubicBezTo>
                <a:cubicBezTo>
                  <a:pt x="2869" y="803"/>
                  <a:pt x="2875" y="799"/>
                  <a:pt x="2874" y="793"/>
                </a:cubicBezTo>
                <a:cubicBezTo>
                  <a:pt x="2873" y="787"/>
                  <a:pt x="2867" y="783"/>
                  <a:pt x="2859" y="783"/>
                </a:cubicBezTo>
                <a:cubicBezTo>
                  <a:pt x="2859" y="783"/>
                  <a:pt x="2859" y="783"/>
                  <a:pt x="2859" y="783"/>
                </a:cubicBezTo>
                <a:moveTo>
                  <a:pt x="2390" y="783"/>
                </a:moveTo>
                <a:cubicBezTo>
                  <a:pt x="2383" y="783"/>
                  <a:pt x="2377" y="787"/>
                  <a:pt x="2376" y="793"/>
                </a:cubicBezTo>
                <a:cubicBezTo>
                  <a:pt x="2376" y="799"/>
                  <a:pt x="2382" y="803"/>
                  <a:pt x="2390" y="803"/>
                </a:cubicBezTo>
                <a:cubicBezTo>
                  <a:pt x="2397" y="803"/>
                  <a:pt x="2404" y="799"/>
                  <a:pt x="2404" y="793"/>
                </a:cubicBezTo>
                <a:cubicBezTo>
                  <a:pt x="2404" y="787"/>
                  <a:pt x="2398" y="783"/>
                  <a:pt x="2391" y="783"/>
                </a:cubicBezTo>
                <a:cubicBezTo>
                  <a:pt x="2390" y="783"/>
                  <a:pt x="2390" y="783"/>
                  <a:pt x="2390" y="783"/>
                </a:cubicBezTo>
                <a:moveTo>
                  <a:pt x="2429" y="783"/>
                </a:moveTo>
                <a:cubicBezTo>
                  <a:pt x="2422" y="783"/>
                  <a:pt x="2416" y="787"/>
                  <a:pt x="2415" y="793"/>
                </a:cubicBezTo>
                <a:cubicBezTo>
                  <a:pt x="2415" y="798"/>
                  <a:pt x="2421" y="803"/>
                  <a:pt x="2429" y="803"/>
                </a:cubicBezTo>
                <a:cubicBezTo>
                  <a:pt x="2437" y="803"/>
                  <a:pt x="2443" y="798"/>
                  <a:pt x="2443" y="793"/>
                </a:cubicBezTo>
                <a:cubicBezTo>
                  <a:pt x="2443" y="787"/>
                  <a:pt x="2437" y="783"/>
                  <a:pt x="2429" y="783"/>
                </a:cubicBezTo>
                <a:cubicBezTo>
                  <a:pt x="2429" y="783"/>
                  <a:pt x="2429" y="783"/>
                  <a:pt x="2429" y="783"/>
                </a:cubicBezTo>
                <a:moveTo>
                  <a:pt x="2937" y="783"/>
                </a:moveTo>
                <a:cubicBezTo>
                  <a:pt x="2930" y="783"/>
                  <a:pt x="2924" y="787"/>
                  <a:pt x="2925" y="793"/>
                </a:cubicBezTo>
                <a:cubicBezTo>
                  <a:pt x="2926" y="799"/>
                  <a:pt x="2933" y="803"/>
                  <a:pt x="2940" y="803"/>
                </a:cubicBezTo>
                <a:cubicBezTo>
                  <a:pt x="2948" y="803"/>
                  <a:pt x="2953" y="798"/>
                  <a:pt x="2952" y="793"/>
                </a:cubicBezTo>
                <a:cubicBezTo>
                  <a:pt x="2952" y="787"/>
                  <a:pt x="2945" y="783"/>
                  <a:pt x="2937" y="783"/>
                </a:cubicBezTo>
                <a:cubicBezTo>
                  <a:pt x="2937" y="783"/>
                  <a:pt x="2937" y="783"/>
                  <a:pt x="2937" y="783"/>
                </a:cubicBezTo>
                <a:moveTo>
                  <a:pt x="2666" y="782"/>
                </a:moveTo>
                <a:cubicBezTo>
                  <a:pt x="2658" y="782"/>
                  <a:pt x="2652" y="787"/>
                  <a:pt x="2653" y="793"/>
                </a:cubicBezTo>
                <a:cubicBezTo>
                  <a:pt x="2653" y="798"/>
                  <a:pt x="2659" y="803"/>
                  <a:pt x="2667" y="803"/>
                </a:cubicBezTo>
                <a:cubicBezTo>
                  <a:pt x="2675" y="803"/>
                  <a:pt x="2681" y="798"/>
                  <a:pt x="2680" y="793"/>
                </a:cubicBezTo>
                <a:cubicBezTo>
                  <a:pt x="2680" y="787"/>
                  <a:pt x="2673" y="782"/>
                  <a:pt x="2666" y="782"/>
                </a:cubicBezTo>
                <a:cubicBezTo>
                  <a:pt x="2666" y="782"/>
                  <a:pt x="2666" y="782"/>
                  <a:pt x="2666" y="782"/>
                </a:cubicBezTo>
                <a:moveTo>
                  <a:pt x="2469" y="782"/>
                </a:moveTo>
                <a:cubicBezTo>
                  <a:pt x="2461" y="782"/>
                  <a:pt x="2455" y="787"/>
                  <a:pt x="2455" y="793"/>
                </a:cubicBezTo>
                <a:cubicBezTo>
                  <a:pt x="2455" y="798"/>
                  <a:pt x="2461" y="803"/>
                  <a:pt x="2469" y="803"/>
                </a:cubicBezTo>
                <a:cubicBezTo>
                  <a:pt x="2476" y="803"/>
                  <a:pt x="2482" y="798"/>
                  <a:pt x="2482" y="793"/>
                </a:cubicBezTo>
                <a:cubicBezTo>
                  <a:pt x="2482" y="787"/>
                  <a:pt x="2476" y="782"/>
                  <a:pt x="2469" y="782"/>
                </a:cubicBezTo>
                <a:cubicBezTo>
                  <a:pt x="2469" y="782"/>
                  <a:pt x="2469" y="782"/>
                  <a:pt x="2469" y="782"/>
                </a:cubicBezTo>
                <a:moveTo>
                  <a:pt x="2980" y="782"/>
                </a:moveTo>
                <a:cubicBezTo>
                  <a:pt x="2972" y="782"/>
                  <a:pt x="2967" y="787"/>
                  <a:pt x="2968" y="793"/>
                </a:cubicBezTo>
                <a:cubicBezTo>
                  <a:pt x="2969" y="798"/>
                  <a:pt x="2976" y="803"/>
                  <a:pt x="2983" y="803"/>
                </a:cubicBezTo>
                <a:cubicBezTo>
                  <a:pt x="2991" y="803"/>
                  <a:pt x="2997" y="798"/>
                  <a:pt x="2996" y="792"/>
                </a:cubicBezTo>
                <a:cubicBezTo>
                  <a:pt x="2995" y="787"/>
                  <a:pt x="2988" y="782"/>
                  <a:pt x="2980" y="782"/>
                </a:cubicBezTo>
                <a:cubicBezTo>
                  <a:pt x="2980" y="782"/>
                  <a:pt x="2980" y="782"/>
                  <a:pt x="2980" y="782"/>
                </a:cubicBezTo>
                <a:moveTo>
                  <a:pt x="2704" y="782"/>
                </a:moveTo>
                <a:cubicBezTo>
                  <a:pt x="2697" y="782"/>
                  <a:pt x="2691" y="787"/>
                  <a:pt x="2691" y="793"/>
                </a:cubicBezTo>
                <a:cubicBezTo>
                  <a:pt x="2692" y="798"/>
                  <a:pt x="2698" y="803"/>
                  <a:pt x="2706" y="803"/>
                </a:cubicBezTo>
                <a:cubicBezTo>
                  <a:pt x="2714" y="803"/>
                  <a:pt x="2719" y="798"/>
                  <a:pt x="2719" y="792"/>
                </a:cubicBezTo>
                <a:cubicBezTo>
                  <a:pt x="2719" y="787"/>
                  <a:pt x="2712" y="782"/>
                  <a:pt x="2705" y="782"/>
                </a:cubicBezTo>
                <a:cubicBezTo>
                  <a:pt x="2704" y="782"/>
                  <a:pt x="2704" y="782"/>
                  <a:pt x="2704" y="782"/>
                </a:cubicBezTo>
                <a:moveTo>
                  <a:pt x="2508" y="782"/>
                </a:moveTo>
                <a:cubicBezTo>
                  <a:pt x="2500" y="782"/>
                  <a:pt x="2494" y="787"/>
                  <a:pt x="2494" y="792"/>
                </a:cubicBezTo>
                <a:cubicBezTo>
                  <a:pt x="2494" y="798"/>
                  <a:pt x="2500" y="803"/>
                  <a:pt x="2508" y="803"/>
                </a:cubicBezTo>
                <a:cubicBezTo>
                  <a:pt x="2515" y="803"/>
                  <a:pt x="2522" y="798"/>
                  <a:pt x="2521" y="792"/>
                </a:cubicBezTo>
                <a:cubicBezTo>
                  <a:pt x="2521" y="787"/>
                  <a:pt x="2515" y="782"/>
                  <a:pt x="2508" y="782"/>
                </a:cubicBezTo>
                <a:cubicBezTo>
                  <a:pt x="2508" y="782"/>
                  <a:pt x="2508" y="782"/>
                  <a:pt x="2508" y="782"/>
                </a:cubicBezTo>
                <a:moveTo>
                  <a:pt x="2743" y="782"/>
                </a:moveTo>
                <a:cubicBezTo>
                  <a:pt x="2736" y="782"/>
                  <a:pt x="2730" y="787"/>
                  <a:pt x="2731" y="792"/>
                </a:cubicBezTo>
                <a:cubicBezTo>
                  <a:pt x="2731" y="798"/>
                  <a:pt x="2738" y="803"/>
                  <a:pt x="2745" y="803"/>
                </a:cubicBezTo>
                <a:cubicBezTo>
                  <a:pt x="2753" y="803"/>
                  <a:pt x="2759" y="798"/>
                  <a:pt x="2758" y="792"/>
                </a:cubicBezTo>
                <a:cubicBezTo>
                  <a:pt x="2758" y="787"/>
                  <a:pt x="2751" y="782"/>
                  <a:pt x="2743" y="782"/>
                </a:cubicBezTo>
                <a:cubicBezTo>
                  <a:pt x="2743" y="782"/>
                  <a:pt x="2743" y="782"/>
                  <a:pt x="2743" y="782"/>
                </a:cubicBezTo>
                <a:moveTo>
                  <a:pt x="2547" y="782"/>
                </a:moveTo>
                <a:cubicBezTo>
                  <a:pt x="2539" y="782"/>
                  <a:pt x="2533" y="787"/>
                  <a:pt x="2533" y="792"/>
                </a:cubicBezTo>
                <a:cubicBezTo>
                  <a:pt x="2533" y="798"/>
                  <a:pt x="2540" y="802"/>
                  <a:pt x="2547" y="802"/>
                </a:cubicBezTo>
                <a:cubicBezTo>
                  <a:pt x="2555" y="802"/>
                  <a:pt x="2561" y="798"/>
                  <a:pt x="2561" y="792"/>
                </a:cubicBezTo>
                <a:cubicBezTo>
                  <a:pt x="2561" y="787"/>
                  <a:pt x="2555" y="782"/>
                  <a:pt x="2547" y="782"/>
                </a:cubicBezTo>
                <a:cubicBezTo>
                  <a:pt x="2547" y="782"/>
                  <a:pt x="2547" y="782"/>
                  <a:pt x="2547" y="782"/>
                </a:cubicBezTo>
                <a:moveTo>
                  <a:pt x="2783" y="782"/>
                </a:moveTo>
                <a:cubicBezTo>
                  <a:pt x="2775" y="782"/>
                  <a:pt x="2769" y="787"/>
                  <a:pt x="2770" y="792"/>
                </a:cubicBezTo>
                <a:cubicBezTo>
                  <a:pt x="2771" y="798"/>
                  <a:pt x="2777" y="802"/>
                  <a:pt x="2785" y="802"/>
                </a:cubicBezTo>
                <a:cubicBezTo>
                  <a:pt x="2792" y="802"/>
                  <a:pt x="2798" y="798"/>
                  <a:pt x="2798" y="792"/>
                </a:cubicBezTo>
                <a:cubicBezTo>
                  <a:pt x="2797" y="786"/>
                  <a:pt x="2790" y="782"/>
                  <a:pt x="2783" y="782"/>
                </a:cubicBezTo>
                <a:cubicBezTo>
                  <a:pt x="2783" y="782"/>
                  <a:pt x="2783" y="782"/>
                  <a:pt x="2783" y="782"/>
                </a:cubicBezTo>
                <a:moveTo>
                  <a:pt x="3017" y="782"/>
                </a:moveTo>
                <a:cubicBezTo>
                  <a:pt x="3009" y="782"/>
                  <a:pt x="3004" y="786"/>
                  <a:pt x="3005" y="792"/>
                </a:cubicBezTo>
                <a:cubicBezTo>
                  <a:pt x="3006" y="798"/>
                  <a:pt x="3013" y="802"/>
                  <a:pt x="3021" y="802"/>
                </a:cubicBezTo>
                <a:cubicBezTo>
                  <a:pt x="3028" y="802"/>
                  <a:pt x="3034" y="798"/>
                  <a:pt x="3033" y="792"/>
                </a:cubicBezTo>
                <a:cubicBezTo>
                  <a:pt x="3031" y="786"/>
                  <a:pt x="3025" y="782"/>
                  <a:pt x="3017" y="782"/>
                </a:cubicBezTo>
                <a:cubicBezTo>
                  <a:pt x="3017" y="782"/>
                  <a:pt x="3017" y="782"/>
                  <a:pt x="3017" y="782"/>
                </a:cubicBezTo>
                <a:moveTo>
                  <a:pt x="2587" y="782"/>
                </a:moveTo>
                <a:cubicBezTo>
                  <a:pt x="2579" y="782"/>
                  <a:pt x="2573" y="786"/>
                  <a:pt x="2573" y="792"/>
                </a:cubicBezTo>
                <a:cubicBezTo>
                  <a:pt x="2573" y="798"/>
                  <a:pt x="2580" y="802"/>
                  <a:pt x="2587" y="802"/>
                </a:cubicBezTo>
                <a:cubicBezTo>
                  <a:pt x="2595" y="802"/>
                  <a:pt x="2601" y="798"/>
                  <a:pt x="2601" y="792"/>
                </a:cubicBezTo>
                <a:cubicBezTo>
                  <a:pt x="2600" y="786"/>
                  <a:pt x="2594" y="782"/>
                  <a:pt x="2587" y="782"/>
                </a:cubicBezTo>
                <a:cubicBezTo>
                  <a:pt x="2587" y="782"/>
                  <a:pt x="2587" y="782"/>
                  <a:pt x="2587" y="782"/>
                </a:cubicBezTo>
                <a:moveTo>
                  <a:pt x="3217" y="781"/>
                </a:moveTo>
                <a:cubicBezTo>
                  <a:pt x="3209" y="781"/>
                  <a:pt x="3204" y="785"/>
                  <a:pt x="3206" y="791"/>
                </a:cubicBezTo>
                <a:cubicBezTo>
                  <a:pt x="3207" y="797"/>
                  <a:pt x="3215" y="801"/>
                  <a:pt x="3222" y="801"/>
                </a:cubicBezTo>
                <a:cubicBezTo>
                  <a:pt x="3230" y="801"/>
                  <a:pt x="3235" y="796"/>
                  <a:pt x="3233" y="791"/>
                </a:cubicBezTo>
                <a:cubicBezTo>
                  <a:pt x="3232" y="785"/>
                  <a:pt x="3225" y="781"/>
                  <a:pt x="3217" y="781"/>
                </a:cubicBezTo>
                <a:cubicBezTo>
                  <a:pt x="3217" y="781"/>
                  <a:pt x="3217" y="781"/>
                  <a:pt x="3217" y="781"/>
                </a:cubicBezTo>
                <a:moveTo>
                  <a:pt x="3257" y="780"/>
                </a:moveTo>
                <a:cubicBezTo>
                  <a:pt x="3249" y="780"/>
                  <a:pt x="3244" y="785"/>
                  <a:pt x="3246" y="791"/>
                </a:cubicBezTo>
                <a:cubicBezTo>
                  <a:pt x="3247" y="796"/>
                  <a:pt x="3254" y="801"/>
                  <a:pt x="3262" y="801"/>
                </a:cubicBezTo>
                <a:cubicBezTo>
                  <a:pt x="3270" y="801"/>
                  <a:pt x="3275" y="796"/>
                  <a:pt x="3273" y="791"/>
                </a:cubicBezTo>
                <a:cubicBezTo>
                  <a:pt x="3272" y="785"/>
                  <a:pt x="3264" y="780"/>
                  <a:pt x="3257" y="780"/>
                </a:cubicBezTo>
                <a:cubicBezTo>
                  <a:pt x="3257" y="780"/>
                  <a:pt x="3257" y="780"/>
                  <a:pt x="3257" y="780"/>
                </a:cubicBezTo>
                <a:moveTo>
                  <a:pt x="3292" y="780"/>
                </a:moveTo>
                <a:cubicBezTo>
                  <a:pt x="3284" y="780"/>
                  <a:pt x="3279" y="785"/>
                  <a:pt x="3281" y="791"/>
                </a:cubicBezTo>
                <a:cubicBezTo>
                  <a:pt x="3282" y="796"/>
                  <a:pt x="3290" y="801"/>
                  <a:pt x="3297" y="801"/>
                </a:cubicBezTo>
                <a:cubicBezTo>
                  <a:pt x="3305" y="801"/>
                  <a:pt x="3310" y="796"/>
                  <a:pt x="3308" y="790"/>
                </a:cubicBezTo>
                <a:cubicBezTo>
                  <a:pt x="3307" y="785"/>
                  <a:pt x="3299" y="780"/>
                  <a:pt x="3292" y="780"/>
                </a:cubicBezTo>
                <a:cubicBezTo>
                  <a:pt x="3292" y="780"/>
                  <a:pt x="3292" y="780"/>
                  <a:pt x="3292" y="780"/>
                </a:cubicBezTo>
                <a:moveTo>
                  <a:pt x="3331" y="780"/>
                </a:moveTo>
                <a:cubicBezTo>
                  <a:pt x="3324" y="780"/>
                  <a:pt x="3319" y="785"/>
                  <a:pt x="3320" y="790"/>
                </a:cubicBezTo>
                <a:cubicBezTo>
                  <a:pt x="3322" y="796"/>
                  <a:pt x="3329" y="801"/>
                  <a:pt x="3337" y="801"/>
                </a:cubicBezTo>
                <a:cubicBezTo>
                  <a:pt x="3345" y="800"/>
                  <a:pt x="3350" y="796"/>
                  <a:pt x="3348" y="790"/>
                </a:cubicBezTo>
                <a:cubicBezTo>
                  <a:pt x="3346" y="785"/>
                  <a:pt x="3339" y="780"/>
                  <a:pt x="3331" y="780"/>
                </a:cubicBezTo>
                <a:cubicBezTo>
                  <a:pt x="3331" y="780"/>
                  <a:pt x="3331" y="780"/>
                  <a:pt x="3331" y="780"/>
                </a:cubicBezTo>
                <a:moveTo>
                  <a:pt x="3370" y="780"/>
                </a:moveTo>
                <a:cubicBezTo>
                  <a:pt x="3362" y="780"/>
                  <a:pt x="3357" y="784"/>
                  <a:pt x="3359" y="790"/>
                </a:cubicBezTo>
                <a:cubicBezTo>
                  <a:pt x="3361" y="796"/>
                  <a:pt x="3368" y="800"/>
                  <a:pt x="3376" y="800"/>
                </a:cubicBezTo>
                <a:cubicBezTo>
                  <a:pt x="3384" y="800"/>
                  <a:pt x="3388" y="796"/>
                  <a:pt x="3387" y="790"/>
                </a:cubicBezTo>
                <a:cubicBezTo>
                  <a:pt x="3385" y="784"/>
                  <a:pt x="3377" y="780"/>
                  <a:pt x="3370" y="780"/>
                </a:cubicBezTo>
                <a:cubicBezTo>
                  <a:pt x="3370" y="780"/>
                  <a:pt x="3370" y="780"/>
                  <a:pt x="3370" y="780"/>
                </a:cubicBezTo>
                <a:moveTo>
                  <a:pt x="3409" y="780"/>
                </a:moveTo>
                <a:cubicBezTo>
                  <a:pt x="3401" y="780"/>
                  <a:pt x="3396" y="784"/>
                  <a:pt x="3398" y="790"/>
                </a:cubicBezTo>
                <a:cubicBezTo>
                  <a:pt x="3400" y="796"/>
                  <a:pt x="3408" y="800"/>
                  <a:pt x="3415" y="800"/>
                </a:cubicBezTo>
                <a:cubicBezTo>
                  <a:pt x="3423" y="800"/>
                  <a:pt x="3428" y="795"/>
                  <a:pt x="3426" y="790"/>
                </a:cubicBezTo>
                <a:cubicBezTo>
                  <a:pt x="3424" y="784"/>
                  <a:pt x="3416" y="780"/>
                  <a:pt x="3409" y="780"/>
                </a:cubicBezTo>
                <a:cubicBezTo>
                  <a:pt x="3409" y="780"/>
                  <a:pt x="3409" y="780"/>
                  <a:pt x="3409" y="780"/>
                </a:cubicBezTo>
                <a:moveTo>
                  <a:pt x="3448" y="779"/>
                </a:moveTo>
                <a:cubicBezTo>
                  <a:pt x="3440" y="779"/>
                  <a:pt x="3436" y="784"/>
                  <a:pt x="3438" y="790"/>
                </a:cubicBezTo>
                <a:cubicBezTo>
                  <a:pt x="3440" y="795"/>
                  <a:pt x="3447" y="800"/>
                  <a:pt x="3455" y="800"/>
                </a:cubicBezTo>
                <a:cubicBezTo>
                  <a:pt x="3462" y="800"/>
                  <a:pt x="3467" y="795"/>
                  <a:pt x="3465" y="790"/>
                </a:cubicBezTo>
                <a:cubicBezTo>
                  <a:pt x="3463" y="784"/>
                  <a:pt x="3456" y="779"/>
                  <a:pt x="3448" y="779"/>
                </a:cubicBezTo>
                <a:cubicBezTo>
                  <a:pt x="3448" y="779"/>
                  <a:pt x="3448" y="779"/>
                  <a:pt x="3448" y="779"/>
                </a:cubicBezTo>
                <a:moveTo>
                  <a:pt x="3488" y="779"/>
                </a:moveTo>
                <a:cubicBezTo>
                  <a:pt x="3480" y="779"/>
                  <a:pt x="3476" y="784"/>
                  <a:pt x="3477" y="790"/>
                </a:cubicBezTo>
                <a:cubicBezTo>
                  <a:pt x="3479" y="795"/>
                  <a:pt x="3487" y="800"/>
                  <a:pt x="3495" y="800"/>
                </a:cubicBezTo>
                <a:cubicBezTo>
                  <a:pt x="3502" y="800"/>
                  <a:pt x="3507" y="795"/>
                  <a:pt x="3505" y="789"/>
                </a:cubicBezTo>
                <a:cubicBezTo>
                  <a:pt x="3503" y="784"/>
                  <a:pt x="3495" y="779"/>
                  <a:pt x="3488" y="779"/>
                </a:cubicBezTo>
                <a:cubicBezTo>
                  <a:pt x="3488" y="779"/>
                  <a:pt x="3488" y="779"/>
                  <a:pt x="3488" y="779"/>
                </a:cubicBezTo>
                <a:moveTo>
                  <a:pt x="3527" y="779"/>
                </a:moveTo>
                <a:cubicBezTo>
                  <a:pt x="3519" y="779"/>
                  <a:pt x="3515" y="784"/>
                  <a:pt x="3517" y="789"/>
                </a:cubicBezTo>
                <a:cubicBezTo>
                  <a:pt x="3519" y="795"/>
                  <a:pt x="3526" y="800"/>
                  <a:pt x="3534" y="800"/>
                </a:cubicBezTo>
                <a:cubicBezTo>
                  <a:pt x="3542" y="800"/>
                  <a:pt x="3546" y="795"/>
                  <a:pt x="3544" y="789"/>
                </a:cubicBezTo>
                <a:cubicBezTo>
                  <a:pt x="3542" y="784"/>
                  <a:pt x="3534" y="779"/>
                  <a:pt x="3527" y="779"/>
                </a:cubicBezTo>
                <a:cubicBezTo>
                  <a:pt x="3527" y="779"/>
                  <a:pt x="3527" y="779"/>
                  <a:pt x="3527" y="779"/>
                </a:cubicBezTo>
                <a:moveTo>
                  <a:pt x="3566" y="779"/>
                </a:moveTo>
                <a:cubicBezTo>
                  <a:pt x="3558" y="779"/>
                  <a:pt x="3554" y="784"/>
                  <a:pt x="3556" y="789"/>
                </a:cubicBezTo>
                <a:cubicBezTo>
                  <a:pt x="3558" y="795"/>
                  <a:pt x="3566" y="799"/>
                  <a:pt x="3573" y="799"/>
                </a:cubicBezTo>
                <a:cubicBezTo>
                  <a:pt x="3581" y="799"/>
                  <a:pt x="3585" y="795"/>
                  <a:pt x="3583" y="789"/>
                </a:cubicBezTo>
                <a:cubicBezTo>
                  <a:pt x="3581" y="783"/>
                  <a:pt x="3573" y="779"/>
                  <a:pt x="3566" y="779"/>
                </a:cubicBezTo>
                <a:cubicBezTo>
                  <a:pt x="3566" y="779"/>
                  <a:pt x="3566" y="779"/>
                  <a:pt x="3566" y="779"/>
                </a:cubicBezTo>
                <a:moveTo>
                  <a:pt x="4129" y="779"/>
                </a:moveTo>
                <a:cubicBezTo>
                  <a:pt x="4121" y="779"/>
                  <a:pt x="4117" y="783"/>
                  <a:pt x="4121" y="789"/>
                </a:cubicBezTo>
                <a:cubicBezTo>
                  <a:pt x="4124" y="795"/>
                  <a:pt x="4133" y="799"/>
                  <a:pt x="4140" y="799"/>
                </a:cubicBezTo>
                <a:cubicBezTo>
                  <a:pt x="4148" y="799"/>
                  <a:pt x="4151" y="795"/>
                  <a:pt x="4148" y="789"/>
                </a:cubicBezTo>
                <a:cubicBezTo>
                  <a:pt x="4145" y="783"/>
                  <a:pt x="4136" y="779"/>
                  <a:pt x="4129" y="779"/>
                </a:cubicBezTo>
                <a:cubicBezTo>
                  <a:pt x="4129" y="779"/>
                  <a:pt x="4129" y="779"/>
                  <a:pt x="4129" y="779"/>
                </a:cubicBezTo>
                <a:moveTo>
                  <a:pt x="3605" y="779"/>
                </a:moveTo>
                <a:cubicBezTo>
                  <a:pt x="3597" y="779"/>
                  <a:pt x="3593" y="783"/>
                  <a:pt x="3595" y="789"/>
                </a:cubicBezTo>
                <a:cubicBezTo>
                  <a:pt x="3597" y="795"/>
                  <a:pt x="3605" y="799"/>
                  <a:pt x="3613" y="799"/>
                </a:cubicBezTo>
                <a:cubicBezTo>
                  <a:pt x="3620" y="799"/>
                  <a:pt x="3625" y="795"/>
                  <a:pt x="3622" y="789"/>
                </a:cubicBezTo>
                <a:cubicBezTo>
                  <a:pt x="3620" y="783"/>
                  <a:pt x="3612" y="779"/>
                  <a:pt x="3605" y="779"/>
                </a:cubicBezTo>
                <a:cubicBezTo>
                  <a:pt x="3605" y="779"/>
                  <a:pt x="3605" y="779"/>
                  <a:pt x="3605" y="779"/>
                </a:cubicBezTo>
                <a:moveTo>
                  <a:pt x="3644" y="779"/>
                </a:moveTo>
                <a:cubicBezTo>
                  <a:pt x="3636" y="779"/>
                  <a:pt x="3632" y="783"/>
                  <a:pt x="3634" y="789"/>
                </a:cubicBezTo>
                <a:cubicBezTo>
                  <a:pt x="3637" y="795"/>
                  <a:pt x="3645" y="799"/>
                  <a:pt x="3652" y="799"/>
                </a:cubicBezTo>
                <a:cubicBezTo>
                  <a:pt x="3660" y="799"/>
                  <a:pt x="3664" y="794"/>
                  <a:pt x="3662" y="789"/>
                </a:cubicBezTo>
                <a:cubicBezTo>
                  <a:pt x="3660" y="783"/>
                  <a:pt x="3652" y="779"/>
                  <a:pt x="3644" y="779"/>
                </a:cubicBezTo>
                <a:cubicBezTo>
                  <a:pt x="3644" y="779"/>
                  <a:pt x="3644" y="779"/>
                  <a:pt x="3644" y="779"/>
                </a:cubicBezTo>
                <a:moveTo>
                  <a:pt x="3684" y="778"/>
                </a:moveTo>
                <a:cubicBezTo>
                  <a:pt x="3676" y="778"/>
                  <a:pt x="3672" y="783"/>
                  <a:pt x="3674" y="789"/>
                </a:cubicBezTo>
                <a:cubicBezTo>
                  <a:pt x="3676" y="794"/>
                  <a:pt x="3684" y="799"/>
                  <a:pt x="3692" y="799"/>
                </a:cubicBezTo>
                <a:cubicBezTo>
                  <a:pt x="3700" y="799"/>
                  <a:pt x="3704" y="794"/>
                  <a:pt x="3702" y="789"/>
                </a:cubicBezTo>
                <a:cubicBezTo>
                  <a:pt x="3699" y="783"/>
                  <a:pt x="3691" y="778"/>
                  <a:pt x="3684" y="778"/>
                </a:cubicBezTo>
                <a:cubicBezTo>
                  <a:pt x="3684" y="778"/>
                  <a:pt x="3684" y="778"/>
                  <a:pt x="3684" y="778"/>
                </a:cubicBezTo>
                <a:moveTo>
                  <a:pt x="3722" y="777"/>
                </a:moveTo>
                <a:cubicBezTo>
                  <a:pt x="3715" y="777"/>
                  <a:pt x="3711" y="782"/>
                  <a:pt x="3713" y="787"/>
                </a:cubicBezTo>
                <a:cubicBezTo>
                  <a:pt x="3715" y="793"/>
                  <a:pt x="3723" y="798"/>
                  <a:pt x="3731" y="798"/>
                </a:cubicBezTo>
                <a:cubicBezTo>
                  <a:pt x="3739" y="798"/>
                  <a:pt x="3743" y="793"/>
                  <a:pt x="3740" y="787"/>
                </a:cubicBezTo>
                <a:cubicBezTo>
                  <a:pt x="3738" y="782"/>
                  <a:pt x="3730" y="777"/>
                  <a:pt x="3722" y="777"/>
                </a:cubicBezTo>
                <a:cubicBezTo>
                  <a:pt x="3722" y="777"/>
                  <a:pt x="3722" y="777"/>
                  <a:pt x="3722" y="777"/>
                </a:cubicBezTo>
                <a:moveTo>
                  <a:pt x="3761" y="777"/>
                </a:moveTo>
                <a:cubicBezTo>
                  <a:pt x="3754" y="777"/>
                  <a:pt x="3750" y="782"/>
                  <a:pt x="3752" y="787"/>
                </a:cubicBezTo>
                <a:cubicBezTo>
                  <a:pt x="3754" y="793"/>
                  <a:pt x="3763" y="797"/>
                  <a:pt x="3770" y="797"/>
                </a:cubicBezTo>
                <a:cubicBezTo>
                  <a:pt x="3778" y="797"/>
                  <a:pt x="3782" y="793"/>
                  <a:pt x="3779" y="787"/>
                </a:cubicBezTo>
                <a:cubicBezTo>
                  <a:pt x="3777" y="781"/>
                  <a:pt x="3769" y="777"/>
                  <a:pt x="3761" y="777"/>
                </a:cubicBezTo>
                <a:cubicBezTo>
                  <a:pt x="3761" y="777"/>
                  <a:pt x="3761" y="777"/>
                  <a:pt x="3761" y="777"/>
                </a:cubicBezTo>
                <a:moveTo>
                  <a:pt x="3800" y="777"/>
                </a:moveTo>
                <a:cubicBezTo>
                  <a:pt x="3793" y="777"/>
                  <a:pt x="3789" y="781"/>
                  <a:pt x="3791" y="787"/>
                </a:cubicBezTo>
                <a:cubicBezTo>
                  <a:pt x="3794" y="793"/>
                  <a:pt x="3802" y="797"/>
                  <a:pt x="3810" y="797"/>
                </a:cubicBezTo>
                <a:cubicBezTo>
                  <a:pt x="3817" y="797"/>
                  <a:pt x="3821" y="793"/>
                  <a:pt x="3819" y="787"/>
                </a:cubicBezTo>
                <a:cubicBezTo>
                  <a:pt x="3816" y="781"/>
                  <a:pt x="3808" y="777"/>
                  <a:pt x="3801" y="777"/>
                </a:cubicBezTo>
                <a:cubicBezTo>
                  <a:pt x="3801" y="777"/>
                  <a:pt x="3800" y="777"/>
                  <a:pt x="3800" y="777"/>
                </a:cubicBezTo>
                <a:moveTo>
                  <a:pt x="3842" y="776"/>
                </a:moveTo>
                <a:cubicBezTo>
                  <a:pt x="3834" y="777"/>
                  <a:pt x="3830" y="781"/>
                  <a:pt x="3833" y="787"/>
                </a:cubicBezTo>
                <a:cubicBezTo>
                  <a:pt x="3836" y="793"/>
                  <a:pt x="3844" y="797"/>
                  <a:pt x="3852" y="797"/>
                </a:cubicBezTo>
                <a:cubicBezTo>
                  <a:pt x="3859" y="797"/>
                  <a:pt x="3863" y="792"/>
                  <a:pt x="3861" y="787"/>
                </a:cubicBezTo>
                <a:cubicBezTo>
                  <a:pt x="3858" y="781"/>
                  <a:pt x="3850" y="776"/>
                  <a:pt x="3842" y="776"/>
                </a:cubicBezTo>
                <a:cubicBezTo>
                  <a:pt x="3842" y="776"/>
                  <a:pt x="3842" y="776"/>
                  <a:pt x="3842" y="776"/>
                </a:cubicBezTo>
                <a:moveTo>
                  <a:pt x="3881" y="776"/>
                </a:moveTo>
                <a:cubicBezTo>
                  <a:pt x="3873" y="776"/>
                  <a:pt x="3869" y="781"/>
                  <a:pt x="3872" y="787"/>
                </a:cubicBezTo>
                <a:cubicBezTo>
                  <a:pt x="3875" y="792"/>
                  <a:pt x="3883" y="797"/>
                  <a:pt x="3891" y="797"/>
                </a:cubicBezTo>
                <a:cubicBezTo>
                  <a:pt x="3898" y="797"/>
                  <a:pt x="3902" y="792"/>
                  <a:pt x="3899" y="787"/>
                </a:cubicBezTo>
                <a:cubicBezTo>
                  <a:pt x="3897" y="781"/>
                  <a:pt x="3888" y="776"/>
                  <a:pt x="3881" y="776"/>
                </a:cubicBezTo>
                <a:cubicBezTo>
                  <a:pt x="3881" y="776"/>
                  <a:pt x="3881" y="776"/>
                  <a:pt x="3881" y="776"/>
                </a:cubicBezTo>
                <a:moveTo>
                  <a:pt x="3920" y="776"/>
                </a:moveTo>
                <a:cubicBezTo>
                  <a:pt x="3912" y="776"/>
                  <a:pt x="3908" y="781"/>
                  <a:pt x="3911" y="786"/>
                </a:cubicBezTo>
                <a:cubicBezTo>
                  <a:pt x="3914" y="792"/>
                  <a:pt x="3922" y="797"/>
                  <a:pt x="3930" y="797"/>
                </a:cubicBezTo>
                <a:cubicBezTo>
                  <a:pt x="3937" y="797"/>
                  <a:pt x="3941" y="792"/>
                  <a:pt x="3938" y="786"/>
                </a:cubicBezTo>
                <a:cubicBezTo>
                  <a:pt x="3936" y="781"/>
                  <a:pt x="3927" y="776"/>
                  <a:pt x="3920" y="776"/>
                </a:cubicBezTo>
                <a:cubicBezTo>
                  <a:pt x="3920" y="776"/>
                  <a:pt x="3920" y="776"/>
                  <a:pt x="3920" y="776"/>
                </a:cubicBezTo>
                <a:moveTo>
                  <a:pt x="3959" y="776"/>
                </a:moveTo>
                <a:cubicBezTo>
                  <a:pt x="3951" y="776"/>
                  <a:pt x="3947" y="781"/>
                  <a:pt x="3950" y="786"/>
                </a:cubicBezTo>
                <a:cubicBezTo>
                  <a:pt x="3953" y="792"/>
                  <a:pt x="3962" y="797"/>
                  <a:pt x="3969" y="796"/>
                </a:cubicBezTo>
                <a:cubicBezTo>
                  <a:pt x="3977" y="796"/>
                  <a:pt x="3981" y="792"/>
                  <a:pt x="3978" y="786"/>
                </a:cubicBezTo>
                <a:cubicBezTo>
                  <a:pt x="3975" y="780"/>
                  <a:pt x="3966" y="776"/>
                  <a:pt x="3959" y="776"/>
                </a:cubicBezTo>
                <a:cubicBezTo>
                  <a:pt x="3959" y="776"/>
                  <a:pt x="3959" y="776"/>
                  <a:pt x="3959" y="776"/>
                </a:cubicBezTo>
                <a:moveTo>
                  <a:pt x="3998" y="776"/>
                </a:moveTo>
                <a:cubicBezTo>
                  <a:pt x="3991" y="776"/>
                  <a:pt x="3987" y="780"/>
                  <a:pt x="3990" y="786"/>
                </a:cubicBezTo>
                <a:cubicBezTo>
                  <a:pt x="3993" y="792"/>
                  <a:pt x="4001" y="796"/>
                  <a:pt x="4009" y="796"/>
                </a:cubicBezTo>
                <a:cubicBezTo>
                  <a:pt x="4017" y="796"/>
                  <a:pt x="4020" y="792"/>
                  <a:pt x="4017" y="786"/>
                </a:cubicBezTo>
                <a:cubicBezTo>
                  <a:pt x="4015" y="780"/>
                  <a:pt x="4006" y="776"/>
                  <a:pt x="3998" y="776"/>
                </a:cubicBezTo>
                <a:cubicBezTo>
                  <a:pt x="3998" y="776"/>
                  <a:pt x="3998" y="776"/>
                  <a:pt x="3998" y="776"/>
                </a:cubicBezTo>
                <a:moveTo>
                  <a:pt x="4037" y="776"/>
                </a:moveTo>
                <a:cubicBezTo>
                  <a:pt x="4030" y="776"/>
                  <a:pt x="4026" y="780"/>
                  <a:pt x="4029" y="786"/>
                </a:cubicBezTo>
                <a:cubicBezTo>
                  <a:pt x="4032" y="792"/>
                  <a:pt x="4041" y="796"/>
                  <a:pt x="4048" y="796"/>
                </a:cubicBezTo>
                <a:cubicBezTo>
                  <a:pt x="4056" y="796"/>
                  <a:pt x="4060" y="791"/>
                  <a:pt x="4057" y="786"/>
                </a:cubicBezTo>
                <a:cubicBezTo>
                  <a:pt x="4053" y="780"/>
                  <a:pt x="4045" y="776"/>
                  <a:pt x="4037" y="776"/>
                </a:cubicBezTo>
                <a:cubicBezTo>
                  <a:pt x="4037" y="776"/>
                  <a:pt x="4037" y="776"/>
                  <a:pt x="4037" y="776"/>
                </a:cubicBezTo>
                <a:moveTo>
                  <a:pt x="94" y="767"/>
                </a:moveTo>
                <a:cubicBezTo>
                  <a:pt x="86" y="767"/>
                  <a:pt x="77" y="771"/>
                  <a:pt x="72" y="777"/>
                </a:cubicBezTo>
                <a:cubicBezTo>
                  <a:pt x="67" y="782"/>
                  <a:pt x="70" y="787"/>
                  <a:pt x="77" y="787"/>
                </a:cubicBezTo>
                <a:cubicBezTo>
                  <a:pt x="85" y="787"/>
                  <a:pt x="95" y="782"/>
                  <a:pt x="99" y="777"/>
                </a:cubicBezTo>
                <a:cubicBezTo>
                  <a:pt x="104" y="771"/>
                  <a:pt x="102" y="767"/>
                  <a:pt x="94" y="767"/>
                </a:cubicBezTo>
                <a:cubicBezTo>
                  <a:pt x="94" y="767"/>
                  <a:pt x="94" y="767"/>
                  <a:pt x="94" y="767"/>
                </a:cubicBezTo>
                <a:moveTo>
                  <a:pt x="211" y="766"/>
                </a:moveTo>
                <a:cubicBezTo>
                  <a:pt x="203" y="766"/>
                  <a:pt x="194" y="771"/>
                  <a:pt x="189" y="776"/>
                </a:cubicBezTo>
                <a:cubicBezTo>
                  <a:pt x="185" y="782"/>
                  <a:pt x="187" y="786"/>
                  <a:pt x="195" y="786"/>
                </a:cubicBezTo>
                <a:cubicBezTo>
                  <a:pt x="203" y="786"/>
                  <a:pt x="212" y="782"/>
                  <a:pt x="217" y="776"/>
                </a:cubicBezTo>
                <a:cubicBezTo>
                  <a:pt x="221" y="770"/>
                  <a:pt x="218" y="766"/>
                  <a:pt x="211" y="766"/>
                </a:cubicBezTo>
                <a:cubicBezTo>
                  <a:pt x="211" y="766"/>
                  <a:pt x="211" y="766"/>
                  <a:pt x="211" y="766"/>
                </a:cubicBezTo>
                <a:moveTo>
                  <a:pt x="251" y="766"/>
                </a:moveTo>
                <a:cubicBezTo>
                  <a:pt x="244" y="766"/>
                  <a:pt x="234" y="770"/>
                  <a:pt x="230" y="776"/>
                </a:cubicBezTo>
                <a:cubicBezTo>
                  <a:pt x="225" y="782"/>
                  <a:pt x="228" y="786"/>
                  <a:pt x="235" y="786"/>
                </a:cubicBezTo>
                <a:cubicBezTo>
                  <a:pt x="243" y="786"/>
                  <a:pt x="253" y="781"/>
                  <a:pt x="257" y="776"/>
                </a:cubicBezTo>
                <a:cubicBezTo>
                  <a:pt x="261" y="770"/>
                  <a:pt x="259" y="766"/>
                  <a:pt x="251" y="766"/>
                </a:cubicBezTo>
                <a:cubicBezTo>
                  <a:pt x="251" y="766"/>
                  <a:pt x="251" y="766"/>
                  <a:pt x="251" y="766"/>
                </a:cubicBezTo>
                <a:moveTo>
                  <a:pt x="135" y="764"/>
                </a:moveTo>
                <a:cubicBezTo>
                  <a:pt x="127" y="764"/>
                  <a:pt x="118" y="769"/>
                  <a:pt x="113" y="774"/>
                </a:cubicBezTo>
                <a:cubicBezTo>
                  <a:pt x="108" y="780"/>
                  <a:pt x="111" y="784"/>
                  <a:pt x="118" y="784"/>
                </a:cubicBezTo>
                <a:cubicBezTo>
                  <a:pt x="126" y="784"/>
                  <a:pt x="136" y="780"/>
                  <a:pt x="140" y="774"/>
                </a:cubicBezTo>
                <a:cubicBezTo>
                  <a:pt x="145" y="769"/>
                  <a:pt x="142" y="764"/>
                  <a:pt x="135" y="764"/>
                </a:cubicBezTo>
                <a:cubicBezTo>
                  <a:pt x="135" y="764"/>
                  <a:pt x="135" y="764"/>
                  <a:pt x="135" y="764"/>
                </a:cubicBezTo>
                <a:moveTo>
                  <a:pt x="174" y="764"/>
                </a:moveTo>
                <a:cubicBezTo>
                  <a:pt x="166" y="764"/>
                  <a:pt x="156" y="768"/>
                  <a:pt x="152" y="774"/>
                </a:cubicBezTo>
                <a:cubicBezTo>
                  <a:pt x="147" y="780"/>
                  <a:pt x="150" y="784"/>
                  <a:pt x="157" y="784"/>
                </a:cubicBezTo>
                <a:cubicBezTo>
                  <a:pt x="165" y="784"/>
                  <a:pt x="175" y="779"/>
                  <a:pt x="179" y="774"/>
                </a:cubicBezTo>
                <a:cubicBezTo>
                  <a:pt x="184" y="768"/>
                  <a:pt x="181" y="764"/>
                  <a:pt x="174" y="764"/>
                </a:cubicBezTo>
                <a:cubicBezTo>
                  <a:pt x="174" y="764"/>
                  <a:pt x="174" y="764"/>
                  <a:pt x="174" y="764"/>
                </a:cubicBezTo>
                <a:moveTo>
                  <a:pt x="1768" y="756"/>
                </a:moveTo>
                <a:cubicBezTo>
                  <a:pt x="1761" y="756"/>
                  <a:pt x="1753" y="761"/>
                  <a:pt x="1752" y="767"/>
                </a:cubicBezTo>
                <a:cubicBezTo>
                  <a:pt x="1751" y="772"/>
                  <a:pt x="1756" y="777"/>
                  <a:pt x="1763" y="777"/>
                </a:cubicBezTo>
                <a:cubicBezTo>
                  <a:pt x="1771" y="777"/>
                  <a:pt x="1778" y="772"/>
                  <a:pt x="1779" y="766"/>
                </a:cubicBezTo>
                <a:cubicBezTo>
                  <a:pt x="1781" y="761"/>
                  <a:pt x="1776" y="756"/>
                  <a:pt x="1768" y="756"/>
                </a:cubicBezTo>
                <a:cubicBezTo>
                  <a:pt x="1768" y="756"/>
                  <a:pt x="1768" y="756"/>
                  <a:pt x="1768" y="756"/>
                </a:cubicBezTo>
                <a:moveTo>
                  <a:pt x="1807" y="756"/>
                </a:moveTo>
                <a:cubicBezTo>
                  <a:pt x="1799" y="756"/>
                  <a:pt x="1792" y="761"/>
                  <a:pt x="1791" y="766"/>
                </a:cubicBezTo>
                <a:cubicBezTo>
                  <a:pt x="1789" y="772"/>
                  <a:pt x="1795" y="777"/>
                  <a:pt x="1802" y="777"/>
                </a:cubicBezTo>
                <a:cubicBezTo>
                  <a:pt x="1810" y="776"/>
                  <a:pt x="1817" y="772"/>
                  <a:pt x="1818" y="766"/>
                </a:cubicBezTo>
                <a:cubicBezTo>
                  <a:pt x="1819" y="761"/>
                  <a:pt x="1814" y="756"/>
                  <a:pt x="1807" y="756"/>
                </a:cubicBezTo>
                <a:cubicBezTo>
                  <a:pt x="1807" y="756"/>
                  <a:pt x="1807" y="756"/>
                  <a:pt x="1807" y="756"/>
                </a:cubicBezTo>
                <a:moveTo>
                  <a:pt x="1846" y="756"/>
                </a:moveTo>
                <a:cubicBezTo>
                  <a:pt x="1838" y="756"/>
                  <a:pt x="1831" y="761"/>
                  <a:pt x="1830" y="766"/>
                </a:cubicBezTo>
                <a:cubicBezTo>
                  <a:pt x="1829" y="772"/>
                  <a:pt x="1834" y="776"/>
                  <a:pt x="1841" y="776"/>
                </a:cubicBezTo>
                <a:cubicBezTo>
                  <a:pt x="1849" y="776"/>
                  <a:pt x="1856" y="772"/>
                  <a:pt x="1857" y="766"/>
                </a:cubicBezTo>
                <a:cubicBezTo>
                  <a:pt x="1858" y="760"/>
                  <a:pt x="1853" y="756"/>
                  <a:pt x="1846" y="756"/>
                </a:cubicBezTo>
                <a:cubicBezTo>
                  <a:pt x="1846" y="756"/>
                  <a:pt x="1846" y="756"/>
                  <a:pt x="1846" y="756"/>
                </a:cubicBezTo>
                <a:moveTo>
                  <a:pt x="1885" y="756"/>
                </a:moveTo>
                <a:cubicBezTo>
                  <a:pt x="1878" y="756"/>
                  <a:pt x="1871" y="760"/>
                  <a:pt x="1869" y="766"/>
                </a:cubicBezTo>
                <a:cubicBezTo>
                  <a:pt x="1868" y="772"/>
                  <a:pt x="1873" y="776"/>
                  <a:pt x="1881" y="776"/>
                </a:cubicBezTo>
                <a:cubicBezTo>
                  <a:pt x="1888" y="776"/>
                  <a:pt x="1896" y="771"/>
                  <a:pt x="1897" y="766"/>
                </a:cubicBezTo>
                <a:cubicBezTo>
                  <a:pt x="1898" y="760"/>
                  <a:pt x="1893" y="756"/>
                  <a:pt x="1885" y="756"/>
                </a:cubicBezTo>
                <a:cubicBezTo>
                  <a:pt x="1885" y="756"/>
                  <a:pt x="1885" y="756"/>
                  <a:pt x="1885" y="756"/>
                </a:cubicBezTo>
                <a:moveTo>
                  <a:pt x="1924" y="756"/>
                </a:moveTo>
                <a:cubicBezTo>
                  <a:pt x="1916" y="756"/>
                  <a:pt x="1909" y="760"/>
                  <a:pt x="1908" y="766"/>
                </a:cubicBezTo>
                <a:cubicBezTo>
                  <a:pt x="1907" y="771"/>
                  <a:pt x="1912" y="776"/>
                  <a:pt x="1920" y="776"/>
                </a:cubicBezTo>
                <a:cubicBezTo>
                  <a:pt x="1927" y="776"/>
                  <a:pt x="1934" y="771"/>
                  <a:pt x="1935" y="766"/>
                </a:cubicBezTo>
                <a:cubicBezTo>
                  <a:pt x="1936" y="760"/>
                  <a:pt x="1931" y="756"/>
                  <a:pt x="1924" y="756"/>
                </a:cubicBezTo>
                <a:cubicBezTo>
                  <a:pt x="1924" y="756"/>
                  <a:pt x="1924" y="756"/>
                  <a:pt x="1924" y="756"/>
                </a:cubicBezTo>
                <a:moveTo>
                  <a:pt x="1963" y="755"/>
                </a:moveTo>
                <a:cubicBezTo>
                  <a:pt x="1955" y="755"/>
                  <a:pt x="1948" y="760"/>
                  <a:pt x="1947" y="766"/>
                </a:cubicBezTo>
                <a:cubicBezTo>
                  <a:pt x="1946" y="771"/>
                  <a:pt x="1951" y="776"/>
                  <a:pt x="1959" y="776"/>
                </a:cubicBezTo>
                <a:cubicBezTo>
                  <a:pt x="1966" y="776"/>
                  <a:pt x="1973" y="771"/>
                  <a:pt x="1974" y="765"/>
                </a:cubicBezTo>
                <a:cubicBezTo>
                  <a:pt x="1975" y="760"/>
                  <a:pt x="1970" y="755"/>
                  <a:pt x="1963" y="755"/>
                </a:cubicBezTo>
                <a:cubicBezTo>
                  <a:pt x="1963" y="755"/>
                  <a:pt x="1963" y="755"/>
                  <a:pt x="1963" y="755"/>
                </a:cubicBezTo>
                <a:moveTo>
                  <a:pt x="2819" y="755"/>
                </a:moveTo>
                <a:cubicBezTo>
                  <a:pt x="2811" y="755"/>
                  <a:pt x="2806" y="760"/>
                  <a:pt x="2806" y="766"/>
                </a:cubicBezTo>
                <a:cubicBezTo>
                  <a:pt x="2807" y="771"/>
                  <a:pt x="2814" y="776"/>
                  <a:pt x="2821" y="776"/>
                </a:cubicBezTo>
                <a:cubicBezTo>
                  <a:pt x="2829" y="776"/>
                  <a:pt x="2834" y="771"/>
                  <a:pt x="2834" y="765"/>
                </a:cubicBezTo>
                <a:cubicBezTo>
                  <a:pt x="2833" y="760"/>
                  <a:pt x="2826" y="755"/>
                  <a:pt x="2819" y="755"/>
                </a:cubicBezTo>
                <a:cubicBezTo>
                  <a:pt x="2819" y="755"/>
                  <a:pt x="2819" y="755"/>
                  <a:pt x="2819" y="755"/>
                </a:cubicBezTo>
                <a:moveTo>
                  <a:pt x="2001" y="755"/>
                </a:moveTo>
                <a:cubicBezTo>
                  <a:pt x="1994" y="755"/>
                  <a:pt x="1987" y="760"/>
                  <a:pt x="1986" y="765"/>
                </a:cubicBezTo>
                <a:cubicBezTo>
                  <a:pt x="1985" y="771"/>
                  <a:pt x="1990" y="776"/>
                  <a:pt x="1998" y="776"/>
                </a:cubicBezTo>
                <a:cubicBezTo>
                  <a:pt x="2005" y="776"/>
                  <a:pt x="2012" y="771"/>
                  <a:pt x="2013" y="765"/>
                </a:cubicBezTo>
                <a:cubicBezTo>
                  <a:pt x="2014" y="760"/>
                  <a:pt x="2009" y="755"/>
                  <a:pt x="2001" y="755"/>
                </a:cubicBezTo>
                <a:cubicBezTo>
                  <a:pt x="2001" y="755"/>
                  <a:pt x="2001" y="755"/>
                  <a:pt x="2001" y="755"/>
                </a:cubicBezTo>
                <a:moveTo>
                  <a:pt x="2040" y="755"/>
                </a:moveTo>
                <a:cubicBezTo>
                  <a:pt x="2033" y="755"/>
                  <a:pt x="2026" y="760"/>
                  <a:pt x="2025" y="765"/>
                </a:cubicBezTo>
                <a:cubicBezTo>
                  <a:pt x="2024" y="771"/>
                  <a:pt x="2029" y="775"/>
                  <a:pt x="2037" y="775"/>
                </a:cubicBezTo>
                <a:cubicBezTo>
                  <a:pt x="2045" y="775"/>
                  <a:pt x="2051" y="771"/>
                  <a:pt x="2052" y="765"/>
                </a:cubicBezTo>
                <a:cubicBezTo>
                  <a:pt x="2053" y="759"/>
                  <a:pt x="2048" y="755"/>
                  <a:pt x="2040" y="755"/>
                </a:cubicBezTo>
                <a:cubicBezTo>
                  <a:pt x="2040" y="755"/>
                  <a:pt x="2040" y="755"/>
                  <a:pt x="2040" y="755"/>
                </a:cubicBezTo>
                <a:moveTo>
                  <a:pt x="2855" y="755"/>
                </a:moveTo>
                <a:cubicBezTo>
                  <a:pt x="2848" y="755"/>
                  <a:pt x="2842" y="759"/>
                  <a:pt x="2843" y="765"/>
                </a:cubicBezTo>
                <a:cubicBezTo>
                  <a:pt x="2844" y="771"/>
                  <a:pt x="2850" y="775"/>
                  <a:pt x="2858" y="775"/>
                </a:cubicBezTo>
                <a:cubicBezTo>
                  <a:pt x="2866" y="775"/>
                  <a:pt x="2871" y="771"/>
                  <a:pt x="2870" y="765"/>
                </a:cubicBezTo>
                <a:cubicBezTo>
                  <a:pt x="2870" y="759"/>
                  <a:pt x="2863" y="755"/>
                  <a:pt x="2855" y="755"/>
                </a:cubicBezTo>
                <a:cubicBezTo>
                  <a:pt x="2855" y="755"/>
                  <a:pt x="2855" y="755"/>
                  <a:pt x="2855" y="755"/>
                </a:cubicBezTo>
                <a:moveTo>
                  <a:pt x="2080" y="755"/>
                </a:moveTo>
                <a:cubicBezTo>
                  <a:pt x="2073" y="755"/>
                  <a:pt x="2066" y="759"/>
                  <a:pt x="2065" y="765"/>
                </a:cubicBezTo>
                <a:cubicBezTo>
                  <a:pt x="2064" y="771"/>
                  <a:pt x="2070" y="775"/>
                  <a:pt x="2077" y="775"/>
                </a:cubicBezTo>
                <a:cubicBezTo>
                  <a:pt x="2085" y="775"/>
                  <a:pt x="2092" y="771"/>
                  <a:pt x="2092" y="765"/>
                </a:cubicBezTo>
                <a:cubicBezTo>
                  <a:pt x="2093" y="759"/>
                  <a:pt x="2088" y="755"/>
                  <a:pt x="2080" y="755"/>
                </a:cubicBezTo>
                <a:cubicBezTo>
                  <a:pt x="2080" y="755"/>
                  <a:pt x="2080" y="755"/>
                  <a:pt x="2080" y="755"/>
                </a:cubicBezTo>
                <a:moveTo>
                  <a:pt x="2119" y="755"/>
                </a:moveTo>
                <a:cubicBezTo>
                  <a:pt x="2111" y="755"/>
                  <a:pt x="2105" y="759"/>
                  <a:pt x="2104" y="765"/>
                </a:cubicBezTo>
                <a:cubicBezTo>
                  <a:pt x="2103" y="770"/>
                  <a:pt x="2109" y="775"/>
                  <a:pt x="2116" y="775"/>
                </a:cubicBezTo>
                <a:cubicBezTo>
                  <a:pt x="2124" y="775"/>
                  <a:pt x="2131" y="770"/>
                  <a:pt x="2131" y="765"/>
                </a:cubicBezTo>
                <a:cubicBezTo>
                  <a:pt x="2132" y="759"/>
                  <a:pt x="2126" y="755"/>
                  <a:pt x="2119" y="755"/>
                </a:cubicBezTo>
                <a:cubicBezTo>
                  <a:pt x="2119" y="755"/>
                  <a:pt x="2119" y="755"/>
                  <a:pt x="2119" y="755"/>
                </a:cubicBezTo>
                <a:moveTo>
                  <a:pt x="2158" y="754"/>
                </a:moveTo>
                <a:cubicBezTo>
                  <a:pt x="2150" y="754"/>
                  <a:pt x="2144" y="759"/>
                  <a:pt x="2143" y="765"/>
                </a:cubicBezTo>
                <a:cubicBezTo>
                  <a:pt x="2142" y="770"/>
                  <a:pt x="2148" y="775"/>
                  <a:pt x="2156" y="775"/>
                </a:cubicBezTo>
                <a:cubicBezTo>
                  <a:pt x="2163" y="775"/>
                  <a:pt x="2170" y="770"/>
                  <a:pt x="2170" y="765"/>
                </a:cubicBezTo>
                <a:cubicBezTo>
                  <a:pt x="2171" y="759"/>
                  <a:pt x="2165" y="754"/>
                  <a:pt x="2158" y="754"/>
                </a:cubicBezTo>
                <a:cubicBezTo>
                  <a:pt x="2158" y="754"/>
                  <a:pt x="2158" y="754"/>
                  <a:pt x="2158" y="754"/>
                </a:cubicBezTo>
                <a:moveTo>
                  <a:pt x="2197" y="754"/>
                </a:moveTo>
                <a:cubicBezTo>
                  <a:pt x="2190" y="754"/>
                  <a:pt x="2183" y="759"/>
                  <a:pt x="2182" y="764"/>
                </a:cubicBezTo>
                <a:cubicBezTo>
                  <a:pt x="2182" y="770"/>
                  <a:pt x="2188" y="775"/>
                  <a:pt x="2195" y="775"/>
                </a:cubicBezTo>
                <a:cubicBezTo>
                  <a:pt x="2203" y="775"/>
                  <a:pt x="2209" y="770"/>
                  <a:pt x="2210" y="764"/>
                </a:cubicBezTo>
                <a:cubicBezTo>
                  <a:pt x="2210" y="759"/>
                  <a:pt x="2205" y="754"/>
                  <a:pt x="2197" y="754"/>
                </a:cubicBezTo>
                <a:cubicBezTo>
                  <a:pt x="2197" y="754"/>
                  <a:pt x="2197" y="754"/>
                  <a:pt x="2197" y="754"/>
                </a:cubicBezTo>
                <a:moveTo>
                  <a:pt x="2236" y="754"/>
                </a:moveTo>
                <a:cubicBezTo>
                  <a:pt x="2228" y="754"/>
                  <a:pt x="2222" y="759"/>
                  <a:pt x="2221" y="764"/>
                </a:cubicBezTo>
                <a:cubicBezTo>
                  <a:pt x="2221" y="770"/>
                  <a:pt x="2226" y="774"/>
                  <a:pt x="2234" y="774"/>
                </a:cubicBezTo>
                <a:cubicBezTo>
                  <a:pt x="2242" y="774"/>
                  <a:pt x="2248" y="770"/>
                  <a:pt x="2248" y="764"/>
                </a:cubicBezTo>
                <a:cubicBezTo>
                  <a:pt x="2249" y="759"/>
                  <a:pt x="2243" y="754"/>
                  <a:pt x="2236" y="754"/>
                </a:cubicBezTo>
                <a:cubicBezTo>
                  <a:pt x="2236" y="754"/>
                  <a:pt x="2236" y="754"/>
                  <a:pt x="2236" y="754"/>
                </a:cubicBezTo>
                <a:moveTo>
                  <a:pt x="2275" y="754"/>
                </a:moveTo>
                <a:cubicBezTo>
                  <a:pt x="2267" y="754"/>
                  <a:pt x="2261" y="758"/>
                  <a:pt x="2260" y="764"/>
                </a:cubicBezTo>
                <a:cubicBezTo>
                  <a:pt x="2260" y="770"/>
                  <a:pt x="2266" y="774"/>
                  <a:pt x="2273" y="774"/>
                </a:cubicBezTo>
                <a:cubicBezTo>
                  <a:pt x="2281" y="774"/>
                  <a:pt x="2287" y="770"/>
                  <a:pt x="2287" y="764"/>
                </a:cubicBezTo>
                <a:cubicBezTo>
                  <a:pt x="2288" y="758"/>
                  <a:pt x="2282" y="754"/>
                  <a:pt x="2275" y="754"/>
                </a:cubicBezTo>
                <a:cubicBezTo>
                  <a:pt x="2275" y="754"/>
                  <a:pt x="2275" y="754"/>
                  <a:pt x="2275" y="754"/>
                </a:cubicBezTo>
                <a:moveTo>
                  <a:pt x="2313" y="754"/>
                </a:moveTo>
                <a:cubicBezTo>
                  <a:pt x="2306" y="754"/>
                  <a:pt x="2299" y="758"/>
                  <a:pt x="2299" y="764"/>
                </a:cubicBezTo>
                <a:cubicBezTo>
                  <a:pt x="2299" y="770"/>
                  <a:pt x="2304" y="774"/>
                  <a:pt x="2312" y="774"/>
                </a:cubicBezTo>
                <a:cubicBezTo>
                  <a:pt x="2320" y="774"/>
                  <a:pt x="2326" y="769"/>
                  <a:pt x="2326" y="764"/>
                </a:cubicBezTo>
                <a:cubicBezTo>
                  <a:pt x="2327" y="758"/>
                  <a:pt x="2321" y="754"/>
                  <a:pt x="2313" y="754"/>
                </a:cubicBezTo>
                <a:cubicBezTo>
                  <a:pt x="2313" y="754"/>
                  <a:pt x="2313" y="754"/>
                  <a:pt x="2313" y="754"/>
                </a:cubicBezTo>
                <a:moveTo>
                  <a:pt x="2352" y="753"/>
                </a:moveTo>
                <a:cubicBezTo>
                  <a:pt x="2345" y="753"/>
                  <a:pt x="2338" y="758"/>
                  <a:pt x="2338" y="764"/>
                </a:cubicBezTo>
                <a:cubicBezTo>
                  <a:pt x="2338" y="769"/>
                  <a:pt x="2344" y="774"/>
                  <a:pt x="2351" y="774"/>
                </a:cubicBezTo>
                <a:cubicBezTo>
                  <a:pt x="2359" y="774"/>
                  <a:pt x="2365" y="769"/>
                  <a:pt x="2365" y="764"/>
                </a:cubicBezTo>
                <a:cubicBezTo>
                  <a:pt x="2365" y="758"/>
                  <a:pt x="2360" y="753"/>
                  <a:pt x="2352" y="753"/>
                </a:cubicBezTo>
                <a:cubicBezTo>
                  <a:pt x="2352" y="753"/>
                  <a:pt x="2352" y="753"/>
                  <a:pt x="2352" y="753"/>
                </a:cubicBezTo>
                <a:moveTo>
                  <a:pt x="2391" y="753"/>
                </a:moveTo>
                <a:cubicBezTo>
                  <a:pt x="2384" y="753"/>
                  <a:pt x="2378" y="758"/>
                  <a:pt x="2377" y="764"/>
                </a:cubicBezTo>
                <a:cubicBezTo>
                  <a:pt x="2377" y="769"/>
                  <a:pt x="2383" y="774"/>
                  <a:pt x="2391" y="774"/>
                </a:cubicBezTo>
                <a:cubicBezTo>
                  <a:pt x="2398" y="774"/>
                  <a:pt x="2405" y="769"/>
                  <a:pt x="2405" y="763"/>
                </a:cubicBezTo>
                <a:cubicBezTo>
                  <a:pt x="2405" y="758"/>
                  <a:pt x="2399" y="753"/>
                  <a:pt x="2391" y="753"/>
                </a:cubicBezTo>
                <a:cubicBezTo>
                  <a:pt x="2391" y="753"/>
                  <a:pt x="2391" y="753"/>
                  <a:pt x="2391" y="753"/>
                </a:cubicBezTo>
                <a:moveTo>
                  <a:pt x="2430" y="753"/>
                </a:moveTo>
                <a:cubicBezTo>
                  <a:pt x="2422" y="753"/>
                  <a:pt x="2416" y="758"/>
                  <a:pt x="2416" y="763"/>
                </a:cubicBezTo>
                <a:cubicBezTo>
                  <a:pt x="2416" y="769"/>
                  <a:pt x="2422" y="774"/>
                  <a:pt x="2430" y="773"/>
                </a:cubicBezTo>
                <a:cubicBezTo>
                  <a:pt x="2437" y="773"/>
                  <a:pt x="2443" y="769"/>
                  <a:pt x="2443" y="763"/>
                </a:cubicBezTo>
                <a:cubicBezTo>
                  <a:pt x="2443" y="758"/>
                  <a:pt x="2438" y="753"/>
                  <a:pt x="2430" y="753"/>
                </a:cubicBezTo>
                <a:cubicBezTo>
                  <a:pt x="2430" y="753"/>
                  <a:pt x="2430" y="753"/>
                  <a:pt x="2430" y="753"/>
                </a:cubicBezTo>
                <a:moveTo>
                  <a:pt x="3011" y="753"/>
                </a:moveTo>
                <a:cubicBezTo>
                  <a:pt x="3003" y="753"/>
                  <a:pt x="2998" y="758"/>
                  <a:pt x="2999" y="763"/>
                </a:cubicBezTo>
                <a:cubicBezTo>
                  <a:pt x="3000" y="769"/>
                  <a:pt x="3007" y="773"/>
                  <a:pt x="3014" y="773"/>
                </a:cubicBezTo>
                <a:cubicBezTo>
                  <a:pt x="3022" y="773"/>
                  <a:pt x="3027" y="769"/>
                  <a:pt x="3026" y="763"/>
                </a:cubicBezTo>
                <a:cubicBezTo>
                  <a:pt x="3025" y="757"/>
                  <a:pt x="3018" y="753"/>
                  <a:pt x="3011" y="753"/>
                </a:cubicBezTo>
                <a:cubicBezTo>
                  <a:pt x="3011" y="753"/>
                  <a:pt x="3011" y="753"/>
                  <a:pt x="3011" y="753"/>
                </a:cubicBezTo>
                <a:moveTo>
                  <a:pt x="2469" y="753"/>
                </a:moveTo>
                <a:cubicBezTo>
                  <a:pt x="2461" y="753"/>
                  <a:pt x="2455" y="757"/>
                  <a:pt x="2455" y="763"/>
                </a:cubicBezTo>
                <a:cubicBezTo>
                  <a:pt x="2455" y="769"/>
                  <a:pt x="2461" y="773"/>
                  <a:pt x="2469" y="773"/>
                </a:cubicBezTo>
                <a:cubicBezTo>
                  <a:pt x="2476" y="773"/>
                  <a:pt x="2482" y="769"/>
                  <a:pt x="2482" y="763"/>
                </a:cubicBezTo>
                <a:cubicBezTo>
                  <a:pt x="2482" y="757"/>
                  <a:pt x="2476" y="753"/>
                  <a:pt x="2469" y="753"/>
                </a:cubicBezTo>
                <a:cubicBezTo>
                  <a:pt x="2469" y="753"/>
                  <a:pt x="2469" y="753"/>
                  <a:pt x="2469" y="753"/>
                </a:cubicBezTo>
                <a:moveTo>
                  <a:pt x="3049" y="753"/>
                </a:moveTo>
                <a:cubicBezTo>
                  <a:pt x="3042" y="753"/>
                  <a:pt x="3037" y="757"/>
                  <a:pt x="3038" y="763"/>
                </a:cubicBezTo>
                <a:cubicBezTo>
                  <a:pt x="3039" y="769"/>
                  <a:pt x="3046" y="773"/>
                  <a:pt x="3053" y="773"/>
                </a:cubicBezTo>
                <a:cubicBezTo>
                  <a:pt x="3061" y="773"/>
                  <a:pt x="3066" y="769"/>
                  <a:pt x="3065" y="763"/>
                </a:cubicBezTo>
                <a:cubicBezTo>
                  <a:pt x="3064" y="757"/>
                  <a:pt x="3057" y="753"/>
                  <a:pt x="3050" y="753"/>
                </a:cubicBezTo>
                <a:cubicBezTo>
                  <a:pt x="3050" y="753"/>
                  <a:pt x="3050" y="753"/>
                  <a:pt x="3049" y="753"/>
                </a:cubicBezTo>
                <a:moveTo>
                  <a:pt x="2507" y="753"/>
                </a:moveTo>
                <a:cubicBezTo>
                  <a:pt x="2500" y="753"/>
                  <a:pt x="2494" y="757"/>
                  <a:pt x="2494" y="763"/>
                </a:cubicBezTo>
                <a:cubicBezTo>
                  <a:pt x="2494" y="769"/>
                  <a:pt x="2500" y="773"/>
                  <a:pt x="2508" y="773"/>
                </a:cubicBezTo>
                <a:cubicBezTo>
                  <a:pt x="2515" y="773"/>
                  <a:pt x="2521" y="768"/>
                  <a:pt x="2521" y="763"/>
                </a:cubicBezTo>
                <a:cubicBezTo>
                  <a:pt x="2521" y="757"/>
                  <a:pt x="2515" y="753"/>
                  <a:pt x="2507" y="753"/>
                </a:cubicBezTo>
                <a:cubicBezTo>
                  <a:pt x="2507" y="753"/>
                  <a:pt x="2507" y="753"/>
                  <a:pt x="2507" y="753"/>
                </a:cubicBezTo>
                <a:moveTo>
                  <a:pt x="2546" y="752"/>
                </a:moveTo>
                <a:cubicBezTo>
                  <a:pt x="2539" y="752"/>
                  <a:pt x="2533" y="757"/>
                  <a:pt x="2533" y="763"/>
                </a:cubicBezTo>
                <a:cubicBezTo>
                  <a:pt x="2533" y="768"/>
                  <a:pt x="2539" y="773"/>
                  <a:pt x="2547" y="773"/>
                </a:cubicBezTo>
                <a:cubicBezTo>
                  <a:pt x="2554" y="773"/>
                  <a:pt x="2560" y="768"/>
                  <a:pt x="2560" y="763"/>
                </a:cubicBezTo>
                <a:cubicBezTo>
                  <a:pt x="2560" y="757"/>
                  <a:pt x="2554" y="752"/>
                  <a:pt x="2546" y="752"/>
                </a:cubicBezTo>
                <a:cubicBezTo>
                  <a:pt x="2546" y="752"/>
                  <a:pt x="2546" y="752"/>
                  <a:pt x="2546" y="752"/>
                </a:cubicBezTo>
                <a:moveTo>
                  <a:pt x="2586" y="752"/>
                </a:moveTo>
                <a:cubicBezTo>
                  <a:pt x="2578" y="752"/>
                  <a:pt x="2572" y="757"/>
                  <a:pt x="2572" y="763"/>
                </a:cubicBezTo>
                <a:cubicBezTo>
                  <a:pt x="2572" y="768"/>
                  <a:pt x="2579" y="773"/>
                  <a:pt x="2586" y="773"/>
                </a:cubicBezTo>
                <a:cubicBezTo>
                  <a:pt x="2594" y="773"/>
                  <a:pt x="2600" y="768"/>
                  <a:pt x="2600" y="762"/>
                </a:cubicBezTo>
                <a:cubicBezTo>
                  <a:pt x="2599" y="757"/>
                  <a:pt x="2593" y="752"/>
                  <a:pt x="2586" y="752"/>
                </a:cubicBezTo>
                <a:cubicBezTo>
                  <a:pt x="2586" y="752"/>
                  <a:pt x="2586" y="752"/>
                  <a:pt x="2586" y="752"/>
                </a:cubicBezTo>
                <a:moveTo>
                  <a:pt x="2664" y="752"/>
                </a:moveTo>
                <a:cubicBezTo>
                  <a:pt x="2656" y="752"/>
                  <a:pt x="2650" y="757"/>
                  <a:pt x="2650" y="762"/>
                </a:cubicBezTo>
                <a:cubicBezTo>
                  <a:pt x="2651" y="768"/>
                  <a:pt x="2657" y="773"/>
                  <a:pt x="2665" y="773"/>
                </a:cubicBezTo>
                <a:cubicBezTo>
                  <a:pt x="2672" y="773"/>
                  <a:pt x="2678" y="768"/>
                  <a:pt x="2678" y="762"/>
                </a:cubicBezTo>
                <a:cubicBezTo>
                  <a:pt x="2677" y="757"/>
                  <a:pt x="2671" y="752"/>
                  <a:pt x="2664" y="752"/>
                </a:cubicBezTo>
                <a:cubicBezTo>
                  <a:pt x="2664" y="752"/>
                  <a:pt x="2664" y="752"/>
                  <a:pt x="2664" y="752"/>
                </a:cubicBezTo>
                <a:moveTo>
                  <a:pt x="2702" y="752"/>
                </a:moveTo>
                <a:cubicBezTo>
                  <a:pt x="2695" y="752"/>
                  <a:pt x="2689" y="757"/>
                  <a:pt x="2689" y="762"/>
                </a:cubicBezTo>
                <a:cubicBezTo>
                  <a:pt x="2690" y="768"/>
                  <a:pt x="2696" y="772"/>
                  <a:pt x="2704" y="772"/>
                </a:cubicBezTo>
                <a:cubicBezTo>
                  <a:pt x="2711" y="772"/>
                  <a:pt x="2717" y="768"/>
                  <a:pt x="2717" y="762"/>
                </a:cubicBezTo>
                <a:cubicBezTo>
                  <a:pt x="2716" y="756"/>
                  <a:pt x="2710" y="752"/>
                  <a:pt x="2702" y="752"/>
                </a:cubicBezTo>
                <a:cubicBezTo>
                  <a:pt x="2702" y="752"/>
                  <a:pt x="2702" y="752"/>
                  <a:pt x="2702" y="752"/>
                </a:cubicBezTo>
                <a:moveTo>
                  <a:pt x="2975" y="752"/>
                </a:moveTo>
                <a:cubicBezTo>
                  <a:pt x="2967" y="752"/>
                  <a:pt x="2962" y="756"/>
                  <a:pt x="2963" y="762"/>
                </a:cubicBezTo>
                <a:cubicBezTo>
                  <a:pt x="2964" y="768"/>
                  <a:pt x="2971" y="772"/>
                  <a:pt x="2978" y="772"/>
                </a:cubicBezTo>
                <a:cubicBezTo>
                  <a:pt x="2986" y="772"/>
                  <a:pt x="2991" y="768"/>
                  <a:pt x="2990" y="762"/>
                </a:cubicBezTo>
                <a:cubicBezTo>
                  <a:pt x="2989" y="756"/>
                  <a:pt x="2982" y="752"/>
                  <a:pt x="2975" y="752"/>
                </a:cubicBezTo>
                <a:cubicBezTo>
                  <a:pt x="2975" y="752"/>
                  <a:pt x="2975" y="752"/>
                  <a:pt x="2975" y="752"/>
                </a:cubicBezTo>
                <a:moveTo>
                  <a:pt x="2741" y="752"/>
                </a:moveTo>
                <a:cubicBezTo>
                  <a:pt x="2733" y="752"/>
                  <a:pt x="2728" y="756"/>
                  <a:pt x="2728" y="762"/>
                </a:cubicBezTo>
                <a:cubicBezTo>
                  <a:pt x="2728" y="768"/>
                  <a:pt x="2735" y="772"/>
                  <a:pt x="2743" y="772"/>
                </a:cubicBezTo>
                <a:cubicBezTo>
                  <a:pt x="2750" y="772"/>
                  <a:pt x="2756" y="768"/>
                  <a:pt x="2755" y="762"/>
                </a:cubicBezTo>
                <a:cubicBezTo>
                  <a:pt x="2755" y="756"/>
                  <a:pt x="2748" y="752"/>
                  <a:pt x="2741" y="752"/>
                </a:cubicBezTo>
                <a:cubicBezTo>
                  <a:pt x="2741" y="752"/>
                  <a:pt x="2741" y="752"/>
                  <a:pt x="2741" y="752"/>
                </a:cubicBezTo>
                <a:moveTo>
                  <a:pt x="3169" y="751"/>
                </a:moveTo>
                <a:cubicBezTo>
                  <a:pt x="3161" y="751"/>
                  <a:pt x="3156" y="756"/>
                  <a:pt x="3158" y="762"/>
                </a:cubicBezTo>
                <a:cubicBezTo>
                  <a:pt x="3159" y="767"/>
                  <a:pt x="3166" y="772"/>
                  <a:pt x="3174" y="772"/>
                </a:cubicBezTo>
                <a:cubicBezTo>
                  <a:pt x="3181" y="772"/>
                  <a:pt x="3186" y="767"/>
                  <a:pt x="3185" y="762"/>
                </a:cubicBezTo>
                <a:cubicBezTo>
                  <a:pt x="3184" y="756"/>
                  <a:pt x="3176" y="751"/>
                  <a:pt x="3169" y="751"/>
                </a:cubicBezTo>
                <a:cubicBezTo>
                  <a:pt x="3169" y="751"/>
                  <a:pt x="3169" y="751"/>
                  <a:pt x="3169" y="751"/>
                </a:cubicBezTo>
                <a:moveTo>
                  <a:pt x="3088" y="751"/>
                </a:moveTo>
                <a:cubicBezTo>
                  <a:pt x="3080" y="751"/>
                  <a:pt x="3075" y="756"/>
                  <a:pt x="3076" y="762"/>
                </a:cubicBezTo>
                <a:cubicBezTo>
                  <a:pt x="3077" y="767"/>
                  <a:pt x="3084" y="772"/>
                  <a:pt x="3092" y="772"/>
                </a:cubicBezTo>
                <a:cubicBezTo>
                  <a:pt x="3100" y="772"/>
                  <a:pt x="3105" y="767"/>
                  <a:pt x="3104" y="761"/>
                </a:cubicBezTo>
                <a:cubicBezTo>
                  <a:pt x="3102" y="756"/>
                  <a:pt x="3095" y="751"/>
                  <a:pt x="3088" y="751"/>
                </a:cubicBezTo>
                <a:cubicBezTo>
                  <a:pt x="3088" y="751"/>
                  <a:pt x="3088" y="751"/>
                  <a:pt x="3088" y="751"/>
                </a:cubicBezTo>
                <a:moveTo>
                  <a:pt x="3208" y="751"/>
                </a:moveTo>
                <a:cubicBezTo>
                  <a:pt x="3201" y="751"/>
                  <a:pt x="3196" y="756"/>
                  <a:pt x="3197" y="761"/>
                </a:cubicBezTo>
                <a:cubicBezTo>
                  <a:pt x="3198" y="767"/>
                  <a:pt x="3206" y="772"/>
                  <a:pt x="3213" y="772"/>
                </a:cubicBezTo>
                <a:cubicBezTo>
                  <a:pt x="3221" y="772"/>
                  <a:pt x="3226" y="767"/>
                  <a:pt x="3224" y="761"/>
                </a:cubicBezTo>
                <a:cubicBezTo>
                  <a:pt x="3223" y="756"/>
                  <a:pt x="3216" y="751"/>
                  <a:pt x="3208" y="751"/>
                </a:cubicBezTo>
                <a:cubicBezTo>
                  <a:pt x="3208" y="751"/>
                  <a:pt x="3208" y="751"/>
                  <a:pt x="3208" y="751"/>
                </a:cubicBezTo>
                <a:moveTo>
                  <a:pt x="2780" y="751"/>
                </a:moveTo>
                <a:cubicBezTo>
                  <a:pt x="2772" y="751"/>
                  <a:pt x="2766" y="756"/>
                  <a:pt x="2767" y="761"/>
                </a:cubicBezTo>
                <a:cubicBezTo>
                  <a:pt x="2768" y="767"/>
                  <a:pt x="2774" y="772"/>
                  <a:pt x="2782" y="772"/>
                </a:cubicBezTo>
                <a:cubicBezTo>
                  <a:pt x="2789" y="772"/>
                  <a:pt x="2795" y="767"/>
                  <a:pt x="2794" y="761"/>
                </a:cubicBezTo>
                <a:cubicBezTo>
                  <a:pt x="2794" y="756"/>
                  <a:pt x="2787" y="751"/>
                  <a:pt x="2780" y="751"/>
                </a:cubicBezTo>
                <a:cubicBezTo>
                  <a:pt x="2780" y="751"/>
                  <a:pt x="2780" y="751"/>
                  <a:pt x="2780" y="751"/>
                </a:cubicBezTo>
                <a:moveTo>
                  <a:pt x="3127" y="751"/>
                </a:moveTo>
                <a:cubicBezTo>
                  <a:pt x="3119" y="751"/>
                  <a:pt x="3114" y="756"/>
                  <a:pt x="3115" y="761"/>
                </a:cubicBezTo>
                <a:cubicBezTo>
                  <a:pt x="3117" y="767"/>
                  <a:pt x="3124" y="772"/>
                  <a:pt x="3131" y="772"/>
                </a:cubicBezTo>
                <a:cubicBezTo>
                  <a:pt x="3139" y="772"/>
                  <a:pt x="3144" y="767"/>
                  <a:pt x="3143" y="761"/>
                </a:cubicBezTo>
                <a:cubicBezTo>
                  <a:pt x="3141" y="756"/>
                  <a:pt x="3134" y="751"/>
                  <a:pt x="3127" y="751"/>
                </a:cubicBezTo>
                <a:cubicBezTo>
                  <a:pt x="3127" y="751"/>
                  <a:pt x="3127" y="751"/>
                  <a:pt x="3127" y="751"/>
                </a:cubicBezTo>
                <a:moveTo>
                  <a:pt x="3711" y="751"/>
                </a:moveTo>
                <a:cubicBezTo>
                  <a:pt x="3704" y="751"/>
                  <a:pt x="3700" y="756"/>
                  <a:pt x="3702" y="761"/>
                </a:cubicBezTo>
                <a:cubicBezTo>
                  <a:pt x="3704" y="767"/>
                  <a:pt x="3712" y="772"/>
                  <a:pt x="3720" y="772"/>
                </a:cubicBezTo>
                <a:cubicBezTo>
                  <a:pt x="3728" y="772"/>
                  <a:pt x="3732" y="767"/>
                  <a:pt x="3729" y="761"/>
                </a:cubicBezTo>
                <a:cubicBezTo>
                  <a:pt x="3727" y="756"/>
                  <a:pt x="3719" y="751"/>
                  <a:pt x="3711" y="751"/>
                </a:cubicBezTo>
                <a:cubicBezTo>
                  <a:pt x="3711" y="751"/>
                  <a:pt x="3711" y="751"/>
                  <a:pt x="3711" y="751"/>
                </a:cubicBezTo>
                <a:moveTo>
                  <a:pt x="3244" y="751"/>
                </a:moveTo>
                <a:cubicBezTo>
                  <a:pt x="3237" y="751"/>
                  <a:pt x="3232" y="756"/>
                  <a:pt x="3233" y="761"/>
                </a:cubicBezTo>
                <a:cubicBezTo>
                  <a:pt x="3235" y="767"/>
                  <a:pt x="3242" y="771"/>
                  <a:pt x="3250" y="771"/>
                </a:cubicBezTo>
                <a:cubicBezTo>
                  <a:pt x="3257" y="771"/>
                  <a:pt x="3262" y="767"/>
                  <a:pt x="3261" y="761"/>
                </a:cubicBezTo>
                <a:cubicBezTo>
                  <a:pt x="3259" y="756"/>
                  <a:pt x="3252" y="751"/>
                  <a:pt x="3244" y="751"/>
                </a:cubicBezTo>
                <a:cubicBezTo>
                  <a:pt x="3244" y="751"/>
                  <a:pt x="3244" y="751"/>
                  <a:pt x="3244" y="751"/>
                </a:cubicBezTo>
                <a:moveTo>
                  <a:pt x="3750" y="751"/>
                </a:moveTo>
                <a:cubicBezTo>
                  <a:pt x="3742" y="751"/>
                  <a:pt x="3738" y="756"/>
                  <a:pt x="3741" y="761"/>
                </a:cubicBezTo>
                <a:cubicBezTo>
                  <a:pt x="3743" y="767"/>
                  <a:pt x="3751" y="771"/>
                  <a:pt x="3759" y="771"/>
                </a:cubicBezTo>
                <a:cubicBezTo>
                  <a:pt x="3766" y="771"/>
                  <a:pt x="3770" y="767"/>
                  <a:pt x="3768" y="761"/>
                </a:cubicBezTo>
                <a:cubicBezTo>
                  <a:pt x="3766" y="755"/>
                  <a:pt x="3757" y="751"/>
                  <a:pt x="3750" y="751"/>
                </a:cubicBezTo>
                <a:cubicBezTo>
                  <a:pt x="3750" y="751"/>
                  <a:pt x="3750" y="751"/>
                  <a:pt x="3750" y="751"/>
                </a:cubicBezTo>
                <a:moveTo>
                  <a:pt x="3284" y="751"/>
                </a:moveTo>
                <a:cubicBezTo>
                  <a:pt x="3276" y="751"/>
                  <a:pt x="3271" y="755"/>
                  <a:pt x="3273" y="761"/>
                </a:cubicBezTo>
                <a:cubicBezTo>
                  <a:pt x="3274" y="767"/>
                  <a:pt x="3282" y="771"/>
                  <a:pt x="3289" y="771"/>
                </a:cubicBezTo>
                <a:cubicBezTo>
                  <a:pt x="3297" y="771"/>
                  <a:pt x="3302" y="767"/>
                  <a:pt x="3300" y="761"/>
                </a:cubicBezTo>
                <a:cubicBezTo>
                  <a:pt x="3298" y="755"/>
                  <a:pt x="3291" y="751"/>
                  <a:pt x="3284" y="751"/>
                </a:cubicBezTo>
                <a:cubicBezTo>
                  <a:pt x="3284" y="751"/>
                  <a:pt x="3284" y="751"/>
                  <a:pt x="3284" y="751"/>
                </a:cubicBezTo>
                <a:moveTo>
                  <a:pt x="3789" y="751"/>
                </a:moveTo>
                <a:cubicBezTo>
                  <a:pt x="3781" y="751"/>
                  <a:pt x="3777" y="755"/>
                  <a:pt x="3780" y="761"/>
                </a:cubicBezTo>
                <a:cubicBezTo>
                  <a:pt x="3782" y="767"/>
                  <a:pt x="3790" y="771"/>
                  <a:pt x="3798" y="771"/>
                </a:cubicBezTo>
                <a:cubicBezTo>
                  <a:pt x="3806" y="771"/>
                  <a:pt x="3810" y="767"/>
                  <a:pt x="3807" y="761"/>
                </a:cubicBezTo>
                <a:cubicBezTo>
                  <a:pt x="3804" y="755"/>
                  <a:pt x="3796" y="751"/>
                  <a:pt x="3789" y="751"/>
                </a:cubicBezTo>
                <a:cubicBezTo>
                  <a:pt x="3789" y="751"/>
                  <a:pt x="3789" y="751"/>
                  <a:pt x="3789" y="751"/>
                </a:cubicBezTo>
                <a:moveTo>
                  <a:pt x="3322" y="751"/>
                </a:moveTo>
                <a:cubicBezTo>
                  <a:pt x="3315" y="751"/>
                  <a:pt x="3310" y="755"/>
                  <a:pt x="3311" y="761"/>
                </a:cubicBezTo>
                <a:cubicBezTo>
                  <a:pt x="3313" y="767"/>
                  <a:pt x="3320" y="771"/>
                  <a:pt x="3328" y="771"/>
                </a:cubicBezTo>
                <a:cubicBezTo>
                  <a:pt x="3336" y="771"/>
                  <a:pt x="3340" y="766"/>
                  <a:pt x="3339" y="761"/>
                </a:cubicBezTo>
                <a:cubicBezTo>
                  <a:pt x="3337" y="755"/>
                  <a:pt x="3330" y="751"/>
                  <a:pt x="3322" y="751"/>
                </a:cubicBezTo>
                <a:cubicBezTo>
                  <a:pt x="3322" y="751"/>
                  <a:pt x="3322" y="751"/>
                  <a:pt x="3322" y="751"/>
                </a:cubicBezTo>
                <a:moveTo>
                  <a:pt x="3830" y="750"/>
                </a:moveTo>
                <a:cubicBezTo>
                  <a:pt x="3823" y="750"/>
                  <a:pt x="3819" y="755"/>
                  <a:pt x="3821" y="761"/>
                </a:cubicBezTo>
                <a:cubicBezTo>
                  <a:pt x="3824" y="766"/>
                  <a:pt x="3832" y="771"/>
                  <a:pt x="3840" y="771"/>
                </a:cubicBezTo>
                <a:cubicBezTo>
                  <a:pt x="3847" y="771"/>
                  <a:pt x="3851" y="766"/>
                  <a:pt x="3848" y="761"/>
                </a:cubicBezTo>
                <a:cubicBezTo>
                  <a:pt x="3846" y="755"/>
                  <a:pt x="3838" y="750"/>
                  <a:pt x="3830" y="750"/>
                </a:cubicBezTo>
                <a:cubicBezTo>
                  <a:pt x="3830" y="750"/>
                  <a:pt x="3830" y="750"/>
                  <a:pt x="3830" y="750"/>
                </a:cubicBezTo>
                <a:moveTo>
                  <a:pt x="3361" y="750"/>
                </a:moveTo>
                <a:cubicBezTo>
                  <a:pt x="3353" y="750"/>
                  <a:pt x="3349" y="755"/>
                  <a:pt x="3350" y="761"/>
                </a:cubicBezTo>
                <a:cubicBezTo>
                  <a:pt x="3352" y="766"/>
                  <a:pt x="3360" y="771"/>
                  <a:pt x="3367" y="771"/>
                </a:cubicBezTo>
                <a:cubicBezTo>
                  <a:pt x="3375" y="771"/>
                  <a:pt x="3379" y="766"/>
                  <a:pt x="3378" y="761"/>
                </a:cubicBezTo>
                <a:cubicBezTo>
                  <a:pt x="3376" y="755"/>
                  <a:pt x="3368" y="750"/>
                  <a:pt x="3361" y="750"/>
                </a:cubicBezTo>
                <a:cubicBezTo>
                  <a:pt x="3361" y="750"/>
                  <a:pt x="3361" y="750"/>
                  <a:pt x="3361" y="750"/>
                </a:cubicBezTo>
                <a:moveTo>
                  <a:pt x="3868" y="750"/>
                </a:moveTo>
                <a:cubicBezTo>
                  <a:pt x="3861" y="750"/>
                  <a:pt x="3857" y="755"/>
                  <a:pt x="3860" y="761"/>
                </a:cubicBezTo>
                <a:cubicBezTo>
                  <a:pt x="3862" y="766"/>
                  <a:pt x="3871" y="771"/>
                  <a:pt x="3878" y="771"/>
                </a:cubicBezTo>
                <a:cubicBezTo>
                  <a:pt x="3886" y="771"/>
                  <a:pt x="3890" y="766"/>
                  <a:pt x="3887" y="760"/>
                </a:cubicBezTo>
                <a:cubicBezTo>
                  <a:pt x="3884" y="755"/>
                  <a:pt x="3876" y="750"/>
                  <a:pt x="3868" y="750"/>
                </a:cubicBezTo>
                <a:cubicBezTo>
                  <a:pt x="3868" y="750"/>
                  <a:pt x="3868" y="750"/>
                  <a:pt x="3868" y="750"/>
                </a:cubicBezTo>
                <a:moveTo>
                  <a:pt x="3399" y="750"/>
                </a:moveTo>
                <a:cubicBezTo>
                  <a:pt x="3392" y="750"/>
                  <a:pt x="3387" y="755"/>
                  <a:pt x="3389" y="761"/>
                </a:cubicBezTo>
                <a:cubicBezTo>
                  <a:pt x="3391" y="766"/>
                  <a:pt x="3398" y="771"/>
                  <a:pt x="3406" y="771"/>
                </a:cubicBezTo>
                <a:cubicBezTo>
                  <a:pt x="3413" y="771"/>
                  <a:pt x="3418" y="766"/>
                  <a:pt x="3416" y="760"/>
                </a:cubicBezTo>
                <a:cubicBezTo>
                  <a:pt x="3415" y="755"/>
                  <a:pt x="3407" y="750"/>
                  <a:pt x="3400" y="750"/>
                </a:cubicBezTo>
                <a:cubicBezTo>
                  <a:pt x="3400" y="750"/>
                  <a:pt x="3400" y="750"/>
                  <a:pt x="3399" y="750"/>
                </a:cubicBezTo>
                <a:moveTo>
                  <a:pt x="3907" y="750"/>
                </a:moveTo>
                <a:cubicBezTo>
                  <a:pt x="3899" y="750"/>
                  <a:pt x="3895" y="755"/>
                  <a:pt x="3898" y="760"/>
                </a:cubicBezTo>
                <a:cubicBezTo>
                  <a:pt x="3901" y="766"/>
                  <a:pt x="3909" y="771"/>
                  <a:pt x="3917" y="771"/>
                </a:cubicBezTo>
                <a:cubicBezTo>
                  <a:pt x="3924" y="771"/>
                  <a:pt x="3928" y="766"/>
                  <a:pt x="3926" y="760"/>
                </a:cubicBezTo>
                <a:cubicBezTo>
                  <a:pt x="3923" y="755"/>
                  <a:pt x="3914" y="750"/>
                  <a:pt x="3907" y="750"/>
                </a:cubicBezTo>
                <a:cubicBezTo>
                  <a:pt x="3907" y="750"/>
                  <a:pt x="3907" y="750"/>
                  <a:pt x="3907" y="750"/>
                </a:cubicBezTo>
                <a:moveTo>
                  <a:pt x="3438" y="750"/>
                </a:moveTo>
                <a:cubicBezTo>
                  <a:pt x="3431" y="750"/>
                  <a:pt x="3426" y="755"/>
                  <a:pt x="3428" y="760"/>
                </a:cubicBezTo>
                <a:cubicBezTo>
                  <a:pt x="3430" y="766"/>
                  <a:pt x="3438" y="771"/>
                  <a:pt x="3445" y="771"/>
                </a:cubicBezTo>
                <a:cubicBezTo>
                  <a:pt x="3453" y="770"/>
                  <a:pt x="3457" y="766"/>
                  <a:pt x="3455" y="760"/>
                </a:cubicBezTo>
                <a:cubicBezTo>
                  <a:pt x="3453" y="755"/>
                  <a:pt x="3446" y="750"/>
                  <a:pt x="3438" y="750"/>
                </a:cubicBezTo>
                <a:cubicBezTo>
                  <a:pt x="3438" y="750"/>
                  <a:pt x="3438" y="750"/>
                  <a:pt x="3438" y="750"/>
                </a:cubicBezTo>
                <a:moveTo>
                  <a:pt x="3946" y="750"/>
                </a:moveTo>
                <a:cubicBezTo>
                  <a:pt x="3938" y="750"/>
                  <a:pt x="3934" y="755"/>
                  <a:pt x="3937" y="760"/>
                </a:cubicBezTo>
                <a:cubicBezTo>
                  <a:pt x="3940" y="766"/>
                  <a:pt x="3949" y="770"/>
                  <a:pt x="3956" y="770"/>
                </a:cubicBezTo>
                <a:cubicBezTo>
                  <a:pt x="3964" y="770"/>
                  <a:pt x="3967" y="766"/>
                  <a:pt x="3965" y="760"/>
                </a:cubicBezTo>
                <a:cubicBezTo>
                  <a:pt x="3962" y="754"/>
                  <a:pt x="3953" y="750"/>
                  <a:pt x="3946" y="750"/>
                </a:cubicBezTo>
                <a:cubicBezTo>
                  <a:pt x="3946" y="750"/>
                  <a:pt x="3946" y="750"/>
                  <a:pt x="3946" y="750"/>
                </a:cubicBezTo>
                <a:moveTo>
                  <a:pt x="3478" y="750"/>
                </a:moveTo>
                <a:cubicBezTo>
                  <a:pt x="3470" y="750"/>
                  <a:pt x="3466" y="754"/>
                  <a:pt x="3467" y="760"/>
                </a:cubicBezTo>
                <a:cubicBezTo>
                  <a:pt x="3469" y="766"/>
                  <a:pt x="3477" y="770"/>
                  <a:pt x="3485" y="770"/>
                </a:cubicBezTo>
                <a:cubicBezTo>
                  <a:pt x="3492" y="770"/>
                  <a:pt x="3497" y="766"/>
                  <a:pt x="3495" y="760"/>
                </a:cubicBezTo>
                <a:cubicBezTo>
                  <a:pt x="3493" y="754"/>
                  <a:pt x="3485" y="750"/>
                  <a:pt x="3478" y="750"/>
                </a:cubicBezTo>
                <a:cubicBezTo>
                  <a:pt x="3478" y="750"/>
                  <a:pt x="3478" y="750"/>
                  <a:pt x="3478" y="750"/>
                </a:cubicBezTo>
                <a:moveTo>
                  <a:pt x="3985" y="750"/>
                </a:moveTo>
                <a:cubicBezTo>
                  <a:pt x="3977" y="750"/>
                  <a:pt x="3974" y="754"/>
                  <a:pt x="3977" y="760"/>
                </a:cubicBezTo>
                <a:cubicBezTo>
                  <a:pt x="3980" y="766"/>
                  <a:pt x="3988" y="770"/>
                  <a:pt x="3996" y="770"/>
                </a:cubicBezTo>
                <a:cubicBezTo>
                  <a:pt x="4003" y="770"/>
                  <a:pt x="4007" y="766"/>
                  <a:pt x="4004" y="760"/>
                </a:cubicBezTo>
                <a:cubicBezTo>
                  <a:pt x="4001" y="754"/>
                  <a:pt x="3993" y="750"/>
                  <a:pt x="3985" y="750"/>
                </a:cubicBezTo>
                <a:cubicBezTo>
                  <a:pt x="3985" y="750"/>
                  <a:pt x="3985" y="750"/>
                  <a:pt x="3985" y="750"/>
                </a:cubicBezTo>
                <a:moveTo>
                  <a:pt x="3516" y="750"/>
                </a:moveTo>
                <a:cubicBezTo>
                  <a:pt x="3509" y="750"/>
                  <a:pt x="3504" y="754"/>
                  <a:pt x="3506" y="760"/>
                </a:cubicBezTo>
                <a:cubicBezTo>
                  <a:pt x="3508" y="766"/>
                  <a:pt x="3516" y="770"/>
                  <a:pt x="3523" y="770"/>
                </a:cubicBezTo>
                <a:cubicBezTo>
                  <a:pt x="3531" y="770"/>
                  <a:pt x="3535" y="765"/>
                  <a:pt x="3533" y="760"/>
                </a:cubicBezTo>
                <a:cubicBezTo>
                  <a:pt x="3531" y="754"/>
                  <a:pt x="3524" y="750"/>
                  <a:pt x="3516" y="750"/>
                </a:cubicBezTo>
                <a:cubicBezTo>
                  <a:pt x="3516" y="750"/>
                  <a:pt x="3516" y="750"/>
                  <a:pt x="3516" y="750"/>
                </a:cubicBezTo>
                <a:moveTo>
                  <a:pt x="4024" y="749"/>
                </a:moveTo>
                <a:cubicBezTo>
                  <a:pt x="4016" y="750"/>
                  <a:pt x="4012" y="754"/>
                  <a:pt x="4015" y="760"/>
                </a:cubicBezTo>
                <a:cubicBezTo>
                  <a:pt x="4018" y="766"/>
                  <a:pt x="4027" y="770"/>
                  <a:pt x="4034" y="770"/>
                </a:cubicBezTo>
                <a:cubicBezTo>
                  <a:pt x="4042" y="770"/>
                  <a:pt x="4046" y="765"/>
                  <a:pt x="4043" y="760"/>
                </a:cubicBezTo>
                <a:cubicBezTo>
                  <a:pt x="4040" y="754"/>
                  <a:pt x="4031" y="749"/>
                  <a:pt x="4024" y="749"/>
                </a:cubicBezTo>
                <a:cubicBezTo>
                  <a:pt x="4024" y="749"/>
                  <a:pt x="4024" y="749"/>
                  <a:pt x="4024" y="749"/>
                </a:cubicBezTo>
                <a:moveTo>
                  <a:pt x="3555" y="749"/>
                </a:moveTo>
                <a:cubicBezTo>
                  <a:pt x="3547" y="749"/>
                  <a:pt x="3543" y="754"/>
                  <a:pt x="3545" y="760"/>
                </a:cubicBezTo>
                <a:cubicBezTo>
                  <a:pt x="3547" y="765"/>
                  <a:pt x="3555" y="770"/>
                  <a:pt x="3563" y="770"/>
                </a:cubicBezTo>
                <a:cubicBezTo>
                  <a:pt x="3570" y="770"/>
                  <a:pt x="3574" y="765"/>
                  <a:pt x="3572" y="760"/>
                </a:cubicBezTo>
                <a:cubicBezTo>
                  <a:pt x="3570" y="754"/>
                  <a:pt x="3562" y="749"/>
                  <a:pt x="3555" y="749"/>
                </a:cubicBezTo>
                <a:cubicBezTo>
                  <a:pt x="3555" y="749"/>
                  <a:pt x="3555" y="749"/>
                  <a:pt x="3555" y="749"/>
                </a:cubicBezTo>
                <a:moveTo>
                  <a:pt x="4061" y="749"/>
                </a:moveTo>
                <a:cubicBezTo>
                  <a:pt x="4054" y="749"/>
                  <a:pt x="4050" y="754"/>
                  <a:pt x="4053" y="760"/>
                </a:cubicBezTo>
                <a:cubicBezTo>
                  <a:pt x="4056" y="765"/>
                  <a:pt x="4065" y="770"/>
                  <a:pt x="4072" y="770"/>
                </a:cubicBezTo>
                <a:cubicBezTo>
                  <a:pt x="4080" y="770"/>
                  <a:pt x="4083" y="765"/>
                  <a:pt x="4080" y="760"/>
                </a:cubicBezTo>
                <a:cubicBezTo>
                  <a:pt x="4077" y="754"/>
                  <a:pt x="4069" y="749"/>
                  <a:pt x="4061" y="749"/>
                </a:cubicBezTo>
                <a:cubicBezTo>
                  <a:pt x="4061" y="749"/>
                  <a:pt x="4061" y="749"/>
                  <a:pt x="4061" y="749"/>
                </a:cubicBezTo>
                <a:moveTo>
                  <a:pt x="3593" y="749"/>
                </a:moveTo>
                <a:cubicBezTo>
                  <a:pt x="3586" y="749"/>
                  <a:pt x="3582" y="754"/>
                  <a:pt x="3584" y="760"/>
                </a:cubicBezTo>
                <a:cubicBezTo>
                  <a:pt x="3586" y="765"/>
                  <a:pt x="3594" y="770"/>
                  <a:pt x="3601" y="770"/>
                </a:cubicBezTo>
                <a:cubicBezTo>
                  <a:pt x="3609" y="770"/>
                  <a:pt x="3613" y="765"/>
                  <a:pt x="3611" y="759"/>
                </a:cubicBezTo>
                <a:cubicBezTo>
                  <a:pt x="3609" y="754"/>
                  <a:pt x="3601" y="749"/>
                  <a:pt x="3594" y="749"/>
                </a:cubicBezTo>
                <a:cubicBezTo>
                  <a:pt x="3594" y="749"/>
                  <a:pt x="3594" y="749"/>
                  <a:pt x="3593" y="749"/>
                </a:cubicBezTo>
                <a:moveTo>
                  <a:pt x="3632" y="749"/>
                </a:moveTo>
                <a:cubicBezTo>
                  <a:pt x="3625" y="749"/>
                  <a:pt x="3621" y="754"/>
                  <a:pt x="3623" y="759"/>
                </a:cubicBezTo>
                <a:cubicBezTo>
                  <a:pt x="3625" y="765"/>
                  <a:pt x="3633" y="770"/>
                  <a:pt x="3640" y="770"/>
                </a:cubicBezTo>
                <a:cubicBezTo>
                  <a:pt x="3648" y="770"/>
                  <a:pt x="3652" y="765"/>
                  <a:pt x="3650" y="759"/>
                </a:cubicBezTo>
                <a:cubicBezTo>
                  <a:pt x="3648" y="754"/>
                  <a:pt x="3640" y="749"/>
                  <a:pt x="3632" y="749"/>
                </a:cubicBezTo>
                <a:cubicBezTo>
                  <a:pt x="3632" y="749"/>
                  <a:pt x="3632" y="749"/>
                  <a:pt x="3632" y="749"/>
                </a:cubicBezTo>
                <a:moveTo>
                  <a:pt x="3672" y="749"/>
                </a:moveTo>
                <a:cubicBezTo>
                  <a:pt x="3664" y="749"/>
                  <a:pt x="3660" y="754"/>
                  <a:pt x="3662" y="759"/>
                </a:cubicBezTo>
                <a:cubicBezTo>
                  <a:pt x="3664" y="765"/>
                  <a:pt x="3672" y="769"/>
                  <a:pt x="3680" y="769"/>
                </a:cubicBezTo>
                <a:cubicBezTo>
                  <a:pt x="3688" y="769"/>
                  <a:pt x="3692" y="765"/>
                  <a:pt x="3689" y="759"/>
                </a:cubicBezTo>
                <a:cubicBezTo>
                  <a:pt x="3687" y="753"/>
                  <a:pt x="3679" y="749"/>
                  <a:pt x="3672" y="749"/>
                </a:cubicBezTo>
                <a:cubicBezTo>
                  <a:pt x="3672" y="749"/>
                  <a:pt x="3672" y="749"/>
                  <a:pt x="3672" y="749"/>
                </a:cubicBezTo>
                <a:moveTo>
                  <a:pt x="232" y="739"/>
                </a:moveTo>
                <a:cubicBezTo>
                  <a:pt x="224" y="739"/>
                  <a:pt x="215" y="744"/>
                  <a:pt x="210" y="749"/>
                </a:cubicBezTo>
                <a:cubicBezTo>
                  <a:pt x="206" y="755"/>
                  <a:pt x="208" y="760"/>
                  <a:pt x="216" y="760"/>
                </a:cubicBezTo>
                <a:cubicBezTo>
                  <a:pt x="223" y="760"/>
                  <a:pt x="233" y="755"/>
                  <a:pt x="237" y="749"/>
                </a:cubicBezTo>
                <a:cubicBezTo>
                  <a:pt x="242" y="744"/>
                  <a:pt x="239" y="739"/>
                  <a:pt x="232" y="739"/>
                </a:cubicBezTo>
                <a:cubicBezTo>
                  <a:pt x="232" y="739"/>
                  <a:pt x="232" y="739"/>
                  <a:pt x="232" y="739"/>
                </a:cubicBezTo>
                <a:moveTo>
                  <a:pt x="37" y="739"/>
                </a:moveTo>
                <a:cubicBezTo>
                  <a:pt x="29" y="739"/>
                  <a:pt x="19" y="744"/>
                  <a:pt x="14" y="749"/>
                </a:cubicBezTo>
                <a:cubicBezTo>
                  <a:pt x="10" y="755"/>
                  <a:pt x="12" y="760"/>
                  <a:pt x="19" y="759"/>
                </a:cubicBezTo>
                <a:cubicBezTo>
                  <a:pt x="27" y="759"/>
                  <a:pt x="37" y="755"/>
                  <a:pt x="41" y="749"/>
                </a:cubicBezTo>
                <a:cubicBezTo>
                  <a:pt x="46" y="744"/>
                  <a:pt x="44" y="739"/>
                  <a:pt x="37" y="739"/>
                </a:cubicBezTo>
                <a:cubicBezTo>
                  <a:pt x="37" y="739"/>
                  <a:pt x="37" y="739"/>
                  <a:pt x="37" y="739"/>
                </a:cubicBezTo>
                <a:moveTo>
                  <a:pt x="115" y="739"/>
                </a:moveTo>
                <a:cubicBezTo>
                  <a:pt x="108" y="739"/>
                  <a:pt x="98" y="743"/>
                  <a:pt x="93" y="749"/>
                </a:cubicBezTo>
                <a:cubicBezTo>
                  <a:pt x="89" y="755"/>
                  <a:pt x="91" y="759"/>
                  <a:pt x="98" y="759"/>
                </a:cubicBezTo>
                <a:cubicBezTo>
                  <a:pt x="106" y="759"/>
                  <a:pt x="116" y="754"/>
                  <a:pt x="120" y="749"/>
                </a:cubicBezTo>
                <a:cubicBezTo>
                  <a:pt x="125" y="743"/>
                  <a:pt x="123" y="739"/>
                  <a:pt x="115" y="739"/>
                </a:cubicBezTo>
                <a:cubicBezTo>
                  <a:pt x="115" y="739"/>
                  <a:pt x="115" y="739"/>
                  <a:pt x="115" y="739"/>
                </a:cubicBezTo>
                <a:moveTo>
                  <a:pt x="311" y="738"/>
                </a:moveTo>
                <a:cubicBezTo>
                  <a:pt x="303" y="738"/>
                  <a:pt x="294" y="742"/>
                  <a:pt x="290" y="748"/>
                </a:cubicBezTo>
                <a:cubicBezTo>
                  <a:pt x="285" y="754"/>
                  <a:pt x="288" y="758"/>
                  <a:pt x="296" y="758"/>
                </a:cubicBezTo>
                <a:cubicBezTo>
                  <a:pt x="303" y="758"/>
                  <a:pt x="313" y="754"/>
                  <a:pt x="317" y="748"/>
                </a:cubicBezTo>
                <a:cubicBezTo>
                  <a:pt x="321" y="742"/>
                  <a:pt x="318" y="738"/>
                  <a:pt x="311" y="738"/>
                </a:cubicBezTo>
                <a:cubicBezTo>
                  <a:pt x="311" y="738"/>
                  <a:pt x="311" y="738"/>
                  <a:pt x="311" y="738"/>
                </a:cubicBezTo>
                <a:moveTo>
                  <a:pt x="273" y="737"/>
                </a:moveTo>
                <a:cubicBezTo>
                  <a:pt x="265" y="737"/>
                  <a:pt x="256" y="742"/>
                  <a:pt x="252" y="748"/>
                </a:cubicBezTo>
                <a:cubicBezTo>
                  <a:pt x="247" y="753"/>
                  <a:pt x="250" y="758"/>
                  <a:pt x="257" y="758"/>
                </a:cubicBezTo>
                <a:cubicBezTo>
                  <a:pt x="265" y="758"/>
                  <a:pt x="274" y="753"/>
                  <a:pt x="279" y="748"/>
                </a:cubicBezTo>
                <a:cubicBezTo>
                  <a:pt x="283" y="742"/>
                  <a:pt x="280" y="737"/>
                  <a:pt x="273" y="737"/>
                </a:cubicBezTo>
                <a:cubicBezTo>
                  <a:pt x="273" y="737"/>
                  <a:pt x="273" y="737"/>
                  <a:pt x="273" y="737"/>
                </a:cubicBezTo>
                <a:moveTo>
                  <a:pt x="582" y="736"/>
                </a:moveTo>
                <a:cubicBezTo>
                  <a:pt x="574" y="737"/>
                  <a:pt x="565" y="741"/>
                  <a:pt x="561" y="747"/>
                </a:cubicBezTo>
                <a:cubicBezTo>
                  <a:pt x="558" y="752"/>
                  <a:pt x="561" y="757"/>
                  <a:pt x="568" y="757"/>
                </a:cubicBezTo>
                <a:cubicBezTo>
                  <a:pt x="576" y="757"/>
                  <a:pt x="585" y="752"/>
                  <a:pt x="589" y="747"/>
                </a:cubicBezTo>
                <a:cubicBezTo>
                  <a:pt x="592" y="741"/>
                  <a:pt x="589" y="736"/>
                  <a:pt x="582" y="736"/>
                </a:cubicBezTo>
                <a:cubicBezTo>
                  <a:pt x="582" y="736"/>
                  <a:pt x="582" y="736"/>
                  <a:pt x="582" y="736"/>
                </a:cubicBezTo>
                <a:moveTo>
                  <a:pt x="157" y="736"/>
                </a:moveTo>
                <a:cubicBezTo>
                  <a:pt x="150" y="736"/>
                  <a:pt x="140" y="741"/>
                  <a:pt x="136" y="746"/>
                </a:cubicBezTo>
                <a:cubicBezTo>
                  <a:pt x="131" y="752"/>
                  <a:pt x="134" y="756"/>
                  <a:pt x="141" y="756"/>
                </a:cubicBezTo>
                <a:cubicBezTo>
                  <a:pt x="149" y="756"/>
                  <a:pt x="158" y="752"/>
                  <a:pt x="163" y="746"/>
                </a:cubicBezTo>
                <a:cubicBezTo>
                  <a:pt x="167" y="741"/>
                  <a:pt x="165" y="736"/>
                  <a:pt x="158" y="736"/>
                </a:cubicBezTo>
                <a:cubicBezTo>
                  <a:pt x="158" y="736"/>
                  <a:pt x="158" y="736"/>
                  <a:pt x="157" y="736"/>
                </a:cubicBezTo>
                <a:moveTo>
                  <a:pt x="196" y="736"/>
                </a:moveTo>
                <a:cubicBezTo>
                  <a:pt x="188" y="736"/>
                  <a:pt x="179" y="741"/>
                  <a:pt x="174" y="746"/>
                </a:cubicBezTo>
                <a:cubicBezTo>
                  <a:pt x="170" y="752"/>
                  <a:pt x="172" y="756"/>
                  <a:pt x="180" y="756"/>
                </a:cubicBezTo>
                <a:cubicBezTo>
                  <a:pt x="187" y="756"/>
                  <a:pt x="197" y="752"/>
                  <a:pt x="201" y="746"/>
                </a:cubicBezTo>
                <a:cubicBezTo>
                  <a:pt x="206" y="741"/>
                  <a:pt x="203" y="736"/>
                  <a:pt x="196" y="736"/>
                </a:cubicBezTo>
                <a:cubicBezTo>
                  <a:pt x="196" y="736"/>
                  <a:pt x="196" y="736"/>
                  <a:pt x="196" y="736"/>
                </a:cubicBezTo>
                <a:moveTo>
                  <a:pt x="1775" y="729"/>
                </a:moveTo>
                <a:cubicBezTo>
                  <a:pt x="1768" y="729"/>
                  <a:pt x="1760" y="733"/>
                  <a:pt x="1759" y="739"/>
                </a:cubicBezTo>
                <a:cubicBezTo>
                  <a:pt x="1758" y="744"/>
                  <a:pt x="1763" y="749"/>
                  <a:pt x="1770" y="749"/>
                </a:cubicBezTo>
                <a:cubicBezTo>
                  <a:pt x="1778" y="749"/>
                  <a:pt x="1785" y="744"/>
                  <a:pt x="1786" y="739"/>
                </a:cubicBezTo>
                <a:cubicBezTo>
                  <a:pt x="1787" y="733"/>
                  <a:pt x="1783" y="729"/>
                  <a:pt x="1775" y="729"/>
                </a:cubicBezTo>
                <a:cubicBezTo>
                  <a:pt x="1775" y="729"/>
                  <a:pt x="1775" y="729"/>
                  <a:pt x="1775" y="729"/>
                </a:cubicBezTo>
                <a:moveTo>
                  <a:pt x="1813" y="728"/>
                </a:moveTo>
                <a:cubicBezTo>
                  <a:pt x="1806" y="728"/>
                  <a:pt x="1799" y="733"/>
                  <a:pt x="1797" y="739"/>
                </a:cubicBezTo>
                <a:cubicBezTo>
                  <a:pt x="1796" y="744"/>
                  <a:pt x="1801" y="749"/>
                  <a:pt x="1809" y="749"/>
                </a:cubicBezTo>
                <a:cubicBezTo>
                  <a:pt x="1816" y="749"/>
                  <a:pt x="1823" y="744"/>
                  <a:pt x="1824" y="739"/>
                </a:cubicBezTo>
                <a:cubicBezTo>
                  <a:pt x="1826" y="733"/>
                  <a:pt x="1821" y="728"/>
                  <a:pt x="1813" y="728"/>
                </a:cubicBezTo>
                <a:cubicBezTo>
                  <a:pt x="1813" y="728"/>
                  <a:pt x="1813" y="728"/>
                  <a:pt x="1813" y="728"/>
                </a:cubicBezTo>
                <a:moveTo>
                  <a:pt x="1852" y="728"/>
                </a:moveTo>
                <a:cubicBezTo>
                  <a:pt x="1844" y="728"/>
                  <a:pt x="1837" y="733"/>
                  <a:pt x="1836" y="738"/>
                </a:cubicBezTo>
                <a:cubicBezTo>
                  <a:pt x="1835" y="744"/>
                  <a:pt x="1840" y="749"/>
                  <a:pt x="1847" y="749"/>
                </a:cubicBezTo>
                <a:cubicBezTo>
                  <a:pt x="1855" y="749"/>
                  <a:pt x="1862" y="744"/>
                  <a:pt x="1863" y="738"/>
                </a:cubicBezTo>
                <a:cubicBezTo>
                  <a:pt x="1864" y="733"/>
                  <a:pt x="1859" y="728"/>
                  <a:pt x="1852" y="728"/>
                </a:cubicBezTo>
                <a:cubicBezTo>
                  <a:pt x="1852" y="728"/>
                  <a:pt x="1852" y="728"/>
                  <a:pt x="1852" y="728"/>
                </a:cubicBezTo>
                <a:moveTo>
                  <a:pt x="1891" y="728"/>
                </a:moveTo>
                <a:cubicBezTo>
                  <a:pt x="1883" y="728"/>
                  <a:pt x="1876" y="733"/>
                  <a:pt x="1875" y="738"/>
                </a:cubicBezTo>
                <a:cubicBezTo>
                  <a:pt x="1874" y="744"/>
                  <a:pt x="1879" y="748"/>
                  <a:pt x="1887" y="748"/>
                </a:cubicBezTo>
                <a:cubicBezTo>
                  <a:pt x="1894" y="748"/>
                  <a:pt x="1901" y="744"/>
                  <a:pt x="1902" y="738"/>
                </a:cubicBezTo>
                <a:cubicBezTo>
                  <a:pt x="1903" y="733"/>
                  <a:pt x="1898" y="728"/>
                  <a:pt x="1891" y="728"/>
                </a:cubicBezTo>
                <a:cubicBezTo>
                  <a:pt x="1891" y="728"/>
                  <a:pt x="1891" y="728"/>
                  <a:pt x="1891" y="728"/>
                </a:cubicBezTo>
                <a:moveTo>
                  <a:pt x="1929" y="728"/>
                </a:moveTo>
                <a:cubicBezTo>
                  <a:pt x="1922" y="728"/>
                  <a:pt x="1915" y="732"/>
                  <a:pt x="1914" y="738"/>
                </a:cubicBezTo>
                <a:cubicBezTo>
                  <a:pt x="1912" y="744"/>
                  <a:pt x="1918" y="748"/>
                  <a:pt x="1925" y="748"/>
                </a:cubicBezTo>
                <a:cubicBezTo>
                  <a:pt x="1933" y="748"/>
                  <a:pt x="1940" y="744"/>
                  <a:pt x="1941" y="738"/>
                </a:cubicBezTo>
                <a:cubicBezTo>
                  <a:pt x="1942" y="732"/>
                  <a:pt x="1937" y="728"/>
                  <a:pt x="1929" y="728"/>
                </a:cubicBezTo>
                <a:cubicBezTo>
                  <a:pt x="1929" y="728"/>
                  <a:pt x="1929" y="728"/>
                  <a:pt x="1929" y="728"/>
                </a:cubicBezTo>
                <a:moveTo>
                  <a:pt x="1968" y="728"/>
                </a:moveTo>
                <a:cubicBezTo>
                  <a:pt x="1960" y="728"/>
                  <a:pt x="1953" y="732"/>
                  <a:pt x="1952" y="738"/>
                </a:cubicBezTo>
                <a:cubicBezTo>
                  <a:pt x="1951" y="744"/>
                  <a:pt x="1956" y="748"/>
                  <a:pt x="1964" y="748"/>
                </a:cubicBezTo>
                <a:cubicBezTo>
                  <a:pt x="1971" y="748"/>
                  <a:pt x="1978" y="743"/>
                  <a:pt x="1979" y="738"/>
                </a:cubicBezTo>
                <a:cubicBezTo>
                  <a:pt x="1980" y="732"/>
                  <a:pt x="1975" y="728"/>
                  <a:pt x="1968" y="728"/>
                </a:cubicBezTo>
                <a:cubicBezTo>
                  <a:pt x="1968" y="728"/>
                  <a:pt x="1968" y="728"/>
                  <a:pt x="1968" y="728"/>
                </a:cubicBezTo>
                <a:moveTo>
                  <a:pt x="2006" y="727"/>
                </a:moveTo>
                <a:cubicBezTo>
                  <a:pt x="1998" y="727"/>
                  <a:pt x="1992" y="732"/>
                  <a:pt x="1991" y="738"/>
                </a:cubicBezTo>
                <a:cubicBezTo>
                  <a:pt x="1990" y="743"/>
                  <a:pt x="1995" y="748"/>
                  <a:pt x="2002" y="748"/>
                </a:cubicBezTo>
                <a:cubicBezTo>
                  <a:pt x="2010" y="748"/>
                  <a:pt x="2017" y="743"/>
                  <a:pt x="2018" y="738"/>
                </a:cubicBezTo>
                <a:cubicBezTo>
                  <a:pt x="2019" y="732"/>
                  <a:pt x="2013" y="727"/>
                  <a:pt x="2006" y="727"/>
                </a:cubicBezTo>
                <a:cubicBezTo>
                  <a:pt x="2006" y="727"/>
                  <a:pt x="2006" y="727"/>
                  <a:pt x="2006" y="727"/>
                </a:cubicBezTo>
                <a:moveTo>
                  <a:pt x="2044" y="727"/>
                </a:moveTo>
                <a:cubicBezTo>
                  <a:pt x="2037" y="727"/>
                  <a:pt x="2030" y="732"/>
                  <a:pt x="2029" y="737"/>
                </a:cubicBezTo>
                <a:cubicBezTo>
                  <a:pt x="2028" y="743"/>
                  <a:pt x="2034" y="748"/>
                  <a:pt x="2041" y="748"/>
                </a:cubicBezTo>
                <a:cubicBezTo>
                  <a:pt x="2049" y="748"/>
                  <a:pt x="2056" y="743"/>
                  <a:pt x="2056" y="737"/>
                </a:cubicBezTo>
                <a:cubicBezTo>
                  <a:pt x="2057" y="732"/>
                  <a:pt x="2052" y="727"/>
                  <a:pt x="2045" y="727"/>
                </a:cubicBezTo>
                <a:cubicBezTo>
                  <a:pt x="2044" y="727"/>
                  <a:pt x="2044" y="727"/>
                  <a:pt x="2044" y="727"/>
                </a:cubicBezTo>
                <a:moveTo>
                  <a:pt x="2084" y="727"/>
                </a:moveTo>
                <a:cubicBezTo>
                  <a:pt x="2077" y="727"/>
                  <a:pt x="2070" y="732"/>
                  <a:pt x="2069" y="737"/>
                </a:cubicBezTo>
                <a:cubicBezTo>
                  <a:pt x="2068" y="743"/>
                  <a:pt x="2074" y="747"/>
                  <a:pt x="2081" y="747"/>
                </a:cubicBezTo>
                <a:cubicBezTo>
                  <a:pt x="2089" y="747"/>
                  <a:pt x="2095" y="743"/>
                  <a:pt x="2096" y="737"/>
                </a:cubicBezTo>
                <a:cubicBezTo>
                  <a:pt x="2097" y="732"/>
                  <a:pt x="2092" y="727"/>
                  <a:pt x="2084" y="727"/>
                </a:cubicBezTo>
                <a:cubicBezTo>
                  <a:pt x="2084" y="727"/>
                  <a:pt x="2084" y="727"/>
                  <a:pt x="2084" y="727"/>
                </a:cubicBezTo>
                <a:moveTo>
                  <a:pt x="2122" y="727"/>
                </a:moveTo>
                <a:cubicBezTo>
                  <a:pt x="2115" y="727"/>
                  <a:pt x="2108" y="731"/>
                  <a:pt x="2108" y="737"/>
                </a:cubicBezTo>
                <a:cubicBezTo>
                  <a:pt x="2107" y="743"/>
                  <a:pt x="2112" y="747"/>
                  <a:pt x="2120" y="747"/>
                </a:cubicBezTo>
                <a:cubicBezTo>
                  <a:pt x="2127" y="747"/>
                  <a:pt x="2134" y="743"/>
                  <a:pt x="2135" y="737"/>
                </a:cubicBezTo>
                <a:cubicBezTo>
                  <a:pt x="2135" y="731"/>
                  <a:pt x="2130" y="727"/>
                  <a:pt x="2122" y="727"/>
                </a:cubicBezTo>
                <a:cubicBezTo>
                  <a:pt x="2122" y="727"/>
                  <a:pt x="2122" y="727"/>
                  <a:pt x="2122" y="727"/>
                </a:cubicBezTo>
                <a:moveTo>
                  <a:pt x="2161" y="727"/>
                </a:moveTo>
                <a:cubicBezTo>
                  <a:pt x="2154" y="727"/>
                  <a:pt x="2147" y="731"/>
                  <a:pt x="2146" y="737"/>
                </a:cubicBezTo>
                <a:cubicBezTo>
                  <a:pt x="2146" y="743"/>
                  <a:pt x="2151" y="747"/>
                  <a:pt x="2159" y="747"/>
                </a:cubicBezTo>
                <a:cubicBezTo>
                  <a:pt x="2166" y="747"/>
                  <a:pt x="2173" y="742"/>
                  <a:pt x="2173" y="737"/>
                </a:cubicBezTo>
                <a:cubicBezTo>
                  <a:pt x="2174" y="731"/>
                  <a:pt x="2168" y="727"/>
                  <a:pt x="2161" y="727"/>
                </a:cubicBezTo>
                <a:cubicBezTo>
                  <a:pt x="2161" y="727"/>
                  <a:pt x="2161" y="727"/>
                  <a:pt x="2161" y="727"/>
                </a:cubicBezTo>
                <a:moveTo>
                  <a:pt x="2200" y="726"/>
                </a:moveTo>
                <a:cubicBezTo>
                  <a:pt x="2192" y="726"/>
                  <a:pt x="2186" y="731"/>
                  <a:pt x="2185" y="737"/>
                </a:cubicBezTo>
                <a:cubicBezTo>
                  <a:pt x="2185" y="742"/>
                  <a:pt x="2190" y="747"/>
                  <a:pt x="2198" y="747"/>
                </a:cubicBezTo>
                <a:cubicBezTo>
                  <a:pt x="2205" y="747"/>
                  <a:pt x="2212" y="742"/>
                  <a:pt x="2212" y="737"/>
                </a:cubicBezTo>
                <a:cubicBezTo>
                  <a:pt x="2213" y="731"/>
                  <a:pt x="2207" y="726"/>
                  <a:pt x="2200" y="726"/>
                </a:cubicBezTo>
                <a:cubicBezTo>
                  <a:pt x="2200" y="726"/>
                  <a:pt x="2200" y="726"/>
                  <a:pt x="2200" y="726"/>
                </a:cubicBezTo>
                <a:moveTo>
                  <a:pt x="2238" y="726"/>
                </a:moveTo>
                <a:cubicBezTo>
                  <a:pt x="2231" y="726"/>
                  <a:pt x="2224" y="731"/>
                  <a:pt x="2224" y="736"/>
                </a:cubicBezTo>
                <a:cubicBezTo>
                  <a:pt x="2223" y="742"/>
                  <a:pt x="2229" y="747"/>
                  <a:pt x="2236" y="747"/>
                </a:cubicBezTo>
                <a:cubicBezTo>
                  <a:pt x="2244" y="747"/>
                  <a:pt x="2250" y="742"/>
                  <a:pt x="2251" y="736"/>
                </a:cubicBezTo>
                <a:cubicBezTo>
                  <a:pt x="2251" y="731"/>
                  <a:pt x="2246" y="726"/>
                  <a:pt x="2238" y="726"/>
                </a:cubicBezTo>
                <a:cubicBezTo>
                  <a:pt x="2238" y="726"/>
                  <a:pt x="2238" y="726"/>
                  <a:pt x="2238" y="726"/>
                </a:cubicBezTo>
                <a:moveTo>
                  <a:pt x="2277" y="726"/>
                </a:moveTo>
                <a:cubicBezTo>
                  <a:pt x="2269" y="726"/>
                  <a:pt x="2263" y="731"/>
                  <a:pt x="2262" y="736"/>
                </a:cubicBezTo>
                <a:cubicBezTo>
                  <a:pt x="2262" y="742"/>
                  <a:pt x="2268" y="746"/>
                  <a:pt x="2275" y="746"/>
                </a:cubicBezTo>
                <a:cubicBezTo>
                  <a:pt x="2283" y="746"/>
                  <a:pt x="2289" y="742"/>
                  <a:pt x="2289" y="736"/>
                </a:cubicBezTo>
                <a:cubicBezTo>
                  <a:pt x="2290" y="731"/>
                  <a:pt x="2284" y="726"/>
                  <a:pt x="2277" y="726"/>
                </a:cubicBezTo>
                <a:cubicBezTo>
                  <a:pt x="2277" y="726"/>
                  <a:pt x="2277" y="726"/>
                  <a:pt x="2277" y="726"/>
                </a:cubicBezTo>
                <a:moveTo>
                  <a:pt x="2315" y="726"/>
                </a:moveTo>
                <a:cubicBezTo>
                  <a:pt x="2307" y="726"/>
                  <a:pt x="2301" y="730"/>
                  <a:pt x="2301" y="736"/>
                </a:cubicBezTo>
                <a:cubicBezTo>
                  <a:pt x="2300" y="742"/>
                  <a:pt x="2306" y="746"/>
                  <a:pt x="2314" y="746"/>
                </a:cubicBezTo>
                <a:cubicBezTo>
                  <a:pt x="2321" y="746"/>
                  <a:pt x="2327" y="742"/>
                  <a:pt x="2328" y="736"/>
                </a:cubicBezTo>
                <a:cubicBezTo>
                  <a:pt x="2328" y="730"/>
                  <a:pt x="2322" y="726"/>
                  <a:pt x="2315" y="726"/>
                </a:cubicBezTo>
                <a:cubicBezTo>
                  <a:pt x="2315" y="726"/>
                  <a:pt x="2315" y="726"/>
                  <a:pt x="2315" y="726"/>
                </a:cubicBezTo>
                <a:moveTo>
                  <a:pt x="2815" y="726"/>
                </a:moveTo>
                <a:cubicBezTo>
                  <a:pt x="2808" y="726"/>
                  <a:pt x="2803" y="730"/>
                  <a:pt x="2803" y="736"/>
                </a:cubicBezTo>
                <a:cubicBezTo>
                  <a:pt x="2804" y="742"/>
                  <a:pt x="2810" y="746"/>
                  <a:pt x="2818" y="746"/>
                </a:cubicBezTo>
                <a:cubicBezTo>
                  <a:pt x="2825" y="746"/>
                  <a:pt x="2831" y="741"/>
                  <a:pt x="2830" y="736"/>
                </a:cubicBezTo>
                <a:cubicBezTo>
                  <a:pt x="2829" y="730"/>
                  <a:pt x="2823" y="726"/>
                  <a:pt x="2816" y="726"/>
                </a:cubicBezTo>
                <a:cubicBezTo>
                  <a:pt x="2816" y="726"/>
                  <a:pt x="2816" y="726"/>
                  <a:pt x="2815" y="726"/>
                </a:cubicBezTo>
                <a:moveTo>
                  <a:pt x="2353" y="726"/>
                </a:moveTo>
                <a:cubicBezTo>
                  <a:pt x="2346" y="726"/>
                  <a:pt x="2340" y="730"/>
                  <a:pt x="2339" y="736"/>
                </a:cubicBezTo>
                <a:cubicBezTo>
                  <a:pt x="2339" y="742"/>
                  <a:pt x="2345" y="746"/>
                  <a:pt x="2352" y="746"/>
                </a:cubicBezTo>
                <a:cubicBezTo>
                  <a:pt x="2360" y="746"/>
                  <a:pt x="2366" y="741"/>
                  <a:pt x="2366" y="736"/>
                </a:cubicBezTo>
                <a:cubicBezTo>
                  <a:pt x="2367" y="730"/>
                  <a:pt x="2361" y="726"/>
                  <a:pt x="2353" y="726"/>
                </a:cubicBezTo>
                <a:cubicBezTo>
                  <a:pt x="2353" y="726"/>
                  <a:pt x="2353" y="726"/>
                  <a:pt x="2353" y="726"/>
                </a:cubicBezTo>
                <a:moveTo>
                  <a:pt x="2392" y="725"/>
                </a:moveTo>
                <a:cubicBezTo>
                  <a:pt x="2385" y="725"/>
                  <a:pt x="2379" y="730"/>
                  <a:pt x="2378" y="736"/>
                </a:cubicBezTo>
                <a:cubicBezTo>
                  <a:pt x="2378" y="741"/>
                  <a:pt x="2384" y="746"/>
                  <a:pt x="2392" y="746"/>
                </a:cubicBezTo>
                <a:cubicBezTo>
                  <a:pt x="2399" y="746"/>
                  <a:pt x="2405" y="741"/>
                  <a:pt x="2405" y="736"/>
                </a:cubicBezTo>
                <a:cubicBezTo>
                  <a:pt x="2406" y="730"/>
                  <a:pt x="2400" y="725"/>
                  <a:pt x="2392" y="725"/>
                </a:cubicBezTo>
                <a:cubicBezTo>
                  <a:pt x="2392" y="725"/>
                  <a:pt x="2392" y="725"/>
                  <a:pt x="2392" y="725"/>
                </a:cubicBezTo>
                <a:moveTo>
                  <a:pt x="2430" y="725"/>
                </a:moveTo>
                <a:cubicBezTo>
                  <a:pt x="2423" y="725"/>
                  <a:pt x="2417" y="730"/>
                  <a:pt x="2417" y="736"/>
                </a:cubicBezTo>
                <a:cubicBezTo>
                  <a:pt x="2417" y="741"/>
                  <a:pt x="2423" y="746"/>
                  <a:pt x="2430" y="746"/>
                </a:cubicBezTo>
                <a:cubicBezTo>
                  <a:pt x="2438" y="746"/>
                  <a:pt x="2444" y="741"/>
                  <a:pt x="2444" y="735"/>
                </a:cubicBezTo>
                <a:cubicBezTo>
                  <a:pt x="2444" y="730"/>
                  <a:pt x="2438" y="725"/>
                  <a:pt x="2431" y="725"/>
                </a:cubicBezTo>
                <a:cubicBezTo>
                  <a:pt x="2431" y="725"/>
                  <a:pt x="2431" y="725"/>
                  <a:pt x="2430" y="725"/>
                </a:cubicBezTo>
                <a:moveTo>
                  <a:pt x="2469" y="725"/>
                </a:moveTo>
                <a:cubicBezTo>
                  <a:pt x="2461" y="725"/>
                  <a:pt x="2455" y="730"/>
                  <a:pt x="2455" y="735"/>
                </a:cubicBezTo>
                <a:cubicBezTo>
                  <a:pt x="2455" y="741"/>
                  <a:pt x="2461" y="746"/>
                  <a:pt x="2469" y="745"/>
                </a:cubicBezTo>
                <a:cubicBezTo>
                  <a:pt x="2476" y="745"/>
                  <a:pt x="2482" y="741"/>
                  <a:pt x="2482" y="735"/>
                </a:cubicBezTo>
                <a:cubicBezTo>
                  <a:pt x="2482" y="730"/>
                  <a:pt x="2476" y="725"/>
                  <a:pt x="2469" y="725"/>
                </a:cubicBezTo>
                <a:cubicBezTo>
                  <a:pt x="2469" y="725"/>
                  <a:pt x="2469" y="725"/>
                  <a:pt x="2469" y="725"/>
                </a:cubicBezTo>
                <a:moveTo>
                  <a:pt x="2507" y="725"/>
                </a:moveTo>
                <a:cubicBezTo>
                  <a:pt x="2500" y="725"/>
                  <a:pt x="2494" y="729"/>
                  <a:pt x="2494" y="735"/>
                </a:cubicBezTo>
                <a:cubicBezTo>
                  <a:pt x="2494" y="741"/>
                  <a:pt x="2500" y="745"/>
                  <a:pt x="2507" y="745"/>
                </a:cubicBezTo>
                <a:cubicBezTo>
                  <a:pt x="2515" y="745"/>
                  <a:pt x="2521" y="741"/>
                  <a:pt x="2521" y="735"/>
                </a:cubicBezTo>
                <a:cubicBezTo>
                  <a:pt x="2521" y="729"/>
                  <a:pt x="2515" y="725"/>
                  <a:pt x="2507" y="725"/>
                </a:cubicBezTo>
                <a:cubicBezTo>
                  <a:pt x="2507" y="725"/>
                  <a:pt x="2507" y="725"/>
                  <a:pt x="2507" y="725"/>
                </a:cubicBezTo>
                <a:moveTo>
                  <a:pt x="2546" y="725"/>
                </a:moveTo>
                <a:cubicBezTo>
                  <a:pt x="2538" y="725"/>
                  <a:pt x="2532" y="729"/>
                  <a:pt x="2532" y="735"/>
                </a:cubicBezTo>
                <a:cubicBezTo>
                  <a:pt x="2533" y="741"/>
                  <a:pt x="2539" y="745"/>
                  <a:pt x="2546" y="745"/>
                </a:cubicBezTo>
                <a:cubicBezTo>
                  <a:pt x="2554" y="745"/>
                  <a:pt x="2560" y="740"/>
                  <a:pt x="2559" y="735"/>
                </a:cubicBezTo>
                <a:cubicBezTo>
                  <a:pt x="2559" y="729"/>
                  <a:pt x="2553" y="725"/>
                  <a:pt x="2546" y="725"/>
                </a:cubicBezTo>
                <a:cubicBezTo>
                  <a:pt x="2546" y="725"/>
                  <a:pt x="2546" y="725"/>
                  <a:pt x="2546" y="725"/>
                </a:cubicBezTo>
                <a:moveTo>
                  <a:pt x="2622" y="724"/>
                </a:moveTo>
                <a:cubicBezTo>
                  <a:pt x="2615" y="724"/>
                  <a:pt x="2609" y="729"/>
                  <a:pt x="2609" y="735"/>
                </a:cubicBezTo>
                <a:cubicBezTo>
                  <a:pt x="2609" y="740"/>
                  <a:pt x="2616" y="745"/>
                  <a:pt x="2623" y="745"/>
                </a:cubicBezTo>
                <a:cubicBezTo>
                  <a:pt x="2631" y="745"/>
                  <a:pt x="2636" y="740"/>
                  <a:pt x="2636" y="735"/>
                </a:cubicBezTo>
                <a:cubicBezTo>
                  <a:pt x="2636" y="729"/>
                  <a:pt x="2630" y="724"/>
                  <a:pt x="2622" y="724"/>
                </a:cubicBezTo>
                <a:cubicBezTo>
                  <a:pt x="2622" y="724"/>
                  <a:pt x="2622" y="724"/>
                  <a:pt x="2622" y="724"/>
                </a:cubicBezTo>
                <a:moveTo>
                  <a:pt x="2662" y="724"/>
                </a:moveTo>
                <a:cubicBezTo>
                  <a:pt x="2655" y="724"/>
                  <a:pt x="2649" y="729"/>
                  <a:pt x="2649" y="735"/>
                </a:cubicBezTo>
                <a:cubicBezTo>
                  <a:pt x="2650" y="740"/>
                  <a:pt x="2656" y="745"/>
                  <a:pt x="2663" y="745"/>
                </a:cubicBezTo>
                <a:cubicBezTo>
                  <a:pt x="2671" y="745"/>
                  <a:pt x="2677" y="740"/>
                  <a:pt x="2676" y="734"/>
                </a:cubicBezTo>
                <a:cubicBezTo>
                  <a:pt x="2676" y="729"/>
                  <a:pt x="2670" y="724"/>
                  <a:pt x="2662" y="724"/>
                </a:cubicBezTo>
                <a:cubicBezTo>
                  <a:pt x="2662" y="724"/>
                  <a:pt x="2662" y="724"/>
                  <a:pt x="2662" y="724"/>
                </a:cubicBezTo>
                <a:moveTo>
                  <a:pt x="2700" y="724"/>
                </a:moveTo>
                <a:cubicBezTo>
                  <a:pt x="2693" y="724"/>
                  <a:pt x="2687" y="729"/>
                  <a:pt x="2687" y="734"/>
                </a:cubicBezTo>
                <a:cubicBezTo>
                  <a:pt x="2688" y="740"/>
                  <a:pt x="2694" y="745"/>
                  <a:pt x="2702" y="745"/>
                </a:cubicBezTo>
                <a:cubicBezTo>
                  <a:pt x="2709" y="744"/>
                  <a:pt x="2715" y="740"/>
                  <a:pt x="2714" y="734"/>
                </a:cubicBezTo>
                <a:cubicBezTo>
                  <a:pt x="2714" y="729"/>
                  <a:pt x="2708" y="724"/>
                  <a:pt x="2700" y="724"/>
                </a:cubicBezTo>
                <a:cubicBezTo>
                  <a:pt x="2700" y="724"/>
                  <a:pt x="2700" y="724"/>
                  <a:pt x="2700" y="724"/>
                </a:cubicBezTo>
                <a:moveTo>
                  <a:pt x="2738" y="724"/>
                </a:moveTo>
                <a:cubicBezTo>
                  <a:pt x="2731" y="724"/>
                  <a:pt x="2725" y="729"/>
                  <a:pt x="2726" y="734"/>
                </a:cubicBezTo>
                <a:cubicBezTo>
                  <a:pt x="2726" y="740"/>
                  <a:pt x="2733" y="744"/>
                  <a:pt x="2740" y="744"/>
                </a:cubicBezTo>
                <a:cubicBezTo>
                  <a:pt x="2748" y="744"/>
                  <a:pt x="2753" y="740"/>
                  <a:pt x="2753" y="734"/>
                </a:cubicBezTo>
                <a:cubicBezTo>
                  <a:pt x="2752" y="728"/>
                  <a:pt x="2746" y="724"/>
                  <a:pt x="2738" y="724"/>
                </a:cubicBezTo>
                <a:cubicBezTo>
                  <a:pt x="2738" y="724"/>
                  <a:pt x="2738" y="724"/>
                  <a:pt x="2738" y="724"/>
                </a:cubicBezTo>
                <a:moveTo>
                  <a:pt x="2777" y="723"/>
                </a:moveTo>
                <a:cubicBezTo>
                  <a:pt x="2769" y="723"/>
                  <a:pt x="2764" y="728"/>
                  <a:pt x="2764" y="734"/>
                </a:cubicBezTo>
                <a:cubicBezTo>
                  <a:pt x="2765" y="739"/>
                  <a:pt x="2771" y="744"/>
                  <a:pt x="2779" y="744"/>
                </a:cubicBezTo>
                <a:cubicBezTo>
                  <a:pt x="2786" y="744"/>
                  <a:pt x="2792" y="739"/>
                  <a:pt x="2791" y="733"/>
                </a:cubicBezTo>
                <a:cubicBezTo>
                  <a:pt x="2791" y="728"/>
                  <a:pt x="2784" y="723"/>
                  <a:pt x="2777" y="723"/>
                </a:cubicBezTo>
                <a:cubicBezTo>
                  <a:pt x="2777" y="723"/>
                  <a:pt x="2777" y="723"/>
                  <a:pt x="2777" y="723"/>
                </a:cubicBezTo>
                <a:moveTo>
                  <a:pt x="2890" y="723"/>
                </a:moveTo>
                <a:cubicBezTo>
                  <a:pt x="2882" y="723"/>
                  <a:pt x="2877" y="728"/>
                  <a:pt x="2878" y="733"/>
                </a:cubicBezTo>
                <a:cubicBezTo>
                  <a:pt x="2878" y="739"/>
                  <a:pt x="2885" y="744"/>
                  <a:pt x="2892" y="744"/>
                </a:cubicBezTo>
                <a:cubicBezTo>
                  <a:pt x="2900" y="744"/>
                  <a:pt x="2905" y="739"/>
                  <a:pt x="2905" y="733"/>
                </a:cubicBezTo>
                <a:cubicBezTo>
                  <a:pt x="2904" y="728"/>
                  <a:pt x="2897" y="723"/>
                  <a:pt x="2890" y="723"/>
                </a:cubicBezTo>
                <a:cubicBezTo>
                  <a:pt x="2890" y="723"/>
                  <a:pt x="2890" y="723"/>
                  <a:pt x="2890" y="723"/>
                </a:cubicBezTo>
                <a:moveTo>
                  <a:pt x="2928" y="723"/>
                </a:moveTo>
                <a:cubicBezTo>
                  <a:pt x="2921" y="723"/>
                  <a:pt x="2915" y="728"/>
                  <a:pt x="2916" y="733"/>
                </a:cubicBezTo>
                <a:cubicBezTo>
                  <a:pt x="2917" y="739"/>
                  <a:pt x="2924" y="743"/>
                  <a:pt x="2931" y="743"/>
                </a:cubicBezTo>
                <a:cubicBezTo>
                  <a:pt x="2939" y="743"/>
                  <a:pt x="2944" y="739"/>
                  <a:pt x="2943" y="733"/>
                </a:cubicBezTo>
                <a:cubicBezTo>
                  <a:pt x="2942" y="727"/>
                  <a:pt x="2936" y="723"/>
                  <a:pt x="2928" y="723"/>
                </a:cubicBezTo>
                <a:cubicBezTo>
                  <a:pt x="2928" y="723"/>
                  <a:pt x="2928" y="723"/>
                  <a:pt x="2928" y="723"/>
                </a:cubicBezTo>
                <a:moveTo>
                  <a:pt x="2967" y="723"/>
                </a:moveTo>
                <a:cubicBezTo>
                  <a:pt x="2960" y="723"/>
                  <a:pt x="2954" y="727"/>
                  <a:pt x="2955" y="733"/>
                </a:cubicBezTo>
                <a:cubicBezTo>
                  <a:pt x="2956" y="739"/>
                  <a:pt x="2963" y="743"/>
                  <a:pt x="2970" y="743"/>
                </a:cubicBezTo>
                <a:cubicBezTo>
                  <a:pt x="2978" y="743"/>
                  <a:pt x="2983" y="738"/>
                  <a:pt x="2982" y="733"/>
                </a:cubicBezTo>
                <a:cubicBezTo>
                  <a:pt x="2981" y="727"/>
                  <a:pt x="2974" y="723"/>
                  <a:pt x="2967" y="723"/>
                </a:cubicBezTo>
                <a:cubicBezTo>
                  <a:pt x="2967" y="723"/>
                  <a:pt x="2967" y="723"/>
                  <a:pt x="2967" y="723"/>
                </a:cubicBezTo>
                <a:moveTo>
                  <a:pt x="3005" y="722"/>
                </a:moveTo>
                <a:cubicBezTo>
                  <a:pt x="2998" y="723"/>
                  <a:pt x="2993" y="727"/>
                  <a:pt x="2994" y="733"/>
                </a:cubicBezTo>
                <a:cubicBezTo>
                  <a:pt x="2995" y="738"/>
                  <a:pt x="3001" y="743"/>
                  <a:pt x="3009" y="743"/>
                </a:cubicBezTo>
                <a:cubicBezTo>
                  <a:pt x="3016" y="743"/>
                  <a:pt x="3022" y="738"/>
                  <a:pt x="3021" y="733"/>
                </a:cubicBezTo>
                <a:cubicBezTo>
                  <a:pt x="3019" y="727"/>
                  <a:pt x="3013" y="722"/>
                  <a:pt x="3005" y="722"/>
                </a:cubicBezTo>
                <a:cubicBezTo>
                  <a:pt x="3005" y="722"/>
                  <a:pt x="3005" y="722"/>
                  <a:pt x="3005" y="722"/>
                </a:cubicBezTo>
                <a:moveTo>
                  <a:pt x="3044" y="722"/>
                </a:moveTo>
                <a:cubicBezTo>
                  <a:pt x="3036" y="722"/>
                  <a:pt x="3031" y="727"/>
                  <a:pt x="3032" y="733"/>
                </a:cubicBezTo>
                <a:cubicBezTo>
                  <a:pt x="3033" y="738"/>
                  <a:pt x="3040" y="743"/>
                  <a:pt x="3048" y="743"/>
                </a:cubicBezTo>
                <a:cubicBezTo>
                  <a:pt x="3055" y="743"/>
                  <a:pt x="3060" y="738"/>
                  <a:pt x="3059" y="732"/>
                </a:cubicBezTo>
                <a:cubicBezTo>
                  <a:pt x="3058" y="727"/>
                  <a:pt x="3051" y="722"/>
                  <a:pt x="3044" y="722"/>
                </a:cubicBezTo>
                <a:cubicBezTo>
                  <a:pt x="3044" y="722"/>
                  <a:pt x="3044" y="722"/>
                  <a:pt x="3044" y="722"/>
                </a:cubicBezTo>
                <a:moveTo>
                  <a:pt x="3160" y="722"/>
                </a:moveTo>
                <a:cubicBezTo>
                  <a:pt x="3153" y="722"/>
                  <a:pt x="3148" y="726"/>
                  <a:pt x="3149" y="732"/>
                </a:cubicBezTo>
                <a:cubicBezTo>
                  <a:pt x="3150" y="738"/>
                  <a:pt x="3157" y="742"/>
                  <a:pt x="3165" y="742"/>
                </a:cubicBezTo>
                <a:cubicBezTo>
                  <a:pt x="3172" y="742"/>
                  <a:pt x="3177" y="738"/>
                  <a:pt x="3176" y="732"/>
                </a:cubicBezTo>
                <a:cubicBezTo>
                  <a:pt x="3174" y="726"/>
                  <a:pt x="3167" y="722"/>
                  <a:pt x="3160" y="722"/>
                </a:cubicBezTo>
                <a:cubicBezTo>
                  <a:pt x="3160" y="722"/>
                  <a:pt x="3160" y="722"/>
                  <a:pt x="3160" y="722"/>
                </a:cubicBezTo>
                <a:moveTo>
                  <a:pt x="3082" y="722"/>
                </a:moveTo>
                <a:cubicBezTo>
                  <a:pt x="3074" y="722"/>
                  <a:pt x="3069" y="726"/>
                  <a:pt x="3070" y="732"/>
                </a:cubicBezTo>
                <a:cubicBezTo>
                  <a:pt x="3071" y="738"/>
                  <a:pt x="3078" y="742"/>
                  <a:pt x="3086" y="742"/>
                </a:cubicBezTo>
                <a:cubicBezTo>
                  <a:pt x="3093" y="742"/>
                  <a:pt x="3098" y="737"/>
                  <a:pt x="3097" y="732"/>
                </a:cubicBezTo>
                <a:cubicBezTo>
                  <a:pt x="3096" y="726"/>
                  <a:pt x="3089" y="722"/>
                  <a:pt x="3082" y="722"/>
                </a:cubicBezTo>
                <a:cubicBezTo>
                  <a:pt x="3082" y="722"/>
                  <a:pt x="3082" y="722"/>
                  <a:pt x="3082" y="722"/>
                </a:cubicBezTo>
                <a:moveTo>
                  <a:pt x="3198" y="722"/>
                </a:moveTo>
                <a:cubicBezTo>
                  <a:pt x="3191" y="722"/>
                  <a:pt x="3186" y="726"/>
                  <a:pt x="3187" y="732"/>
                </a:cubicBezTo>
                <a:cubicBezTo>
                  <a:pt x="3189" y="738"/>
                  <a:pt x="3196" y="742"/>
                  <a:pt x="3203" y="742"/>
                </a:cubicBezTo>
                <a:cubicBezTo>
                  <a:pt x="3211" y="742"/>
                  <a:pt x="3216" y="737"/>
                  <a:pt x="3214" y="732"/>
                </a:cubicBezTo>
                <a:cubicBezTo>
                  <a:pt x="3213" y="726"/>
                  <a:pt x="3206" y="722"/>
                  <a:pt x="3198" y="722"/>
                </a:cubicBezTo>
                <a:cubicBezTo>
                  <a:pt x="3198" y="722"/>
                  <a:pt x="3198" y="722"/>
                  <a:pt x="3198" y="722"/>
                </a:cubicBezTo>
                <a:moveTo>
                  <a:pt x="3120" y="721"/>
                </a:moveTo>
                <a:cubicBezTo>
                  <a:pt x="3113" y="721"/>
                  <a:pt x="3108" y="726"/>
                  <a:pt x="3109" y="732"/>
                </a:cubicBezTo>
                <a:cubicBezTo>
                  <a:pt x="3110" y="737"/>
                  <a:pt x="3117" y="742"/>
                  <a:pt x="3125" y="742"/>
                </a:cubicBezTo>
                <a:cubicBezTo>
                  <a:pt x="3132" y="742"/>
                  <a:pt x="3137" y="737"/>
                  <a:pt x="3136" y="732"/>
                </a:cubicBezTo>
                <a:cubicBezTo>
                  <a:pt x="3135" y="726"/>
                  <a:pt x="3128" y="721"/>
                  <a:pt x="3120" y="721"/>
                </a:cubicBezTo>
                <a:cubicBezTo>
                  <a:pt x="3120" y="721"/>
                  <a:pt x="3120" y="721"/>
                  <a:pt x="3120" y="721"/>
                </a:cubicBezTo>
                <a:moveTo>
                  <a:pt x="3699" y="721"/>
                </a:moveTo>
                <a:cubicBezTo>
                  <a:pt x="3691" y="721"/>
                  <a:pt x="3687" y="726"/>
                  <a:pt x="3690" y="732"/>
                </a:cubicBezTo>
                <a:cubicBezTo>
                  <a:pt x="3692" y="737"/>
                  <a:pt x="3700" y="742"/>
                  <a:pt x="3707" y="742"/>
                </a:cubicBezTo>
                <a:cubicBezTo>
                  <a:pt x="3715" y="742"/>
                  <a:pt x="3719" y="737"/>
                  <a:pt x="3717" y="732"/>
                </a:cubicBezTo>
                <a:cubicBezTo>
                  <a:pt x="3714" y="726"/>
                  <a:pt x="3706" y="721"/>
                  <a:pt x="3699" y="721"/>
                </a:cubicBezTo>
                <a:cubicBezTo>
                  <a:pt x="3699" y="721"/>
                  <a:pt x="3699" y="721"/>
                  <a:pt x="3699" y="721"/>
                </a:cubicBezTo>
                <a:moveTo>
                  <a:pt x="3237" y="721"/>
                </a:moveTo>
                <a:cubicBezTo>
                  <a:pt x="3229" y="721"/>
                  <a:pt x="3224" y="726"/>
                  <a:pt x="3226" y="732"/>
                </a:cubicBezTo>
                <a:cubicBezTo>
                  <a:pt x="3227" y="737"/>
                  <a:pt x="3234" y="742"/>
                  <a:pt x="3242" y="742"/>
                </a:cubicBezTo>
                <a:cubicBezTo>
                  <a:pt x="3249" y="742"/>
                  <a:pt x="3254" y="737"/>
                  <a:pt x="3253" y="732"/>
                </a:cubicBezTo>
                <a:cubicBezTo>
                  <a:pt x="3251" y="726"/>
                  <a:pt x="3244" y="721"/>
                  <a:pt x="3237" y="721"/>
                </a:cubicBezTo>
                <a:cubicBezTo>
                  <a:pt x="3237" y="721"/>
                  <a:pt x="3237" y="721"/>
                  <a:pt x="3237" y="721"/>
                </a:cubicBezTo>
                <a:moveTo>
                  <a:pt x="3737" y="721"/>
                </a:moveTo>
                <a:cubicBezTo>
                  <a:pt x="3730" y="721"/>
                  <a:pt x="3726" y="726"/>
                  <a:pt x="3728" y="732"/>
                </a:cubicBezTo>
                <a:cubicBezTo>
                  <a:pt x="3730" y="737"/>
                  <a:pt x="3738" y="742"/>
                  <a:pt x="3746" y="742"/>
                </a:cubicBezTo>
                <a:cubicBezTo>
                  <a:pt x="3753" y="742"/>
                  <a:pt x="3757" y="737"/>
                  <a:pt x="3755" y="731"/>
                </a:cubicBezTo>
                <a:cubicBezTo>
                  <a:pt x="3753" y="726"/>
                  <a:pt x="3745" y="721"/>
                  <a:pt x="3737" y="721"/>
                </a:cubicBezTo>
                <a:cubicBezTo>
                  <a:pt x="3737" y="721"/>
                  <a:pt x="3737" y="721"/>
                  <a:pt x="3737" y="721"/>
                </a:cubicBezTo>
                <a:moveTo>
                  <a:pt x="3275" y="721"/>
                </a:moveTo>
                <a:cubicBezTo>
                  <a:pt x="3268" y="721"/>
                  <a:pt x="3263" y="726"/>
                  <a:pt x="3265" y="731"/>
                </a:cubicBezTo>
                <a:cubicBezTo>
                  <a:pt x="3266" y="737"/>
                  <a:pt x="3274" y="742"/>
                  <a:pt x="3281" y="742"/>
                </a:cubicBezTo>
                <a:cubicBezTo>
                  <a:pt x="3289" y="742"/>
                  <a:pt x="3293" y="737"/>
                  <a:pt x="3292" y="731"/>
                </a:cubicBezTo>
                <a:cubicBezTo>
                  <a:pt x="3290" y="726"/>
                  <a:pt x="3283" y="721"/>
                  <a:pt x="3276" y="721"/>
                </a:cubicBezTo>
                <a:cubicBezTo>
                  <a:pt x="3276" y="721"/>
                  <a:pt x="3275" y="721"/>
                  <a:pt x="3275" y="721"/>
                </a:cubicBezTo>
                <a:moveTo>
                  <a:pt x="3776" y="721"/>
                </a:moveTo>
                <a:cubicBezTo>
                  <a:pt x="3768" y="721"/>
                  <a:pt x="3764" y="726"/>
                  <a:pt x="3767" y="731"/>
                </a:cubicBezTo>
                <a:cubicBezTo>
                  <a:pt x="3769" y="737"/>
                  <a:pt x="3777" y="742"/>
                  <a:pt x="3785" y="742"/>
                </a:cubicBezTo>
                <a:cubicBezTo>
                  <a:pt x="3792" y="742"/>
                  <a:pt x="3796" y="737"/>
                  <a:pt x="3794" y="731"/>
                </a:cubicBezTo>
                <a:cubicBezTo>
                  <a:pt x="3791" y="726"/>
                  <a:pt x="3783" y="721"/>
                  <a:pt x="3776" y="721"/>
                </a:cubicBezTo>
                <a:cubicBezTo>
                  <a:pt x="3776" y="721"/>
                  <a:pt x="3776" y="721"/>
                  <a:pt x="3776" y="721"/>
                </a:cubicBezTo>
                <a:moveTo>
                  <a:pt x="3314" y="721"/>
                </a:moveTo>
                <a:cubicBezTo>
                  <a:pt x="3306" y="721"/>
                  <a:pt x="3301" y="726"/>
                  <a:pt x="3303" y="731"/>
                </a:cubicBezTo>
                <a:cubicBezTo>
                  <a:pt x="3305" y="737"/>
                  <a:pt x="3312" y="741"/>
                  <a:pt x="3320" y="741"/>
                </a:cubicBezTo>
                <a:cubicBezTo>
                  <a:pt x="3327" y="741"/>
                  <a:pt x="3332" y="737"/>
                  <a:pt x="3330" y="731"/>
                </a:cubicBezTo>
                <a:cubicBezTo>
                  <a:pt x="3328" y="725"/>
                  <a:pt x="3321" y="721"/>
                  <a:pt x="3314" y="721"/>
                </a:cubicBezTo>
                <a:cubicBezTo>
                  <a:pt x="3314" y="721"/>
                  <a:pt x="3314" y="721"/>
                  <a:pt x="3314" y="721"/>
                </a:cubicBezTo>
                <a:moveTo>
                  <a:pt x="3816" y="721"/>
                </a:moveTo>
                <a:cubicBezTo>
                  <a:pt x="3809" y="721"/>
                  <a:pt x="3805" y="725"/>
                  <a:pt x="3808" y="731"/>
                </a:cubicBezTo>
                <a:cubicBezTo>
                  <a:pt x="3810" y="737"/>
                  <a:pt x="3818" y="741"/>
                  <a:pt x="3826" y="741"/>
                </a:cubicBezTo>
                <a:cubicBezTo>
                  <a:pt x="3833" y="741"/>
                  <a:pt x="3837" y="737"/>
                  <a:pt x="3835" y="731"/>
                </a:cubicBezTo>
                <a:cubicBezTo>
                  <a:pt x="3832" y="725"/>
                  <a:pt x="3824" y="721"/>
                  <a:pt x="3816" y="721"/>
                </a:cubicBezTo>
                <a:cubicBezTo>
                  <a:pt x="3816" y="721"/>
                  <a:pt x="3816" y="721"/>
                  <a:pt x="3816" y="721"/>
                </a:cubicBezTo>
                <a:moveTo>
                  <a:pt x="3352" y="721"/>
                </a:moveTo>
                <a:cubicBezTo>
                  <a:pt x="3345" y="721"/>
                  <a:pt x="3340" y="725"/>
                  <a:pt x="3342" y="731"/>
                </a:cubicBezTo>
                <a:cubicBezTo>
                  <a:pt x="3343" y="737"/>
                  <a:pt x="3351" y="741"/>
                  <a:pt x="3358" y="741"/>
                </a:cubicBezTo>
                <a:cubicBezTo>
                  <a:pt x="3366" y="741"/>
                  <a:pt x="3370" y="737"/>
                  <a:pt x="3369" y="731"/>
                </a:cubicBezTo>
                <a:cubicBezTo>
                  <a:pt x="3367" y="725"/>
                  <a:pt x="3360" y="721"/>
                  <a:pt x="3352" y="721"/>
                </a:cubicBezTo>
                <a:cubicBezTo>
                  <a:pt x="3352" y="721"/>
                  <a:pt x="3352" y="721"/>
                  <a:pt x="3352" y="721"/>
                </a:cubicBezTo>
                <a:moveTo>
                  <a:pt x="3854" y="721"/>
                </a:moveTo>
                <a:cubicBezTo>
                  <a:pt x="3847" y="721"/>
                  <a:pt x="3843" y="725"/>
                  <a:pt x="3846" y="731"/>
                </a:cubicBezTo>
                <a:cubicBezTo>
                  <a:pt x="3848" y="737"/>
                  <a:pt x="3856" y="741"/>
                  <a:pt x="3864" y="741"/>
                </a:cubicBezTo>
                <a:cubicBezTo>
                  <a:pt x="3871" y="741"/>
                  <a:pt x="3875" y="736"/>
                  <a:pt x="3873" y="731"/>
                </a:cubicBezTo>
                <a:cubicBezTo>
                  <a:pt x="3870" y="725"/>
                  <a:pt x="3862" y="721"/>
                  <a:pt x="3854" y="721"/>
                </a:cubicBezTo>
                <a:cubicBezTo>
                  <a:pt x="3854" y="721"/>
                  <a:pt x="3854" y="721"/>
                  <a:pt x="3854" y="721"/>
                </a:cubicBezTo>
                <a:moveTo>
                  <a:pt x="3390" y="721"/>
                </a:moveTo>
                <a:cubicBezTo>
                  <a:pt x="3383" y="721"/>
                  <a:pt x="3378" y="725"/>
                  <a:pt x="3380" y="731"/>
                </a:cubicBezTo>
                <a:cubicBezTo>
                  <a:pt x="3382" y="737"/>
                  <a:pt x="3389" y="741"/>
                  <a:pt x="3397" y="741"/>
                </a:cubicBezTo>
                <a:cubicBezTo>
                  <a:pt x="3404" y="741"/>
                  <a:pt x="3409" y="736"/>
                  <a:pt x="3407" y="731"/>
                </a:cubicBezTo>
                <a:cubicBezTo>
                  <a:pt x="3405" y="725"/>
                  <a:pt x="3398" y="721"/>
                  <a:pt x="3390" y="721"/>
                </a:cubicBezTo>
                <a:cubicBezTo>
                  <a:pt x="3390" y="721"/>
                  <a:pt x="3390" y="721"/>
                  <a:pt x="3390" y="721"/>
                </a:cubicBezTo>
                <a:moveTo>
                  <a:pt x="3892" y="720"/>
                </a:moveTo>
                <a:cubicBezTo>
                  <a:pt x="3885" y="720"/>
                  <a:pt x="3881" y="725"/>
                  <a:pt x="3884" y="731"/>
                </a:cubicBezTo>
                <a:cubicBezTo>
                  <a:pt x="3887" y="736"/>
                  <a:pt x="3895" y="741"/>
                  <a:pt x="3902" y="741"/>
                </a:cubicBezTo>
                <a:cubicBezTo>
                  <a:pt x="3910" y="741"/>
                  <a:pt x="3914" y="736"/>
                  <a:pt x="3911" y="731"/>
                </a:cubicBezTo>
                <a:cubicBezTo>
                  <a:pt x="3908" y="725"/>
                  <a:pt x="3900" y="720"/>
                  <a:pt x="3892" y="720"/>
                </a:cubicBezTo>
                <a:cubicBezTo>
                  <a:pt x="3892" y="720"/>
                  <a:pt x="3892" y="720"/>
                  <a:pt x="3892" y="720"/>
                </a:cubicBezTo>
                <a:moveTo>
                  <a:pt x="3429" y="720"/>
                </a:moveTo>
                <a:cubicBezTo>
                  <a:pt x="3421" y="720"/>
                  <a:pt x="3417" y="725"/>
                  <a:pt x="3419" y="731"/>
                </a:cubicBezTo>
                <a:cubicBezTo>
                  <a:pt x="3420" y="736"/>
                  <a:pt x="3428" y="741"/>
                  <a:pt x="3435" y="741"/>
                </a:cubicBezTo>
                <a:cubicBezTo>
                  <a:pt x="3443" y="741"/>
                  <a:pt x="3447" y="736"/>
                  <a:pt x="3446" y="731"/>
                </a:cubicBezTo>
                <a:cubicBezTo>
                  <a:pt x="3444" y="725"/>
                  <a:pt x="3436" y="720"/>
                  <a:pt x="3429" y="720"/>
                </a:cubicBezTo>
                <a:cubicBezTo>
                  <a:pt x="3429" y="720"/>
                  <a:pt x="3429" y="720"/>
                  <a:pt x="3429" y="720"/>
                </a:cubicBezTo>
                <a:moveTo>
                  <a:pt x="3931" y="720"/>
                </a:moveTo>
                <a:cubicBezTo>
                  <a:pt x="3923" y="720"/>
                  <a:pt x="3920" y="725"/>
                  <a:pt x="3923" y="731"/>
                </a:cubicBezTo>
                <a:cubicBezTo>
                  <a:pt x="3925" y="736"/>
                  <a:pt x="3934" y="741"/>
                  <a:pt x="3941" y="741"/>
                </a:cubicBezTo>
                <a:cubicBezTo>
                  <a:pt x="3949" y="741"/>
                  <a:pt x="3952" y="736"/>
                  <a:pt x="3950" y="730"/>
                </a:cubicBezTo>
                <a:cubicBezTo>
                  <a:pt x="3947" y="725"/>
                  <a:pt x="3938" y="720"/>
                  <a:pt x="3931" y="720"/>
                </a:cubicBezTo>
                <a:cubicBezTo>
                  <a:pt x="3931" y="720"/>
                  <a:pt x="3931" y="720"/>
                  <a:pt x="3931" y="720"/>
                </a:cubicBezTo>
                <a:moveTo>
                  <a:pt x="3468" y="720"/>
                </a:moveTo>
                <a:cubicBezTo>
                  <a:pt x="3460" y="720"/>
                  <a:pt x="3456" y="725"/>
                  <a:pt x="3458" y="730"/>
                </a:cubicBezTo>
                <a:cubicBezTo>
                  <a:pt x="3459" y="736"/>
                  <a:pt x="3467" y="741"/>
                  <a:pt x="3474" y="741"/>
                </a:cubicBezTo>
                <a:cubicBezTo>
                  <a:pt x="3482" y="741"/>
                  <a:pt x="3486" y="736"/>
                  <a:pt x="3484" y="730"/>
                </a:cubicBezTo>
                <a:cubicBezTo>
                  <a:pt x="3483" y="725"/>
                  <a:pt x="3475" y="720"/>
                  <a:pt x="3468" y="720"/>
                </a:cubicBezTo>
                <a:cubicBezTo>
                  <a:pt x="3468" y="720"/>
                  <a:pt x="3468" y="720"/>
                  <a:pt x="3468" y="720"/>
                </a:cubicBezTo>
                <a:moveTo>
                  <a:pt x="3970" y="720"/>
                </a:moveTo>
                <a:cubicBezTo>
                  <a:pt x="3962" y="720"/>
                  <a:pt x="3959" y="725"/>
                  <a:pt x="3961" y="730"/>
                </a:cubicBezTo>
                <a:cubicBezTo>
                  <a:pt x="3964" y="736"/>
                  <a:pt x="3973" y="741"/>
                  <a:pt x="3980" y="741"/>
                </a:cubicBezTo>
                <a:cubicBezTo>
                  <a:pt x="3988" y="741"/>
                  <a:pt x="3991" y="736"/>
                  <a:pt x="3988" y="730"/>
                </a:cubicBezTo>
                <a:cubicBezTo>
                  <a:pt x="3986" y="725"/>
                  <a:pt x="3977" y="720"/>
                  <a:pt x="3970" y="720"/>
                </a:cubicBezTo>
                <a:cubicBezTo>
                  <a:pt x="3970" y="720"/>
                  <a:pt x="3970" y="720"/>
                  <a:pt x="3970" y="720"/>
                </a:cubicBezTo>
                <a:moveTo>
                  <a:pt x="3506" y="720"/>
                </a:moveTo>
                <a:cubicBezTo>
                  <a:pt x="3498" y="720"/>
                  <a:pt x="3494" y="725"/>
                  <a:pt x="3496" y="730"/>
                </a:cubicBezTo>
                <a:cubicBezTo>
                  <a:pt x="3498" y="736"/>
                  <a:pt x="3505" y="741"/>
                  <a:pt x="3513" y="740"/>
                </a:cubicBezTo>
                <a:cubicBezTo>
                  <a:pt x="3520" y="740"/>
                  <a:pt x="3525" y="736"/>
                  <a:pt x="3523" y="730"/>
                </a:cubicBezTo>
                <a:cubicBezTo>
                  <a:pt x="3521" y="725"/>
                  <a:pt x="3513" y="720"/>
                  <a:pt x="3506" y="720"/>
                </a:cubicBezTo>
                <a:cubicBezTo>
                  <a:pt x="3506" y="720"/>
                  <a:pt x="3506" y="720"/>
                  <a:pt x="3506" y="720"/>
                </a:cubicBezTo>
                <a:moveTo>
                  <a:pt x="4008" y="720"/>
                </a:moveTo>
                <a:cubicBezTo>
                  <a:pt x="4000" y="720"/>
                  <a:pt x="3997" y="724"/>
                  <a:pt x="4000" y="730"/>
                </a:cubicBezTo>
                <a:cubicBezTo>
                  <a:pt x="4003" y="736"/>
                  <a:pt x="4011" y="740"/>
                  <a:pt x="4019" y="740"/>
                </a:cubicBezTo>
                <a:cubicBezTo>
                  <a:pt x="4026" y="740"/>
                  <a:pt x="4030" y="736"/>
                  <a:pt x="4027" y="730"/>
                </a:cubicBezTo>
                <a:cubicBezTo>
                  <a:pt x="4024" y="724"/>
                  <a:pt x="4015" y="720"/>
                  <a:pt x="4008" y="720"/>
                </a:cubicBezTo>
                <a:cubicBezTo>
                  <a:pt x="4008" y="720"/>
                  <a:pt x="4008" y="720"/>
                  <a:pt x="4008" y="720"/>
                </a:cubicBezTo>
                <a:moveTo>
                  <a:pt x="3544" y="720"/>
                </a:moveTo>
                <a:cubicBezTo>
                  <a:pt x="3537" y="720"/>
                  <a:pt x="3532" y="724"/>
                  <a:pt x="3534" y="730"/>
                </a:cubicBezTo>
                <a:cubicBezTo>
                  <a:pt x="3536" y="736"/>
                  <a:pt x="3544" y="740"/>
                  <a:pt x="3552" y="740"/>
                </a:cubicBezTo>
                <a:cubicBezTo>
                  <a:pt x="3559" y="740"/>
                  <a:pt x="3563" y="736"/>
                  <a:pt x="3561" y="730"/>
                </a:cubicBezTo>
                <a:cubicBezTo>
                  <a:pt x="3559" y="724"/>
                  <a:pt x="3552" y="720"/>
                  <a:pt x="3544" y="720"/>
                </a:cubicBezTo>
                <a:cubicBezTo>
                  <a:pt x="3544" y="720"/>
                  <a:pt x="3544" y="720"/>
                  <a:pt x="3544" y="720"/>
                </a:cubicBezTo>
                <a:moveTo>
                  <a:pt x="4045" y="720"/>
                </a:moveTo>
                <a:cubicBezTo>
                  <a:pt x="4038" y="720"/>
                  <a:pt x="4034" y="724"/>
                  <a:pt x="4037" y="730"/>
                </a:cubicBezTo>
                <a:cubicBezTo>
                  <a:pt x="4040" y="736"/>
                  <a:pt x="4049" y="740"/>
                  <a:pt x="4056" y="740"/>
                </a:cubicBezTo>
                <a:cubicBezTo>
                  <a:pt x="4064" y="740"/>
                  <a:pt x="4067" y="736"/>
                  <a:pt x="4064" y="730"/>
                </a:cubicBezTo>
                <a:cubicBezTo>
                  <a:pt x="4061" y="724"/>
                  <a:pt x="4053" y="720"/>
                  <a:pt x="4045" y="720"/>
                </a:cubicBezTo>
                <a:cubicBezTo>
                  <a:pt x="4045" y="720"/>
                  <a:pt x="4045" y="720"/>
                  <a:pt x="4045" y="720"/>
                </a:cubicBezTo>
                <a:moveTo>
                  <a:pt x="3582" y="720"/>
                </a:moveTo>
                <a:cubicBezTo>
                  <a:pt x="3575" y="720"/>
                  <a:pt x="3571" y="724"/>
                  <a:pt x="3573" y="730"/>
                </a:cubicBezTo>
                <a:cubicBezTo>
                  <a:pt x="3575" y="736"/>
                  <a:pt x="3583" y="740"/>
                  <a:pt x="3590" y="740"/>
                </a:cubicBezTo>
                <a:cubicBezTo>
                  <a:pt x="3597" y="740"/>
                  <a:pt x="3602" y="735"/>
                  <a:pt x="3600" y="730"/>
                </a:cubicBezTo>
                <a:cubicBezTo>
                  <a:pt x="3597" y="724"/>
                  <a:pt x="3590" y="720"/>
                  <a:pt x="3582" y="720"/>
                </a:cubicBezTo>
                <a:cubicBezTo>
                  <a:pt x="3582" y="720"/>
                  <a:pt x="3582" y="720"/>
                  <a:pt x="3582" y="720"/>
                </a:cubicBezTo>
                <a:moveTo>
                  <a:pt x="3621" y="719"/>
                </a:moveTo>
                <a:cubicBezTo>
                  <a:pt x="3613" y="719"/>
                  <a:pt x="3609" y="724"/>
                  <a:pt x="3611" y="730"/>
                </a:cubicBezTo>
                <a:cubicBezTo>
                  <a:pt x="3613" y="735"/>
                  <a:pt x="3621" y="740"/>
                  <a:pt x="3629" y="740"/>
                </a:cubicBezTo>
                <a:cubicBezTo>
                  <a:pt x="3636" y="740"/>
                  <a:pt x="3640" y="735"/>
                  <a:pt x="3638" y="730"/>
                </a:cubicBezTo>
                <a:cubicBezTo>
                  <a:pt x="3636" y="724"/>
                  <a:pt x="3628" y="719"/>
                  <a:pt x="3621" y="719"/>
                </a:cubicBezTo>
                <a:cubicBezTo>
                  <a:pt x="3621" y="719"/>
                  <a:pt x="3621" y="719"/>
                  <a:pt x="3621" y="719"/>
                </a:cubicBezTo>
                <a:moveTo>
                  <a:pt x="3660" y="719"/>
                </a:moveTo>
                <a:cubicBezTo>
                  <a:pt x="3652" y="719"/>
                  <a:pt x="3648" y="724"/>
                  <a:pt x="3650" y="730"/>
                </a:cubicBezTo>
                <a:cubicBezTo>
                  <a:pt x="3652" y="735"/>
                  <a:pt x="3660" y="740"/>
                  <a:pt x="3668" y="740"/>
                </a:cubicBezTo>
                <a:cubicBezTo>
                  <a:pt x="3675" y="740"/>
                  <a:pt x="3679" y="735"/>
                  <a:pt x="3677" y="729"/>
                </a:cubicBezTo>
                <a:cubicBezTo>
                  <a:pt x="3675" y="724"/>
                  <a:pt x="3667" y="719"/>
                  <a:pt x="3660" y="719"/>
                </a:cubicBezTo>
                <a:cubicBezTo>
                  <a:pt x="3660" y="719"/>
                  <a:pt x="3660" y="719"/>
                  <a:pt x="3660" y="719"/>
                </a:cubicBezTo>
                <a:moveTo>
                  <a:pt x="61" y="710"/>
                </a:moveTo>
                <a:cubicBezTo>
                  <a:pt x="54" y="710"/>
                  <a:pt x="44" y="715"/>
                  <a:pt x="39" y="720"/>
                </a:cubicBezTo>
                <a:cubicBezTo>
                  <a:pt x="35" y="726"/>
                  <a:pt x="37" y="730"/>
                  <a:pt x="44" y="730"/>
                </a:cubicBezTo>
                <a:cubicBezTo>
                  <a:pt x="52" y="730"/>
                  <a:pt x="61" y="726"/>
                  <a:pt x="66" y="720"/>
                </a:cubicBezTo>
                <a:cubicBezTo>
                  <a:pt x="71" y="715"/>
                  <a:pt x="69" y="710"/>
                  <a:pt x="61" y="710"/>
                </a:cubicBezTo>
                <a:cubicBezTo>
                  <a:pt x="61" y="710"/>
                  <a:pt x="61" y="710"/>
                  <a:pt x="61" y="710"/>
                </a:cubicBezTo>
                <a:moveTo>
                  <a:pt x="100" y="710"/>
                </a:moveTo>
                <a:cubicBezTo>
                  <a:pt x="92" y="710"/>
                  <a:pt x="82" y="714"/>
                  <a:pt x="78" y="720"/>
                </a:cubicBezTo>
                <a:cubicBezTo>
                  <a:pt x="73" y="726"/>
                  <a:pt x="75" y="730"/>
                  <a:pt x="83" y="730"/>
                </a:cubicBezTo>
                <a:cubicBezTo>
                  <a:pt x="90" y="730"/>
                  <a:pt x="100" y="725"/>
                  <a:pt x="105" y="720"/>
                </a:cubicBezTo>
                <a:cubicBezTo>
                  <a:pt x="109" y="714"/>
                  <a:pt x="107" y="710"/>
                  <a:pt x="100" y="710"/>
                </a:cubicBezTo>
                <a:cubicBezTo>
                  <a:pt x="100" y="710"/>
                  <a:pt x="100" y="710"/>
                  <a:pt x="100" y="710"/>
                </a:cubicBezTo>
                <a:moveTo>
                  <a:pt x="139" y="710"/>
                </a:moveTo>
                <a:cubicBezTo>
                  <a:pt x="132" y="710"/>
                  <a:pt x="122" y="714"/>
                  <a:pt x="117" y="720"/>
                </a:cubicBezTo>
                <a:cubicBezTo>
                  <a:pt x="113" y="725"/>
                  <a:pt x="115" y="730"/>
                  <a:pt x="123" y="730"/>
                </a:cubicBezTo>
                <a:cubicBezTo>
                  <a:pt x="130" y="730"/>
                  <a:pt x="140" y="725"/>
                  <a:pt x="144" y="720"/>
                </a:cubicBezTo>
                <a:cubicBezTo>
                  <a:pt x="149" y="714"/>
                  <a:pt x="147" y="710"/>
                  <a:pt x="139" y="710"/>
                </a:cubicBezTo>
                <a:cubicBezTo>
                  <a:pt x="139" y="710"/>
                  <a:pt x="139" y="710"/>
                  <a:pt x="139" y="710"/>
                </a:cubicBezTo>
                <a:moveTo>
                  <a:pt x="333" y="709"/>
                </a:moveTo>
                <a:cubicBezTo>
                  <a:pt x="326" y="709"/>
                  <a:pt x="316" y="713"/>
                  <a:pt x="312" y="719"/>
                </a:cubicBezTo>
                <a:cubicBezTo>
                  <a:pt x="308" y="724"/>
                  <a:pt x="310" y="729"/>
                  <a:pt x="318" y="729"/>
                </a:cubicBezTo>
                <a:cubicBezTo>
                  <a:pt x="325" y="729"/>
                  <a:pt x="335" y="724"/>
                  <a:pt x="339" y="719"/>
                </a:cubicBezTo>
                <a:cubicBezTo>
                  <a:pt x="343" y="713"/>
                  <a:pt x="340" y="709"/>
                  <a:pt x="333" y="709"/>
                </a:cubicBezTo>
                <a:cubicBezTo>
                  <a:pt x="333" y="709"/>
                  <a:pt x="333" y="709"/>
                  <a:pt x="333" y="709"/>
                </a:cubicBezTo>
                <a:moveTo>
                  <a:pt x="256" y="708"/>
                </a:moveTo>
                <a:cubicBezTo>
                  <a:pt x="249" y="708"/>
                  <a:pt x="239" y="713"/>
                  <a:pt x="235" y="719"/>
                </a:cubicBezTo>
                <a:cubicBezTo>
                  <a:pt x="230" y="724"/>
                  <a:pt x="233" y="729"/>
                  <a:pt x="240" y="729"/>
                </a:cubicBezTo>
                <a:cubicBezTo>
                  <a:pt x="248" y="729"/>
                  <a:pt x="257" y="724"/>
                  <a:pt x="261" y="718"/>
                </a:cubicBezTo>
                <a:cubicBezTo>
                  <a:pt x="266" y="713"/>
                  <a:pt x="263" y="708"/>
                  <a:pt x="256" y="708"/>
                </a:cubicBezTo>
                <a:cubicBezTo>
                  <a:pt x="256" y="708"/>
                  <a:pt x="256" y="708"/>
                  <a:pt x="256" y="708"/>
                </a:cubicBezTo>
                <a:moveTo>
                  <a:pt x="371" y="708"/>
                </a:moveTo>
                <a:cubicBezTo>
                  <a:pt x="364" y="708"/>
                  <a:pt x="355" y="713"/>
                  <a:pt x="350" y="719"/>
                </a:cubicBezTo>
                <a:cubicBezTo>
                  <a:pt x="346" y="724"/>
                  <a:pt x="349" y="729"/>
                  <a:pt x="356" y="729"/>
                </a:cubicBezTo>
                <a:cubicBezTo>
                  <a:pt x="364" y="729"/>
                  <a:pt x="373" y="724"/>
                  <a:pt x="377" y="718"/>
                </a:cubicBezTo>
                <a:cubicBezTo>
                  <a:pt x="381" y="713"/>
                  <a:pt x="379" y="708"/>
                  <a:pt x="371" y="708"/>
                </a:cubicBezTo>
                <a:cubicBezTo>
                  <a:pt x="371" y="708"/>
                  <a:pt x="371" y="708"/>
                  <a:pt x="371" y="708"/>
                </a:cubicBezTo>
                <a:moveTo>
                  <a:pt x="295" y="708"/>
                </a:moveTo>
                <a:cubicBezTo>
                  <a:pt x="288" y="708"/>
                  <a:pt x="279" y="713"/>
                  <a:pt x="274" y="718"/>
                </a:cubicBezTo>
                <a:cubicBezTo>
                  <a:pt x="270" y="724"/>
                  <a:pt x="272" y="728"/>
                  <a:pt x="280" y="728"/>
                </a:cubicBezTo>
                <a:cubicBezTo>
                  <a:pt x="287" y="728"/>
                  <a:pt x="297" y="724"/>
                  <a:pt x="301" y="718"/>
                </a:cubicBezTo>
                <a:cubicBezTo>
                  <a:pt x="305" y="713"/>
                  <a:pt x="303" y="708"/>
                  <a:pt x="295" y="708"/>
                </a:cubicBezTo>
                <a:cubicBezTo>
                  <a:pt x="295" y="708"/>
                  <a:pt x="295" y="708"/>
                  <a:pt x="295" y="708"/>
                </a:cubicBezTo>
                <a:moveTo>
                  <a:pt x="410" y="708"/>
                </a:moveTo>
                <a:cubicBezTo>
                  <a:pt x="403" y="708"/>
                  <a:pt x="393" y="713"/>
                  <a:pt x="389" y="718"/>
                </a:cubicBezTo>
                <a:cubicBezTo>
                  <a:pt x="385" y="724"/>
                  <a:pt x="388" y="728"/>
                  <a:pt x="395" y="728"/>
                </a:cubicBezTo>
                <a:cubicBezTo>
                  <a:pt x="403" y="728"/>
                  <a:pt x="412" y="724"/>
                  <a:pt x="416" y="718"/>
                </a:cubicBezTo>
                <a:cubicBezTo>
                  <a:pt x="420" y="713"/>
                  <a:pt x="417" y="708"/>
                  <a:pt x="410" y="708"/>
                </a:cubicBezTo>
                <a:cubicBezTo>
                  <a:pt x="410" y="708"/>
                  <a:pt x="410" y="708"/>
                  <a:pt x="410" y="708"/>
                </a:cubicBezTo>
                <a:moveTo>
                  <a:pt x="448" y="708"/>
                </a:moveTo>
                <a:cubicBezTo>
                  <a:pt x="441" y="708"/>
                  <a:pt x="431" y="713"/>
                  <a:pt x="427" y="718"/>
                </a:cubicBezTo>
                <a:cubicBezTo>
                  <a:pt x="423" y="724"/>
                  <a:pt x="426" y="728"/>
                  <a:pt x="433" y="728"/>
                </a:cubicBezTo>
                <a:cubicBezTo>
                  <a:pt x="441" y="728"/>
                  <a:pt x="450" y="724"/>
                  <a:pt x="454" y="718"/>
                </a:cubicBezTo>
                <a:cubicBezTo>
                  <a:pt x="458" y="712"/>
                  <a:pt x="455" y="708"/>
                  <a:pt x="448" y="708"/>
                </a:cubicBezTo>
                <a:cubicBezTo>
                  <a:pt x="448" y="708"/>
                  <a:pt x="448" y="708"/>
                  <a:pt x="448" y="708"/>
                </a:cubicBezTo>
                <a:moveTo>
                  <a:pt x="486" y="708"/>
                </a:moveTo>
                <a:cubicBezTo>
                  <a:pt x="479" y="708"/>
                  <a:pt x="470" y="712"/>
                  <a:pt x="466" y="718"/>
                </a:cubicBezTo>
                <a:cubicBezTo>
                  <a:pt x="462" y="724"/>
                  <a:pt x="465" y="728"/>
                  <a:pt x="472" y="728"/>
                </a:cubicBezTo>
                <a:cubicBezTo>
                  <a:pt x="479" y="728"/>
                  <a:pt x="489" y="723"/>
                  <a:pt x="492" y="718"/>
                </a:cubicBezTo>
                <a:cubicBezTo>
                  <a:pt x="496" y="712"/>
                  <a:pt x="494" y="708"/>
                  <a:pt x="486" y="708"/>
                </a:cubicBezTo>
                <a:cubicBezTo>
                  <a:pt x="486" y="708"/>
                  <a:pt x="486" y="708"/>
                  <a:pt x="486" y="708"/>
                </a:cubicBezTo>
                <a:moveTo>
                  <a:pt x="601" y="707"/>
                </a:moveTo>
                <a:cubicBezTo>
                  <a:pt x="594" y="707"/>
                  <a:pt x="585" y="712"/>
                  <a:pt x="581" y="717"/>
                </a:cubicBezTo>
                <a:cubicBezTo>
                  <a:pt x="577" y="723"/>
                  <a:pt x="580" y="727"/>
                  <a:pt x="588" y="727"/>
                </a:cubicBezTo>
                <a:cubicBezTo>
                  <a:pt x="595" y="727"/>
                  <a:pt x="604" y="723"/>
                  <a:pt x="608" y="717"/>
                </a:cubicBezTo>
                <a:cubicBezTo>
                  <a:pt x="611" y="712"/>
                  <a:pt x="608" y="707"/>
                  <a:pt x="601" y="707"/>
                </a:cubicBezTo>
                <a:cubicBezTo>
                  <a:pt x="601" y="707"/>
                  <a:pt x="601" y="707"/>
                  <a:pt x="601" y="707"/>
                </a:cubicBezTo>
                <a:moveTo>
                  <a:pt x="181" y="707"/>
                </a:moveTo>
                <a:cubicBezTo>
                  <a:pt x="174" y="707"/>
                  <a:pt x="164" y="712"/>
                  <a:pt x="159" y="717"/>
                </a:cubicBezTo>
                <a:cubicBezTo>
                  <a:pt x="155" y="723"/>
                  <a:pt x="157" y="727"/>
                  <a:pt x="165" y="727"/>
                </a:cubicBezTo>
                <a:cubicBezTo>
                  <a:pt x="172" y="727"/>
                  <a:pt x="182" y="723"/>
                  <a:pt x="186" y="717"/>
                </a:cubicBezTo>
                <a:cubicBezTo>
                  <a:pt x="191" y="711"/>
                  <a:pt x="188" y="707"/>
                  <a:pt x="181" y="707"/>
                </a:cubicBezTo>
                <a:cubicBezTo>
                  <a:pt x="181" y="707"/>
                  <a:pt x="181" y="707"/>
                  <a:pt x="181" y="707"/>
                </a:cubicBezTo>
                <a:moveTo>
                  <a:pt x="219" y="707"/>
                </a:moveTo>
                <a:cubicBezTo>
                  <a:pt x="212" y="707"/>
                  <a:pt x="202" y="711"/>
                  <a:pt x="198" y="717"/>
                </a:cubicBezTo>
                <a:cubicBezTo>
                  <a:pt x="193" y="723"/>
                  <a:pt x="196" y="727"/>
                  <a:pt x="203" y="727"/>
                </a:cubicBezTo>
                <a:cubicBezTo>
                  <a:pt x="210" y="727"/>
                  <a:pt x="220" y="722"/>
                  <a:pt x="224" y="717"/>
                </a:cubicBezTo>
                <a:cubicBezTo>
                  <a:pt x="229" y="711"/>
                  <a:pt x="226" y="707"/>
                  <a:pt x="219" y="707"/>
                </a:cubicBezTo>
                <a:cubicBezTo>
                  <a:pt x="219" y="707"/>
                  <a:pt x="219" y="707"/>
                  <a:pt x="219" y="707"/>
                </a:cubicBezTo>
                <a:moveTo>
                  <a:pt x="1858" y="699"/>
                </a:moveTo>
                <a:cubicBezTo>
                  <a:pt x="1851" y="699"/>
                  <a:pt x="1844" y="703"/>
                  <a:pt x="1843" y="709"/>
                </a:cubicBezTo>
                <a:cubicBezTo>
                  <a:pt x="1841" y="715"/>
                  <a:pt x="1846" y="719"/>
                  <a:pt x="1854" y="719"/>
                </a:cubicBezTo>
                <a:cubicBezTo>
                  <a:pt x="1861" y="719"/>
                  <a:pt x="1868" y="715"/>
                  <a:pt x="1869" y="709"/>
                </a:cubicBezTo>
                <a:cubicBezTo>
                  <a:pt x="1871" y="703"/>
                  <a:pt x="1866" y="699"/>
                  <a:pt x="1858" y="699"/>
                </a:cubicBezTo>
                <a:cubicBezTo>
                  <a:pt x="1858" y="699"/>
                  <a:pt x="1858" y="699"/>
                  <a:pt x="1858" y="699"/>
                </a:cubicBezTo>
                <a:moveTo>
                  <a:pt x="1897" y="699"/>
                </a:moveTo>
                <a:cubicBezTo>
                  <a:pt x="1890" y="699"/>
                  <a:pt x="1883" y="703"/>
                  <a:pt x="1881" y="709"/>
                </a:cubicBezTo>
                <a:cubicBezTo>
                  <a:pt x="1880" y="714"/>
                  <a:pt x="1885" y="719"/>
                  <a:pt x="1893" y="719"/>
                </a:cubicBezTo>
                <a:cubicBezTo>
                  <a:pt x="1900" y="719"/>
                  <a:pt x="1907" y="714"/>
                  <a:pt x="1908" y="709"/>
                </a:cubicBezTo>
                <a:cubicBezTo>
                  <a:pt x="1909" y="703"/>
                  <a:pt x="1904" y="699"/>
                  <a:pt x="1897" y="699"/>
                </a:cubicBezTo>
                <a:cubicBezTo>
                  <a:pt x="1897" y="699"/>
                  <a:pt x="1897" y="699"/>
                  <a:pt x="1897" y="699"/>
                </a:cubicBezTo>
                <a:moveTo>
                  <a:pt x="1935" y="698"/>
                </a:moveTo>
                <a:cubicBezTo>
                  <a:pt x="1927" y="698"/>
                  <a:pt x="1921" y="703"/>
                  <a:pt x="1919" y="709"/>
                </a:cubicBezTo>
                <a:cubicBezTo>
                  <a:pt x="1918" y="714"/>
                  <a:pt x="1923" y="719"/>
                  <a:pt x="1931" y="719"/>
                </a:cubicBezTo>
                <a:cubicBezTo>
                  <a:pt x="1938" y="719"/>
                  <a:pt x="1945" y="714"/>
                  <a:pt x="1946" y="709"/>
                </a:cubicBezTo>
                <a:cubicBezTo>
                  <a:pt x="1947" y="703"/>
                  <a:pt x="1942" y="698"/>
                  <a:pt x="1935" y="698"/>
                </a:cubicBezTo>
                <a:cubicBezTo>
                  <a:pt x="1935" y="698"/>
                  <a:pt x="1935" y="698"/>
                  <a:pt x="1935" y="698"/>
                </a:cubicBezTo>
                <a:moveTo>
                  <a:pt x="1973" y="698"/>
                </a:moveTo>
                <a:cubicBezTo>
                  <a:pt x="1965" y="698"/>
                  <a:pt x="1959" y="703"/>
                  <a:pt x="1958" y="708"/>
                </a:cubicBezTo>
                <a:cubicBezTo>
                  <a:pt x="1957" y="714"/>
                  <a:pt x="1962" y="719"/>
                  <a:pt x="1969" y="719"/>
                </a:cubicBezTo>
                <a:cubicBezTo>
                  <a:pt x="1977" y="719"/>
                  <a:pt x="1983" y="714"/>
                  <a:pt x="1984" y="708"/>
                </a:cubicBezTo>
                <a:cubicBezTo>
                  <a:pt x="1985" y="703"/>
                  <a:pt x="1980" y="698"/>
                  <a:pt x="1973" y="698"/>
                </a:cubicBezTo>
                <a:cubicBezTo>
                  <a:pt x="1973" y="698"/>
                  <a:pt x="1973" y="698"/>
                  <a:pt x="1973" y="698"/>
                </a:cubicBezTo>
                <a:moveTo>
                  <a:pt x="2011" y="698"/>
                </a:moveTo>
                <a:cubicBezTo>
                  <a:pt x="2003" y="698"/>
                  <a:pt x="1997" y="703"/>
                  <a:pt x="1996" y="708"/>
                </a:cubicBezTo>
                <a:cubicBezTo>
                  <a:pt x="1995" y="714"/>
                  <a:pt x="2000" y="718"/>
                  <a:pt x="2007" y="718"/>
                </a:cubicBezTo>
                <a:cubicBezTo>
                  <a:pt x="2015" y="718"/>
                  <a:pt x="2022" y="714"/>
                  <a:pt x="2022" y="708"/>
                </a:cubicBezTo>
                <a:cubicBezTo>
                  <a:pt x="2023" y="702"/>
                  <a:pt x="2018" y="698"/>
                  <a:pt x="2011" y="698"/>
                </a:cubicBezTo>
                <a:cubicBezTo>
                  <a:pt x="2011" y="698"/>
                  <a:pt x="2011" y="698"/>
                  <a:pt x="2011" y="698"/>
                </a:cubicBezTo>
                <a:moveTo>
                  <a:pt x="2049" y="698"/>
                </a:moveTo>
                <a:cubicBezTo>
                  <a:pt x="2042" y="698"/>
                  <a:pt x="2035" y="702"/>
                  <a:pt x="2034" y="708"/>
                </a:cubicBezTo>
                <a:cubicBezTo>
                  <a:pt x="2033" y="714"/>
                  <a:pt x="2038" y="718"/>
                  <a:pt x="2046" y="718"/>
                </a:cubicBezTo>
                <a:cubicBezTo>
                  <a:pt x="2053" y="718"/>
                  <a:pt x="2060" y="714"/>
                  <a:pt x="2061" y="708"/>
                </a:cubicBezTo>
                <a:cubicBezTo>
                  <a:pt x="2062" y="702"/>
                  <a:pt x="2056" y="698"/>
                  <a:pt x="2049" y="698"/>
                </a:cubicBezTo>
                <a:cubicBezTo>
                  <a:pt x="2049" y="698"/>
                  <a:pt x="2049" y="698"/>
                  <a:pt x="2049" y="698"/>
                </a:cubicBezTo>
                <a:moveTo>
                  <a:pt x="2088" y="698"/>
                </a:moveTo>
                <a:cubicBezTo>
                  <a:pt x="2081" y="698"/>
                  <a:pt x="2074" y="702"/>
                  <a:pt x="2073" y="708"/>
                </a:cubicBezTo>
                <a:cubicBezTo>
                  <a:pt x="2073" y="713"/>
                  <a:pt x="2078" y="718"/>
                  <a:pt x="2085" y="718"/>
                </a:cubicBezTo>
                <a:cubicBezTo>
                  <a:pt x="2093" y="718"/>
                  <a:pt x="2099" y="713"/>
                  <a:pt x="2100" y="708"/>
                </a:cubicBezTo>
                <a:cubicBezTo>
                  <a:pt x="2101" y="702"/>
                  <a:pt x="2096" y="698"/>
                  <a:pt x="2088" y="698"/>
                </a:cubicBezTo>
                <a:cubicBezTo>
                  <a:pt x="2088" y="698"/>
                  <a:pt x="2088" y="698"/>
                  <a:pt x="2088" y="698"/>
                </a:cubicBezTo>
                <a:moveTo>
                  <a:pt x="2126" y="697"/>
                </a:moveTo>
                <a:cubicBezTo>
                  <a:pt x="2119" y="697"/>
                  <a:pt x="2112" y="702"/>
                  <a:pt x="2111" y="708"/>
                </a:cubicBezTo>
                <a:cubicBezTo>
                  <a:pt x="2111" y="713"/>
                  <a:pt x="2116" y="718"/>
                  <a:pt x="2124" y="718"/>
                </a:cubicBezTo>
                <a:cubicBezTo>
                  <a:pt x="2131" y="718"/>
                  <a:pt x="2137" y="713"/>
                  <a:pt x="2138" y="708"/>
                </a:cubicBezTo>
                <a:cubicBezTo>
                  <a:pt x="2139" y="702"/>
                  <a:pt x="2134" y="697"/>
                  <a:pt x="2126" y="697"/>
                </a:cubicBezTo>
                <a:cubicBezTo>
                  <a:pt x="2126" y="697"/>
                  <a:pt x="2126" y="697"/>
                  <a:pt x="2126" y="697"/>
                </a:cubicBezTo>
                <a:moveTo>
                  <a:pt x="2164" y="697"/>
                </a:moveTo>
                <a:cubicBezTo>
                  <a:pt x="2157" y="697"/>
                  <a:pt x="2150" y="702"/>
                  <a:pt x="2150" y="707"/>
                </a:cubicBezTo>
                <a:cubicBezTo>
                  <a:pt x="2149" y="713"/>
                  <a:pt x="2155" y="718"/>
                  <a:pt x="2162" y="718"/>
                </a:cubicBezTo>
                <a:cubicBezTo>
                  <a:pt x="2169" y="718"/>
                  <a:pt x="2176" y="713"/>
                  <a:pt x="2176" y="707"/>
                </a:cubicBezTo>
                <a:cubicBezTo>
                  <a:pt x="2177" y="702"/>
                  <a:pt x="2172" y="697"/>
                  <a:pt x="2164" y="697"/>
                </a:cubicBezTo>
                <a:cubicBezTo>
                  <a:pt x="2164" y="697"/>
                  <a:pt x="2164" y="697"/>
                  <a:pt x="2164" y="697"/>
                </a:cubicBezTo>
                <a:moveTo>
                  <a:pt x="2203" y="697"/>
                </a:moveTo>
                <a:cubicBezTo>
                  <a:pt x="2195" y="697"/>
                  <a:pt x="2189" y="702"/>
                  <a:pt x="2188" y="707"/>
                </a:cubicBezTo>
                <a:cubicBezTo>
                  <a:pt x="2188" y="713"/>
                  <a:pt x="2193" y="717"/>
                  <a:pt x="2201" y="717"/>
                </a:cubicBezTo>
                <a:cubicBezTo>
                  <a:pt x="2208" y="717"/>
                  <a:pt x="2215" y="713"/>
                  <a:pt x="2215" y="707"/>
                </a:cubicBezTo>
                <a:cubicBezTo>
                  <a:pt x="2216" y="701"/>
                  <a:pt x="2210" y="697"/>
                  <a:pt x="2203" y="697"/>
                </a:cubicBezTo>
                <a:cubicBezTo>
                  <a:pt x="2203" y="697"/>
                  <a:pt x="2203" y="697"/>
                  <a:pt x="2203" y="697"/>
                </a:cubicBezTo>
                <a:moveTo>
                  <a:pt x="2241" y="697"/>
                </a:moveTo>
                <a:cubicBezTo>
                  <a:pt x="2233" y="697"/>
                  <a:pt x="2227" y="701"/>
                  <a:pt x="2226" y="707"/>
                </a:cubicBezTo>
                <a:cubicBezTo>
                  <a:pt x="2226" y="713"/>
                  <a:pt x="2231" y="717"/>
                  <a:pt x="2239" y="717"/>
                </a:cubicBezTo>
                <a:cubicBezTo>
                  <a:pt x="2246" y="717"/>
                  <a:pt x="2253" y="713"/>
                  <a:pt x="2253" y="707"/>
                </a:cubicBezTo>
                <a:cubicBezTo>
                  <a:pt x="2254" y="701"/>
                  <a:pt x="2248" y="697"/>
                  <a:pt x="2241" y="697"/>
                </a:cubicBezTo>
                <a:cubicBezTo>
                  <a:pt x="2241" y="697"/>
                  <a:pt x="2241" y="697"/>
                  <a:pt x="2241" y="697"/>
                </a:cubicBezTo>
                <a:moveTo>
                  <a:pt x="2279" y="697"/>
                </a:moveTo>
                <a:cubicBezTo>
                  <a:pt x="2271" y="697"/>
                  <a:pt x="2265" y="701"/>
                  <a:pt x="2265" y="707"/>
                </a:cubicBezTo>
                <a:cubicBezTo>
                  <a:pt x="2264" y="712"/>
                  <a:pt x="2270" y="717"/>
                  <a:pt x="2277" y="717"/>
                </a:cubicBezTo>
                <a:cubicBezTo>
                  <a:pt x="2285" y="717"/>
                  <a:pt x="2291" y="712"/>
                  <a:pt x="2291" y="707"/>
                </a:cubicBezTo>
                <a:cubicBezTo>
                  <a:pt x="2292" y="701"/>
                  <a:pt x="2286" y="697"/>
                  <a:pt x="2279" y="697"/>
                </a:cubicBezTo>
                <a:cubicBezTo>
                  <a:pt x="2279" y="697"/>
                  <a:pt x="2279" y="697"/>
                  <a:pt x="2279" y="697"/>
                </a:cubicBezTo>
                <a:moveTo>
                  <a:pt x="2317" y="696"/>
                </a:moveTo>
                <a:cubicBezTo>
                  <a:pt x="2309" y="696"/>
                  <a:pt x="2303" y="701"/>
                  <a:pt x="2303" y="707"/>
                </a:cubicBezTo>
                <a:cubicBezTo>
                  <a:pt x="2302" y="712"/>
                  <a:pt x="2308" y="717"/>
                  <a:pt x="2315" y="717"/>
                </a:cubicBezTo>
                <a:cubicBezTo>
                  <a:pt x="2323" y="717"/>
                  <a:pt x="2329" y="712"/>
                  <a:pt x="2329" y="707"/>
                </a:cubicBezTo>
                <a:cubicBezTo>
                  <a:pt x="2330" y="701"/>
                  <a:pt x="2324" y="696"/>
                  <a:pt x="2317" y="696"/>
                </a:cubicBezTo>
                <a:cubicBezTo>
                  <a:pt x="2317" y="696"/>
                  <a:pt x="2317" y="696"/>
                  <a:pt x="2317" y="696"/>
                </a:cubicBezTo>
                <a:moveTo>
                  <a:pt x="2355" y="696"/>
                </a:moveTo>
                <a:cubicBezTo>
                  <a:pt x="2347" y="696"/>
                  <a:pt x="2341" y="701"/>
                  <a:pt x="2341" y="706"/>
                </a:cubicBezTo>
                <a:cubicBezTo>
                  <a:pt x="2341" y="712"/>
                  <a:pt x="2346" y="717"/>
                  <a:pt x="2354" y="717"/>
                </a:cubicBezTo>
                <a:cubicBezTo>
                  <a:pt x="2361" y="717"/>
                  <a:pt x="2367" y="712"/>
                  <a:pt x="2368" y="706"/>
                </a:cubicBezTo>
                <a:cubicBezTo>
                  <a:pt x="2368" y="701"/>
                  <a:pt x="2362" y="696"/>
                  <a:pt x="2355" y="696"/>
                </a:cubicBezTo>
                <a:cubicBezTo>
                  <a:pt x="2355" y="696"/>
                  <a:pt x="2355" y="696"/>
                  <a:pt x="2355" y="696"/>
                </a:cubicBezTo>
                <a:moveTo>
                  <a:pt x="2393" y="696"/>
                </a:moveTo>
                <a:cubicBezTo>
                  <a:pt x="2386" y="696"/>
                  <a:pt x="2380" y="701"/>
                  <a:pt x="2380" y="706"/>
                </a:cubicBezTo>
                <a:cubicBezTo>
                  <a:pt x="2379" y="712"/>
                  <a:pt x="2385" y="716"/>
                  <a:pt x="2393" y="716"/>
                </a:cubicBezTo>
                <a:cubicBezTo>
                  <a:pt x="2400" y="716"/>
                  <a:pt x="2406" y="712"/>
                  <a:pt x="2406" y="706"/>
                </a:cubicBezTo>
                <a:cubicBezTo>
                  <a:pt x="2406" y="700"/>
                  <a:pt x="2401" y="696"/>
                  <a:pt x="2393" y="696"/>
                </a:cubicBezTo>
                <a:cubicBezTo>
                  <a:pt x="2393" y="696"/>
                  <a:pt x="2393" y="696"/>
                  <a:pt x="2393" y="696"/>
                </a:cubicBezTo>
                <a:moveTo>
                  <a:pt x="2431" y="696"/>
                </a:moveTo>
                <a:cubicBezTo>
                  <a:pt x="2424" y="696"/>
                  <a:pt x="2418" y="700"/>
                  <a:pt x="2417" y="706"/>
                </a:cubicBezTo>
                <a:cubicBezTo>
                  <a:pt x="2417" y="712"/>
                  <a:pt x="2423" y="716"/>
                  <a:pt x="2431" y="716"/>
                </a:cubicBezTo>
                <a:cubicBezTo>
                  <a:pt x="2438" y="716"/>
                  <a:pt x="2444" y="712"/>
                  <a:pt x="2444" y="706"/>
                </a:cubicBezTo>
                <a:cubicBezTo>
                  <a:pt x="2444" y="700"/>
                  <a:pt x="2438" y="696"/>
                  <a:pt x="2431" y="696"/>
                </a:cubicBezTo>
                <a:cubicBezTo>
                  <a:pt x="2431" y="696"/>
                  <a:pt x="2431" y="696"/>
                  <a:pt x="2431" y="696"/>
                </a:cubicBezTo>
                <a:moveTo>
                  <a:pt x="2469" y="696"/>
                </a:moveTo>
                <a:cubicBezTo>
                  <a:pt x="2462" y="696"/>
                  <a:pt x="2456" y="700"/>
                  <a:pt x="2456" y="706"/>
                </a:cubicBezTo>
                <a:cubicBezTo>
                  <a:pt x="2456" y="711"/>
                  <a:pt x="2462" y="716"/>
                  <a:pt x="2469" y="716"/>
                </a:cubicBezTo>
                <a:cubicBezTo>
                  <a:pt x="2476" y="716"/>
                  <a:pt x="2482" y="711"/>
                  <a:pt x="2482" y="706"/>
                </a:cubicBezTo>
                <a:cubicBezTo>
                  <a:pt x="2482" y="700"/>
                  <a:pt x="2477" y="696"/>
                  <a:pt x="2469" y="696"/>
                </a:cubicBezTo>
                <a:cubicBezTo>
                  <a:pt x="2469" y="696"/>
                  <a:pt x="2469" y="696"/>
                  <a:pt x="2469" y="696"/>
                </a:cubicBezTo>
                <a:moveTo>
                  <a:pt x="2507" y="695"/>
                </a:moveTo>
                <a:cubicBezTo>
                  <a:pt x="2500" y="695"/>
                  <a:pt x="2494" y="700"/>
                  <a:pt x="2494" y="706"/>
                </a:cubicBezTo>
                <a:cubicBezTo>
                  <a:pt x="2494" y="711"/>
                  <a:pt x="2500" y="716"/>
                  <a:pt x="2507" y="716"/>
                </a:cubicBezTo>
                <a:cubicBezTo>
                  <a:pt x="2515" y="716"/>
                  <a:pt x="2520" y="711"/>
                  <a:pt x="2520" y="706"/>
                </a:cubicBezTo>
                <a:cubicBezTo>
                  <a:pt x="2520" y="700"/>
                  <a:pt x="2514" y="695"/>
                  <a:pt x="2507" y="695"/>
                </a:cubicBezTo>
                <a:cubicBezTo>
                  <a:pt x="2507" y="695"/>
                  <a:pt x="2507" y="695"/>
                  <a:pt x="2507" y="695"/>
                </a:cubicBezTo>
                <a:moveTo>
                  <a:pt x="2545" y="695"/>
                </a:moveTo>
                <a:cubicBezTo>
                  <a:pt x="2538" y="695"/>
                  <a:pt x="2532" y="700"/>
                  <a:pt x="2532" y="705"/>
                </a:cubicBezTo>
                <a:cubicBezTo>
                  <a:pt x="2532" y="711"/>
                  <a:pt x="2538" y="716"/>
                  <a:pt x="2546" y="716"/>
                </a:cubicBezTo>
                <a:cubicBezTo>
                  <a:pt x="2553" y="716"/>
                  <a:pt x="2559" y="711"/>
                  <a:pt x="2559" y="705"/>
                </a:cubicBezTo>
                <a:cubicBezTo>
                  <a:pt x="2559" y="700"/>
                  <a:pt x="2553" y="695"/>
                  <a:pt x="2545" y="695"/>
                </a:cubicBezTo>
                <a:cubicBezTo>
                  <a:pt x="2545" y="695"/>
                  <a:pt x="2545" y="695"/>
                  <a:pt x="2545" y="695"/>
                </a:cubicBezTo>
                <a:moveTo>
                  <a:pt x="2580" y="695"/>
                </a:moveTo>
                <a:cubicBezTo>
                  <a:pt x="2572" y="695"/>
                  <a:pt x="2566" y="700"/>
                  <a:pt x="2567" y="705"/>
                </a:cubicBezTo>
                <a:cubicBezTo>
                  <a:pt x="2567" y="711"/>
                  <a:pt x="2573" y="715"/>
                  <a:pt x="2580" y="715"/>
                </a:cubicBezTo>
                <a:cubicBezTo>
                  <a:pt x="2588" y="715"/>
                  <a:pt x="2593" y="711"/>
                  <a:pt x="2593" y="705"/>
                </a:cubicBezTo>
                <a:cubicBezTo>
                  <a:pt x="2593" y="699"/>
                  <a:pt x="2587" y="695"/>
                  <a:pt x="2580" y="695"/>
                </a:cubicBezTo>
                <a:cubicBezTo>
                  <a:pt x="2580" y="695"/>
                  <a:pt x="2580" y="695"/>
                  <a:pt x="2580" y="695"/>
                </a:cubicBezTo>
                <a:moveTo>
                  <a:pt x="2812" y="695"/>
                </a:moveTo>
                <a:cubicBezTo>
                  <a:pt x="2805" y="695"/>
                  <a:pt x="2799" y="699"/>
                  <a:pt x="2800" y="705"/>
                </a:cubicBezTo>
                <a:cubicBezTo>
                  <a:pt x="2800" y="711"/>
                  <a:pt x="2807" y="715"/>
                  <a:pt x="2814" y="715"/>
                </a:cubicBezTo>
                <a:cubicBezTo>
                  <a:pt x="2822" y="715"/>
                  <a:pt x="2827" y="711"/>
                  <a:pt x="2826" y="705"/>
                </a:cubicBezTo>
                <a:cubicBezTo>
                  <a:pt x="2826" y="699"/>
                  <a:pt x="2819" y="695"/>
                  <a:pt x="2812" y="695"/>
                </a:cubicBezTo>
                <a:cubicBezTo>
                  <a:pt x="2812" y="695"/>
                  <a:pt x="2812" y="695"/>
                  <a:pt x="2812" y="695"/>
                </a:cubicBezTo>
                <a:moveTo>
                  <a:pt x="2885" y="694"/>
                </a:moveTo>
                <a:cubicBezTo>
                  <a:pt x="2878" y="694"/>
                  <a:pt x="2873" y="698"/>
                  <a:pt x="2874" y="704"/>
                </a:cubicBezTo>
                <a:cubicBezTo>
                  <a:pt x="2874" y="709"/>
                  <a:pt x="2881" y="714"/>
                  <a:pt x="2888" y="714"/>
                </a:cubicBezTo>
                <a:cubicBezTo>
                  <a:pt x="2896" y="714"/>
                  <a:pt x="2901" y="709"/>
                  <a:pt x="2900" y="704"/>
                </a:cubicBezTo>
                <a:cubicBezTo>
                  <a:pt x="2899" y="698"/>
                  <a:pt x="2893" y="694"/>
                  <a:pt x="2886" y="694"/>
                </a:cubicBezTo>
                <a:cubicBezTo>
                  <a:pt x="2886" y="694"/>
                  <a:pt x="2886" y="694"/>
                  <a:pt x="2885" y="694"/>
                </a:cubicBezTo>
                <a:moveTo>
                  <a:pt x="2660" y="693"/>
                </a:moveTo>
                <a:cubicBezTo>
                  <a:pt x="2653" y="694"/>
                  <a:pt x="2647" y="698"/>
                  <a:pt x="2648" y="704"/>
                </a:cubicBezTo>
                <a:cubicBezTo>
                  <a:pt x="2648" y="709"/>
                  <a:pt x="2654" y="714"/>
                  <a:pt x="2662" y="714"/>
                </a:cubicBezTo>
                <a:cubicBezTo>
                  <a:pt x="2669" y="714"/>
                  <a:pt x="2675" y="709"/>
                  <a:pt x="2674" y="704"/>
                </a:cubicBezTo>
                <a:cubicBezTo>
                  <a:pt x="2674" y="698"/>
                  <a:pt x="2668" y="693"/>
                  <a:pt x="2660" y="693"/>
                </a:cubicBezTo>
                <a:cubicBezTo>
                  <a:pt x="2660" y="693"/>
                  <a:pt x="2660" y="693"/>
                  <a:pt x="2660" y="693"/>
                </a:cubicBezTo>
                <a:moveTo>
                  <a:pt x="2924" y="693"/>
                </a:moveTo>
                <a:cubicBezTo>
                  <a:pt x="2916" y="693"/>
                  <a:pt x="2911" y="698"/>
                  <a:pt x="2912" y="704"/>
                </a:cubicBezTo>
                <a:cubicBezTo>
                  <a:pt x="2913" y="709"/>
                  <a:pt x="2919" y="714"/>
                  <a:pt x="2927" y="714"/>
                </a:cubicBezTo>
                <a:cubicBezTo>
                  <a:pt x="2934" y="714"/>
                  <a:pt x="2939" y="709"/>
                  <a:pt x="2939" y="703"/>
                </a:cubicBezTo>
                <a:cubicBezTo>
                  <a:pt x="2938" y="698"/>
                  <a:pt x="2931" y="693"/>
                  <a:pt x="2924" y="693"/>
                </a:cubicBezTo>
                <a:cubicBezTo>
                  <a:pt x="2924" y="693"/>
                  <a:pt x="2924" y="693"/>
                  <a:pt x="2924" y="693"/>
                </a:cubicBezTo>
                <a:moveTo>
                  <a:pt x="2698" y="693"/>
                </a:moveTo>
                <a:cubicBezTo>
                  <a:pt x="2690" y="693"/>
                  <a:pt x="2685" y="698"/>
                  <a:pt x="2685" y="704"/>
                </a:cubicBezTo>
                <a:cubicBezTo>
                  <a:pt x="2686" y="709"/>
                  <a:pt x="2692" y="714"/>
                  <a:pt x="2699" y="714"/>
                </a:cubicBezTo>
                <a:cubicBezTo>
                  <a:pt x="2707" y="714"/>
                  <a:pt x="2712" y="709"/>
                  <a:pt x="2712" y="703"/>
                </a:cubicBezTo>
                <a:cubicBezTo>
                  <a:pt x="2711" y="698"/>
                  <a:pt x="2705" y="693"/>
                  <a:pt x="2698" y="693"/>
                </a:cubicBezTo>
                <a:cubicBezTo>
                  <a:pt x="2698" y="693"/>
                  <a:pt x="2698" y="693"/>
                  <a:pt x="2698" y="693"/>
                </a:cubicBezTo>
                <a:moveTo>
                  <a:pt x="2962" y="693"/>
                </a:moveTo>
                <a:cubicBezTo>
                  <a:pt x="2955" y="693"/>
                  <a:pt x="2949" y="698"/>
                  <a:pt x="2950" y="703"/>
                </a:cubicBezTo>
                <a:cubicBezTo>
                  <a:pt x="2951" y="709"/>
                  <a:pt x="2958" y="714"/>
                  <a:pt x="2965" y="714"/>
                </a:cubicBezTo>
                <a:cubicBezTo>
                  <a:pt x="2973" y="714"/>
                  <a:pt x="2978" y="709"/>
                  <a:pt x="2977" y="703"/>
                </a:cubicBezTo>
                <a:cubicBezTo>
                  <a:pt x="2976" y="698"/>
                  <a:pt x="2969" y="693"/>
                  <a:pt x="2962" y="693"/>
                </a:cubicBezTo>
                <a:cubicBezTo>
                  <a:pt x="2962" y="693"/>
                  <a:pt x="2962" y="693"/>
                  <a:pt x="2962" y="693"/>
                </a:cubicBezTo>
                <a:moveTo>
                  <a:pt x="2736" y="693"/>
                </a:moveTo>
                <a:cubicBezTo>
                  <a:pt x="2728" y="693"/>
                  <a:pt x="2723" y="698"/>
                  <a:pt x="2723" y="703"/>
                </a:cubicBezTo>
                <a:cubicBezTo>
                  <a:pt x="2724" y="709"/>
                  <a:pt x="2730" y="714"/>
                  <a:pt x="2737" y="714"/>
                </a:cubicBezTo>
                <a:cubicBezTo>
                  <a:pt x="2745" y="714"/>
                  <a:pt x="2750" y="709"/>
                  <a:pt x="2750" y="703"/>
                </a:cubicBezTo>
                <a:cubicBezTo>
                  <a:pt x="2749" y="698"/>
                  <a:pt x="2743" y="693"/>
                  <a:pt x="2736" y="693"/>
                </a:cubicBezTo>
                <a:cubicBezTo>
                  <a:pt x="2736" y="693"/>
                  <a:pt x="2736" y="693"/>
                  <a:pt x="2736" y="693"/>
                </a:cubicBezTo>
                <a:moveTo>
                  <a:pt x="3000" y="693"/>
                </a:moveTo>
                <a:cubicBezTo>
                  <a:pt x="2993" y="693"/>
                  <a:pt x="2987" y="698"/>
                  <a:pt x="2988" y="703"/>
                </a:cubicBezTo>
                <a:cubicBezTo>
                  <a:pt x="2989" y="709"/>
                  <a:pt x="2996" y="713"/>
                  <a:pt x="3004" y="713"/>
                </a:cubicBezTo>
                <a:cubicBezTo>
                  <a:pt x="3011" y="713"/>
                  <a:pt x="3016" y="709"/>
                  <a:pt x="3015" y="703"/>
                </a:cubicBezTo>
                <a:cubicBezTo>
                  <a:pt x="3014" y="697"/>
                  <a:pt x="3007" y="693"/>
                  <a:pt x="3000" y="693"/>
                </a:cubicBezTo>
                <a:cubicBezTo>
                  <a:pt x="3000" y="693"/>
                  <a:pt x="3000" y="693"/>
                  <a:pt x="3000" y="693"/>
                </a:cubicBezTo>
                <a:moveTo>
                  <a:pt x="3038" y="693"/>
                </a:moveTo>
                <a:cubicBezTo>
                  <a:pt x="3031" y="693"/>
                  <a:pt x="3025" y="697"/>
                  <a:pt x="3027" y="703"/>
                </a:cubicBezTo>
                <a:cubicBezTo>
                  <a:pt x="3028" y="709"/>
                  <a:pt x="3034" y="713"/>
                  <a:pt x="3042" y="713"/>
                </a:cubicBezTo>
                <a:cubicBezTo>
                  <a:pt x="3049" y="713"/>
                  <a:pt x="3054" y="709"/>
                  <a:pt x="3053" y="703"/>
                </a:cubicBezTo>
                <a:cubicBezTo>
                  <a:pt x="3052" y="697"/>
                  <a:pt x="3045" y="693"/>
                  <a:pt x="3038" y="693"/>
                </a:cubicBezTo>
                <a:cubicBezTo>
                  <a:pt x="3038" y="693"/>
                  <a:pt x="3038" y="693"/>
                  <a:pt x="3038" y="693"/>
                </a:cubicBezTo>
                <a:moveTo>
                  <a:pt x="3076" y="693"/>
                </a:moveTo>
                <a:cubicBezTo>
                  <a:pt x="3068" y="693"/>
                  <a:pt x="3063" y="697"/>
                  <a:pt x="3064" y="703"/>
                </a:cubicBezTo>
                <a:cubicBezTo>
                  <a:pt x="3066" y="708"/>
                  <a:pt x="3072" y="713"/>
                  <a:pt x="3080" y="713"/>
                </a:cubicBezTo>
                <a:cubicBezTo>
                  <a:pt x="3087" y="713"/>
                  <a:pt x="3092" y="708"/>
                  <a:pt x="3091" y="703"/>
                </a:cubicBezTo>
                <a:cubicBezTo>
                  <a:pt x="3090" y="697"/>
                  <a:pt x="3083" y="693"/>
                  <a:pt x="3076" y="693"/>
                </a:cubicBezTo>
                <a:cubicBezTo>
                  <a:pt x="3076" y="693"/>
                  <a:pt x="3076" y="693"/>
                  <a:pt x="3076" y="693"/>
                </a:cubicBezTo>
                <a:moveTo>
                  <a:pt x="3114" y="692"/>
                </a:moveTo>
                <a:cubicBezTo>
                  <a:pt x="3106" y="692"/>
                  <a:pt x="3101" y="697"/>
                  <a:pt x="3103" y="703"/>
                </a:cubicBezTo>
                <a:cubicBezTo>
                  <a:pt x="3104" y="708"/>
                  <a:pt x="3111" y="713"/>
                  <a:pt x="3118" y="713"/>
                </a:cubicBezTo>
                <a:cubicBezTo>
                  <a:pt x="3126" y="713"/>
                  <a:pt x="3131" y="708"/>
                  <a:pt x="3129" y="702"/>
                </a:cubicBezTo>
                <a:cubicBezTo>
                  <a:pt x="3128" y="697"/>
                  <a:pt x="3121" y="692"/>
                  <a:pt x="3114" y="692"/>
                </a:cubicBezTo>
                <a:cubicBezTo>
                  <a:pt x="3114" y="692"/>
                  <a:pt x="3114" y="692"/>
                  <a:pt x="3114" y="692"/>
                </a:cubicBezTo>
                <a:moveTo>
                  <a:pt x="3153" y="692"/>
                </a:moveTo>
                <a:cubicBezTo>
                  <a:pt x="3146" y="692"/>
                  <a:pt x="3141" y="697"/>
                  <a:pt x="3142" y="702"/>
                </a:cubicBezTo>
                <a:cubicBezTo>
                  <a:pt x="3143" y="708"/>
                  <a:pt x="3150" y="713"/>
                  <a:pt x="3158" y="713"/>
                </a:cubicBezTo>
                <a:cubicBezTo>
                  <a:pt x="3165" y="713"/>
                  <a:pt x="3170" y="708"/>
                  <a:pt x="3169" y="702"/>
                </a:cubicBezTo>
                <a:cubicBezTo>
                  <a:pt x="3167" y="697"/>
                  <a:pt x="3160" y="692"/>
                  <a:pt x="3153" y="692"/>
                </a:cubicBezTo>
                <a:cubicBezTo>
                  <a:pt x="3153" y="692"/>
                  <a:pt x="3153" y="692"/>
                  <a:pt x="3153" y="692"/>
                </a:cubicBezTo>
                <a:moveTo>
                  <a:pt x="3191" y="692"/>
                </a:moveTo>
                <a:cubicBezTo>
                  <a:pt x="3184" y="692"/>
                  <a:pt x="3179" y="697"/>
                  <a:pt x="3180" y="702"/>
                </a:cubicBezTo>
                <a:cubicBezTo>
                  <a:pt x="3181" y="708"/>
                  <a:pt x="3188" y="712"/>
                  <a:pt x="3196" y="712"/>
                </a:cubicBezTo>
                <a:cubicBezTo>
                  <a:pt x="3203" y="712"/>
                  <a:pt x="3208" y="708"/>
                  <a:pt x="3207" y="702"/>
                </a:cubicBezTo>
                <a:cubicBezTo>
                  <a:pt x="3205" y="696"/>
                  <a:pt x="3198" y="692"/>
                  <a:pt x="3191" y="692"/>
                </a:cubicBezTo>
                <a:cubicBezTo>
                  <a:pt x="3191" y="692"/>
                  <a:pt x="3191" y="692"/>
                  <a:pt x="3191" y="692"/>
                </a:cubicBezTo>
                <a:moveTo>
                  <a:pt x="3687" y="692"/>
                </a:moveTo>
                <a:cubicBezTo>
                  <a:pt x="3679" y="692"/>
                  <a:pt x="3675" y="696"/>
                  <a:pt x="3677" y="702"/>
                </a:cubicBezTo>
                <a:cubicBezTo>
                  <a:pt x="3680" y="708"/>
                  <a:pt x="3688" y="712"/>
                  <a:pt x="3695" y="712"/>
                </a:cubicBezTo>
                <a:cubicBezTo>
                  <a:pt x="3702" y="712"/>
                  <a:pt x="3707" y="708"/>
                  <a:pt x="3704" y="702"/>
                </a:cubicBezTo>
                <a:cubicBezTo>
                  <a:pt x="3702" y="696"/>
                  <a:pt x="3694" y="692"/>
                  <a:pt x="3687" y="692"/>
                </a:cubicBezTo>
                <a:cubicBezTo>
                  <a:pt x="3687" y="692"/>
                  <a:pt x="3687" y="692"/>
                  <a:pt x="3687" y="692"/>
                </a:cubicBezTo>
                <a:moveTo>
                  <a:pt x="3229" y="692"/>
                </a:moveTo>
                <a:cubicBezTo>
                  <a:pt x="3222" y="692"/>
                  <a:pt x="3217" y="696"/>
                  <a:pt x="3218" y="702"/>
                </a:cubicBezTo>
                <a:cubicBezTo>
                  <a:pt x="3220" y="708"/>
                  <a:pt x="3227" y="712"/>
                  <a:pt x="3234" y="712"/>
                </a:cubicBezTo>
                <a:cubicBezTo>
                  <a:pt x="3242" y="712"/>
                  <a:pt x="3246" y="708"/>
                  <a:pt x="3245" y="702"/>
                </a:cubicBezTo>
                <a:cubicBezTo>
                  <a:pt x="3243" y="696"/>
                  <a:pt x="3236" y="692"/>
                  <a:pt x="3229" y="692"/>
                </a:cubicBezTo>
                <a:cubicBezTo>
                  <a:pt x="3229" y="692"/>
                  <a:pt x="3229" y="692"/>
                  <a:pt x="3229" y="692"/>
                </a:cubicBezTo>
                <a:moveTo>
                  <a:pt x="3724" y="692"/>
                </a:moveTo>
                <a:cubicBezTo>
                  <a:pt x="3717" y="692"/>
                  <a:pt x="3713" y="696"/>
                  <a:pt x="3715" y="702"/>
                </a:cubicBezTo>
                <a:cubicBezTo>
                  <a:pt x="3718" y="708"/>
                  <a:pt x="3726" y="712"/>
                  <a:pt x="3733" y="712"/>
                </a:cubicBezTo>
                <a:cubicBezTo>
                  <a:pt x="3741" y="712"/>
                  <a:pt x="3745" y="707"/>
                  <a:pt x="3742" y="702"/>
                </a:cubicBezTo>
                <a:cubicBezTo>
                  <a:pt x="3740" y="696"/>
                  <a:pt x="3732" y="692"/>
                  <a:pt x="3724" y="692"/>
                </a:cubicBezTo>
                <a:cubicBezTo>
                  <a:pt x="3724" y="692"/>
                  <a:pt x="3724" y="692"/>
                  <a:pt x="3724" y="692"/>
                </a:cubicBezTo>
                <a:moveTo>
                  <a:pt x="2774" y="692"/>
                </a:moveTo>
                <a:cubicBezTo>
                  <a:pt x="2766" y="692"/>
                  <a:pt x="2761" y="696"/>
                  <a:pt x="2761" y="702"/>
                </a:cubicBezTo>
                <a:cubicBezTo>
                  <a:pt x="2762" y="708"/>
                  <a:pt x="2768" y="712"/>
                  <a:pt x="2776" y="712"/>
                </a:cubicBezTo>
                <a:cubicBezTo>
                  <a:pt x="2783" y="712"/>
                  <a:pt x="2789" y="707"/>
                  <a:pt x="2788" y="702"/>
                </a:cubicBezTo>
                <a:cubicBezTo>
                  <a:pt x="2787" y="696"/>
                  <a:pt x="2781" y="692"/>
                  <a:pt x="2774" y="692"/>
                </a:cubicBezTo>
                <a:cubicBezTo>
                  <a:pt x="2774" y="692"/>
                  <a:pt x="2774" y="692"/>
                  <a:pt x="2774" y="692"/>
                </a:cubicBezTo>
                <a:moveTo>
                  <a:pt x="3267" y="691"/>
                </a:moveTo>
                <a:cubicBezTo>
                  <a:pt x="3260" y="692"/>
                  <a:pt x="3255" y="696"/>
                  <a:pt x="3257" y="702"/>
                </a:cubicBezTo>
                <a:cubicBezTo>
                  <a:pt x="3258" y="708"/>
                  <a:pt x="3266" y="712"/>
                  <a:pt x="3273" y="712"/>
                </a:cubicBezTo>
                <a:cubicBezTo>
                  <a:pt x="3280" y="712"/>
                  <a:pt x="3285" y="707"/>
                  <a:pt x="3284" y="702"/>
                </a:cubicBezTo>
                <a:cubicBezTo>
                  <a:pt x="3282" y="696"/>
                  <a:pt x="3275" y="691"/>
                  <a:pt x="3267" y="691"/>
                </a:cubicBezTo>
                <a:cubicBezTo>
                  <a:pt x="3267" y="691"/>
                  <a:pt x="3267" y="691"/>
                  <a:pt x="3267" y="691"/>
                </a:cubicBezTo>
                <a:moveTo>
                  <a:pt x="3762" y="691"/>
                </a:moveTo>
                <a:cubicBezTo>
                  <a:pt x="3755" y="691"/>
                  <a:pt x="3751" y="696"/>
                  <a:pt x="3754" y="702"/>
                </a:cubicBezTo>
                <a:cubicBezTo>
                  <a:pt x="3756" y="707"/>
                  <a:pt x="3764" y="712"/>
                  <a:pt x="3772" y="712"/>
                </a:cubicBezTo>
                <a:cubicBezTo>
                  <a:pt x="3779" y="712"/>
                  <a:pt x="3783" y="707"/>
                  <a:pt x="3780" y="702"/>
                </a:cubicBezTo>
                <a:cubicBezTo>
                  <a:pt x="3778" y="696"/>
                  <a:pt x="3770" y="691"/>
                  <a:pt x="3763" y="691"/>
                </a:cubicBezTo>
                <a:cubicBezTo>
                  <a:pt x="3762" y="691"/>
                  <a:pt x="3762" y="691"/>
                  <a:pt x="3762" y="691"/>
                </a:cubicBezTo>
                <a:moveTo>
                  <a:pt x="3305" y="691"/>
                </a:moveTo>
                <a:cubicBezTo>
                  <a:pt x="3298" y="691"/>
                  <a:pt x="3293" y="696"/>
                  <a:pt x="3295" y="702"/>
                </a:cubicBezTo>
                <a:cubicBezTo>
                  <a:pt x="3296" y="707"/>
                  <a:pt x="3304" y="712"/>
                  <a:pt x="3311" y="712"/>
                </a:cubicBezTo>
                <a:cubicBezTo>
                  <a:pt x="3318" y="712"/>
                  <a:pt x="3323" y="707"/>
                  <a:pt x="3321" y="701"/>
                </a:cubicBezTo>
                <a:cubicBezTo>
                  <a:pt x="3320" y="696"/>
                  <a:pt x="3313" y="691"/>
                  <a:pt x="3305" y="691"/>
                </a:cubicBezTo>
                <a:cubicBezTo>
                  <a:pt x="3305" y="691"/>
                  <a:pt x="3305" y="691"/>
                  <a:pt x="3305" y="691"/>
                </a:cubicBezTo>
                <a:moveTo>
                  <a:pt x="3803" y="691"/>
                </a:moveTo>
                <a:cubicBezTo>
                  <a:pt x="3795" y="691"/>
                  <a:pt x="3792" y="696"/>
                  <a:pt x="3794" y="702"/>
                </a:cubicBezTo>
                <a:cubicBezTo>
                  <a:pt x="3797" y="707"/>
                  <a:pt x="3805" y="712"/>
                  <a:pt x="3812" y="712"/>
                </a:cubicBezTo>
                <a:cubicBezTo>
                  <a:pt x="3820" y="712"/>
                  <a:pt x="3823" y="707"/>
                  <a:pt x="3821" y="701"/>
                </a:cubicBezTo>
                <a:cubicBezTo>
                  <a:pt x="3818" y="696"/>
                  <a:pt x="3810" y="691"/>
                  <a:pt x="3803" y="691"/>
                </a:cubicBezTo>
                <a:cubicBezTo>
                  <a:pt x="3803" y="691"/>
                  <a:pt x="3803" y="691"/>
                  <a:pt x="3803" y="691"/>
                </a:cubicBezTo>
                <a:moveTo>
                  <a:pt x="3343" y="691"/>
                </a:moveTo>
                <a:cubicBezTo>
                  <a:pt x="3336" y="691"/>
                  <a:pt x="3331" y="696"/>
                  <a:pt x="3333" y="701"/>
                </a:cubicBezTo>
                <a:cubicBezTo>
                  <a:pt x="3335" y="707"/>
                  <a:pt x="3342" y="712"/>
                  <a:pt x="3349" y="712"/>
                </a:cubicBezTo>
                <a:cubicBezTo>
                  <a:pt x="3357" y="712"/>
                  <a:pt x="3361" y="707"/>
                  <a:pt x="3360" y="701"/>
                </a:cubicBezTo>
                <a:cubicBezTo>
                  <a:pt x="3358" y="696"/>
                  <a:pt x="3351" y="691"/>
                  <a:pt x="3343" y="691"/>
                </a:cubicBezTo>
                <a:cubicBezTo>
                  <a:pt x="3343" y="691"/>
                  <a:pt x="3343" y="691"/>
                  <a:pt x="3343" y="691"/>
                </a:cubicBezTo>
                <a:moveTo>
                  <a:pt x="2622" y="691"/>
                </a:moveTo>
                <a:cubicBezTo>
                  <a:pt x="2615" y="691"/>
                  <a:pt x="2609" y="696"/>
                  <a:pt x="2609" y="701"/>
                </a:cubicBezTo>
                <a:cubicBezTo>
                  <a:pt x="2610" y="707"/>
                  <a:pt x="2616" y="712"/>
                  <a:pt x="2623" y="712"/>
                </a:cubicBezTo>
                <a:cubicBezTo>
                  <a:pt x="2631" y="711"/>
                  <a:pt x="2636" y="707"/>
                  <a:pt x="2636" y="701"/>
                </a:cubicBezTo>
                <a:cubicBezTo>
                  <a:pt x="2636" y="696"/>
                  <a:pt x="2630" y="691"/>
                  <a:pt x="2622" y="691"/>
                </a:cubicBezTo>
                <a:cubicBezTo>
                  <a:pt x="2622" y="691"/>
                  <a:pt x="2622" y="691"/>
                  <a:pt x="2622" y="691"/>
                </a:cubicBezTo>
                <a:moveTo>
                  <a:pt x="3840" y="691"/>
                </a:moveTo>
                <a:cubicBezTo>
                  <a:pt x="3833" y="691"/>
                  <a:pt x="3829" y="696"/>
                  <a:pt x="3832" y="701"/>
                </a:cubicBezTo>
                <a:cubicBezTo>
                  <a:pt x="3834" y="707"/>
                  <a:pt x="3843" y="712"/>
                  <a:pt x="3850" y="712"/>
                </a:cubicBezTo>
                <a:cubicBezTo>
                  <a:pt x="3857" y="711"/>
                  <a:pt x="3861" y="707"/>
                  <a:pt x="3858" y="701"/>
                </a:cubicBezTo>
                <a:cubicBezTo>
                  <a:pt x="3856" y="696"/>
                  <a:pt x="3848" y="691"/>
                  <a:pt x="3840" y="691"/>
                </a:cubicBezTo>
                <a:cubicBezTo>
                  <a:pt x="3840" y="691"/>
                  <a:pt x="3840" y="691"/>
                  <a:pt x="3840" y="691"/>
                </a:cubicBezTo>
                <a:moveTo>
                  <a:pt x="3381" y="691"/>
                </a:moveTo>
                <a:cubicBezTo>
                  <a:pt x="3374" y="691"/>
                  <a:pt x="3369" y="696"/>
                  <a:pt x="3371" y="701"/>
                </a:cubicBezTo>
                <a:cubicBezTo>
                  <a:pt x="3373" y="707"/>
                  <a:pt x="3380" y="711"/>
                  <a:pt x="3387" y="711"/>
                </a:cubicBezTo>
                <a:cubicBezTo>
                  <a:pt x="3395" y="711"/>
                  <a:pt x="3399" y="707"/>
                  <a:pt x="3397" y="701"/>
                </a:cubicBezTo>
                <a:cubicBezTo>
                  <a:pt x="3396" y="695"/>
                  <a:pt x="3388" y="691"/>
                  <a:pt x="3381" y="691"/>
                </a:cubicBezTo>
                <a:cubicBezTo>
                  <a:pt x="3381" y="691"/>
                  <a:pt x="3381" y="691"/>
                  <a:pt x="3381" y="691"/>
                </a:cubicBezTo>
                <a:moveTo>
                  <a:pt x="3878" y="691"/>
                </a:moveTo>
                <a:cubicBezTo>
                  <a:pt x="3871" y="691"/>
                  <a:pt x="3867" y="695"/>
                  <a:pt x="3870" y="701"/>
                </a:cubicBezTo>
                <a:cubicBezTo>
                  <a:pt x="3872" y="707"/>
                  <a:pt x="3881" y="711"/>
                  <a:pt x="3888" y="711"/>
                </a:cubicBezTo>
                <a:cubicBezTo>
                  <a:pt x="3895" y="711"/>
                  <a:pt x="3899" y="707"/>
                  <a:pt x="3896" y="701"/>
                </a:cubicBezTo>
                <a:cubicBezTo>
                  <a:pt x="3894" y="695"/>
                  <a:pt x="3885" y="691"/>
                  <a:pt x="3878" y="691"/>
                </a:cubicBezTo>
                <a:cubicBezTo>
                  <a:pt x="3878" y="691"/>
                  <a:pt x="3878" y="691"/>
                  <a:pt x="3878" y="691"/>
                </a:cubicBezTo>
                <a:moveTo>
                  <a:pt x="3419" y="691"/>
                </a:moveTo>
                <a:cubicBezTo>
                  <a:pt x="3412" y="691"/>
                  <a:pt x="3407" y="695"/>
                  <a:pt x="3409" y="701"/>
                </a:cubicBezTo>
                <a:cubicBezTo>
                  <a:pt x="3411" y="707"/>
                  <a:pt x="3418" y="711"/>
                  <a:pt x="3426" y="711"/>
                </a:cubicBezTo>
                <a:cubicBezTo>
                  <a:pt x="3433" y="711"/>
                  <a:pt x="3438" y="707"/>
                  <a:pt x="3436" y="701"/>
                </a:cubicBezTo>
                <a:cubicBezTo>
                  <a:pt x="3434" y="695"/>
                  <a:pt x="3426" y="691"/>
                  <a:pt x="3419" y="691"/>
                </a:cubicBezTo>
                <a:cubicBezTo>
                  <a:pt x="3419" y="691"/>
                  <a:pt x="3419" y="691"/>
                  <a:pt x="3419" y="691"/>
                </a:cubicBezTo>
                <a:moveTo>
                  <a:pt x="3916" y="691"/>
                </a:moveTo>
                <a:cubicBezTo>
                  <a:pt x="3909" y="691"/>
                  <a:pt x="3905" y="695"/>
                  <a:pt x="3908" y="701"/>
                </a:cubicBezTo>
                <a:cubicBezTo>
                  <a:pt x="3911" y="707"/>
                  <a:pt x="3919" y="711"/>
                  <a:pt x="3926" y="711"/>
                </a:cubicBezTo>
                <a:cubicBezTo>
                  <a:pt x="3934" y="711"/>
                  <a:pt x="3937" y="706"/>
                  <a:pt x="3935" y="701"/>
                </a:cubicBezTo>
                <a:cubicBezTo>
                  <a:pt x="3932" y="695"/>
                  <a:pt x="3924" y="691"/>
                  <a:pt x="3916" y="691"/>
                </a:cubicBezTo>
                <a:cubicBezTo>
                  <a:pt x="3916" y="691"/>
                  <a:pt x="3916" y="691"/>
                  <a:pt x="3916" y="691"/>
                </a:cubicBezTo>
                <a:moveTo>
                  <a:pt x="3457" y="690"/>
                </a:moveTo>
                <a:cubicBezTo>
                  <a:pt x="3450" y="691"/>
                  <a:pt x="3446" y="695"/>
                  <a:pt x="3448" y="701"/>
                </a:cubicBezTo>
                <a:cubicBezTo>
                  <a:pt x="3449" y="707"/>
                  <a:pt x="3457" y="711"/>
                  <a:pt x="3464" y="711"/>
                </a:cubicBezTo>
                <a:cubicBezTo>
                  <a:pt x="3472" y="711"/>
                  <a:pt x="3476" y="706"/>
                  <a:pt x="3474" y="701"/>
                </a:cubicBezTo>
                <a:cubicBezTo>
                  <a:pt x="3472" y="695"/>
                  <a:pt x="3465" y="690"/>
                  <a:pt x="3458" y="690"/>
                </a:cubicBezTo>
                <a:cubicBezTo>
                  <a:pt x="3458" y="690"/>
                  <a:pt x="3458" y="690"/>
                  <a:pt x="3457" y="690"/>
                </a:cubicBezTo>
                <a:moveTo>
                  <a:pt x="3955" y="690"/>
                </a:moveTo>
                <a:cubicBezTo>
                  <a:pt x="3947" y="690"/>
                  <a:pt x="3944" y="695"/>
                  <a:pt x="3946" y="701"/>
                </a:cubicBezTo>
                <a:cubicBezTo>
                  <a:pt x="3949" y="706"/>
                  <a:pt x="3958" y="711"/>
                  <a:pt x="3965" y="711"/>
                </a:cubicBezTo>
                <a:cubicBezTo>
                  <a:pt x="3972" y="711"/>
                  <a:pt x="3976" y="706"/>
                  <a:pt x="3973" y="701"/>
                </a:cubicBezTo>
                <a:cubicBezTo>
                  <a:pt x="3970" y="695"/>
                  <a:pt x="3962" y="690"/>
                  <a:pt x="3955" y="690"/>
                </a:cubicBezTo>
                <a:cubicBezTo>
                  <a:pt x="3955" y="690"/>
                  <a:pt x="3955" y="690"/>
                  <a:pt x="3955" y="690"/>
                </a:cubicBezTo>
                <a:moveTo>
                  <a:pt x="3495" y="690"/>
                </a:moveTo>
                <a:cubicBezTo>
                  <a:pt x="3488" y="690"/>
                  <a:pt x="3484" y="695"/>
                  <a:pt x="3486" y="701"/>
                </a:cubicBezTo>
                <a:cubicBezTo>
                  <a:pt x="3487" y="706"/>
                  <a:pt x="3495" y="711"/>
                  <a:pt x="3502" y="711"/>
                </a:cubicBezTo>
                <a:cubicBezTo>
                  <a:pt x="3510" y="711"/>
                  <a:pt x="3514" y="706"/>
                  <a:pt x="3512" y="700"/>
                </a:cubicBezTo>
                <a:cubicBezTo>
                  <a:pt x="3510" y="695"/>
                  <a:pt x="3503" y="690"/>
                  <a:pt x="3495" y="690"/>
                </a:cubicBezTo>
                <a:cubicBezTo>
                  <a:pt x="3495" y="690"/>
                  <a:pt x="3495" y="690"/>
                  <a:pt x="3495" y="690"/>
                </a:cubicBezTo>
                <a:moveTo>
                  <a:pt x="3992" y="690"/>
                </a:moveTo>
                <a:cubicBezTo>
                  <a:pt x="3985" y="690"/>
                  <a:pt x="3981" y="695"/>
                  <a:pt x="3984" y="701"/>
                </a:cubicBezTo>
                <a:cubicBezTo>
                  <a:pt x="3987" y="706"/>
                  <a:pt x="3996" y="711"/>
                  <a:pt x="4003" y="711"/>
                </a:cubicBezTo>
                <a:cubicBezTo>
                  <a:pt x="4010" y="711"/>
                  <a:pt x="4014" y="706"/>
                  <a:pt x="4011" y="700"/>
                </a:cubicBezTo>
                <a:cubicBezTo>
                  <a:pt x="4008" y="695"/>
                  <a:pt x="4000" y="690"/>
                  <a:pt x="3992" y="690"/>
                </a:cubicBezTo>
                <a:cubicBezTo>
                  <a:pt x="3992" y="690"/>
                  <a:pt x="3992" y="690"/>
                  <a:pt x="3992" y="690"/>
                </a:cubicBezTo>
                <a:moveTo>
                  <a:pt x="3533" y="690"/>
                </a:moveTo>
                <a:cubicBezTo>
                  <a:pt x="3526" y="690"/>
                  <a:pt x="3522" y="695"/>
                  <a:pt x="3524" y="700"/>
                </a:cubicBezTo>
                <a:cubicBezTo>
                  <a:pt x="3526" y="706"/>
                  <a:pt x="3533" y="711"/>
                  <a:pt x="3541" y="711"/>
                </a:cubicBezTo>
                <a:cubicBezTo>
                  <a:pt x="3548" y="711"/>
                  <a:pt x="3552" y="706"/>
                  <a:pt x="3550" y="700"/>
                </a:cubicBezTo>
                <a:cubicBezTo>
                  <a:pt x="3548" y="695"/>
                  <a:pt x="3541" y="690"/>
                  <a:pt x="3533" y="690"/>
                </a:cubicBezTo>
                <a:cubicBezTo>
                  <a:pt x="3533" y="690"/>
                  <a:pt x="3533" y="690"/>
                  <a:pt x="3533" y="690"/>
                </a:cubicBezTo>
                <a:moveTo>
                  <a:pt x="4029" y="690"/>
                </a:moveTo>
                <a:cubicBezTo>
                  <a:pt x="4022" y="690"/>
                  <a:pt x="4018" y="695"/>
                  <a:pt x="4021" y="700"/>
                </a:cubicBezTo>
                <a:cubicBezTo>
                  <a:pt x="4024" y="706"/>
                  <a:pt x="4033" y="711"/>
                  <a:pt x="4040" y="711"/>
                </a:cubicBezTo>
                <a:cubicBezTo>
                  <a:pt x="4048" y="710"/>
                  <a:pt x="4051" y="706"/>
                  <a:pt x="4048" y="700"/>
                </a:cubicBezTo>
                <a:cubicBezTo>
                  <a:pt x="4045" y="695"/>
                  <a:pt x="4037" y="690"/>
                  <a:pt x="4029" y="690"/>
                </a:cubicBezTo>
                <a:cubicBezTo>
                  <a:pt x="4029" y="690"/>
                  <a:pt x="4029" y="690"/>
                  <a:pt x="4029" y="690"/>
                </a:cubicBezTo>
                <a:moveTo>
                  <a:pt x="3571" y="690"/>
                </a:moveTo>
                <a:cubicBezTo>
                  <a:pt x="3564" y="690"/>
                  <a:pt x="3559" y="695"/>
                  <a:pt x="3562" y="700"/>
                </a:cubicBezTo>
                <a:cubicBezTo>
                  <a:pt x="3564" y="706"/>
                  <a:pt x="3571" y="710"/>
                  <a:pt x="3579" y="710"/>
                </a:cubicBezTo>
                <a:cubicBezTo>
                  <a:pt x="3586" y="710"/>
                  <a:pt x="3590" y="706"/>
                  <a:pt x="3588" y="700"/>
                </a:cubicBezTo>
                <a:cubicBezTo>
                  <a:pt x="3586" y="694"/>
                  <a:pt x="3578" y="690"/>
                  <a:pt x="3571" y="690"/>
                </a:cubicBezTo>
                <a:cubicBezTo>
                  <a:pt x="3571" y="690"/>
                  <a:pt x="3571" y="690"/>
                  <a:pt x="3571" y="690"/>
                </a:cubicBezTo>
                <a:moveTo>
                  <a:pt x="4061" y="690"/>
                </a:moveTo>
                <a:cubicBezTo>
                  <a:pt x="4053" y="690"/>
                  <a:pt x="4050" y="694"/>
                  <a:pt x="4053" y="700"/>
                </a:cubicBezTo>
                <a:cubicBezTo>
                  <a:pt x="4056" y="706"/>
                  <a:pt x="4064" y="710"/>
                  <a:pt x="4072" y="710"/>
                </a:cubicBezTo>
                <a:cubicBezTo>
                  <a:pt x="4079" y="710"/>
                  <a:pt x="4083" y="706"/>
                  <a:pt x="4080" y="700"/>
                </a:cubicBezTo>
                <a:cubicBezTo>
                  <a:pt x="4076" y="694"/>
                  <a:pt x="4068" y="690"/>
                  <a:pt x="4061" y="690"/>
                </a:cubicBezTo>
                <a:cubicBezTo>
                  <a:pt x="4061" y="690"/>
                  <a:pt x="4061" y="690"/>
                  <a:pt x="4061" y="690"/>
                </a:cubicBezTo>
                <a:moveTo>
                  <a:pt x="3609" y="690"/>
                </a:moveTo>
                <a:cubicBezTo>
                  <a:pt x="3602" y="690"/>
                  <a:pt x="3598" y="694"/>
                  <a:pt x="3600" y="700"/>
                </a:cubicBezTo>
                <a:cubicBezTo>
                  <a:pt x="3602" y="706"/>
                  <a:pt x="3610" y="710"/>
                  <a:pt x="3617" y="710"/>
                </a:cubicBezTo>
                <a:cubicBezTo>
                  <a:pt x="3625" y="710"/>
                  <a:pt x="3629" y="706"/>
                  <a:pt x="3626" y="700"/>
                </a:cubicBezTo>
                <a:cubicBezTo>
                  <a:pt x="3624" y="694"/>
                  <a:pt x="3617" y="690"/>
                  <a:pt x="3609" y="690"/>
                </a:cubicBezTo>
                <a:cubicBezTo>
                  <a:pt x="3609" y="690"/>
                  <a:pt x="3609" y="690"/>
                  <a:pt x="3609" y="690"/>
                </a:cubicBezTo>
                <a:moveTo>
                  <a:pt x="3648" y="689"/>
                </a:moveTo>
                <a:cubicBezTo>
                  <a:pt x="3640" y="690"/>
                  <a:pt x="3636" y="694"/>
                  <a:pt x="3638" y="700"/>
                </a:cubicBezTo>
                <a:cubicBezTo>
                  <a:pt x="3641" y="706"/>
                  <a:pt x="3648" y="710"/>
                  <a:pt x="3656" y="710"/>
                </a:cubicBezTo>
                <a:cubicBezTo>
                  <a:pt x="3663" y="710"/>
                  <a:pt x="3667" y="705"/>
                  <a:pt x="3665" y="700"/>
                </a:cubicBezTo>
                <a:cubicBezTo>
                  <a:pt x="3663" y="694"/>
                  <a:pt x="3655" y="689"/>
                  <a:pt x="3648" y="689"/>
                </a:cubicBezTo>
                <a:cubicBezTo>
                  <a:pt x="3648" y="689"/>
                  <a:pt x="3648" y="689"/>
                  <a:pt x="3648" y="689"/>
                </a:cubicBezTo>
                <a:moveTo>
                  <a:pt x="89" y="681"/>
                </a:moveTo>
                <a:cubicBezTo>
                  <a:pt x="82" y="681"/>
                  <a:pt x="72" y="685"/>
                  <a:pt x="68" y="691"/>
                </a:cubicBezTo>
                <a:cubicBezTo>
                  <a:pt x="63" y="697"/>
                  <a:pt x="65" y="701"/>
                  <a:pt x="72" y="701"/>
                </a:cubicBezTo>
                <a:cubicBezTo>
                  <a:pt x="80" y="701"/>
                  <a:pt x="90" y="696"/>
                  <a:pt x="94" y="691"/>
                </a:cubicBezTo>
                <a:cubicBezTo>
                  <a:pt x="99" y="685"/>
                  <a:pt x="97" y="681"/>
                  <a:pt x="90" y="681"/>
                </a:cubicBezTo>
                <a:cubicBezTo>
                  <a:pt x="89" y="681"/>
                  <a:pt x="89" y="681"/>
                  <a:pt x="89" y="681"/>
                </a:cubicBezTo>
                <a:moveTo>
                  <a:pt x="127" y="681"/>
                </a:moveTo>
                <a:cubicBezTo>
                  <a:pt x="120" y="681"/>
                  <a:pt x="110" y="685"/>
                  <a:pt x="106" y="691"/>
                </a:cubicBezTo>
                <a:cubicBezTo>
                  <a:pt x="101" y="696"/>
                  <a:pt x="103" y="701"/>
                  <a:pt x="110" y="701"/>
                </a:cubicBezTo>
                <a:cubicBezTo>
                  <a:pt x="118" y="701"/>
                  <a:pt x="128" y="696"/>
                  <a:pt x="132" y="691"/>
                </a:cubicBezTo>
                <a:cubicBezTo>
                  <a:pt x="137" y="685"/>
                  <a:pt x="135" y="681"/>
                  <a:pt x="127" y="681"/>
                </a:cubicBezTo>
                <a:cubicBezTo>
                  <a:pt x="127" y="681"/>
                  <a:pt x="127" y="681"/>
                  <a:pt x="127" y="681"/>
                </a:cubicBezTo>
                <a:moveTo>
                  <a:pt x="165" y="680"/>
                </a:moveTo>
                <a:cubicBezTo>
                  <a:pt x="157" y="680"/>
                  <a:pt x="148" y="685"/>
                  <a:pt x="143" y="691"/>
                </a:cubicBezTo>
                <a:cubicBezTo>
                  <a:pt x="139" y="696"/>
                  <a:pt x="141" y="701"/>
                  <a:pt x="148" y="701"/>
                </a:cubicBezTo>
                <a:cubicBezTo>
                  <a:pt x="156" y="701"/>
                  <a:pt x="165" y="696"/>
                  <a:pt x="170" y="690"/>
                </a:cubicBezTo>
                <a:cubicBezTo>
                  <a:pt x="174" y="685"/>
                  <a:pt x="172" y="680"/>
                  <a:pt x="165" y="680"/>
                </a:cubicBezTo>
                <a:cubicBezTo>
                  <a:pt x="165" y="680"/>
                  <a:pt x="165" y="680"/>
                  <a:pt x="165" y="680"/>
                </a:cubicBezTo>
                <a:moveTo>
                  <a:pt x="203" y="680"/>
                </a:moveTo>
                <a:cubicBezTo>
                  <a:pt x="195" y="680"/>
                  <a:pt x="186" y="685"/>
                  <a:pt x="181" y="690"/>
                </a:cubicBezTo>
                <a:cubicBezTo>
                  <a:pt x="177" y="696"/>
                  <a:pt x="179" y="700"/>
                  <a:pt x="186" y="700"/>
                </a:cubicBezTo>
                <a:cubicBezTo>
                  <a:pt x="194" y="700"/>
                  <a:pt x="203" y="696"/>
                  <a:pt x="208" y="690"/>
                </a:cubicBezTo>
                <a:cubicBezTo>
                  <a:pt x="212" y="685"/>
                  <a:pt x="210" y="680"/>
                  <a:pt x="203" y="680"/>
                </a:cubicBezTo>
                <a:cubicBezTo>
                  <a:pt x="203" y="680"/>
                  <a:pt x="203" y="680"/>
                  <a:pt x="203" y="680"/>
                </a:cubicBezTo>
                <a:moveTo>
                  <a:pt x="240" y="680"/>
                </a:moveTo>
                <a:cubicBezTo>
                  <a:pt x="233" y="680"/>
                  <a:pt x="223" y="685"/>
                  <a:pt x="219" y="690"/>
                </a:cubicBezTo>
                <a:cubicBezTo>
                  <a:pt x="215" y="696"/>
                  <a:pt x="217" y="700"/>
                  <a:pt x="224" y="700"/>
                </a:cubicBezTo>
                <a:cubicBezTo>
                  <a:pt x="232" y="700"/>
                  <a:pt x="241" y="696"/>
                  <a:pt x="246" y="690"/>
                </a:cubicBezTo>
                <a:cubicBezTo>
                  <a:pt x="250" y="684"/>
                  <a:pt x="248" y="680"/>
                  <a:pt x="240" y="680"/>
                </a:cubicBezTo>
                <a:cubicBezTo>
                  <a:pt x="240" y="680"/>
                  <a:pt x="240" y="680"/>
                  <a:pt x="240" y="680"/>
                </a:cubicBezTo>
                <a:moveTo>
                  <a:pt x="278" y="680"/>
                </a:moveTo>
                <a:cubicBezTo>
                  <a:pt x="271" y="680"/>
                  <a:pt x="261" y="684"/>
                  <a:pt x="257" y="690"/>
                </a:cubicBezTo>
                <a:cubicBezTo>
                  <a:pt x="253" y="696"/>
                  <a:pt x="255" y="700"/>
                  <a:pt x="262" y="700"/>
                </a:cubicBezTo>
                <a:cubicBezTo>
                  <a:pt x="270" y="700"/>
                  <a:pt x="279" y="695"/>
                  <a:pt x="284" y="690"/>
                </a:cubicBezTo>
                <a:cubicBezTo>
                  <a:pt x="288" y="684"/>
                  <a:pt x="286" y="680"/>
                  <a:pt x="278" y="680"/>
                </a:cubicBezTo>
                <a:cubicBezTo>
                  <a:pt x="278" y="680"/>
                  <a:pt x="278" y="680"/>
                  <a:pt x="278" y="680"/>
                </a:cubicBezTo>
                <a:moveTo>
                  <a:pt x="317" y="680"/>
                </a:moveTo>
                <a:cubicBezTo>
                  <a:pt x="310" y="680"/>
                  <a:pt x="301" y="684"/>
                  <a:pt x="296" y="690"/>
                </a:cubicBezTo>
                <a:cubicBezTo>
                  <a:pt x="292" y="695"/>
                  <a:pt x="294" y="700"/>
                  <a:pt x="302" y="700"/>
                </a:cubicBezTo>
                <a:cubicBezTo>
                  <a:pt x="309" y="700"/>
                  <a:pt x="319" y="695"/>
                  <a:pt x="323" y="690"/>
                </a:cubicBezTo>
                <a:cubicBezTo>
                  <a:pt x="327" y="684"/>
                  <a:pt x="325" y="680"/>
                  <a:pt x="317" y="680"/>
                </a:cubicBezTo>
                <a:cubicBezTo>
                  <a:pt x="317" y="680"/>
                  <a:pt x="317" y="680"/>
                  <a:pt x="317" y="680"/>
                </a:cubicBezTo>
                <a:moveTo>
                  <a:pt x="355" y="679"/>
                </a:moveTo>
                <a:cubicBezTo>
                  <a:pt x="348" y="679"/>
                  <a:pt x="338" y="684"/>
                  <a:pt x="334" y="690"/>
                </a:cubicBezTo>
                <a:cubicBezTo>
                  <a:pt x="330" y="695"/>
                  <a:pt x="332" y="700"/>
                  <a:pt x="340" y="700"/>
                </a:cubicBezTo>
                <a:cubicBezTo>
                  <a:pt x="347" y="700"/>
                  <a:pt x="356" y="695"/>
                  <a:pt x="361" y="689"/>
                </a:cubicBezTo>
                <a:cubicBezTo>
                  <a:pt x="365" y="684"/>
                  <a:pt x="362" y="679"/>
                  <a:pt x="355" y="679"/>
                </a:cubicBezTo>
                <a:cubicBezTo>
                  <a:pt x="355" y="679"/>
                  <a:pt x="355" y="679"/>
                  <a:pt x="355" y="679"/>
                </a:cubicBezTo>
                <a:moveTo>
                  <a:pt x="393" y="679"/>
                </a:moveTo>
                <a:cubicBezTo>
                  <a:pt x="386" y="679"/>
                  <a:pt x="376" y="684"/>
                  <a:pt x="372" y="689"/>
                </a:cubicBezTo>
                <a:cubicBezTo>
                  <a:pt x="368" y="695"/>
                  <a:pt x="371" y="699"/>
                  <a:pt x="378" y="699"/>
                </a:cubicBezTo>
                <a:cubicBezTo>
                  <a:pt x="385" y="699"/>
                  <a:pt x="395" y="695"/>
                  <a:pt x="399" y="689"/>
                </a:cubicBezTo>
                <a:cubicBezTo>
                  <a:pt x="403" y="684"/>
                  <a:pt x="400" y="679"/>
                  <a:pt x="393" y="679"/>
                </a:cubicBezTo>
                <a:cubicBezTo>
                  <a:pt x="393" y="679"/>
                  <a:pt x="393" y="679"/>
                  <a:pt x="393" y="679"/>
                </a:cubicBezTo>
                <a:moveTo>
                  <a:pt x="431" y="679"/>
                </a:moveTo>
                <a:cubicBezTo>
                  <a:pt x="424" y="679"/>
                  <a:pt x="415" y="684"/>
                  <a:pt x="410" y="689"/>
                </a:cubicBezTo>
                <a:cubicBezTo>
                  <a:pt x="406" y="695"/>
                  <a:pt x="409" y="699"/>
                  <a:pt x="416" y="699"/>
                </a:cubicBezTo>
                <a:cubicBezTo>
                  <a:pt x="424" y="699"/>
                  <a:pt x="433" y="695"/>
                  <a:pt x="437" y="689"/>
                </a:cubicBezTo>
                <a:cubicBezTo>
                  <a:pt x="441" y="683"/>
                  <a:pt x="438" y="679"/>
                  <a:pt x="431" y="679"/>
                </a:cubicBezTo>
                <a:cubicBezTo>
                  <a:pt x="431" y="679"/>
                  <a:pt x="431" y="679"/>
                  <a:pt x="431" y="679"/>
                </a:cubicBezTo>
                <a:moveTo>
                  <a:pt x="469" y="679"/>
                </a:moveTo>
                <a:cubicBezTo>
                  <a:pt x="461" y="679"/>
                  <a:pt x="452" y="683"/>
                  <a:pt x="448" y="689"/>
                </a:cubicBezTo>
                <a:cubicBezTo>
                  <a:pt x="444" y="694"/>
                  <a:pt x="447" y="699"/>
                  <a:pt x="454" y="699"/>
                </a:cubicBezTo>
                <a:cubicBezTo>
                  <a:pt x="462" y="699"/>
                  <a:pt x="471" y="694"/>
                  <a:pt x="475" y="689"/>
                </a:cubicBezTo>
                <a:cubicBezTo>
                  <a:pt x="479" y="683"/>
                  <a:pt x="476" y="679"/>
                  <a:pt x="469" y="679"/>
                </a:cubicBezTo>
                <a:cubicBezTo>
                  <a:pt x="469" y="679"/>
                  <a:pt x="469" y="679"/>
                  <a:pt x="469" y="679"/>
                </a:cubicBezTo>
                <a:moveTo>
                  <a:pt x="507" y="678"/>
                </a:moveTo>
                <a:cubicBezTo>
                  <a:pt x="499" y="679"/>
                  <a:pt x="490" y="683"/>
                  <a:pt x="486" y="689"/>
                </a:cubicBezTo>
                <a:cubicBezTo>
                  <a:pt x="482" y="694"/>
                  <a:pt x="485" y="699"/>
                  <a:pt x="492" y="699"/>
                </a:cubicBezTo>
                <a:cubicBezTo>
                  <a:pt x="500" y="699"/>
                  <a:pt x="509" y="694"/>
                  <a:pt x="513" y="689"/>
                </a:cubicBezTo>
                <a:cubicBezTo>
                  <a:pt x="517" y="683"/>
                  <a:pt x="514" y="678"/>
                  <a:pt x="507" y="678"/>
                </a:cubicBezTo>
                <a:cubicBezTo>
                  <a:pt x="507" y="678"/>
                  <a:pt x="507" y="678"/>
                  <a:pt x="507" y="678"/>
                </a:cubicBezTo>
                <a:moveTo>
                  <a:pt x="544" y="678"/>
                </a:moveTo>
                <a:cubicBezTo>
                  <a:pt x="537" y="678"/>
                  <a:pt x="528" y="683"/>
                  <a:pt x="524" y="689"/>
                </a:cubicBezTo>
                <a:cubicBezTo>
                  <a:pt x="520" y="694"/>
                  <a:pt x="523" y="699"/>
                  <a:pt x="530" y="699"/>
                </a:cubicBezTo>
                <a:cubicBezTo>
                  <a:pt x="538" y="699"/>
                  <a:pt x="547" y="694"/>
                  <a:pt x="551" y="688"/>
                </a:cubicBezTo>
                <a:cubicBezTo>
                  <a:pt x="554" y="683"/>
                  <a:pt x="551" y="678"/>
                  <a:pt x="544" y="678"/>
                </a:cubicBezTo>
                <a:cubicBezTo>
                  <a:pt x="544" y="678"/>
                  <a:pt x="544" y="678"/>
                  <a:pt x="544" y="678"/>
                </a:cubicBezTo>
                <a:moveTo>
                  <a:pt x="582" y="678"/>
                </a:moveTo>
                <a:cubicBezTo>
                  <a:pt x="575" y="678"/>
                  <a:pt x="566" y="683"/>
                  <a:pt x="562" y="688"/>
                </a:cubicBezTo>
                <a:cubicBezTo>
                  <a:pt x="558" y="694"/>
                  <a:pt x="561" y="698"/>
                  <a:pt x="568" y="698"/>
                </a:cubicBezTo>
                <a:cubicBezTo>
                  <a:pt x="576" y="698"/>
                  <a:pt x="585" y="694"/>
                  <a:pt x="589" y="688"/>
                </a:cubicBezTo>
                <a:cubicBezTo>
                  <a:pt x="592" y="683"/>
                  <a:pt x="589" y="678"/>
                  <a:pt x="582" y="678"/>
                </a:cubicBezTo>
                <a:cubicBezTo>
                  <a:pt x="582" y="678"/>
                  <a:pt x="582" y="678"/>
                  <a:pt x="582" y="678"/>
                </a:cubicBezTo>
                <a:moveTo>
                  <a:pt x="620" y="678"/>
                </a:moveTo>
                <a:cubicBezTo>
                  <a:pt x="613" y="678"/>
                  <a:pt x="604" y="682"/>
                  <a:pt x="600" y="688"/>
                </a:cubicBezTo>
                <a:cubicBezTo>
                  <a:pt x="597" y="694"/>
                  <a:pt x="600" y="698"/>
                  <a:pt x="607" y="698"/>
                </a:cubicBezTo>
                <a:cubicBezTo>
                  <a:pt x="614" y="698"/>
                  <a:pt x="623" y="694"/>
                  <a:pt x="627" y="688"/>
                </a:cubicBezTo>
                <a:cubicBezTo>
                  <a:pt x="631" y="682"/>
                  <a:pt x="628" y="678"/>
                  <a:pt x="620" y="678"/>
                </a:cubicBezTo>
                <a:cubicBezTo>
                  <a:pt x="620" y="678"/>
                  <a:pt x="620" y="678"/>
                  <a:pt x="620" y="678"/>
                </a:cubicBezTo>
                <a:moveTo>
                  <a:pt x="658" y="678"/>
                </a:moveTo>
                <a:cubicBezTo>
                  <a:pt x="651" y="678"/>
                  <a:pt x="642" y="682"/>
                  <a:pt x="638" y="688"/>
                </a:cubicBezTo>
                <a:cubicBezTo>
                  <a:pt x="634" y="693"/>
                  <a:pt x="638" y="698"/>
                  <a:pt x="645" y="698"/>
                </a:cubicBezTo>
                <a:cubicBezTo>
                  <a:pt x="652" y="698"/>
                  <a:pt x="661" y="693"/>
                  <a:pt x="665" y="688"/>
                </a:cubicBezTo>
                <a:cubicBezTo>
                  <a:pt x="668" y="682"/>
                  <a:pt x="665" y="678"/>
                  <a:pt x="658" y="678"/>
                </a:cubicBezTo>
                <a:cubicBezTo>
                  <a:pt x="658" y="678"/>
                  <a:pt x="658" y="678"/>
                  <a:pt x="658" y="678"/>
                </a:cubicBezTo>
                <a:moveTo>
                  <a:pt x="1864" y="671"/>
                </a:moveTo>
                <a:cubicBezTo>
                  <a:pt x="1857" y="671"/>
                  <a:pt x="1850" y="675"/>
                  <a:pt x="1849" y="681"/>
                </a:cubicBezTo>
                <a:cubicBezTo>
                  <a:pt x="1848" y="687"/>
                  <a:pt x="1853" y="691"/>
                  <a:pt x="1860" y="691"/>
                </a:cubicBezTo>
                <a:cubicBezTo>
                  <a:pt x="1867" y="691"/>
                  <a:pt x="1874" y="686"/>
                  <a:pt x="1876" y="681"/>
                </a:cubicBezTo>
                <a:cubicBezTo>
                  <a:pt x="1877" y="675"/>
                  <a:pt x="1872" y="671"/>
                  <a:pt x="1865" y="671"/>
                </a:cubicBezTo>
                <a:cubicBezTo>
                  <a:pt x="1865" y="671"/>
                  <a:pt x="1865" y="671"/>
                  <a:pt x="1864" y="671"/>
                </a:cubicBezTo>
                <a:moveTo>
                  <a:pt x="1903" y="671"/>
                </a:moveTo>
                <a:cubicBezTo>
                  <a:pt x="1895" y="671"/>
                  <a:pt x="1888" y="675"/>
                  <a:pt x="1887" y="681"/>
                </a:cubicBezTo>
                <a:cubicBezTo>
                  <a:pt x="1886" y="686"/>
                  <a:pt x="1891" y="691"/>
                  <a:pt x="1898" y="691"/>
                </a:cubicBezTo>
                <a:cubicBezTo>
                  <a:pt x="1906" y="691"/>
                  <a:pt x="1913" y="686"/>
                  <a:pt x="1914" y="681"/>
                </a:cubicBezTo>
                <a:cubicBezTo>
                  <a:pt x="1915" y="675"/>
                  <a:pt x="1910" y="671"/>
                  <a:pt x="1903" y="671"/>
                </a:cubicBezTo>
                <a:cubicBezTo>
                  <a:pt x="1903" y="671"/>
                  <a:pt x="1903" y="671"/>
                  <a:pt x="1903" y="671"/>
                </a:cubicBezTo>
                <a:moveTo>
                  <a:pt x="1940" y="670"/>
                </a:moveTo>
                <a:cubicBezTo>
                  <a:pt x="1933" y="670"/>
                  <a:pt x="1926" y="675"/>
                  <a:pt x="1925" y="681"/>
                </a:cubicBezTo>
                <a:cubicBezTo>
                  <a:pt x="1924" y="686"/>
                  <a:pt x="1929" y="691"/>
                  <a:pt x="1936" y="691"/>
                </a:cubicBezTo>
                <a:cubicBezTo>
                  <a:pt x="1944" y="691"/>
                  <a:pt x="1950" y="686"/>
                  <a:pt x="1951" y="680"/>
                </a:cubicBezTo>
                <a:cubicBezTo>
                  <a:pt x="1953" y="675"/>
                  <a:pt x="1947" y="670"/>
                  <a:pt x="1940" y="670"/>
                </a:cubicBezTo>
                <a:cubicBezTo>
                  <a:pt x="1940" y="670"/>
                  <a:pt x="1940" y="670"/>
                  <a:pt x="1940" y="670"/>
                </a:cubicBezTo>
                <a:moveTo>
                  <a:pt x="1978" y="670"/>
                </a:moveTo>
                <a:cubicBezTo>
                  <a:pt x="1971" y="670"/>
                  <a:pt x="1964" y="675"/>
                  <a:pt x="1963" y="680"/>
                </a:cubicBezTo>
                <a:cubicBezTo>
                  <a:pt x="1962" y="686"/>
                  <a:pt x="1967" y="691"/>
                  <a:pt x="1974" y="690"/>
                </a:cubicBezTo>
                <a:cubicBezTo>
                  <a:pt x="1982" y="690"/>
                  <a:pt x="1988" y="686"/>
                  <a:pt x="1989" y="680"/>
                </a:cubicBezTo>
                <a:cubicBezTo>
                  <a:pt x="1990" y="675"/>
                  <a:pt x="1985" y="670"/>
                  <a:pt x="1978" y="670"/>
                </a:cubicBezTo>
                <a:cubicBezTo>
                  <a:pt x="1978" y="670"/>
                  <a:pt x="1978" y="670"/>
                  <a:pt x="1978" y="670"/>
                </a:cubicBezTo>
                <a:moveTo>
                  <a:pt x="2015" y="670"/>
                </a:moveTo>
                <a:cubicBezTo>
                  <a:pt x="2008" y="670"/>
                  <a:pt x="2001" y="675"/>
                  <a:pt x="2000" y="680"/>
                </a:cubicBezTo>
                <a:cubicBezTo>
                  <a:pt x="1999" y="686"/>
                  <a:pt x="2005" y="690"/>
                  <a:pt x="2012" y="690"/>
                </a:cubicBezTo>
                <a:cubicBezTo>
                  <a:pt x="2019" y="690"/>
                  <a:pt x="2026" y="686"/>
                  <a:pt x="2027" y="680"/>
                </a:cubicBezTo>
                <a:cubicBezTo>
                  <a:pt x="2028" y="674"/>
                  <a:pt x="2023" y="670"/>
                  <a:pt x="2015" y="670"/>
                </a:cubicBezTo>
                <a:cubicBezTo>
                  <a:pt x="2015" y="670"/>
                  <a:pt x="2015" y="670"/>
                  <a:pt x="2015" y="670"/>
                </a:cubicBezTo>
                <a:moveTo>
                  <a:pt x="2053" y="670"/>
                </a:moveTo>
                <a:cubicBezTo>
                  <a:pt x="2046" y="670"/>
                  <a:pt x="2039" y="674"/>
                  <a:pt x="2038" y="680"/>
                </a:cubicBezTo>
                <a:cubicBezTo>
                  <a:pt x="2038" y="686"/>
                  <a:pt x="2043" y="690"/>
                  <a:pt x="2050" y="690"/>
                </a:cubicBezTo>
                <a:cubicBezTo>
                  <a:pt x="2057" y="690"/>
                  <a:pt x="2064" y="685"/>
                  <a:pt x="2065" y="680"/>
                </a:cubicBezTo>
                <a:cubicBezTo>
                  <a:pt x="2066" y="674"/>
                  <a:pt x="2061" y="670"/>
                  <a:pt x="2053" y="670"/>
                </a:cubicBezTo>
                <a:cubicBezTo>
                  <a:pt x="2053" y="670"/>
                  <a:pt x="2053" y="670"/>
                  <a:pt x="2053" y="670"/>
                </a:cubicBezTo>
                <a:moveTo>
                  <a:pt x="2092" y="669"/>
                </a:moveTo>
                <a:cubicBezTo>
                  <a:pt x="2085" y="670"/>
                  <a:pt x="2078" y="674"/>
                  <a:pt x="2077" y="680"/>
                </a:cubicBezTo>
                <a:cubicBezTo>
                  <a:pt x="2077" y="685"/>
                  <a:pt x="2082" y="690"/>
                  <a:pt x="2089" y="690"/>
                </a:cubicBezTo>
                <a:cubicBezTo>
                  <a:pt x="2097" y="690"/>
                  <a:pt x="2103" y="685"/>
                  <a:pt x="2104" y="680"/>
                </a:cubicBezTo>
                <a:cubicBezTo>
                  <a:pt x="2105" y="674"/>
                  <a:pt x="2099" y="669"/>
                  <a:pt x="2092" y="669"/>
                </a:cubicBezTo>
                <a:cubicBezTo>
                  <a:pt x="2092" y="669"/>
                  <a:pt x="2092" y="669"/>
                  <a:pt x="2092" y="669"/>
                </a:cubicBezTo>
                <a:moveTo>
                  <a:pt x="2130" y="669"/>
                </a:moveTo>
                <a:cubicBezTo>
                  <a:pt x="2122" y="669"/>
                  <a:pt x="2116" y="674"/>
                  <a:pt x="2115" y="680"/>
                </a:cubicBezTo>
                <a:cubicBezTo>
                  <a:pt x="2114" y="685"/>
                  <a:pt x="2120" y="690"/>
                  <a:pt x="2127" y="690"/>
                </a:cubicBezTo>
                <a:cubicBezTo>
                  <a:pt x="2134" y="690"/>
                  <a:pt x="2141" y="685"/>
                  <a:pt x="2142" y="679"/>
                </a:cubicBezTo>
                <a:cubicBezTo>
                  <a:pt x="2142" y="674"/>
                  <a:pt x="2137" y="669"/>
                  <a:pt x="2130" y="669"/>
                </a:cubicBezTo>
                <a:cubicBezTo>
                  <a:pt x="2130" y="669"/>
                  <a:pt x="2130" y="669"/>
                  <a:pt x="2130" y="669"/>
                </a:cubicBezTo>
                <a:moveTo>
                  <a:pt x="2167" y="669"/>
                </a:moveTo>
                <a:cubicBezTo>
                  <a:pt x="2160" y="669"/>
                  <a:pt x="2154" y="674"/>
                  <a:pt x="2153" y="679"/>
                </a:cubicBezTo>
                <a:cubicBezTo>
                  <a:pt x="2152" y="685"/>
                  <a:pt x="2158" y="690"/>
                  <a:pt x="2165" y="689"/>
                </a:cubicBezTo>
                <a:cubicBezTo>
                  <a:pt x="2172" y="689"/>
                  <a:pt x="2179" y="685"/>
                  <a:pt x="2180" y="679"/>
                </a:cubicBezTo>
                <a:cubicBezTo>
                  <a:pt x="2180" y="674"/>
                  <a:pt x="2175" y="669"/>
                  <a:pt x="2168" y="669"/>
                </a:cubicBezTo>
                <a:cubicBezTo>
                  <a:pt x="2167" y="669"/>
                  <a:pt x="2167" y="669"/>
                  <a:pt x="2167" y="669"/>
                </a:cubicBezTo>
                <a:moveTo>
                  <a:pt x="2206" y="669"/>
                </a:moveTo>
                <a:cubicBezTo>
                  <a:pt x="2198" y="669"/>
                  <a:pt x="2192" y="673"/>
                  <a:pt x="2191" y="679"/>
                </a:cubicBezTo>
                <a:cubicBezTo>
                  <a:pt x="2191" y="685"/>
                  <a:pt x="2196" y="689"/>
                  <a:pt x="2204" y="689"/>
                </a:cubicBezTo>
                <a:cubicBezTo>
                  <a:pt x="2211" y="689"/>
                  <a:pt x="2217" y="685"/>
                  <a:pt x="2218" y="679"/>
                </a:cubicBezTo>
                <a:cubicBezTo>
                  <a:pt x="2218" y="673"/>
                  <a:pt x="2213" y="669"/>
                  <a:pt x="2206" y="669"/>
                </a:cubicBezTo>
                <a:cubicBezTo>
                  <a:pt x="2206" y="669"/>
                  <a:pt x="2206" y="669"/>
                  <a:pt x="2206" y="669"/>
                </a:cubicBezTo>
                <a:moveTo>
                  <a:pt x="2243" y="669"/>
                </a:moveTo>
                <a:cubicBezTo>
                  <a:pt x="2236" y="669"/>
                  <a:pt x="2229" y="673"/>
                  <a:pt x="2229" y="679"/>
                </a:cubicBezTo>
                <a:cubicBezTo>
                  <a:pt x="2228" y="685"/>
                  <a:pt x="2234" y="689"/>
                  <a:pt x="2241" y="689"/>
                </a:cubicBezTo>
                <a:cubicBezTo>
                  <a:pt x="2249" y="689"/>
                  <a:pt x="2255" y="684"/>
                  <a:pt x="2255" y="679"/>
                </a:cubicBezTo>
                <a:cubicBezTo>
                  <a:pt x="2256" y="673"/>
                  <a:pt x="2250" y="669"/>
                  <a:pt x="2243" y="669"/>
                </a:cubicBezTo>
                <a:cubicBezTo>
                  <a:pt x="2243" y="669"/>
                  <a:pt x="2243" y="669"/>
                  <a:pt x="2243" y="669"/>
                </a:cubicBezTo>
                <a:moveTo>
                  <a:pt x="2356" y="666"/>
                </a:moveTo>
                <a:cubicBezTo>
                  <a:pt x="2349" y="666"/>
                  <a:pt x="2343" y="670"/>
                  <a:pt x="2342" y="676"/>
                </a:cubicBezTo>
                <a:cubicBezTo>
                  <a:pt x="2342" y="682"/>
                  <a:pt x="2348" y="686"/>
                  <a:pt x="2355" y="686"/>
                </a:cubicBezTo>
                <a:cubicBezTo>
                  <a:pt x="2363" y="686"/>
                  <a:pt x="2369" y="682"/>
                  <a:pt x="2369" y="676"/>
                </a:cubicBezTo>
                <a:cubicBezTo>
                  <a:pt x="2369" y="670"/>
                  <a:pt x="2363" y="666"/>
                  <a:pt x="2356" y="666"/>
                </a:cubicBezTo>
                <a:cubicBezTo>
                  <a:pt x="2356" y="666"/>
                  <a:pt x="2356" y="666"/>
                  <a:pt x="2356" y="666"/>
                </a:cubicBezTo>
                <a:moveTo>
                  <a:pt x="2659" y="666"/>
                </a:moveTo>
                <a:cubicBezTo>
                  <a:pt x="2651" y="666"/>
                  <a:pt x="2646" y="670"/>
                  <a:pt x="2646" y="676"/>
                </a:cubicBezTo>
                <a:cubicBezTo>
                  <a:pt x="2646" y="682"/>
                  <a:pt x="2652" y="686"/>
                  <a:pt x="2660" y="686"/>
                </a:cubicBezTo>
                <a:cubicBezTo>
                  <a:pt x="2667" y="686"/>
                  <a:pt x="2673" y="681"/>
                  <a:pt x="2672" y="676"/>
                </a:cubicBezTo>
                <a:cubicBezTo>
                  <a:pt x="2672" y="670"/>
                  <a:pt x="2666" y="666"/>
                  <a:pt x="2659" y="666"/>
                </a:cubicBezTo>
                <a:cubicBezTo>
                  <a:pt x="2659" y="666"/>
                  <a:pt x="2659" y="666"/>
                  <a:pt x="2659" y="666"/>
                </a:cubicBezTo>
                <a:moveTo>
                  <a:pt x="2394" y="666"/>
                </a:moveTo>
                <a:cubicBezTo>
                  <a:pt x="2387" y="666"/>
                  <a:pt x="2381" y="670"/>
                  <a:pt x="2381" y="676"/>
                </a:cubicBezTo>
                <a:cubicBezTo>
                  <a:pt x="2380" y="682"/>
                  <a:pt x="2386" y="686"/>
                  <a:pt x="2394" y="686"/>
                </a:cubicBezTo>
                <a:cubicBezTo>
                  <a:pt x="2401" y="686"/>
                  <a:pt x="2407" y="681"/>
                  <a:pt x="2407" y="676"/>
                </a:cubicBezTo>
                <a:cubicBezTo>
                  <a:pt x="2407" y="670"/>
                  <a:pt x="2402" y="666"/>
                  <a:pt x="2394" y="666"/>
                </a:cubicBezTo>
                <a:cubicBezTo>
                  <a:pt x="2394" y="666"/>
                  <a:pt x="2394" y="666"/>
                  <a:pt x="2394" y="666"/>
                </a:cubicBezTo>
                <a:moveTo>
                  <a:pt x="2696" y="665"/>
                </a:moveTo>
                <a:cubicBezTo>
                  <a:pt x="2688" y="665"/>
                  <a:pt x="2683" y="670"/>
                  <a:pt x="2683" y="676"/>
                </a:cubicBezTo>
                <a:cubicBezTo>
                  <a:pt x="2684" y="681"/>
                  <a:pt x="2690" y="686"/>
                  <a:pt x="2697" y="686"/>
                </a:cubicBezTo>
                <a:cubicBezTo>
                  <a:pt x="2705" y="686"/>
                  <a:pt x="2710" y="681"/>
                  <a:pt x="2710" y="676"/>
                </a:cubicBezTo>
                <a:cubicBezTo>
                  <a:pt x="2709" y="670"/>
                  <a:pt x="2703" y="665"/>
                  <a:pt x="2696" y="665"/>
                </a:cubicBezTo>
                <a:cubicBezTo>
                  <a:pt x="2696" y="665"/>
                  <a:pt x="2696" y="665"/>
                  <a:pt x="2696" y="665"/>
                </a:cubicBezTo>
                <a:moveTo>
                  <a:pt x="2808" y="665"/>
                </a:moveTo>
                <a:cubicBezTo>
                  <a:pt x="2800" y="665"/>
                  <a:pt x="2795" y="670"/>
                  <a:pt x="2796" y="676"/>
                </a:cubicBezTo>
                <a:cubicBezTo>
                  <a:pt x="2796" y="681"/>
                  <a:pt x="2803" y="686"/>
                  <a:pt x="2810" y="686"/>
                </a:cubicBezTo>
                <a:cubicBezTo>
                  <a:pt x="2817" y="686"/>
                  <a:pt x="2823" y="681"/>
                  <a:pt x="2822" y="675"/>
                </a:cubicBezTo>
                <a:cubicBezTo>
                  <a:pt x="2821" y="670"/>
                  <a:pt x="2815" y="665"/>
                  <a:pt x="2808" y="665"/>
                </a:cubicBezTo>
                <a:cubicBezTo>
                  <a:pt x="2808" y="665"/>
                  <a:pt x="2808" y="665"/>
                  <a:pt x="2808" y="665"/>
                </a:cubicBezTo>
                <a:moveTo>
                  <a:pt x="2733" y="665"/>
                </a:moveTo>
                <a:cubicBezTo>
                  <a:pt x="2726" y="665"/>
                  <a:pt x="2720" y="670"/>
                  <a:pt x="2721" y="676"/>
                </a:cubicBezTo>
                <a:cubicBezTo>
                  <a:pt x="2721" y="681"/>
                  <a:pt x="2728" y="686"/>
                  <a:pt x="2735" y="686"/>
                </a:cubicBezTo>
                <a:cubicBezTo>
                  <a:pt x="2742" y="686"/>
                  <a:pt x="2748" y="681"/>
                  <a:pt x="2747" y="675"/>
                </a:cubicBezTo>
                <a:cubicBezTo>
                  <a:pt x="2747" y="670"/>
                  <a:pt x="2741" y="665"/>
                  <a:pt x="2733" y="665"/>
                </a:cubicBezTo>
                <a:cubicBezTo>
                  <a:pt x="2733" y="665"/>
                  <a:pt x="2733" y="665"/>
                  <a:pt x="2733" y="665"/>
                </a:cubicBezTo>
                <a:moveTo>
                  <a:pt x="2844" y="664"/>
                </a:moveTo>
                <a:cubicBezTo>
                  <a:pt x="2837" y="664"/>
                  <a:pt x="2831" y="669"/>
                  <a:pt x="2832" y="674"/>
                </a:cubicBezTo>
                <a:cubicBezTo>
                  <a:pt x="2833" y="680"/>
                  <a:pt x="2839" y="685"/>
                  <a:pt x="2847" y="685"/>
                </a:cubicBezTo>
                <a:cubicBezTo>
                  <a:pt x="2854" y="685"/>
                  <a:pt x="2859" y="680"/>
                  <a:pt x="2858" y="674"/>
                </a:cubicBezTo>
                <a:cubicBezTo>
                  <a:pt x="2858" y="669"/>
                  <a:pt x="2851" y="664"/>
                  <a:pt x="2844" y="664"/>
                </a:cubicBezTo>
                <a:cubicBezTo>
                  <a:pt x="2844" y="664"/>
                  <a:pt x="2844" y="664"/>
                  <a:pt x="2844" y="664"/>
                </a:cubicBezTo>
                <a:moveTo>
                  <a:pt x="2881" y="664"/>
                </a:moveTo>
                <a:cubicBezTo>
                  <a:pt x="2874" y="664"/>
                  <a:pt x="2869" y="669"/>
                  <a:pt x="2870" y="674"/>
                </a:cubicBezTo>
                <a:cubicBezTo>
                  <a:pt x="2870" y="680"/>
                  <a:pt x="2877" y="684"/>
                  <a:pt x="2884" y="684"/>
                </a:cubicBezTo>
                <a:cubicBezTo>
                  <a:pt x="2892" y="684"/>
                  <a:pt x="2897" y="680"/>
                  <a:pt x="2896" y="674"/>
                </a:cubicBezTo>
                <a:cubicBezTo>
                  <a:pt x="2895" y="668"/>
                  <a:pt x="2889" y="664"/>
                  <a:pt x="2881" y="664"/>
                </a:cubicBezTo>
                <a:cubicBezTo>
                  <a:pt x="2881" y="664"/>
                  <a:pt x="2881" y="664"/>
                  <a:pt x="2881" y="664"/>
                </a:cubicBezTo>
                <a:moveTo>
                  <a:pt x="2919" y="664"/>
                </a:moveTo>
                <a:cubicBezTo>
                  <a:pt x="2912" y="664"/>
                  <a:pt x="2907" y="668"/>
                  <a:pt x="2907" y="674"/>
                </a:cubicBezTo>
                <a:cubicBezTo>
                  <a:pt x="2908" y="680"/>
                  <a:pt x="2915" y="684"/>
                  <a:pt x="2922" y="684"/>
                </a:cubicBezTo>
                <a:cubicBezTo>
                  <a:pt x="2930" y="684"/>
                  <a:pt x="2935" y="680"/>
                  <a:pt x="2934" y="674"/>
                </a:cubicBezTo>
                <a:cubicBezTo>
                  <a:pt x="2933" y="668"/>
                  <a:pt x="2926" y="664"/>
                  <a:pt x="2919" y="664"/>
                </a:cubicBezTo>
                <a:cubicBezTo>
                  <a:pt x="2919" y="664"/>
                  <a:pt x="2919" y="664"/>
                  <a:pt x="2919" y="664"/>
                </a:cubicBezTo>
                <a:moveTo>
                  <a:pt x="2771" y="664"/>
                </a:moveTo>
                <a:cubicBezTo>
                  <a:pt x="2764" y="664"/>
                  <a:pt x="2758" y="668"/>
                  <a:pt x="2759" y="674"/>
                </a:cubicBezTo>
                <a:cubicBezTo>
                  <a:pt x="2759" y="680"/>
                  <a:pt x="2766" y="684"/>
                  <a:pt x="2773" y="684"/>
                </a:cubicBezTo>
                <a:cubicBezTo>
                  <a:pt x="2780" y="684"/>
                  <a:pt x="2786" y="680"/>
                  <a:pt x="2785" y="674"/>
                </a:cubicBezTo>
                <a:cubicBezTo>
                  <a:pt x="2784" y="668"/>
                  <a:pt x="2778" y="664"/>
                  <a:pt x="2771" y="664"/>
                </a:cubicBezTo>
                <a:cubicBezTo>
                  <a:pt x="2771" y="664"/>
                  <a:pt x="2771" y="664"/>
                  <a:pt x="2771" y="664"/>
                </a:cubicBezTo>
                <a:moveTo>
                  <a:pt x="2957" y="664"/>
                </a:moveTo>
                <a:cubicBezTo>
                  <a:pt x="2950" y="664"/>
                  <a:pt x="2945" y="668"/>
                  <a:pt x="2946" y="674"/>
                </a:cubicBezTo>
                <a:cubicBezTo>
                  <a:pt x="2947" y="679"/>
                  <a:pt x="2953" y="684"/>
                  <a:pt x="2961" y="684"/>
                </a:cubicBezTo>
                <a:cubicBezTo>
                  <a:pt x="2968" y="684"/>
                  <a:pt x="2973" y="679"/>
                  <a:pt x="2972" y="674"/>
                </a:cubicBezTo>
                <a:cubicBezTo>
                  <a:pt x="2971" y="668"/>
                  <a:pt x="2965" y="664"/>
                  <a:pt x="2957" y="664"/>
                </a:cubicBezTo>
                <a:cubicBezTo>
                  <a:pt x="2957" y="664"/>
                  <a:pt x="2957" y="664"/>
                  <a:pt x="2957" y="664"/>
                </a:cubicBezTo>
                <a:moveTo>
                  <a:pt x="2995" y="663"/>
                </a:moveTo>
                <a:cubicBezTo>
                  <a:pt x="2987" y="663"/>
                  <a:pt x="2982" y="668"/>
                  <a:pt x="2983" y="674"/>
                </a:cubicBezTo>
                <a:cubicBezTo>
                  <a:pt x="2984" y="679"/>
                  <a:pt x="2991" y="684"/>
                  <a:pt x="2998" y="684"/>
                </a:cubicBezTo>
                <a:cubicBezTo>
                  <a:pt x="3006" y="684"/>
                  <a:pt x="3011" y="679"/>
                  <a:pt x="3010" y="673"/>
                </a:cubicBezTo>
                <a:cubicBezTo>
                  <a:pt x="3009" y="668"/>
                  <a:pt x="3002" y="663"/>
                  <a:pt x="2995" y="663"/>
                </a:cubicBezTo>
                <a:cubicBezTo>
                  <a:pt x="2995" y="663"/>
                  <a:pt x="2995" y="663"/>
                  <a:pt x="2995" y="663"/>
                </a:cubicBezTo>
                <a:moveTo>
                  <a:pt x="2621" y="663"/>
                </a:moveTo>
                <a:cubicBezTo>
                  <a:pt x="2614" y="663"/>
                  <a:pt x="2608" y="668"/>
                  <a:pt x="2608" y="674"/>
                </a:cubicBezTo>
                <a:cubicBezTo>
                  <a:pt x="2609" y="679"/>
                  <a:pt x="2615" y="684"/>
                  <a:pt x="2622" y="684"/>
                </a:cubicBezTo>
                <a:cubicBezTo>
                  <a:pt x="2629" y="684"/>
                  <a:pt x="2635" y="679"/>
                  <a:pt x="2635" y="673"/>
                </a:cubicBezTo>
                <a:cubicBezTo>
                  <a:pt x="2634" y="668"/>
                  <a:pt x="2628" y="663"/>
                  <a:pt x="2621" y="663"/>
                </a:cubicBezTo>
                <a:cubicBezTo>
                  <a:pt x="2621" y="663"/>
                  <a:pt x="2621" y="663"/>
                  <a:pt x="2621" y="663"/>
                </a:cubicBezTo>
                <a:moveTo>
                  <a:pt x="3032" y="663"/>
                </a:moveTo>
                <a:cubicBezTo>
                  <a:pt x="3025" y="663"/>
                  <a:pt x="3020" y="668"/>
                  <a:pt x="3021" y="673"/>
                </a:cubicBezTo>
                <a:cubicBezTo>
                  <a:pt x="3022" y="679"/>
                  <a:pt x="3029" y="684"/>
                  <a:pt x="3036" y="684"/>
                </a:cubicBezTo>
                <a:cubicBezTo>
                  <a:pt x="3043" y="684"/>
                  <a:pt x="3049" y="679"/>
                  <a:pt x="3047" y="673"/>
                </a:cubicBezTo>
                <a:cubicBezTo>
                  <a:pt x="3046" y="668"/>
                  <a:pt x="3040" y="663"/>
                  <a:pt x="3032" y="663"/>
                </a:cubicBezTo>
                <a:cubicBezTo>
                  <a:pt x="3032" y="663"/>
                  <a:pt x="3032" y="663"/>
                  <a:pt x="3032" y="663"/>
                </a:cubicBezTo>
                <a:moveTo>
                  <a:pt x="3070" y="663"/>
                </a:moveTo>
                <a:cubicBezTo>
                  <a:pt x="3062" y="663"/>
                  <a:pt x="3057" y="668"/>
                  <a:pt x="3059" y="673"/>
                </a:cubicBezTo>
                <a:cubicBezTo>
                  <a:pt x="3060" y="679"/>
                  <a:pt x="3067" y="683"/>
                  <a:pt x="3074" y="683"/>
                </a:cubicBezTo>
                <a:cubicBezTo>
                  <a:pt x="3081" y="683"/>
                  <a:pt x="3086" y="679"/>
                  <a:pt x="3085" y="673"/>
                </a:cubicBezTo>
                <a:cubicBezTo>
                  <a:pt x="3084" y="667"/>
                  <a:pt x="3077" y="663"/>
                  <a:pt x="3070" y="663"/>
                </a:cubicBezTo>
                <a:cubicBezTo>
                  <a:pt x="3070" y="663"/>
                  <a:pt x="3070" y="663"/>
                  <a:pt x="3070" y="663"/>
                </a:cubicBezTo>
                <a:moveTo>
                  <a:pt x="3107" y="663"/>
                </a:moveTo>
                <a:cubicBezTo>
                  <a:pt x="3100" y="663"/>
                  <a:pt x="3095" y="667"/>
                  <a:pt x="3096" y="673"/>
                </a:cubicBezTo>
                <a:cubicBezTo>
                  <a:pt x="3098" y="679"/>
                  <a:pt x="3105" y="683"/>
                  <a:pt x="3112" y="683"/>
                </a:cubicBezTo>
                <a:cubicBezTo>
                  <a:pt x="3119" y="683"/>
                  <a:pt x="3124" y="679"/>
                  <a:pt x="3123" y="673"/>
                </a:cubicBezTo>
                <a:cubicBezTo>
                  <a:pt x="3122" y="667"/>
                  <a:pt x="3115" y="663"/>
                  <a:pt x="3107" y="663"/>
                </a:cubicBezTo>
                <a:cubicBezTo>
                  <a:pt x="3107" y="663"/>
                  <a:pt x="3107" y="663"/>
                  <a:pt x="3107" y="663"/>
                </a:cubicBezTo>
                <a:moveTo>
                  <a:pt x="3146" y="662"/>
                </a:moveTo>
                <a:cubicBezTo>
                  <a:pt x="3139" y="663"/>
                  <a:pt x="3134" y="667"/>
                  <a:pt x="3135" y="673"/>
                </a:cubicBezTo>
                <a:cubicBezTo>
                  <a:pt x="3137" y="678"/>
                  <a:pt x="3144" y="683"/>
                  <a:pt x="3151" y="683"/>
                </a:cubicBezTo>
                <a:cubicBezTo>
                  <a:pt x="3158" y="683"/>
                  <a:pt x="3163" y="678"/>
                  <a:pt x="3162" y="673"/>
                </a:cubicBezTo>
                <a:cubicBezTo>
                  <a:pt x="3160" y="667"/>
                  <a:pt x="3154" y="662"/>
                  <a:pt x="3146" y="662"/>
                </a:cubicBezTo>
                <a:cubicBezTo>
                  <a:pt x="3146" y="662"/>
                  <a:pt x="3146" y="662"/>
                  <a:pt x="3146" y="662"/>
                </a:cubicBezTo>
                <a:moveTo>
                  <a:pt x="3184" y="662"/>
                </a:moveTo>
                <a:cubicBezTo>
                  <a:pt x="3176" y="662"/>
                  <a:pt x="3172" y="667"/>
                  <a:pt x="3173" y="673"/>
                </a:cubicBezTo>
                <a:cubicBezTo>
                  <a:pt x="3174" y="678"/>
                  <a:pt x="3181" y="683"/>
                  <a:pt x="3189" y="683"/>
                </a:cubicBezTo>
                <a:cubicBezTo>
                  <a:pt x="3196" y="683"/>
                  <a:pt x="3201" y="678"/>
                  <a:pt x="3199" y="672"/>
                </a:cubicBezTo>
                <a:cubicBezTo>
                  <a:pt x="3198" y="667"/>
                  <a:pt x="3191" y="662"/>
                  <a:pt x="3184" y="662"/>
                </a:cubicBezTo>
                <a:cubicBezTo>
                  <a:pt x="3184" y="662"/>
                  <a:pt x="3184" y="662"/>
                  <a:pt x="3184" y="662"/>
                </a:cubicBezTo>
                <a:moveTo>
                  <a:pt x="3674" y="662"/>
                </a:moveTo>
                <a:cubicBezTo>
                  <a:pt x="3667" y="662"/>
                  <a:pt x="3663" y="667"/>
                  <a:pt x="3665" y="672"/>
                </a:cubicBezTo>
                <a:cubicBezTo>
                  <a:pt x="3668" y="678"/>
                  <a:pt x="3675" y="683"/>
                  <a:pt x="3683" y="683"/>
                </a:cubicBezTo>
                <a:cubicBezTo>
                  <a:pt x="3690" y="683"/>
                  <a:pt x="3694" y="678"/>
                  <a:pt x="3692" y="672"/>
                </a:cubicBezTo>
                <a:cubicBezTo>
                  <a:pt x="3689" y="667"/>
                  <a:pt x="3682" y="662"/>
                  <a:pt x="3674" y="662"/>
                </a:cubicBezTo>
                <a:cubicBezTo>
                  <a:pt x="3674" y="662"/>
                  <a:pt x="3674" y="662"/>
                  <a:pt x="3674" y="662"/>
                </a:cubicBezTo>
                <a:moveTo>
                  <a:pt x="3221" y="662"/>
                </a:moveTo>
                <a:cubicBezTo>
                  <a:pt x="3214" y="662"/>
                  <a:pt x="3209" y="667"/>
                  <a:pt x="3211" y="672"/>
                </a:cubicBezTo>
                <a:cubicBezTo>
                  <a:pt x="3212" y="678"/>
                  <a:pt x="3219" y="683"/>
                  <a:pt x="3227" y="683"/>
                </a:cubicBezTo>
                <a:cubicBezTo>
                  <a:pt x="3234" y="683"/>
                  <a:pt x="3239" y="678"/>
                  <a:pt x="3237" y="672"/>
                </a:cubicBezTo>
                <a:cubicBezTo>
                  <a:pt x="3236" y="667"/>
                  <a:pt x="3229" y="662"/>
                  <a:pt x="3221" y="662"/>
                </a:cubicBezTo>
                <a:cubicBezTo>
                  <a:pt x="3221" y="662"/>
                  <a:pt x="3221" y="662"/>
                  <a:pt x="3221" y="662"/>
                </a:cubicBezTo>
                <a:moveTo>
                  <a:pt x="3712" y="662"/>
                </a:moveTo>
                <a:cubicBezTo>
                  <a:pt x="3704" y="662"/>
                  <a:pt x="3700" y="667"/>
                  <a:pt x="3703" y="672"/>
                </a:cubicBezTo>
                <a:cubicBezTo>
                  <a:pt x="3705" y="678"/>
                  <a:pt x="3713" y="683"/>
                  <a:pt x="3720" y="682"/>
                </a:cubicBezTo>
                <a:cubicBezTo>
                  <a:pt x="3728" y="682"/>
                  <a:pt x="3732" y="678"/>
                  <a:pt x="3729" y="672"/>
                </a:cubicBezTo>
                <a:cubicBezTo>
                  <a:pt x="3727" y="666"/>
                  <a:pt x="3719" y="662"/>
                  <a:pt x="3712" y="662"/>
                </a:cubicBezTo>
                <a:cubicBezTo>
                  <a:pt x="3712" y="662"/>
                  <a:pt x="3712" y="662"/>
                  <a:pt x="3712" y="662"/>
                </a:cubicBezTo>
                <a:moveTo>
                  <a:pt x="3259" y="662"/>
                </a:moveTo>
                <a:cubicBezTo>
                  <a:pt x="3252" y="662"/>
                  <a:pt x="3247" y="667"/>
                  <a:pt x="3249" y="672"/>
                </a:cubicBezTo>
                <a:cubicBezTo>
                  <a:pt x="3250" y="678"/>
                  <a:pt x="3258" y="682"/>
                  <a:pt x="3265" y="682"/>
                </a:cubicBezTo>
                <a:cubicBezTo>
                  <a:pt x="3272" y="682"/>
                  <a:pt x="3277" y="678"/>
                  <a:pt x="3275" y="672"/>
                </a:cubicBezTo>
                <a:cubicBezTo>
                  <a:pt x="3274" y="666"/>
                  <a:pt x="3267" y="662"/>
                  <a:pt x="3259" y="662"/>
                </a:cubicBezTo>
                <a:cubicBezTo>
                  <a:pt x="3259" y="662"/>
                  <a:pt x="3259" y="662"/>
                  <a:pt x="3259" y="662"/>
                </a:cubicBezTo>
                <a:moveTo>
                  <a:pt x="3749" y="662"/>
                </a:moveTo>
                <a:cubicBezTo>
                  <a:pt x="3742" y="662"/>
                  <a:pt x="3738" y="666"/>
                  <a:pt x="3741" y="672"/>
                </a:cubicBezTo>
                <a:cubicBezTo>
                  <a:pt x="3743" y="678"/>
                  <a:pt x="3751" y="682"/>
                  <a:pt x="3758" y="682"/>
                </a:cubicBezTo>
                <a:cubicBezTo>
                  <a:pt x="3766" y="682"/>
                  <a:pt x="3770" y="678"/>
                  <a:pt x="3767" y="672"/>
                </a:cubicBezTo>
                <a:cubicBezTo>
                  <a:pt x="3765" y="666"/>
                  <a:pt x="3757" y="662"/>
                  <a:pt x="3749" y="662"/>
                </a:cubicBezTo>
                <a:cubicBezTo>
                  <a:pt x="3749" y="662"/>
                  <a:pt x="3749" y="662"/>
                  <a:pt x="3749" y="662"/>
                </a:cubicBezTo>
                <a:moveTo>
                  <a:pt x="3297" y="662"/>
                </a:moveTo>
                <a:cubicBezTo>
                  <a:pt x="3290" y="662"/>
                  <a:pt x="3285" y="666"/>
                  <a:pt x="3286" y="672"/>
                </a:cubicBezTo>
                <a:cubicBezTo>
                  <a:pt x="3288" y="678"/>
                  <a:pt x="3295" y="682"/>
                  <a:pt x="3303" y="682"/>
                </a:cubicBezTo>
                <a:cubicBezTo>
                  <a:pt x="3310" y="682"/>
                  <a:pt x="3315" y="677"/>
                  <a:pt x="3313" y="672"/>
                </a:cubicBezTo>
                <a:cubicBezTo>
                  <a:pt x="3311" y="666"/>
                  <a:pt x="3304" y="662"/>
                  <a:pt x="3297" y="662"/>
                </a:cubicBezTo>
                <a:cubicBezTo>
                  <a:pt x="3297" y="662"/>
                  <a:pt x="3297" y="662"/>
                  <a:pt x="3297" y="662"/>
                </a:cubicBezTo>
                <a:moveTo>
                  <a:pt x="3789" y="662"/>
                </a:moveTo>
                <a:cubicBezTo>
                  <a:pt x="3782" y="662"/>
                  <a:pt x="3778" y="666"/>
                  <a:pt x="3781" y="672"/>
                </a:cubicBezTo>
                <a:cubicBezTo>
                  <a:pt x="3783" y="678"/>
                  <a:pt x="3791" y="682"/>
                  <a:pt x="3799" y="682"/>
                </a:cubicBezTo>
                <a:cubicBezTo>
                  <a:pt x="3806" y="682"/>
                  <a:pt x="3810" y="677"/>
                  <a:pt x="3807" y="672"/>
                </a:cubicBezTo>
                <a:cubicBezTo>
                  <a:pt x="3805" y="666"/>
                  <a:pt x="3797" y="662"/>
                  <a:pt x="3789" y="662"/>
                </a:cubicBezTo>
                <a:cubicBezTo>
                  <a:pt x="3789" y="662"/>
                  <a:pt x="3789" y="662"/>
                  <a:pt x="3789" y="662"/>
                </a:cubicBezTo>
                <a:moveTo>
                  <a:pt x="3334" y="661"/>
                </a:moveTo>
                <a:cubicBezTo>
                  <a:pt x="3327" y="661"/>
                  <a:pt x="3323" y="666"/>
                  <a:pt x="3324" y="672"/>
                </a:cubicBezTo>
                <a:cubicBezTo>
                  <a:pt x="3326" y="677"/>
                  <a:pt x="3333" y="682"/>
                  <a:pt x="3340" y="682"/>
                </a:cubicBezTo>
                <a:cubicBezTo>
                  <a:pt x="3348" y="682"/>
                  <a:pt x="3352" y="677"/>
                  <a:pt x="3351" y="672"/>
                </a:cubicBezTo>
                <a:cubicBezTo>
                  <a:pt x="3349" y="666"/>
                  <a:pt x="3342" y="661"/>
                  <a:pt x="3334" y="661"/>
                </a:cubicBezTo>
                <a:cubicBezTo>
                  <a:pt x="3334" y="661"/>
                  <a:pt x="3334" y="661"/>
                  <a:pt x="3334" y="661"/>
                </a:cubicBezTo>
                <a:moveTo>
                  <a:pt x="3826" y="661"/>
                </a:moveTo>
                <a:cubicBezTo>
                  <a:pt x="3819" y="661"/>
                  <a:pt x="3815" y="666"/>
                  <a:pt x="3818" y="672"/>
                </a:cubicBezTo>
                <a:cubicBezTo>
                  <a:pt x="3821" y="677"/>
                  <a:pt x="3829" y="682"/>
                  <a:pt x="3836" y="682"/>
                </a:cubicBezTo>
                <a:cubicBezTo>
                  <a:pt x="3843" y="682"/>
                  <a:pt x="3847" y="677"/>
                  <a:pt x="3844" y="672"/>
                </a:cubicBezTo>
                <a:cubicBezTo>
                  <a:pt x="3842" y="666"/>
                  <a:pt x="3834" y="661"/>
                  <a:pt x="3826" y="661"/>
                </a:cubicBezTo>
                <a:cubicBezTo>
                  <a:pt x="3826" y="661"/>
                  <a:pt x="3826" y="661"/>
                  <a:pt x="3826" y="661"/>
                </a:cubicBezTo>
                <a:moveTo>
                  <a:pt x="3372" y="661"/>
                </a:moveTo>
                <a:cubicBezTo>
                  <a:pt x="3365" y="661"/>
                  <a:pt x="3360" y="666"/>
                  <a:pt x="3362" y="672"/>
                </a:cubicBezTo>
                <a:cubicBezTo>
                  <a:pt x="3363" y="677"/>
                  <a:pt x="3371" y="682"/>
                  <a:pt x="3378" y="682"/>
                </a:cubicBezTo>
                <a:cubicBezTo>
                  <a:pt x="3385" y="682"/>
                  <a:pt x="3390" y="677"/>
                  <a:pt x="3388" y="671"/>
                </a:cubicBezTo>
                <a:cubicBezTo>
                  <a:pt x="3386" y="666"/>
                  <a:pt x="3379" y="661"/>
                  <a:pt x="3372" y="661"/>
                </a:cubicBezTo>
                <a:cubicBezTo>
                  <a:pt x="3372" y="661"/>
                  <a:pt x="3372" y="661"/>
                  <a:pt x="3372" y="661"/>
                </a:cubicBezTo>
                <a:moveTo>
                  <a:pt x="3864" y="661"/>
                </a:moveTo>
                <a:cubicBezTo>
                  <a:pt x="3857" y="661"/>
                  <a:pt x="3853" y="666"/>
                  <a:pt x="3856" y="671"/>
                </a:cubicBezTo>
                <a:cubicBezTo>
                  <a:pt x="3858" y="677"/>
                  <a:pt x="3866" y="682"/>
                  <a:pt x="3874" y="682"/>
                </a:cubicBezTo>
                <a:cubicBezTo>
                  <a:pt x="3881" y="682"/>
                  <a:pt x="3885" y="677"/>
                  <a:pt x="3882" y="671"/>
                </a:cubicBezTo>
                <a:cubicBezTo>
                  <a:pt x="3879" y="666"/>
                  <a:pt x="3871" y="661"/>
                  <a:pt x="3864" y="661"/>
                </a:cubicBezTo>
                <a:cubicBezTo>
                  <a:pt x="3864" y="661"/>
                  <a:pt x="3864" y="661"/>
                  <a:pt x="3864" y="661"/>
                </a:cubicBezTo>
                <a:moveTo>
                  <a:pt x="3409" y="661"/>
                </a:moveTo>
                <a:cubicBezTo>
                  <a:pt x="3402" y="661"/>
                  <a:pt x="3398" y="666"/>
                  <a:pt x="3400" y="671"/>
                </a:cubicBezTo>
                <a:cubicBezTo>
                  <a:pt x="3401" y="677"/>
                  <a:pt x="3409" y="682"/>
                  <a:pt x="3416" y="682"/>
                </a:cubicBezTo>
                <a:cubicBezTo>
                  <a:pt x="3423" y="682"/>
                  <a:pt x="3428" y="677"/>
                  <a:pt x="3426" y="671"/>
                </a:cubicBezTo>
                <a:cubicBezTo>
                  <a:pt x="3424" y="666"/>
                  <a:pt x="3417" y="661"/>
                  <a:pt x="3410" y="661"/>
                </a:cubicBezTo>
                <a:cubicBezTo>
                  <a:pt x="3410" y="661"/>
                  <a:pt x="3410" y="661"/>
                  <a:pt x="3409" y="661"/>
                </a:cubicBezTo>
                <a:moveTo>
                  <a:pt x="3901" y="661"/>
                </a:moveTo>
                <a:cubicBezTo>
                  <a:pt x="3894" y="661"/>
                  <a:pt x="3891" y="666"/>
                  <a:pt x="3893" y="671"/>
                </a:cubicBezTo>
                <a:cubicBezTo>
                  <a:pt x="3896" y="677"/>
                  <a:pt x="3904" y="682"/>
                  <a:pt x="3912" y="681"/>
                </a:cubicBezTo>
                <a:cubicBezTo>
                  <a:pt x="3919" y="681"/>
                  <a:pt x="3923" y="677"/>
                  <a:pt x="3920" y="671"/>
                </a:cubicBezTo>
                <a:cubicBezTo>
                  <a:pt x="3917" y="665"/>
                  <a:pt x="3909" y="661"/>
                  <a:pt x="3902" y="661"/>
                </a:cubicBezTo>
                <a:cubicBezTo>
                  <a:pt x="3902" y="661"/>
                  <a:pt x="3902" y="661"/>
                  <a:pt x="3901" y="661"/>
                </a:cubicBezTo>
                <a:moveTo>
                  <a:pt x="3448" y="661"/>
                </a:moveTo>
                <a:cubicBezTo>
                  <a:pt x="3440" y="661"/>
                  <a:pt x="3436" y="666"/>
                  <a:pt x="3438" y="671"/>
                </a:cubicBezTo>
                <a:cubicBezTo>
                  <a:pt x="3440" y="677"/>
                  <a:pt x="3447" y="681"/>
                  <a:pt x="3454" y="681"/>
                </a:cubicBezTo>
                <a:cubicBezTo>
                  <a:pt x="3462" y="681"/>
                  <a:pt x="3466" y="677"/>
                  <a:pt x="3464" y="671"/>
                </a:cubicBezTo>
                <a:cubicBezTo>
                  <a:pt x="3462" y="665"/>
                  <a:pt x="3455" y="661"/>
                  <a:pt x="3448" y="661"/>
                </a:cubicBezTo>
                <a:cubicBezTo>
                  <a:pt x="3448" y="661"/>
                  <a:pt x="3448" y="661"/>
                  <a:pt x="3448" y="661"/>
                </a:cubicBezTo>
                <a:moveTo>
                  <a:pt x="3940" y="661"/>
                </a:moveTo>
                <a:cubicBezTo>
                  <a:pt x="3932" y="661"/>
                  <a:pt x="3929" y="665"/>
                  <a:pt x="3932" y="671"/>
                </a:cubicBezTo>
                <a:cubicBezTo>
                  <a:pt x="3934" y="677"/>
                  <a:pt x="3943" y="681"/>
                  <a:pt x="3950" y="681"/>
                </a:cubicBezTo>
                <a:cubicBezTo>
                  <a:pt x="3957" y="681"/>
                  <a:pt x="3961" y="677"/>
                  <a:pt x="3958" y="671"/>
                </a:cubicBezTo>
                <a:cubicBezTo>
                  <a:pt x="3955" y="665"/>
                  <a:pt x="3947" y="661"/>
                  <a:pt x="3940" y="661"/>
                </a:cubicBezTo>
                <a:cubicBezTo>
                  <a:pt x="3940" y="661"/>
                  <a:pt x="3940" y="661"/>
                  <a:pt x="3940" y="661"/>
                </a:cubicBezTo>
                <a:moveTo>
                  <a:pt x="3485" y="661"/>
                </a:moveTo>
                <a:cubicBezTo>
                  <a:pt x="3478" y="661"/>
                  <a:pt x="3473" y="665"/>
                  <a:pt x="3475" y="671"/>
                </a:cubicBezTo>
                <a:cubicBezTo>
                  <a:pt x="3477" y="677"/>
                  <a:pt x="3485" y="681"/>
                  <a:pt x="3492" y="681"/>
                </a:cubicBezTo>
                <a:cubicBezTo>
                  <a:pt x="3499" y="681"/>
                  <a:pt x="3504" y="676"/>
                  <a:pt x="3502" y="671"/>
                </a:cubicBezTo>
                <a:cubicBezTo>
                  <a:pt x="3500" y="665"/>
                  <a:pt x="3492" y="661"/>
                  <a:pt x="3485" y="661"/>
                </a:cubicBezTo>
                <a:cubicBezTo>
                  <a:pt x="3485" y="661"/>
                  <a:pt x="3485" y="661"/>
                  <a:pt x="3485" y="661"/>
                </a:cubicBezTo>
                <a:moveTo>
                  <a:pt x="3977" y="660"/>
                </a:moveTo>
                <a:cubicBezTo>
                  <a:pt x="3970" y="661"/>
                  <a:pt x="3966" y="665"/>
                  <a:pt x="3969" y="671"/>
                </a:cubicBezTo>
                <a:cubicBezTo>
                  <a:pt x="3972" y="677"/>
                  <a:pt x="3980" y="681"/>
                  <a:pt x="3988" y="681"/>
                </a:cubicBezTo>
                <a:cubicBezTo>
                  <a:pt x="3995" y="681"/>
                  <a:pt x="3998" y="676"/>
                  <a:pt x="3995" y="671"/>
                </a:cubicBezTo>
                <a:cubicBezTo>
                  <a:pt x="3992" y="665"/>
                  <a:pt x="3984" y="660"/>
                  <a:pt x="3977" y="660"/>
                </a:cubicBezTo>
                <a:cubicBezTo>
                  <a:pt x="3977" y="660"/>
                  <a:pt x="3977" y="660"/>
                  <a:pt x="3977" y="660"/>
                </a:cubicBezTo>
                <a:moveTo>
                  <a:pt x="3523" y="660"/>
                </a:moveTo>
                <a:cubicBezTo>
                  <a:pt x="3515" y="660"/>
                  <a:pt x="3511" y="665"/>
                  <a:pt x="3513" y="671"/>
                </a:cubicBezTo>
                <a:cubicBezTo>
                  <a:pt x="3515" y="676"/>
                  <a:pt x="3523" y="681"/>
                  <a:pt x="3530" y="681"/>
                </a:cubicBezTo>
                <a:cubicBezTo>
                  <a:pt x="3537" y="681"/>
                  <a:pt x="3541" y="676"/>
                  <a:pt x="3539" y="671"/>
                </a:cubicBezTo>
                <a:cubicBezTo>
                  <a:pt x="3537" y="665"/>
                  <a:pt x="3530" y="660"/>
                  <a:pt x="3523" y="660"/>
                </a:cubicBezTo>
                <a:cubicBezTo>
                  <a:pt x="3523" y="660"/>
                  <a:pt x="3523" y="660"/>
                  <a:pt x="3523" y="660"/>
                </a:cubicBezTo>
                <a:moveTo>
                  <a:pt x="4013" y="660"/>
                </a:moveTo>
                <a:cubicBezTo>
                  <a:pt x="4006" y="660"/>
                  <a:pt x="4003" y="665"/>
                  <a:pt x="4006" y="671"/>
                </a:cubicBezTo>
                <a:cubicBezTo>
                  <a:pt x="4009" y="676"/>
                  <a:pt x="4017" y="681"/>
                  <a:pt x="4024" y="681"/>
                </a:cubicBezTo>
                <a:cubicBezTo>
                  <a:pt x="4032" y="681"/>
                  <a:pt x="4035" y="676"/>
                  <a:pt x="4032" y="670"/>
                </a:cubicBezTo>
                <a:cubicBezTo>
                  <a:pt x="4029" y="665"/>
                  <a:pt x="4021" y="660"/>
                  <a:pt x="4014" y="660"/>
                </a:cubicBezTo>
                <a:cubicBezTo>
                  <a:pt x="4014" y="660"/>
                  <a:pt x="4013" y="660"/>
                  <a:pt x="4013" y="660"/>
                </a:cubicBezTo>
                <a:moveTo>
                  <a:pt x="3560" y="660"/>
                </a:moveTo>
                <a:cubicBezTo>
                  <a:pt x="3553" y="660"/>
                  <a:pt x="3548" y="665"/>
                  <a:pt x="3551" y="671"/>
                </a:cubicBezTo>
                <a:cubicBezTo>
                  <a:pt x="3553" y="676"/>
                  <a:pt x="3560" y="681"/>
                  <a:pt x="3568" y="681"/>
                </a:cubicBezTo>
                <a:cubicBezTo>
                  <a:pt x="3575" y="681"/>
                  <a:pt x="3579" y="676"/>
                  <a:pt x="3577" y="670"/>
                </a:cubicBezTo>
                <a:cubicBezTo>
                  <a:pt x="3575" y="665"/>
                  <a:pt x="3567" y="660"/>
                  <a:pt x="3560" y="660"/>
                </a:cubicBezTo>
                <a:cubicBezTo>
                  <a:pt x="3560" y="660"/>
                  <a:pt x="3560" y="660"/>
                  <a:pt x="3560" y="660"/>
                </a:cubicBezTo>
                <a:moveTo>
                  <a:pt x="3598" y="660"/>
                </a:moveTo>
                <a:cubicBezTo>
                  <a:pt x="3590" y="660"/>
                  <a:pt x="3586" y="665"/>
                  <a:pt x="3588" y="670"/>
                </a:cubicBezTo>
                <a:cubicBezTo>
                  <a:pt x="3591" y="676"/>
                  <a:pt x="3598" y="681"/>
                  <a:pt x="3606" y="681"/>
                </a:cubicBezTo>
                <a:cubicBezTo>
                  <a:pt x="3613" y="681"/>
                  <a:pt x="3617" y="676"/>
                  <a:pt x="3615" y="670"/>
                </a:cubicBezTo>
                <a:cubicBezTo>
                  <a:pt x="3613" y="665"/>
                  <a:pt x="3605" y="660"/>
                  <a:pt x="3598" y="660"/>
                </a:cubicBezTo>
                <a:cubicBezTo>
                  <a:pt x="3598" y="660"/>
                  <a:pt x="3598" y="660"/>
                  <a:pt x="3598" y="660"/>
                </a:cubicBezTo>
                <a:moveTo>
                  <a:pt x="3636" y="660"/>
                </a:moveTo>
                <a:cubicBezTo>
                  <a:pt x="3628" y="660"/>
                  <a:pt x="3624" y="664"/>
                  <a:pt x="3626" y="670"/>
                </a:cubicBezTo>
                <a:cubicBezTo>
                  <a:pt x="3629" y="676"/>
                  <a:pt x="3637" y="680"/>
                  <a:pt x="3644" y="680"/>
                </a:cubicBezTo>
                <a:cubicBezTo>
                  <a:pt x="3651" y="680"/>
                  <a:pt x="3655" y="676"/>
                  <a:pt x="3653" y="670"/>
                </a:cubicBezTo>
                <a:cubicBezTo>
                  <a:pt x="3651" y="664"/>
                  <a:pt x="3643" y="660"/>
                  <a:pt x="3636" y="660"/>
                </a:cubicBezTo>
                <a:cubicBezTo>
                  <a:pt x="3636" y="660"/>
                  <a:pt x="3636" y="660"/>
                  <a:pt x="3636" y="660"/>
                </a:cubicBezTo>
                <a:moveTo>
                  <a:pt x="75" y="652"/>
                </a:moveTo>
                <a:cubicBezTo>
                  <a:pt x="68" y="652"/>
                  <a:pt x="58" y="656"/>
                  <a:pt x="53" y="662"/>
                </a:cubicBezTo>
                <a:cubicBezTo>
                  <a:pt x="48" y="668"/>
                  <a:pt x="50" y="672"/>
                  <a:pt x="58" y="672"/>
                </a:cubicBezTo>
                <a:cubicBezTo>
                  <a:pt x="65" y="672"/>
                  <a:pt x="75" y="667"/>
                  <a:pt x="80" y="662"/>
                </a:cubicBezTo>
                <a:cubicBezTo>
                  <a:pt x="84" y="656"/>
                  <a:pt x="82" y="652"/>
                  <a:pt x="75" y="652"/>
                </a:cubicBezTo>
                <a:cubicBezTo>
                  <a:pt x="75" y="652"/>
                  <a:pt x="75" y="652"/>
                  <a:pt x="75" y="652"/>
                </a:cubicBezTo>
                <a:moveTo>
                  <a:pt x="114" y="652"/>
                </a:moveTo>
                <a:cubicBezTo>
                  <a:pt x="107" y="652"/>
                  <a:pt x="97" y="656"/>
                  <a:pt x="92" y="662"/>
                </a:cubicBezTo>
                <a:cubicBezTo>
                  <a:pt x="88" y="667"/>
                  <a:pt x="90" y="672"/>
                  <a:pt x="97" y="672"/>
                </a:cubicBezTo>
                <a:cubicBezTo>
                  <a:pt x="104" y="672"/>
                  <a:pt x="114" y="667"/>
                  <a:pt x="119" y="662"/>
                </a:cubicBezTo>
                <a:cubicBezTo>
                  <a:pt x="123" y="656"/>
                  <a:pt x="121" y="652"/>
                  <a:pt x="114" y="652"/>
                </a:cubicBezTo>
                <a:cubicBezTo>
                  <a:pt x="114" y="652"/>
                  <a:pt x="114" y="652"/>
                  <a:pt x="114" y="652"/>
                </a:cubicBezTo>
                <a:moveTo>
                  <a:pt x="151" y="651"/>
                </a:moveTo>
                <a:cubicBezTo>
                  <a:pt x="144" y="651"/>
                  <a:pt x="135" y="656"/>
                  <a:pt x="130" y="662"/>
                </a:cubicBezTo>
                <a:cubicBezTo>
                  <a:pt x="125" y="667"/>
                  <a:pt x="127" y="672"/>
                  <a:pt x="135" y="672"/>
                </a:cubicBezTo>
                <a:cubicBezTo>
                  <a:pt x="142" y="672"/>
                  <a:pt x="152" y="667"/>
                  <a:pt x="156" y="661"/>
                </a:cubicBezTo>
                <a:cubicBezTo>
                  <a:pt x="161" y="656"/>
                  <a:pt x="159" y="651"/>
                  <a:pt x="152" y="651"/>
                </a:cubicBezTo>
                <a:cubicBezTo>
                  <a:pt x="152" y="651"/>
                  <a:pt x="151" y="651"/>
                  <a:pt x="151" y="651"/>
                </a:cubicBezTo>
                <a:moveTo>
                  <a:pt x="189" y="651"/>
                </a:moveTo>
                <a:cubicBezTo>
                  <a:pt x="181" y="651"/>
                  <a:pt x="172" y="656"/>
                  <a:pt x="167" y="661"/>
                </a:cubicBezTo>
                <a:cubicBezTo>
                  <a:pt x="163" y="667"/>
                  <a:pt x="165" y="671"/>
                  <a:pt x="172" y="671"/>
                </a:cubicBezTo>
                <a:cubicBezTo>
                  <a:pt x="179" y="671"/>
                  <a:pt x="189" y="667"/>
                  <a:pt x="194" y="661"/>
                </a:cubicBezTo>
                <a:cubicBezTo>
                  <a:pt x="198" y="656"/>
                  <a:pt x="196" y="651"/>
                  <a:pt x="189" y="651"/>
                </a:cubicBezTo>
                <a:cubicBezTo>
                  <a:pt x="189" y="651"/>
                  <a:pt x="189" y="651"/>
                  <a:pt x="189" y="651"/>
                </a:cubicBezTo>
                <a:moveTo>
                  <a:pt x="226" y="651"/>
                </a:moveTo>
                <a:cubicBezTo>
                  <a:pt x="219" y="651"/>
                  <a:pt x="209" y="656"/>
                  <a:pt x="205" y="661"/>
                </a:cubicBezTo>
                <a:cubicBezTo>
                  <a:pt x="200" y="667"/>
                  <a:pt x="203" y="671"/>
                  <a:pt x="210" y="671"/>
                </a:cubicBezTo>
                <a:cubicBezTo>
                  <a:pt x="217" y="671"/>
                  <a:pt x="227" y="667"/>
                  <a:pt x="231" y="661"/>
                </a:cubicBezTo>
                <a:cubicBezTo>
                  <a:pt x="236" y="655"/>
                  <a:pt x="233" y="651"/>
                  <a:pt x="226" y="651"/>
                </a:cubicBezTo>
                <a:cubicBezTo>
                  <a:pt x="226" y="651"/>
                  <a:pt x="226" y="651"/>
                  <a:pt x="226" y="651"/>
                </a:cubicBezTo>
                <a:moveTo>
                  <a:pt x="263" y="651"/>
                </a:moveTo>
                <a:cubicBezTo>
                  <a:pt x="256" y="651"/>
                  <a:pt x="247" y="655"/>
                  <a:pt x="242" y="661"/>
                </a:cubicBezTo>
                <a:cubicBezTo>
                  <a:pt x="238" y="666"/>
                  <a:pt x="240" y="671"/>
                  <a:pt x="247" y="671"/>
                </a:cubicBezTo>
                <a:cubicBezTo>
                  <a:pt x="255" y="671"/>
                  <a:pt x="264" y="666"/>
                  <a:pt x="268" y="661"/>
                </a:cubicBezTo>
                <a:cubicBezTo>
                  <a:pt x="273" y="655"/>
                  <a:pt x="271" y="651"/>
                  <a:pt x="263" y="651"/>
                </a:cubicBezTo>
                <a:cubicBezTo>
                  <a:pt x="263" y="651"/>
                  <a:pt x="263" y="651"/>
                  <a:pt x="263" y="651"/>
                </a:cubicBezTo>
                <a:moveTo>
                  <a:pt x="301" y="650"/>
                </a:moveTo>
                <a:cubicBezTo>
                  <a:pt x="294" y="651"/>
                  <a:pt x="284" y="655"/>
                  <a:pt x="280" y="661"/>
                </a:cubicBezTo>
                <a:cubicBezTo>
                  <a:pt x="275" y="666"/>
                  <a:pt x="278" y="671"/>
                  <a:pt x="285" y="671"/>
                </a:cubicBezTo>
                <a:cubicBezTo>
                  <a:pt x="292" y="671"/>
                  <a:pt x="302" y="666"/>
                  <a:pt x="306" y="661"/>
                </a:cubicBezTo>
                <a:cubicBezTo>
                  <a:pt x="310" y="655"/>
                  <a:pt x="308" y="650"/>
                  <a:pt x="301" y="650"/>
                </a:cubicBezTo>
                <a:cubicBezTo>
                  <a:pt x="301" y="650"/>
                  <a:pt x="301" y="650"/>
                  <a:pt x="301" y="650"/>
                </a:cubicBezTo>
                <a:moveTo>
                  <a:pt x="339" y="650"/>
                </a:moveTo>
                <a:cubicBezTo>
                  <a:pt x="332" y="650"/>
                  <a:pt x="323" y="655"/>
                  <a:pt x="319" y="660"/>
                </a:cubicBezTo>
                <a:cubicBezTo>
                  <a:pt x="314" y="666"/>
                  <a:pt x="317" y="671"/>
                  <a:pt x="324" y="671"/>
                </a:cubicBezTo>
                <a:cubicBezTo>
                  <a:pt x="331" y="670"/>
                  <a:pt x="341" y="666"/>
                  <a:pt x="345" y="660"/>
                </a:cubicBezTo>
                <a:cubicBezTo>
                  <a:pt x="349" y="655"/>
                  <a:pt x="347" y="650"/>
                  <a:pt x="340" y="650"/>
                </a:cubicBezTo>
                <a:cubicBezTo>
                  <a:pt x="340" y="650"/>
                  <a:pt x="340" y="650"/>
                  <a:pt x="339" y="650"/>
                </a:cubicBezTo>
                <a:moveTo>
                  <a:pt x="377" y="650"/>
                </a:moveTo>
                <a:cubicBezTo>
                  <a:pt x="369" y="650"/>
                  <a:pt x="360" y="655"/>
                  <a:pt x="356" y="660"/>
                </a:cubicBezTo>
                <a:cubicBezTo>
                  <a:pt x="352" y="666"/>
                  <a:pt x="354" y="670"/>
                  <a:pt x="362" y="670"/>
                </a:cubicBezTo>
                <a:cubicBezTo>
                  <a:pt x="369" y="670"/>
                  <a:pt x="378" y="666"/>
                  <a:pt x="382" y="660"/>
                </a:cubicBezTo>
                <a:cubicBezTo>
                  <a:pt x="386" y="655"/>
                  <a:pt x="384" y="650"/>
                  <a:pt x="377" y="650"/>
                </a:cubicBezTo>
                <a:cubicBezTo>
                  <a:pt x="377" y="650"/>
                  <a:pt x="377" y="650"/>
                  <a:pt x="377" y="650"/>
                </a:cubicBezTo>
                <a:moveTo>
                  <a:pt x="414" y="650"/>
                </a:moveTo>
                <a:cubicBezTo>
                  <a:pt x="407" y="650"/>
                  <a:pt x="398" y="654"/>
                  <a:pt x="394" y="660"/>
                </a:cubicBezTo>
                <a:cubicBezTo>
                  <a:pt x="390" y="666"/>
                  <a:pt x="392" y="670"/>
                  <a:pt x="399" y="670"/>
                </a:cubicBezTo>
                <a:cubicBezTo>
                  <a:pt x="407" y="670"/>
                  <a:pt x="416" y="666"/>
                  <a:pt x="420" y="660"/>
                </a:cubicBezTo>
                <a:cubicBezTo>
                  <a:pt x="424" y="654"/>
                  <a:pt x="422" y="650"/>
                  <a:pt x="414" y="650"/>
                </a:cubicBezTo>
                <a:cubicBezTo>
                  <a:pt x="414" y="650"/>
                  <a:pt x="414" y="650"/>
                  <a:pt x="414" y="650"/>
                </a:cubicBezTo>
                <a:moveTo>
                  <a:pt x="452" y="650"/>
                </a:moveTo>
                <a:cubicBezTo>
                  <a:pt x="445" y="650"/>
                  <a:pt x="436" y="654"/>
                  <a:pt x="432" y="660"/>
                </a:cubicBezTo>
                <a:cubicBezTo>
                  <a:pt x="428" y="665"/>
                  <a:pt x="430" y="670"/>
                  <a:pt x="438" y="670"/>
                </a:cubicBezTo>
                <a:cubicBezTo>
                  <a:pt x="445" y="670"/>
                  <a:pt x="454" y="665"/>
                  <a:pt x="458" y="660"/>
                </a:cubicBezTo>
                <a:cubicBezTo>
                  <a:pt x="462" y="654"/>
                  <a:pt x="459" y="650"/>
                  <a:pt x="452" y="650"/>
                </a:cubicBezTo>
                <a:cubicBezTo>
                  <a:pt x="452" y="650"/>
                  <a:pt x="452" y="650"/>
                  <a:pt x="452" y="650"/>
                </a:cubicBezTo>
                <a:moveTo>
                  <a:pt x="489" y="649"/>
                </a:moveTo>
                <a:cubicBezTo>
                  <a:pt x="482" y="649"/>
                  <a:pt x="473" y="654"/>
                  <a:pt x="469" y="660"/>
                </a:cubicBezTo>
                <a:cubicBezTo>
                  <a:pt x="465" y="665"/>
                  <a:pt x="468" y="670"/>
                  <a:pt x="475" y="670"/>
                </a:cubicBezTo>
                <a:cubicBezTo>
                  <a:pt x="482" y="670"/>
                  <a:pt x="491" y="665"/>
                  <a:pt x="495" y="659"/>
                </a:cubicBezTo>
                <a:cubicBezTo>
                  <a:pt x="499" y="654"/>
                  <a:pt x="497" y="649"/>
                  <a:pt x="489" y="649"/>
                </a:cubicBezTo>
                <a:cubicBezTo>
                  <a:pt x="489" y="649"/>
                  <a:pt x="489" y="649"/>
                  <a:pt x="489" y="649"/>
                </a:cubicBezTo>
                <a:moveTo>
                  <a:pt x="527" y="649"/>
                </a:moveTo>
                <a:cubicBezTo>
                  <a:pt x="520" y="649"/>
                  <a:pt x="511" y="654"/>
                  <a:pt x="507" y="659"/>
                </a:cubicBezTo>
                <a:cubicBezTo>
                  <a:pt x="503" y="665"/>
                  <a:pt x="505" y="670"/>
                  <a:pt x="513" y="669"/>
                </a:cubicBezTo>
                <a:cubicBezTo>
                  <a:pt x="520" y="669"/>
                  <a:pt x="529" y="665"/>
                  <a:pt x="533" y="659"/>
                </a:cubicBezTo>
                <a:cubicBezTo>
                  <a:pt x="537" y="654"/>
                  <a:pt x="534" y="649"/>
                  <a:pt x="527" y="649"/>
                </a:cubicBezTo>
                <a:cubicBezTo>
                  <a:pt x="527" y="649"/>
                  <a:pt x="527" y="649"/>
                  <a:pt x="527" y="649"/>
                </a:cubicBezTo>
                <a:moveTo>
                  <a:pt x="564" y="649"/>
                </a:moveTo>
                <a:cubicBezTo>
                  <a:pt x="557" y="649"/>
                  <a:pt x="548" y="654"/>
                  <a:pt x="544" y="659"/>
                </a:cubicBezTo>
                <a:cubicBezTo>
                  <a:pt x="540" y="665"/>
                  <a:pt x="543" y="669"/>
                  <a:pt x="550" y="669"/>
                </a:cubicBezTo>
                <a:cubicBezTo>
                  <a:pt x="558" y="669"/>
                  <a:pt x="567" y="665"/>
                  <a:pt x="570" y="659"/>
                </a:cubicBezTo>
                <a:cubicBezTo>
                  <a:pt x="574" y="653"/>
                  <a:pt x="571" y="649"/>
                  <a:pt x="564" y="649"/>
                </a:cubicBezTo>
                <a:cubicBezTo>
                  <a:pt x="564" y="649"/>
                  <a:pt x="564" y="649"/>
                  <a:pt x="564" y="649"/>
                </a:cubicBezTo>
                <a:moveTo>
                  <a:pt x="602" y="649"/>
                </a:moveTo>
                <a:cubicBezTo>
                  <a:pt x="594" y="649"/>
                  <a:pt x="585" y="653"/>
                  <a:pt x="582" y="659"/>
                </a:cubicBezTo>
                <a:cubicBezTo>
                  <a:pt x="578" y="665"/>
                  <a:pt x="581" y="669"/>
                  <a:pt x="588" y="669"/>
                </a:cubicBezTo>
                <a:cubicBezTo>
                  <a:pt x="595" y="669"/>
                  <a:pt x="604" y="664"/>
                  <a:pt x="608" y="659"/>
                </a:cubicBezTo>
                <a:cubicBezTo>
                  <a:pt x="612" y="653"/>
                  <a:pt x="609" y="649"/>
                  <a:pt x="602" y="649"/>
                </a:cubicBezTo>
                <a:cubicBezTo>
                  <a:pt x="602" y="649"/>
                  <a:pt x="602" y="649"/>
                  <a:pt x="602" y="649"/>
                </a:cubicBezTo>
                <a:moveTo>
                  <a:pt x="639" y="649"/>
                </a:moveTo>
                <a:cubicBezTo>
                  <a:pt x="632" y="649"/>
                  <a:pt x="623" y="653"/>
                  <a:pt x="620" y="659"/>
                </a:cubicBezTo>
                <a:cubicBezTo>
                  <a:pt x="616" y="664"/>
                  <a:pt x="619" y="669"/>
                  <a:pt x="626" y="669"/>
                </a:cubicBezTo>
                <a:cubicBezTo>
                  <a:pt x="634" y="669"/>
                  <a:pt x="642" y="664"/>
                  <a:pt x="646" y="659"/>
                </a:cubicBezTo>
                <a:cubicBezTo>
                  <a:pt x="650" y="653"/>
                  <a:pt x="647" y="649"/>
                  <a:pt x="640" y="649"/>
                </a:cubicBezTo>
                <a:cubicBezTo>
                  <a:pt x="639" y="649"/>
                  <a:pt x="639" y="649"/>
                  <a:pt x="639" y="649"/>
                </a:cubicBezTo>
                <a:moveTo>
                  <a:pt x="677" y="648"/>
                </a:moveTo>
                <a:cubicBezTo>
                  <a:pt x="669" y="648"/>
                  <a:pt x="661" y="653"/>
                  <a:pt x="657" y="659"/>
                </a:cubicBezTo>
                <a:cubicBezTo>
                  <a:pt x="653" y="664"/>
                  <a:pt x="656" y="669"/>
                  <a:pt x="664" y="669"/>
                </a:cubicBezTo>
                <a:cubicBezTo>
                  <a:pt x="671" y="669"/>
                  <a:pt x="680" y="664"/>
                  <a:pt x="683" y="658"/>
                </a:cubicBezTo>
                <a:cubicBezTo>
                  <a:pt x="687" y="653"/>
                  <a:pt x="684" y="648"/>
                  <a:pt x="677" y="648"/>
                </a:cubicBezTo>
                <a:cubicBezTo>
                  <a:pt x="677" y="648"/>
                  <a:pt x="677" y="648"/>
                  <a:pt x="677" y="648"/>
                </a:cubicBezTo>
                <a:moveTo>
                  <a:pt x="714" y="648"/>
                </a:moveTo>
                <a:cubicBezTo>
                  <a:pt x="707" y="648"/>
                  <a:pt x="698" y="653"/>
                  <a:pt x="695" y="658"/>
                </a:cubicBezTo>
                <a:cubicBezTo>
                  <a:pt x="691" y="664"/>
                  <a:pt x="694" y="668"/>
                  <a:pt x="701" y="668"/>
                </a:cubicBezTo>
                <a:cubicBezTo>
                  <a:pt x="709" y="668"/>
                  <a:pt x="717" y="664"/>
                  <a:pt x="721" y="658"/>
                </a:cubicBezTo>
                <a:cubicBezTo>
                  <a:pt x="724" y="653"/>
                  <a:pt x="721" y="648"/>
                  <a:pt x="714" y="648"/>
                </a:cubicBezTo>
                <a:cubicBezTo>
                  <a:pt x="714" y="648"/>
                  <a:pt x="714" y="648"/>
                  <a:pt x="714" y="648"/>
                </a:cubicBezTo>
                <a:moveTo>
                  <a:pt x="1909" y="640"/>
                </a:moveTo>
                <a:cubicBezTo>
                  <a:pt x="1902" y="640"/>
                  <a:pt x="1895" y="644"/>
                  <a:pt x="1894" y="650"/>
                </a:cubicBezTo>
                <a:cubicBezTo>
                  <a:pt x="1893" y="656"/>
                  <a:pt x="1898" y="660"/>
                  <a:pt x="1905" y="660"/>
                </a:cubicBezTo>
                <a:cubicBezTo>
                  <a:pt x="1912" y="660"/>
                  <a:pt x="1919" y="656"/>
                  <a:pt x="1920" y="650"/>
                </a:cubicBezTo>
                <a:cubicBezTo>
                  <a:pt x="1921" y="644"/>
                  <a:pt x="1916" y="640"/>
                  <a:pt x="1909" y="640"/>
                </a:cubicBezTo>
                <a:cubicBezTo>
                  <a:pt x="1909" y="640"/>
                  <a:pt x="1909" y="640"/>
                  <a:pt x="1909" y="640"/>
                </a:cubicBezTo>
                <a:moveTo>
                  <a:pt x="1946" y="640"/>
                </a:moveTo>
                <a:cubicBezTo>
                  <a:pt x="1939" y="640"/>
                  <a:pt x="1932" y="644"/>
                  <a:pt x="1931" y="650"/>
                </a:cubicBezTo>
                <a:cubicBezTo>
                  <a:pt x="1930" y="655"/>
                  <a:pt x="1935" y="660"/>
                  <a:pt x="1942" y="660"/>
                </a:cubicBezTo>
                <a:cubicBezTo>
                  <a:pt x="1949" y="660"/>
                  <a:pt x="1956" y="655"/>
                  <a:pt x="1957" y="650"/>
                </a:cubicBezTo>
                <a:cubicBezTo>
                  <a:pt x="1958" y="644"/>
                  <a:pt x="1953" y="640"/>
                  <a:pt x="1946" y="640"/>
                </a:cubicBezTo>
                <a:cubicBezTo>
                  <a:pt x="1946" y="640"/>
                  <a:pt x="1946" y="640"/>
                  <a:pt x="1946" y="640"/>
                </a:cubicBezTo>
                <a:moveTo>
                  <a:pt x="1983" y="639"/>
                </a:moveTo>
                <a:cubicBezTo>
                  <a:pt x="1976" y="639"/>
                  <a:pt x="1969" y="644"/>
                  <a:pt x="1968" y="650"/>
                </a:cubicBezTo>
                <a:cubicBezTo>
                  <a:pt x="1967" y="655"/>
                  <a:pt x="1972" y="660"/>
                  <a:pt x="1980" y="660"/>
                </a:cubicBezTo>
                <a:cubicBezTo>
                  <a:pt x="1987" y="660"/>
                  <a:pt x="1994" y="655"/>
                  <a:pt x="1995" y="649"/>
                </a:cubicBezTo>
                <a:cubicBezTo>
                  <a:pt x="1996" y="644"/>
                  <a:pt x="1991" y="639"/>
                  <a:pt x="1983" y="639"/>
                </a:cubicBezTo>
                <a:cubicBezTo>
                  <a:pt x="1983" y="639"/>
                  <a:pt x="1983" y="639"/>
                  <a:pt x="1983" y="639"/>
                </a:cubicBezTo>
                <a:moveTo>
                  <a:pt x="2020" y="639"/>
                </a:moveTo>
                <a:cubicBezTo>
                  <a:pt x="2013" y="639"/>
                  <a:pt x="2007" y="644"/>
                  <a:pt x="2006" y="649"/>
                </a:cubicBezTo>
                <a:cubicBezTo>
                  <a:pt x="2005" y="655"/>
                  <a:pt x="2010" y="660"/>
                  <a:pt x="2017" y="660"/>
                </a:cubicBezTo>
                <a:cubicBezTo>
                  <a:pt x="2024" y="659"/>
                  <a:pt x="2031" y="655"/>
                  <a:pt x="2032" y="649"/>
                </a:cubicBezTo>
                <a:cubicBezTo>
                  <a:pt x="2033" y="644"/>
                  <a:pt x="2028" y="639"/>
                  <a:pt x="2021" y="639"/>
                </a:cubicBezTo>
                <a:cubicBezTo>
                  <a:pt x="2021" y="639"/>
                  <a:pt x="2020" y="639"/>
                  <a:pt x="2020" y="639"/>
                </a:cubicBezTo>
                <a:moveTo>
                  <a:pt x="2058" y="639"/>
                </a:moveTo>
                <a:cubicBezTo>
                  <a:pt x="2051" y="639"/>
                  <a:pt x="2044" y="644"/>
                  <a:pt x="2043" y="649"/>
                </a:cubicBezTo>
                <a:cubicBezTo>
                  <a:pt x="2042" y="655"/>
                  <a:pt x="2048" y="659"/>
                  <a:pt x="2055" y="659"/>
                </a:cubicBezTo>
                <a:cubicBezTo>
                  <a:pt x="2062" y="659"/>
                  <a:pt x="2069" y="655"/>
                  <a:pt x="2069" y="649"/>
                </a:cubicBezTo>
                <a:cubicBezTo>
                  <a:pt x="2070" y="643"/>
                  <a:pt x="2065" y="639"/>
                  <a:pt x="2058" y="639"/>
                </a:cubicBezTo>
                <a:cubicBezTo>
                  <a:pt x="2058" y="639"/>
                  <a:pt x="2058" y="639"/>
                  <a:pt x="2058" y="639"/>
                </a:cubicBezTo>
                <a:moveTo>
                  <a:pt x="2096" y="639"/>
                </a:moveTo>
                <a:cubicBezTo>
                  <a:pt x="2089" y="639"/>
                  <a:pt x="2083" y="643"/>
                  <a:pt x="2082" y="649"/>
                </a:cubicBezTo>
                <a:cubicBezTo>
                  <a:pt x="2081" y="655"/>
                  <a:pt x="2086" y="659"/>
                  <a:pt x="2094" y="659"/>
                </a:cubicBezTo>
                <a:cubicBezTo>
                  <a:pt x="2101" y="659"/>
                  <a:pt x="2107" y="654"/>
                  <a:pt x="2108" y="649"/>
                </a:cubicBezTo>
                <a:cubicBezTo>
                  <a:pt x="2109" y="643"/>
                  <a:pt x="2104" y="639"/>
                  <a:pt x="2096" y="639"/>
                </a:cubicBezTo>
                <a:cubicBezTo>
                  <a:pt x="2096" y="639"/>
                  <a:pt x="2096" y="639"/>
                  <a:pt x="2096" y="639"/>
                </a:cubicBezTo>
                <a:moveTo>
                  <a:pt x="2133" y="638"/>
                </a:moveTo>
                <a:cubicBezTo>
                  <a:pt x="2126" y="639"/>
                  <a:pt x="2120" y="643"/>
                  <a:pt x="2119" y="649"/>
                </a:cubicBezTo>
                <a:cubicBezTo>
                  <a:pt x="2118" y="654"/>
                  <a:pt x="2124" y="659"/>
                  <a:pt x="2131" y="659"/>
                </a:cubicBezTo>
                <a:cubicBezTo>
                  <a:pt x="2138" y="659"/>
                  <a:pt x="2145" y="654"/>
                  <a:pt x="2145" y="649"/>
                </a:cubicBezTo>
                <a:cubicBezTo>
                  <a:pt x="2146" y="643"/>
                  <a:pt x="2141" y="638"/>
                  <a:pt x="2134" y="638"/>
                </a:cubicBezTo>
                <a:cubicBezTo>
                  <a:pt x="2134" y="638"/>
                  <a:pt x="2134" y="638"/>
                  <a:pt x="2133" y="638"/>
                </a:cubicBezTo>
                <a:moveTo>
                  <a:pt x="2171" y="638"/>
                </a:moveTo>
                <a:cubicBezTo>
                  <a:pt x="2164" y="638"/>
                  <a:pt x="2157" y="643"/>
                  <a:pt x="2157" y="649"/>
                </a:cubicBezTo>
                <a:cubicBezTo>
                  <a:pt x="2156" y="654"/>
                  <a:pt x="2161" y="659"/>
                  <a:pt x="2169" y="659"/>
                </a:cubicBezTo>
                <a:cubicBezTo>
                  <a:pt x="2176" y="659"/>
                  <a:pt x="2182" y="654"/>
                  <a:pt x="2183" y="648"/>
                </a:cubicBezTo>
                <a:cubicBezTo>
                  <a:pt x="2183" y="643"/>
                  <a:pt x="2178" y="638"/>
                  <a:pt x="2171" y="638"/>
                </a:cubicBezTo>
                <a:cubicBezTo>
                  <a:pt x="2171" y="638"/>
                  <a:pt x="2171" y="638"/>
                  <a:pt x="2171" y="638"/>
                </a:cubicBezTo>
                <a:moveTo>
                  <a:pt x="2805" y="636"/>
                </a:moveTo>
                <a:cubicBezTo>
                  <a:pt x="2798" y="636"/>
                  <a:pt x="2793" y="641"/>
                  <a:pt x="2793" y="647"/>
                </a:cubicBezTo>
                <a:cubicBezTo>
                  <a:pt x="2794" y="652"/>
                  <a:pt x="2800" y="657"/>
                  <a:pt x="2808" y="657"/>
                </a:cubicBezTo>
                <a:cubicBezTo>
                  <a:pt x="2815" y="657"/>
                  <a:pt x="2820" y="652"/>
                  <a:pt x="2820" y="646"/>
                </a:cubicBezTo>
                <a:cubicBezTo>
                  <a:pt x="2819" y="641"/>
                  <a:pt x="2813" y="636"/>
                  <a:pt x="2806" y="636"/>
                </a:cubicBezTo>
                <a:cubicBezTo>
                  <a:pt x="2805" y="636"/>
                  <a:pt x="2805" y="636"/>
                  <a:pt x="2805" y="636"/>
                </a:cubicBezTo>
                <a:moveTo>
                  <a:pt x="2841" y="636"/>
                </a:moveTo>
                <a:cubicBezTo>
                  <a:pt x="2833" y="636"/>
                  <a:pt x="2828" y="641"/>
                  <a:pt x="2829" y="646"/>
                </a:cubicBezTo>
                <a:cubicBezTo>
                  <a:pt x="2829" y="652"/>
                  <a:pt x="2836" y="657"/>
                  <a:pt x="2843" y="657"/>
                </a:cubicBezTo>
                <a:cubicBezTo>
                  <a:pt x="2850" y="657"/>
                  <a:pt x="2856" y="652"/>
                  <a:pt x="2855" y="646"/>
                </a:cubicBezTo>
                <a:cubicBezTo>
                  <a:pt x="2854" y="641"/>
                  <a:pt x="2848" y="636"/>
                  <a:pt x="2841" y="636"/>
                </a:cubicBezTo>
                <a:cubicBezTo>
                  <a:pt x="2841" y="636"/>
                  <a:pt x="2841" y="636"/>
                  <a:pt x="2841" y="636"/>
                </a:cubicBezTo>
                <a:moveTo>
                  <a:pt x="2878" y="636"/>
                </a:moveTo>
                <a:cubicBezTo>
                  <a:pt x="2870" y="636"/>
                  <a:pt x="2865" y="641"/>
                  <a:pt x="2866" y="646"/>
                </a:cubicBezTo>
                <a:cubicBezTo>
                  <a:pt x="2867" y="652"/>
                  <a:pt x="2873" y="656"/>
                  <a:pt x="2880" y="656"/>
                </a:cubicBezTo>
                <a:cubicBezTo>
                  <a:pt x="2888" y="656"/>
                  <a:pt x="2893" y="652"/>
                  <a:pt x="2892" y="646"/>
                </a:cubicBezTo>
                <a:cubicBezTo>
                  <a:pt x="2891" y="640"/>
                  <a:pt x="2885" y="636"/>
                  <a:pt x="2878" y="636"/>
                </a:cubicBezTo>
                <a:cubicBezTo>
                  <a:pt x="2878" y="636"/>
                  <a:pt x="2878" y="636"/>
                  <a:pt x="2878" y="636"/>
                </a:cubicBezTo>
                <a:moveTo>
                  <a:pt x="2915" y="636"/>
                </a:moveTo>
                <a:cubicBezTo>
                  <a:pt x="2908" y="636"/>
                  <a:pt x="2903" y="640"/>
                  <a:pt x="2903" y="646"/>
                </a:cubicBezTo>
                <a:cubicBezTo>
                  <a:pt x="2904" y="652"/>
                  <a:pt x="2911" y="656"/>
                  <a:pt x="2918" y="656"/>
                </a:cubicBezTo>
                <a:cubicBezTo>
                  <a:pt x="2925" y="656"/>
                  <a:pt x="2930" y="652"/>
                  <a:pt x="2930" y="646"/>
                </a:cubicBezTo>
                <a:cubicBezTo>
                  <a:pt x="2929" y="640"/>
                  <a:pt x="2922" y="636"/>
                  <a:pt x="2915" y="636"/>
                </a:cubicBezTo>
                <a:cubicBezTo>
                  <a:pt x="2915" y="636"/>
                  <a:pt x="2915" y="636"/>
                  <a:pt x="2915" y="636"/>
                </a:cubicBezTo>
                <a:moveTo>
                  <a:pt x="2953" y="635"/>
                </a:moveTo>
                <a:cubicBezTo>
                  <a:pt x="2945" y="635"/>
                  <a:pt x="2940" y="640"/>
                  <a:pt x="2941" y="646"/>
                </a:cubicBezTo>
                <a:cubicBezTo>
                  <a:pt x="2942" y="651"/>
                  <a:pt x="2949" y="656"/>
                  <a:pt x="2956" y="656"/>
                </a:cubicBezTo>
                <a:cubicBezTo>
                  <a:pt x="2963" y="656"/>
                  <a:pt x="2968" y="651"/>
                  <a:pt x="2967" y="646"/>
                </a:cubicBezTo>
                <a:cubicBezTo>
                  <a:pt x="2966" y="640"/>
                  <a:pt x="2960" y="635"/>
                  <a:pt x="2953" y="635"/>
                </a:cubicBezTo>
                <a:cubicBezTo>
                  <a:pt x="2953" y="635"/>
                  <a:pt x="2953" y="635"/>
                  <a:pt x="2953" y="635"/>
                </a:cubicBezTo>
                <a:moveTo>
                  <a:pt x="2990" y="635"/>
                </a:moveTo>
                <a:cubicBezTo>
                  <a:pt x="2982" y="635"/>
                  <a:pt x="2977" y="640"/>
                  <a:pt x="2978" y="646"/>
                </a:cubicBezTo>
                <a:cubicBezTo>
                  <a:pt x="2979" y="651"/>
                  <a:pt x="2986" y="656"/>
                  <a:pt x="2993" y="656"/>
                </a:cubicBezTo>
                <a:cubicBezTo>
                  <a:pt x="3001" y="656"/>
                  <a:pt x="3006" y="651"/>
                  <a:pt x="3005" y="645"/>
                </a:cubicBezTo>
                <a:cubicBezTo>
                  <a:pt x="3004" y="640"/>
                  <a:pt x="2997" y="635"/>
                  <a:pt x="2990" y="635"/>
                </a:cubicBezTo>
                <a:cubicBezTo>
                  <a:pt x="2990" y="635"/>
                  <a:pt x="2990" y="635"/>
                  <a:pt x="2990" y="635"/>
                </a:cubicBezTo>
                <a:moveTo>
                  <a:pt x="3027" y="635"/>
                </a:moveTo>
                <a:cubicBezTo>
                  <a:pt x="3020" y="635"/>
                  <a:pt x="3015" y="640"/>
                  <a:pt x="3016" y="645"/>
                </a:cubicBezTo>
                <a:cubicBezTo>
                  <a:pt x="3017" y="651"/>
                  <a:pt x="3024" y="656"/>
                  <a:pt x="3031" y="656"/>
                </a:cubicBezTo>
                <a:cubicBezTo>
                  <a:pt x="3038" y="655"/>
                  <a:pt x="3043" y="651"/>
                  <a:pt x="3042" y="645"/>
                </a:cubicBezTo>
                <a:cubicBezTo>
                  <a:pt x="3041" y="640"/>
                  <a:pt x="3034" y="635"/>
                  <a:pt x="3027" y="635"/>
                </a:cubicBezTo>
                <a:cubicBezTo>
                  <a:pt x="3027" y="635"/>
                  <a:pt x="3027" y="635"/>
                  <a:pt x="3027" y="635"/>
                </a:cubicBezTo>
                <a:moveTo>
                  <a:pt x="3064" y="635"/>
                </a:moveTo>
                <a:cubicBezTo>
                  <a:pt x="3057" y="635"/>
                  <a:pt x="3052" y="640"/>
                  <a:pt x="3053" y="645"/>
                </a:cubicBezTo>
                <a:cubicBezTo>
                  <a:pt x="3054" y="651"/>
                  <a:pt x="3061" y="655"/>
                  <a:pt x="3068" y="655"/>
                </a:cubicBezTo>
                <a:cubicBezTo>
                  <a:pt x="3075" y="655"/>
                  <a:pt x="3080" y="651"/>
                  <a:pt x="3079" y="645"/>
                </a:cubicBezTo>
                <a:cubicBezTo>
                  <a:pt x="3078" y="639"/>
                  <a:pt x="3071" y="635"/>
                  <a:pt x="3064" y="635"/>
                </a:cubicBezTo>
                <a:cubicBezTo>
                  <a:pt x="3064" y="635"/>
                  <a:pt x="3064" y="635"/>
                  <a:pt x="3064" y="635"/>
                </a:cubicBezTo>
                <a:moveTo>
                  <a:pt x="3101" y="635"/>
                </a:moveTo>
                <a:cubicBezTo>
                  <a:pt x="3094" y="635"/>
                  <a:pt x="3089" y="639"/>
                  <a:pt x="3090" y="645"/>
                </a:cubicBezTo>
                <a:cubicBezTo>
                  <a:pt x="3092" y="651"/>
                  <a:pt x="3098" y="655"/>
                  <a:pt x="3106" y="655"/>
                </a:cubicBezTo>
                <a:cubicBezTo>
                  <a:pt x="3113" y="655"/>
                  <a:pt x="3118" y="650"/>
                  <a:pt x="3117" y="645"/>
                </a:cubicBezTo>
                <a:cubicBezTo>
                  <a:pt x="3115" y="639"/>
                  <a:pt x="3109" y="635"/>
                  <a:pt x="3101" y="635"/>
                </a:cubicBezTo>
                <a:cubicBezTo>
                  <a:pt x="3101" y="635"/>
                  <a:pt x="3101" y="635"/>
                  <a:pt x="3101" y="635"/>
                </a:cubicBezTo>
                <a:moveTo>
                  <a:pt x="3140" y="634"/>
                </a:moveTo>
                <a:cubicBezTo>
                  <a:pt x="3133" y="634"/>
                  <a:pt x="3128" y="639"/>
                  <a:pt x="3129" y="645"/>
                </a:cubicBezTo>
                <a:cubicBezTo>
                  <a:pt x="3130" y="650"/>
                  <a:pt x="3137" y="655"/>
                  <a:pt x="3144" y="655"/>
                </a:cubicBezTo>
                <a:cubicBezTo>
                  <a:pt x="3152" y="655"/>
                  <a:pt x="3157" y="650"/>
                  <a:pt x="3155" y="645"/>
                </a:cubicBezTo>
                <a:cubicBezTo>
                  <a:pt x="3154" y="639"/>
                  <a:pt x="3147" y="634"/>
                  <a:pt x="3140" y="634"/>
                </a:cubicBezTo>
                <a:cubicBezTo>
                  <a:pt x="3140" y="634"/>
                  <a:pt x="3140" y="634"/>
                  <a:pt x="3140" y="634"/>
                </a:cubicBezTo>
                <a:moveTo>
                  <a:pt x="2768" y="634"/>
                </a:moveTo>
                <a:cubicBezTo>
                  <a:pt x="2761" y="634"/>
                  <a:pt x="2755" y="639"/>
                  <a:pt x="2756" y="645"/>
                </a:cubicBezTo>
                <a:cubicBezTo>
                  <a:pt x="2756" y="650"/>
                  <a:pt x="2763" y="655"/>
                  <a:pt x="2770" y="655"/>
                </a:cubicBezTo>
                <a:cubicBezTo>
                  <a:pt x="2777" y="655"/>
                  <a:pt x="2783" y="650"/>
                  <a:pt x="2782" y="644"/>
                </a:cubicBezTo>
                <a:cubicBezTo>
                  <a:pt x="2781" y="639"/>
                  <a:pt x="2775" y="634"/>
                  <a:pt x="2768" y="634"/>
                </a:cubicBezTo>
                <a:cubicBezTo>
                  <a:pt x="2768" y="634"/>
                  <a:pt x="2768" y="634"/>
                  <a:pt x="2768" y="634"/>
                </a:cubicBezTo>
                <a:moveTo>
                  <a:pt x="3177" y="634"/>
                </a:moveTo>
                <a:cubicBezTo>
                  <a:pt x="3170" y="634"/>
                  <a:pt x="3165" y="639"/>
                  <a:pt x="3166" y="645"/>
                </a:cubicBezTo>
                <a:cubicBezTo>
                  <a:pt x="3168" y="650"/>
                  <a:pt x="3175" y="655"/>
                  <a:pt x="3182" y="655"/>
                </a:cubicBezTo>
                <a:cubicBezTo>
                  <a:pt x="3189" y="655"/>
                  <a:pt x="3194" y="650"/>
                  <a:pt x="3192" y="644"/>
                </a:cubicBezTo>
                <a:cubicBezTo>
                  <a:pt x="3191" y="639"/>
                  <a:pt x="3184" y="634"/>
                  <a:pt x="3177" y="634"/>
                </a:cubicBezTo>
                <a:cubicBezTo>
                  <a:pt x="3177" y="634"/>
                  <a:pt x="3177" y="634"/>
                  <a:pt x="3177" y="634"/>
                </a:cubicBezTo>
                <a:moveTo>
                  <a:pt x="2657" y="634"/>
                </a:moveTo>
                <a:cubicBezTo>
                  <a:pt x="2650" y="634"/>
                  <a:pt x="2644" y="639"/>
                  <a:pt x="2644" y="644"/>
                </a:cubicBezTo>
                <a:cubicBezTo>
                  <a:pt x="2645" y="650"/>
                  <a:pt x="2651" y="654"/>
                  <a:pt x="2658" y="654"/>
                </a:cubicBezTo>
                <a:cubicBezTo>
                  <a:pt x="2665" y="654"/>
                  <a:pt x="2671" y="650"/>
                  <a:pt x="2670" y="644"/>
                </a:cubicBezTo>
                <a:cubicBezTo>
                  <a:pt x="2670" y="639"/>
                  <a:pt x="2664" y="634"/>
                  <a:pt x="2657" y="634"/>
                </a:cubicBezTo>
                <a:cubicBezTo>
                  <a:pt x="2657" y="634"/>
                  <a:pt x="2657" y="634"/>
                  <a:pt x="2657" y="634"/>
                </a:cubicBezTo>
                <a:moveTo>
                  <a:pt x="3214" y="634"/>
                </a:moveTo>
                <a:cubicBezTo>
                  <a:pt x="3207" y="634"/>
                  <a:pt x="3202" y="639"/>
                  <a:pt x="3204" y="644"/>
                </a:cubicBezTo>
                <a:cubicBezTo>
                  <a:pt x="3205" y="650"/>
                  <a:pt x="3212" y="655"/>
                  <a:pt x="3219" y="654"/>
                </a:cubicBezTo>
                <a:cubicBezTo>
                  <a:pt x="3227" y="654"/>
                  <a:pt x="3231" y="650"/>
                  <a:pt x="3230" y="644"/>
                </a:cubicBezTo>
                <a:cubicBezTo>
                  <a:pt x="3228" y="639"/>
                  <a:pt x="3221" y="634"/>
                  <a:pt x="3214" y="634"/>
                </a:cubicBezTo>
                <a:cubicBezTo>
                  <a:pt x="3214" y="634"/>
                  <a:pt x="3214" y="634"/>
                  <a:pt x="3214" y="634"/>
                </a:cubicBezTo>
                <a:moveTo>
                  <a:pt x="2693" y="634"/>
                </a:moveTo>
                <a:cubicBezTo>
                  <a:pt x="2686" y="634"/>
                  <a:pt x="2681" y="638"/>
                  <a:pt x="2681" y="644"/>
                </a:cubicBezTo>
                <a:cubicBezTo>
                  <a:pt x="2682" y="650"/>
                  <a:pt x="2688" y="654"/>
                  <a:pt x="2695" y="654"/>
                </a:cubicBezTo>
                <a:cubicBezTo>
                  <a:pt x="2702" y="654"/>
                  <a:pt x="2708" y="650"/>
                  <a:pt x="2707" y="644"/>
                </a:cubicBezTo>
                <a:cubicBezTo>
                  <a:pt x="2707" y="638"/>
                  <a:pt x="2701" y="634"/>
                  <a:pt x="2694" y="634"/>
                </a:cubicBezTo>
                <a:cubicBezTo>
                  <a:pt x="2694" y="634"/>
                  <a:pt x="2694" y="634"/>
                  <a:pt x="2693" y="634"/>
                </a:cubicBezTo>
                <a:moveTo>
                  <a:pt x="3252" y="634"/>
                </a:moveTo>
                <a:cubicBezTo>
                  <a:pt x="3245" y="634"/>
                  <a:pt x="3240" y="638"/>
                  <a:pt x="3242" y="644"/>
                </a:cubicBezTo>
                <a:cubicBezTo>
                  <a:pt x="3243" y="650"/>
                  <a:pt x="3250" y="654"/>
                  <a:pt x="3257" y="654"/>
                </a:cubicBezTo>
                <a:cubicBezTo>
                  <a:pt x="3265" y="654"/>
                  <a:pt x="3269" y="650"/>
                  <a:pt x="3268" y="644"/>
                </a:cubicBezTo>
                <a:cubicBezTo>
                  <a:pt x="3266" y="638"/>
                  <a:pt x="3259" y="634"/>
                  <a:pt x="3252" y="634"/>
                </a:cubicBezTo>
                <a:cubicBezTo>
                  <a:pt x="3252" y="634"/>
                  <a:pt x="3252" y="634"/>
                  <a:pt x="3252" y="634"/>
                </a:cubicBezTo>
                <a:moveTo>
                  <a:pt x="2620" y="634"/>
                </a:moveTo>
                <a:cubicBezTo>
                  <a:pt x="2612" y="634"/>
                  <a:pt x="2607" y="638"/>
                  <a:pt x="2607" y="644"/>
                </a:cubicBezTo>
                <a:cubicBezTo>
                  <a:pt x="2607" y="650"/>
                  <a:pt x="2613" y="654"/>
                  <a:pt x="2621" y="654"/>
                </a:cubicBezTo>
                <a:cubicBezTo>
                  <a:pt x="2628" y="654"/>
                  <a:pt x="2634" y="650"/>
                  <a:pt x="2633" y="644"/>
                </a:cubicBezTo>
                <a:cubicBezTo>
                  <a:pt x="2633" y="638"/>
                  <a:pt x="2627" y="634"/>
                  <a:pt x="2620" y="634"/>
                </a:cubicBezTo>
                <a:cubicBezTo>
                  <a:pt x="2620" y="634"/>
                  <a:pt x="2620" y="634"/>
                  <a:pt x="2620" y="634"/>
                </a:cubicBezTo>
                <a:moveTo>
                  <a:pt x="2731" y="634"/>
                </a:moveTo>
                <a:cubicBezTo>
                  <a:pt x="2723" y="634"/>
                  <a:pt x="2718" y="638"/>
                  <a:pt x="2718" y="644"/>
                </a:cubicBezTo>
                <a:cubicBezTo>
                  <a:pt x="2719" y="650"/>
                  <a:pt x="2725" y="654"/>
                  <a:pt x="2732" y="654"/>
                </a:cubicBezTo>
                <a:cubicBezTo>
                  <a:pt x="2739" y="654"/>
                  <a:pt x="2745" y="649"/>
                  <a:pt x="2744" y="644"/>
                </a:cubicBezTo>
                <a:cubicBezTo>
                  <a:pt x="2744" y="638"/>
                  <a:pt x="2738" y="634"/>
                  <a:pt x="2731" y="634"/>
                </a:cubicBezTo>
                <a:cubicBezTo>
                  <a:pt x="2731" y="634"/>
                  <a:pt x="2731" y="634"/>
                  <a:pt x="2731" y="634"/>
                </a:cubicBezTo>
                <a:moveTo>
                  <a:pt x="3289" y="634"/>
                </a:moveTo>
                <a:cubicBezTo>
                  <a:pt x="3282" y="634"/>
                  <a:pt x="3277" y="638"/>
                  <a:pt x="3279" y="644"/>
                </a:cubicBezTo>
                <a:cubicBezTo>
                  <a:pt x="3280" y="650"/>
                  <a:pt x="3287" y="654"/>
                  <a:pt x="3295" y="654"/>
                </a:cubicBezTo>
                <a:cubicBezTo>
                  <a:pt x="3302" y="654"/>
                  <a:pt x="3306" y="649"/>
                  <a:pt x="3305" y="644"/>
                </a:cubicBezTo>
                <a:cubicBezTo>
                  <a:pt x="3303" y="638"/>
                  <a:pt x="3296" y="634"/>
                  <a:pt x="3289" y="634"/>
                </a:cubicBezTo>
                <a:cubicBezTo>
                  <a:pt x="3289" y="634"/>
                  <a:pt x="3289" y="634"/>
                  <a:pt x="3289" y="634"/>
                </a:cubicBezTo>
                <a:moveTo>
                  <a:pt x="3326" y="633"/>
                </a:moveTo>
                <a:cubicBezTo>
                  <a:pt x="3319" y="633"/>
                  <a:pt x="3314" y="638"/>
                  <a:pt x="3316" y="644"/>
                </a:cubicBezTo>
                <a:cubicBezTo>
                  <a:pt x="3318" y="649"/>
                  <a:pt x="3325" y="654"/>
                  <a:pt x="3332" y="654"/>
                </a:cubicBezTo>
                <a:cubicBezTo>
                  <a:pt x="3339" y="654"/>
                  <a:pt x="3344" y="649"/>
                  <a:pt x="3342" y="644"/>
                </a:cubicBezTo>
                <a:cubicBezTo>
                  <a:pt x="3341" y="638"/>
                  <a:pt x="3333" y="633"/>
                  <a:pt x="3326" y="633"/>
                </a:cubicBezTo>
                <a:cubicBezTo>
                  <a:pt x="3326" y="633"/>
                  <a:pt x="3326" y="633"/>
                  <a:pt x="3326" y="633"/>
                </a:cubicBezTo>
                <a:moveTo>
                  <a:pt x="3363" y="633"/>
                </a:moveTo>
                <a:cubicBezTo>
                  <a:pt x="3356" y="633"/>
                  <a:pt x="3351" y="638"/>
                  <a:pt x="3353" y="643"/>
                </a:cubicBezTo>
                <a:cubicBezTo>
                  <a:pt x="3355" y="649"/>
                  <a:pt x="3362" y="654"/>
                  <a:pt x="3369" y="654"/>
                </a:cubicBezTo>
                <a:cubicBezTo>
                  <a:pt x="3377" y="654"/>
                  <a:pt x="3381" y="649"/>
                  <a:pt x="3379" y="643"/>
                </a:cubicBezTo>
                <a:cubicBezTo>
                  <a:pt x="3378" y="638"/>
                  <a:pt x="3370" y="633"/>
                  <a:pt x="3363" y="633"/>
                </a:cubicBezTo>
                <a:cubicBezTo>
                  <a:pt x="3363" y="633"/>
                  <a:pt x="3363" y="633"/>
                  <a:pt x="3363" y="633"/>
                </a:cubicBezTo>
                <a:moveTo>
                  <a:pt x="3400" y="633"/>
                </a:moveTo>
                <a:cubicBezTo>
                  <a:pt x="3393" y="633"/>
                  <a:pt x="3389" y="638"/>
                  <a:pt x="3391" y="643"/>
                </a:cubicBezTo>
                <a:cubicBezTo>
                  <a:pt x="3392" y="649"/>
                  <a:pt x="3400" y="653"/>
                  <a:pt x="3407" y="653"/>
                </a:cubicBezTo>
                <a:cubicBezTo>
                  <a:pt x="3414" y="653"/>
                  <a:pt x="3419" y="649"/>
                  <a:pt x="3417" y="643"/>
                </a:cubicBezTo>
                <a:cubicBezTo>
                  <a:pt x="3415" y="637"/>
                  <a:pt x="3408" y="633"/>
                  <a:pt x="3401" y="633"/>
                </a:cubicBezTo>
                <a:cubicBezTo>
                  <a:pt x="3401" y="633"/>
                  <a:pt x="3401" y="633"/>
                  <a:pt x="3400" y="633"/>
                </a:cubicBezTo>
                <a:moveTo>
                  <a:pt x="3438" y="633"/>
                </a:moveTo>
                <a:cubicBezTo>
                  <a:pt x="3431" y="633"/>
                  <a:pt x="3427" y="637"/>
                  <a:pt x="3428" y="643"/>
                </a:cubicBezTo>
                <a:cubicBezTo>
                  <a:pt x="3430" y="649"/>
                  <a:pt x="3438" y="653"/>
                  <a:pt x="3445" y="653"/>
                </a:cubicBezTo>
                <a:cubicBezTo>
                  <a:pt x="3452" y="653"/>
                  <a:pt x="3457" y="649"/>
                  <a:pt x="3455" y="643"/>
                </a:cubicBezTo>
                <a:cubicBezTo>
                  <a:pt x="3453" y="637"/>
                  <a:pt x="3445" y="633"/>
                  <a:pt x="3438" y="633"/>
                </a:cubicBezTo>
                <a:cubicBezTo>
                  <a:pt x="3438" y="633"/>
                  <a:pt x="3438" y="633"/>
                  <a:pt x="3438" y="633"/>
                </a:cubicBezTo>
                <a:moveTo>
                  <a:pt x="3475" y="632"/>
                </a:moveTo>
                <a:cubicBezTo>
                  <a:pt x="3468" y="633"/>
                  <a:pt x="3464" y="637"/>
                  <a:pt x="3466" y="643"/>
                </a:cubicBezTo>
                <a:cubicBezTo>
                  <a:pt x="3468" y="649"/>
                  <a:pt x="3475" y="653"/>
                  <a:pt x="3482" y="653"/>
                </a:cubicBezTo>
                <a:cubicBezTo>
                  <a:pt x="3490" y="653"/>
                  <a:pt x="3494" y="648"/>
                  <a:pt x="3492" y="643"/>
                </a:cubicBezTo>
                <a:cubicBezTo>
                  <a:pt x="3490" y="637"/>
                  <a:pt x="3482" y="632"/>
                  <a:pt x="3475" y="632"/>
                </a:cubicBezTo>
                <a:cubicBezTo>
                  <a:pt x="3475" y="632"/>
                  <a:pt x="3475" y="632"/>
                  <a:pt x="3475" y="632"/>
                </a:cubicBezTo>
                <a:moveTo>
                  <a:pt x="3512" y="632"/>
                </a:moveTo>
                <a:cubicBezTo>
                  <a:pt x="3505" y="632"/>
                  <a:pt x="3501" y="637"/>
                  <a:pt x="3503" y="643"/>
                </a:cubicBezTo>
                <a:cubicBezTo>
                  <a:pt x="3505" y="648"/>
                  <a:pt x="3513" y="653"/>
                  <a:pt x="3520" y="653"/>
                </a:cubicBezTo>
                <a:cubicBezTo>
                  <a:pt x="3527" y="653"/>
                  <a:pt x="3531" y="648"/>
                  <a:pt x="3529" y="642"/>
                </a:cubicBezTo>
                <a:cubicBezTo>
                  <a:pt x="3527" y="637"/>
                  <a:pt x="3520" y="632"/>
                  <a:pt x="3512" y="632"/>
                </a:cubicBezTo>
                <a:cubicBezTo>
                  <a:pt x="3512" y="632"/>
                  <a:pt x="3512" y="632"/>
                  <a:pt x="3512" y="632"/>
                </a:cubicBezTo>
                <a:moveTo>
                  <a:pt x="3549" y="632"/>
                </a:moveTo>
                <a:cubicBezTo>
                  <a:pt x="3542" y="632"/>
                  <a:pt x="3538" y="637"/>
                  <a:pt x="3540" y="642"/>
                </a:cubicBezTo>
                <a:cubicBezTo>
                  <a:pt x="3542" y="648"/>
                  <a:pt x="3550" y="653"/>
                  <a:pt x="3557" y="653"/>
                </a:cubicBezTo>
                <a:cubicBezTo>
                  <a:pt x="3564" y="653"/>
                  <a:pt x="3568" y="648"/>
                  <a:pt x="3566" y="642"/>
                </a:cubicBezTo>
                <a:cubicBezTo>
                  <a:pt x="3564" y="637"/>
                  <a:pt x="3557" y="632"/>
                  <a:pt x="3549" y="632"/>
                </a:cubicBezTo>
                <a:cubicBezTo>
                  <a:pt x="3549" y="632"/>
                  <a:pt x="3549" y="632"/>
                  <a:pt x="3549" y="632"/>
                </a:cubicBezTo>
                <a:moveTo>
                  <a:pt x="3587" y="632"/>
                </a:moveTo>
                <a:cubicBezTo>
                  <a:pt x="3580" y="632"/>
                  <a:pt x="3575" y="637"/>
                  <a:pt x="3578" y="642"/>
                </a:cubicBezTo>
                <a:cubicBezTo>
                  <a:pt x="3580" y="648"/>
                  <a:pt x="3587" y="652"/>
                  <a:pt x="3595" y="652"/>
                </a:cubicBezTo>
                <a:cubicBezTo>
                  <a:pt x="3602" y="652"/>
                  <a:pt x="3606" y="648"/>
                  <a:pt x="3604" y="642"/>
                </a:cubicBezTo>
                <a:cubicBezTo>
                  <a:pt x="3602" y="636"/>
                  <a:pt x="3594" y="632"/>
                  <a:pt x="3587" y="632"/>
                </a:cubicBezTo>
                <a:cubicBezTo>
                  <a:pt x="3587" y="632"/>
                  <a:pt x="3587" y="632"/>
                  <a:pt x="3587" y="632"/>
                </a:cubicBezTo>
                <a:moveTo>
                  <a:pt x="3624" y="632"/>
                </a:moveTo>
                <a:cubicBezTo>
                  <a:pt x="3617" y="632"/>
                  <a:pt x="3613" y="636"/>
                  <a:pt x="3615" y="642"/>
                </a:cubicBezTo>
                <a:cubicBezTo>
                  <a:pt x="3618" y="648"/>
                  <a:pt x="3625" y="652"/>
                  <a:pt x="3633" y="652"/>
                </a:cubicBezTo>
                <a:cubicBezTo>
                  <a:pt x="3640" y="652"/>
                  <a:pt x="3644" y="648"/>
                  <a:pt x="3642" y="642"/>
                </a:cubicBezTo>
                <a:cubicBezTo>
                  <a:pt x="3639" y="636"/>
                  <a:pt x="3632" y="632"/>
                  <a:pt x="3624" y="632"/>
                </a:cubicBezTo>
                <a:cubicBezTo>
                  <a:pt x="3624" y="632"/>
                  <a:pt x="3624" y="632"/>
                  <a:pt x="3624" y="632"/>
                </a:cubicBezTo>
                <a:moveTo>
                  <a:pt x="3661" y="631"/>
                </a:moveTo>
                <a:cubicBezTo>
                  <a:pt x="3654" y="631"/>
                  <a:pt x="3650" y="636"/>
                  <a:pt x="3653" y="641"/>
                </a:cubicBezTo>
                <a:cubicBezTo>
                  <a:pt x="3655" y="647"/>
                  <a:pt x="3663" y="652"/>
                  <a:pt x="3670" y="652"/>
                </a:cubicBezTo>
                <a:cubicBezTo>
                  <a:pt x="3677" y="652"/>
                  <a:pt x="3681" y="647"/>
                  <a:pt x="3679" y="641"/>
                </a:cubicBezTo>
                <a:cubicBezTo>
                  <a:pt x="3676" y="636"/>
                  <a:pt x="3669" y="631"/>
                  <a:pt x="3662" y="631"/>
                </a:cubicBezTo>
                <a:cubicBezTo>
                  <a:pt x="3661" y="631"/>
                  <a:pt x="3661" y="631"/>
                  <a:pt x="3661" y="631"/>
                </a:cubicBezTo>
                <a:moveTo>
                  <a:pt x="3698" y="631"/>
                </a:moveTo>
                <a:cubicBezTo>
                  <a:pt x="3691" y="631"/>
                  <a:pt x="3687" y="636"/>
                  <a:pt x="3690" y="641"/>
                </a:cubicBezTo>
                <a:cubicBezTo>
                  <a:pt x="3692" y="647"/>
                  <a:pt x="3700" y="651"/>
                  <a:pt x="3707" y="651"/>
                </a:cubicBezTo>
                <a:cubicBezTo>
                  <a:pt x="3714" y="651"/>
                  <a:pt x="3718" y="647"/>
                  <a:pt x="3716" y="641"/>
                </a:cubicBezTo>
                <a:cubicBezTo>
                  <a:pt x="3713" y="635"/>
                  <a:pt x="3706" y="631"/>
                  <a:pt x="3698" y="631"/>
                </a:cubicBezTo>
                <a:cubicBezTo>
                  <a:pt x="3698" y="631"/>
                  <a:pt x="3698" y="631"/>
                  <a:pt x="3698" y="631"/>
                </a:cubicBezTo>
                <a:moveTo>
                  <a:pt x="3736" y="631"/>
                </a:moveTo>
                <a:cubicBezTo>
                  <a:pt x="3729" y="631"/>
                  <a:pt x="3725" y="635"/>
                  <a:pt x="3727" y="641"/>
                </a:cubicBezTo>
                <a:cubicBezTo>
                  <a:pt x="3730" y="647"/>
                  <a:pt x="3737" y="651"/>
                  <a:pt x="3745" y="651"/>
                </a:cubicBezTo>
                <a:cubicBezTo>
                  <a:pt x="3752" y="651"/>
                  <a:pt x="3756" y="647"/>
                  <a:pt x="3753" y="641"/>
                </a:cubicBezTo>
                <a:cubicBezTo>
                  <a:pt x="3751" y="635"/>
                  <a:pt x="3743" y="631"/>
                  <a:pt x="3736" y="631"/>
                </a:cubicBezTo>
                <a:cubicBezTo>
                  <a:pt x="3736" y="631"/>
                  <a:pt x="3736" y="631"/>
                  <a:pt x="3736" y="631"/>
                </a:cubicBezTo>
                <a:moveTo>
                  <a:pt x="3775" y="630"/>
                </a:moveTo>
                <a:cubicBezTo>
                  <a:pt x="3768" y="630"/>
                  <a:pt x="3764" y="635"/>
                  <a:pt x="3767" y="641"/>
                </a:cubicBezTo>
                <a:cubicBezTo>
                  <a:pt x="3769" y="646"/>
                  <a:pt x="3777" y="651"/>
                  <a:pt x="3785" y="651"/>
                </a:cubicBezTo>
                <a:cubicBezTo>
                  <a:pt x="3792" y="651"/>
                  <a:pt x="3796" y="646"/>
                  <a:pt x="3793" y="641"/>
                </a:cubicBezTo>
                <a:cubicBezTo>
                  <a:pt x="3790" y="635"/>
                  <a:pt x="3782" y="630"/>
                  <a:pt x="3775" y="630"/>
                </a:cubicBezTo>
                <a:cubicBezTo>
                  <a:pt x="3775" y="630"/>
                  <a:pt x="3775" y="630"/>
                  <a:pt x="3775" y="630"/>
                </a:cubicBezTo>
                <a:moveTo>
                  <a:pt x="3812" y="630"/>
                </a:moveTo>
                <a:cubicBezTo>
                  <a:pt x="3805" y="630"/>
                  <a:pt x="3801" y="635"/>
                  <a:pt x="3804" y="641"/>
                </a:cubicBezTo>
                <a:cubicBezTo>
                  <a:pt x="3806" y="646"/>
                  <a:pt x="3814" y="651"/>
                  <a:pt x="3821" y="651"/>
                </a:cubicBezTo>
                <a:cubicBezTo>
                  <a:pt x="3829" y="651"/>
                  <a:pt x="3832" y="646"/>
                  <a:pt x="3830" y="640"/>
                </a:cubicBezTo>
                <a:cubicBezTo>
                  <a:pt x="3827" y="635"/>
                  <a:pt x="3819" y="630"/>
                  <a:pt x="3812" y="630"/>
                </a:cubicBezTo>
                <a:cubicBezTo>
                  <a:pt x="3812" y="630"/>
                  <a:pt x="3812" y="630"/>
                  <a:pt x="3812" y="630"/>
                </a:cubicBezTo>
                <a:moveTo>
                  <a:pt x="3849" y="630"/>
                </a:moveTo>
                <a:cubicBezTo>
                  <a:pt x="3842" y="630"/>
                  <a:pt x="3838" y="635"/>
                  <a:pt x="3841" y="640"/>
                </a:cubicBezTo>
                <a:cubicBezTo>
                  <a:pt x="3843" y="646"/>
                  <a:pt x="3852" y="651"/>
                  <a:pt x="3859" y="651"/>
                </a:cubicBezTo>
                <a:cubicBezTo>
                  <a:pt x="3866" y="651"/>
                  <a:pt x="3870" y="646"/>
                  <a:pt x="3867" y="640"/>
                </a:cubicBezTo>
                <a:cubicBezTo>
                  <a:pt x="3864" y="635"/>
                  <a:pt x="3856" y="630"/>
                  <a:pt x="3849" y="630"/>
                </a:cubicBezTo>
                <a:cubicBezTo>
                  <a:pt x="3849" y="630"/>
                  <a:pt x="3849" y="630"/>
                  <a:pt x="3849" y="630"/>
                </a:cubicBezTo>
                <a:moveTo>
                  <a:pt x="3886" y="630"/>
                </a:moveTo>
                <a:cubicBezTo>
                  <a:pt x="3879" y="630"/>
                  <a:pt x="3875" y="634"/>
                  <a:pt x="3878" y="640"/>
                </a:cubicBezTo>
                <a:cubicBezTo>
                  <a:pt x="3881" y="646"/>
                  <a:pt x="3889" y="650"/>
                  <a:pt x="3896" y="650"/>
                </a:cubicBezTo>
                <a:cubicBezTo>
                  <a:pt x="3904" y="650"/>
                  <a:pt x="3907" y="646"/>
                  <a:pt x="3904" y="640"/>
                </a:cubicBezTo>
                <a:cubicBezTo>
                  <a:pt x="3902" y="634"/>
                  <a:pt x="3893" y="630"/>
                  <a:pt x="3886" y="630"/>
                </a:cubicBezTo>
                <a:cubicBezTo>
                  <a:pt x="3886" y="630"/>
                  <a:pt x="3886" y="630"/>
                  <a:pt x="3886" y="630"/>
                </a:cubicBezTo>
                <a:moveTo>
                  <a:pt x="3924" y="630"/>
                </a:moveTo>
                <a:cubicBezTo>
                  <a:pt x="3917" y="630"/>
                  <a:pt x="3913" y="634"/>
                  <a:pt x="3916" y="640"/>
                </a:cubicBezTo>
                <a:cubicBezTo>
                  <a:pt x="3919" y="646"/>
                  <a:pt x="3927" y="650"/>
                  <a:pt x="3934" y="650"/>
                </a:cubicBezTo>
                <a:cubicBezTo>
                  <a:pt x="3941" y="650"/>
                  <a:pt x="3945" y="646"/>
                  <a:pt x="3942" y="640"/>
                </a:cubicBezTo>
                <a:cubicBezTo>
                  <a:pt x="3939" y="634"/>
                  <a:pt x="3931" y="630"/>
                  <a:pt x="3924" y="630"/>
                </a:cubicBezTo>
                <a:cubicBezTo>
                  <a:pt x="3924" y="630"/>
                  <a:pt x="3924" y="630"/>
                  <a:pt x="3924" y="630"/>
                </a:cubicBezTo>
                <a:moveTo>
                  <a:pt x="3961" y="629"/>
                </a:moveTo>
                <a:cubicBezTo>
                  <a:pt x="3954" y="629"/>
                  <a:pt x="3950" y="634"/>
                  <a:pt x="3953" y="640"/>
                </a:cubicBezTo>
                <a:cubicBezTo>
                  <a:pt x="3956" y="645"/>
                  <a:pt x="3964" y="650"/>
                  <a:pt x="3971" y="650"/>
                </a:cubicBezTo>
                <a:cubicBezTo>
                  <a:pt x="3979" y="650"/>
                  <a:pt x="3982" y="645"/>
                  <a:pt x="3979" y="640"/>
                </a:cubicBezTo>
                <a:cubicBezTo>
                  <a:pt x="3976" y="634"/>
                  <a:pt x="3968" y="629"/>
                  <a:pt x="3961" y="629"/>
                </a:cubicBezTo>
                <a:cubicBezTo>
                  <a:pt x="3961" y="629"/>
                  <a:pt x="3961" y="629"/>
                  <a:pt x="3961" y="629"/>
                </a:cubicBezTo>
                <a:moveTo>
                  <a:pt x="99" y="624"/>
                </a:moveTo>
                <a:cubicBezTo>
                  <a:pt x="91" y="624"/>
                  <a:pt x="82" y="629"/>
                  <a:pt x="77" y="634"/>
                </a:cubicBezTo>
                <a:cubicBezTo>
                  <a:pt x="72" y="640"/>
                  <a:pt x="74" y="644"/>
                  <a:pt x="81" y="644"/>
                </a:cubicBezTo>
                <a:cubicBezTo>
                  <a:pt x="89" y="644"/>
                  <a:pt x="98" y="640"/>
                  <a:pt x="103" y="634"/>
                </a:cubicBezTo>
                <a:cubicBezTo>
                  <a:pt x="108" y="628"/>
                  <a:pt x="106" y="624"/>
                  <a:pt x="99" y="624"/>
                </a:cubicBezTo>
                <a:cubicBezTo>
                  <a:pt x="99" y="624"/>
                  <a:pt x="99" y="624"/>
                  <a:pt x="99" y="624"/>
                </a:cubicBezTo>
                <a:moveTo>
                  <a:pt x="136" y="624"/>
                </a:moveTo>
                <a:cubicBezTo>
                  <a:pt x="128" y="624"/>
                  <a:pt x="119" y="628"/>
                  <a:pt x="114" y="634"/>
                </a:cubicBezTo>
                <a:cubicBezTo>
                  <a:pt x="109" y="640"/>
                  <a:pt x="111" y="644"/>
                  <a:pt x="119" y="644"/>
                </a:cubicBezTo>
                <a:cubicBezTo>
                  <a:pt x="126" y="644"/>
                  <a:pt x="135" y="639"/>
                  <a:pt x="140" y="634"/>
                </a:cubicBezTo>
                <a:cubicBezTo>
                  <a:pt x="145" y="628"/>
                  <a:pt x="143" y="624"/>
                  <a:pt x="136" y="624"/>
                </a:cubicBezTo>
                <a:cubicBezTo>
                  <a:pt x="136" y="624"/>
                  <a:pt x="136" y="624"/>
                  <a:pt x="136" y="624"/>
                </a:cubicBezTo>
                <a:moveTo>
                  <a:pt x="174" y="624"/>
                </a:moveTo>
                <a:cubicBezTo>
                  <a:pt x="167" y="624"/>
                  <a:pt x="157" y="628"/>
                  <a:pt x="153" y="634"/>
                </a:cubicBezTo>
                <a:cubicBezTo>
                  <a:pt x="148" y="639"/>
                  <a:pt x="150" y="644"/>
                  <a:pt x="158" y="644"/>
                </a:cubicBezTo>
                <a:cubicBezTo>
                  <a:pt x="165" y="644"/>
                  <a:pt x="174" y="639"/>
                  <a:pt x="179" y="634"/>
                </a:cubicBezTo>
                <a:cubicBezTo>
                  <a:pt x="183" y="628"/>
                  <a:pt x="181" y="624"/>
                  <a:pt x="174" y="624"/>
                </a:cubicBezTo>
                <a:cubicBezTo>
                  <a:pt x="174" y="624"/>
                  <a:pt x="174" y="624"/>
                  <a:pt x="174" y="624"/>
                </a:cubicBezTo>
                <a:moveTo>
                  <a:pt x="211" y="623"/>
                </a:moveTo>
                <a:cubicBezTo>
                  <a:pt x="204" y="623"/>
                  <a:pt x="194" y="628"/>
                  <a:pt x="190" y="633"/>
                </a:cubicBezTo>
                <a:cubicBezTo>
                  <a:pt x="185" y="639"/>
                  <a:pt x="187" y="644"/>
                  <a:pt x="195" y="644"/>
                </a:cubicBezTo>
                <a:cubicBezTo>
                  <a:pt x="202" y="643"/>
                  <a:pt x="211" y="639"/>
                  <a:pt x="216" y="633"/>
                </a:cubicBezTo>
                <a:cubicBezTo>
                  <a:pt x="220" y="628"/>
                  <a:pt x="218" y="623"/>
                  <a:pt x="211" y="623"/>
                </a:cubicBezTo>
                <a:cubicBezTo>
                  <a:pt x="211" y="623"/>
                  <a:pt x="211" y="623"/>
                  <a:pt x="211" y="623"/>
                </a:cubicBezTo>
                <a:moveTo>
                  <a:pt x="248" y="623"/>
                </a:moveTo>
                <a:cubicBezTo>
                  <a:pt x="241" y="623"/>
                  <a:pt x="232" y="628"/>
                  <a:pt x="227" y="633"/>
                </a:cubicBezTo>
                <a:cubicBezTo>
                  <a:pt x="223" y="639"/>
                  <a:pt x="225" y="643"/>
                  <a:pt x="232" y="643"/>
                </a:cubicBezTo>
                <a:cubicBezTo>
                  <a:pt x="239" y="643"/>
                  <a:pt x="249" y="639"/>
                  <a:pt x="253" y="633"/>
                </a:cubicBezTo>
                <a:cubicBezTo>
                  <a:pt x="258" y="628"/>
                  <a:pt x="255" y="623"/>
                  <a:pt x="248" y="623"/>
                </a:cubicBezTo>
                <a:cubicBezTo>
                  <a:pt x="248" y="623"/>
                  <a:pt x="248" y="623"/>
                  <a:pt x="248" y="623"/>
                </a:cubicBezTo>
                <a:moveTo>
                  <a:pt x="285" y="623"/>
                </a:moveTo>
                <a:cubicBezTo>
                  <a:pt x="278" y="623"/>
                  <a:pt x="269" y="627"/>
                  <a:pt x="264" y="633"/>
                </a:cubicBezTo>
                <a:cubicBezTo>
                  <a:pt x="260" y="639"/>
                  <a:pt x="262" y="643"/>
                  <a:pt x="269" y="643"/>
                </a:cubicBezTo>
                <a:cubicBezTo>
                  <a:pt x="276" y="643"/>
                  <a:pt x="286" y="639"/>
                  <a:pt x="290" y="633"/>
                </a:cubicBezTo>
                <a:cubicBezTo>
                  <a:pt x="295" y="627"/>
                  <a:pt x="292" y="623"/>
                  <a:pt x="285" y="623"/>
                </a:cubicBezTo>
                <a:cubicBezTo>
                  <a:pt x="285" y="623"/>
                  <a:pt x="285" y="623"/>
                  <a:pt x="285" y="623"/>
                </a:cubicBezTo>
                <a:moveTo>
                  <a:pt x="322" y="623"/>
                </a:moveTo>
                <a:cubicBezTo>
                  <a:pt x="315" y="623"/>
                  <a:pt x="306" y="627"/>
                  <a:pt x="301" y="633"/>
                </a:cubicBezTo>
                <a:cubicBezTo>
                  <a:pt x="297" y="638"/>
                  <a:pt x="299" y="643"/>
                  <a:pt x="307" y="643"/>
                </a:cubicBezTo>
                <a:cubicBezTo>
                  <a:pt x="314" y="643"/>
                  <a:pt x="323" y="638"/>
                  <a:pt x="328" y="633"/>
                </a:cubicBezTo>
                <a:cubicBezTo>
                  <a:pt x="332" y="627"/>
                  <a:pt x="329" y="623"/>
                  <a:pt x="322" y="623"/>
                </a:cubicBezTo>
                <a:cubicBezTo>
                  <a:pt x="322" y="623"/>
                  <a:pt x="322" y="623"/>
                  <a:pt x="322" y="623"/>
                </a:cubicBezTo>
                <a:moveTo>
                  <a:pt x="361" y="622"/>
                </a:moveTo>
                <a:cubicBezTo>
                  <a:pt x="353" y="622"/>
                  <a:pt x="344" y="627"/>
                  <a:pt x="340" y="633"/>
                </a:cubicBezTo>
                <a:cubicBezTo>
                  <a:pt x="336" y="638"/>
                  <a:pt x="338" y="643"/>
                  <a:pt x="345" y="643"/>
                </a:cubicBezTo>
                <a:cubicBezTo>
                  <a:pt x="352" y="643"/>
                  <a:pt x="362" y="638"/>
                  <a:pt x="366" y="632"/>
                </a:cubicBezTo>
                <a:cubicBezTo>
                  <a:pt x="370" y="627"/>
                  <a:pt x="368" y="622"/>
                  <a:pt x="361" y="622"/>
                </a:cubicBezTo>
                <a:cubicBezTo>
                  <a:pt x="361" y="622"/>
                  <a:pt x="361" y="622"/>
                  <a:pt x="361" y="622"/>
                </a:cubicBezTo>
                <a:moveTo>
                  <a:pt x="397" y="622"/>
                </a:moveTo>
                <a:cubicBezTo>
                  <a:pt x="390" y="622"/>
                  <a:pt x="381" y="627"/>
                  <a:pt x="377" y="632"/>
                </a:cubicBezTo>
                <a:cubicBezTo>
                  <a:pt x="373" y="638"/>
                  <a:pt x="375" y="643"/>
                  <a:pt x="382" y="642"/>
                </a:cubicBezTo>
                <a:cubicBezTo>
                  <a:pt x="390" y="642"/>
                  <a:pt x="399" y="638"/>
                  <a:pt x="403" y="632"/>
                </a:cubicBezTo>
                <a:cubicBezTo>
                  <a:pt x="407" y="627"/>
                  <a:pt x="405" y="622"/>
                  <a:pt x="398" y="622"/>
                </a:cubicBezTo>
                <a:cubicBezTo>
                  <a:pt x="398" y="622"/>
                  <a:pt x="397" y="622"/>
                  <a:pt x="397" y="622"/>
                </a:cubicBezTo>
                <a:moveTo>
                  <a:pt x="435" y="622"/>
                </a:moveTo>
                <a:cubicBezTo>
                  <a:pt x="427" y="622"/>
                  <a:pt x="418" y="627"/>
                  <a:pt x="414" y="632"/>
                </a:cubicBezTo>
                <a:cubicBezTo>
                  <a:pt x="410" y="638"/>
                  <a:pt x="413" y="642"/>
                  <a:pt x="420" y="642"/>
                </a:cubicBezTo>
                <a:cubicBezTo>
                  <a:pt x="427" y="642"/>
                  <a:pt x="436" y="638"/>
                  <a:pt x="440" y="632"/>
                </a:cubicBezTo>
                <a:cubicBezTo>
                  <a:pt x="444" y="626"/>
                  <a:pt x="442" y="622"/>
                  <a:pt x="435" y="622"/>
                </a:cubicBezTo>
                <a:cubicBezTo>
                  <a:pt x="435" y="622"/>
                  <a:pt x="435" y="622"/>
                  <a:pt x="435" y="622"/>
                </a:cubicBezTo>
                <a:moveTo>
                  <a:pt x="472" y="622"/>
                </a:moveTo>
                <a:cubicBezTo>
                  <a:pt x="465" y="622"/>
                  <a:pt x="456" y="626"/>
                  <a:pt x="452" y="632"/>
                </a:cubicBezTo>
                <a:cubicBezTo>
                  <a:pt x="448" y="638"/>
                  <a:pt x="450" y="642"/>
                  <a:pt x="458" y="642"/>
                </a:cubicBezTo>
                <a:cubicBezTo>
                  <a:pt x="465" y="642"/>
                  <a:pt x="474" y="637"/>
                  <a:pt x="478" y="632"/>
                </a:cubicBezTo>
                <a:cubicBezTo>
                  <a:pt x="482" y="626"/>
                  <a:pt x="479" y="622"/>
                  <a:pt x="472" y="622"/>
                </a:cubicBezTo>
                <a:cubicBezTo>
                  <a:pt x="472" y="622"/>
                  <a:pt x="472" y="622"/>
                  <a:pt x="472" y="622"/>
                </a:cubicBezTo>
                <a:moveTo>
                  <a:pt x="509" y="622"/>
                </a:moveTo>
                <a:cubicBezTo>
                  <a:pt x="502" y="622"/>
                  <a:pt x="493" y="626"/>
                  <a:pt x="489" y="632"/>
                </a:cubicBezTo>
                <a:cubicBezTo>
                  <a:pt x="485" y="637"/>
                  <a:pt x="488" y="642"/>
                  <a:pt x="495" y="642"/>
                </a:cubicBezTo>
                <a:cubicBezTo>
                  <a:pt x="502" y="642"/>
                  <a:pt x="511" y="637"/>
                  <a:pt x="515" y="632"/>
                </a:cubicBezTo>
                <a:cubicBezTo>
                  <a:pt x="519" y="626"/>
                  <a:pt x="516" y="622"/>
                  <a:pt x="509" y="622"/>
                </a:cubicBezTo>
                <a:cubicBezTo>
                  <a:pt x="509" y="622"/>
                  <a:pt x="509" y="622"/>
                  <a:pt x="509" y="622"/>
                </a:cubicBezTo>
                <a:moveTo>
                  <a:pt x="546" y="621"/>
                </a:moveTo>
                <a:cubicBezTo>
                  <a:pt x="539" y="621"/>
                  <a:pt x="530" y="626"/>
                  <a:pt x="526" y="632"/>
                </a:cubicBezTo>
                <a:cubicBezTo>
                  <a:pt x="522" y="637"/>
                  <a:pt x="525" y="642"/>
                  <a:pt x="532" y="642"/>
                </a:cubicBezTo>
                <a:cubicBezTo>
                  <a:pt x="539" y="642"/>
                  <a:pt x="548" y="637"/>
                  <a:pt x="552" y="631"/>
                </a:cubicBezTo>
                <a:cubicBezTo>
                  <a:pt x="556" y="626"/>
                  <a:pt x="553" y="621"/>
                  <a:pt x="546" y="621"/>
                </a:cubicBezTo>
                <a:cubicBezTo>
                  <a:pt x="546" y="621"/>
                  <a:pt x="546" y="621"/>
                  <a:pt x="546" y="621"/>
                </a:cubicBezTo>
                <a:moveTo>
                  <a:pt x="583" y="621"/>
                </a:moveTo>
                <a:cubicBezTo>
                  <a:pt x="576" y="621"/>
                  <a:pt x="567" y="626"/>
                  <a:pt x="563" y="631"/>
                </a:cubicBezTo>
                <a:cubicBezTo>
                  <a:pt x="559" y="637"/>
                  <a:pt x="562" y="641"/>
                  <a:pt x="569" y="641"/>
                </a:cubicBezTo>
                <a:cubicBezTo>
                  <a:pt x="576" y="641"/>
                  <a:pt x="585" y="637"/>
                  <a:pt x="589" y="631"/>
                </a:cubicBezTo>
                <a:cubicBezTo>
                  <a:pt x="593" y="626"/>
                  <a:pt x="590" y="621"/>
                  <a:pt x="583" y="621"/>
                </a:cubicBezTo>
                <a:cubicBezTo>
                  <a:pt x="583" y="621"/>
                  <a:pt x="583" y="621"/>
                  <a:pt x="583" y="621"/>
                </a:cubicBezTo>
                <a:moveTo>
                  <a:pt x="620" y="621"/>
                </a:moveTo>
                <a:cubicBezTo>
                  <a:pt x="613" y="621"/>
                  <a:pt x="604" y="626"/>
                  <a:pt x="600" y="631"/>
                </a:cubicBezTo>
                <a:cubicBezTo>
                  <a:pt x="597" y="637"/>
                  <a:pt x="599" y="641"/>
                  <a:pt x="607" y="641"/>
                </a:cubicBezTo>
                <a:cubicBezTo>
                  <a:pt x="614" y="641"/>
                  <a:pt x="623" y="637"/>
                  <a:pt x="626" y="631"/>
                </a:cubicBezTo>
                <a:cubicBezTo>
                  <a:pt x="630" y="625"/>
                  <a:pt x="627" y="621"/>
                  <a:pt x="620" y="621"/>
                </a:cubicBezTo>
                <a:cubicBezTo>
                  <a:pt x="620" y="621"/>
                  <a:pt x="620" y="621"/>
                  <a:pt x="620" y="621"/>
                </a:cubicBezTo>
                <a:moveTo>
                  <a:pt x="658" y="621"/>
                </a:moveTo>
                <a:cubicBezTo>
                  <a:pt x="650" y="621"/>
                  <a:pt x="642" y="625"/>
                  <a:pt x="638" y="631"/>
                </a:cubicBezTo>
                <a:cubicBezTo>
                  <a:pt x="634" y="637"/>
                  <a:pt x="637" y="641"/>
                  <a:pt x="644" y="641"/>
                </a:cubicBezTo>
                <a:cubicBezTo>
                  <a:pt x="652" y="641"/>
                  <a:pt x="660" y="636"/>
                  <a:pt x="664" y="631"/>
                </a:cubicBezTo>
                <a:cubicBezTo>
                  <a:pt x="668" y="625"/>
                  <a:pt x="665" y="621"/>
                  <a:pt x="658" y="621"/>
                </a:cubicBezTo>
                <a:cubicBezTo>
                  <a:pt x="658" y="621"/>
                  <a:pt x="658" y="621"/>
                  <a:pt x="658" y="621"/>
                </a:cubicBezTo>
                <a:moveTo>
                  <a:pt x="694" y="620"/>
                </a:moveTo>
                <a:cubicBezTo>
                  <a:pt x="687" y="621"/>
                  <a:pt x="679" y="625"/>
                  <a:pt x="675" y="631"/>
                </a:cubicBezTo>
                <a:cubicBezTo>
                  <a:pt x="671" y="636"/>
                  <a:pt x="674" y="641"/>
                  <a:pt x="682" y="641"/>
                </a:cubicBezTo>
                <a:cubicBezTo>
                  <a:pt x="689" y="641"/>
                  <a:pt x="697" y="636"/>
                  <a:pt x="701" y="631"/>
                </a:cubicBezTo>
                <a:cubicBezTo>
                  <a:pt x="705" y="625"/>
                  <a:pt x="702" y="620"/>
                  <a:pt x="695" y="620"/>
                </a:cubicBezTo>
                <a:cubicBezTo>
                  <a:pt x="695" y="620"/>
                  <a:pt x="694" y="620"/>
                  <a:pt x="694" y="620"/>
                </a:cubicBezTo>
                <a:moveTo>
                  <a:pt x="732" y="620"/>
                </a:moveTo>
                <a:cubicBezTo>
                  <a:pt x="724" y="620"/>
                  <a:pt x="716" y="625"/>
                  <a:pt x="712" y="630"/>
                </a:cubicBezTo>
                <a:cubicBezTo>
                  <a:pt x="709" y="636"/>
                  <a:pt x="712" y="641"/>
                  <a:pt x="719" y="641"/>
                </a:cubicBezTo>
                <a:cubicBezTo>
                  <a:pt x="726" y="641"/>
                  <a:pt x="735" y="636"/>
                  <a:pt x="738" y="630"/>
                </a:cubicBezTo>
                <a:cubicBezTo>
                  <a:pt x="742" y="625"/>
                  <a:pt x="739" y="620"/>
                  <a:pt x="732" y="620"/>
                </a:cubicBezTo>
                <a:cubicBezTo>
                  <a:pt x="732" y="620"/>
                  <a:pt x="732" y="620"/>
                  <a:pt x="732" y="620"/>
                </a:cubicBezTo>
                <a:moveTo>
                  <a:pt x="767" y="620"/>
                </a:moveTo>
                <a:cubicBezTo>
                  <a:pt x="760" y="620"/>
                  <a:pt x="752" y="625"/>
                  <a:pt x="748" y="630"/>
                </a:cubicBezTo>
                <a:cubicBezTo>
                  <a:pt x="745" y="636"/>
                  <a:pt x="748" y="640"/>
                  <a:pt x="755" y="640"/>
                </a:cubicBezTo>
                <a:cubicBezTo>
                  <a:pt x="762" y="640"/>
                  <a:pt x="771" y="636"/>
                  <a:pt x="774" y="630"/>
                </a:cubicBezTo>
                <a:cubicBezTo>
                  <a:pt x="778" y="625"/>
                  <a:pt x="775" y="620"/>
                  <a:pt x="767" y="620"/>
                </a:cubicBezTo>
                <a:cubicBezTo>
                  <a:pt x="767" y="620"/>
                  <a:pt x="767" y="620"/>
                  <a:pt x="767" y="620"/>
                </a:cubicBezTo>
                <a:moveTo>
                  <a:pt x="2025" y="611"/>
                </a:moveTo>
                <a:cubicBezTo>
                  <a:pt x="2018" y="611"/>
                  <a:pt x="2011" y="616"/>
                  <a:pt x="2010" y="621"/>
                </a:cubicBezTo>
                <a:cubicBezTo>
                  <a:pt x="2009" y="627"/>
                  <a:pt x="2015" y="631"/>
                  <a:pt x="2022" y="631"/>
                </a:cubicBezTo>
                <a:cubicBezTo>
                  <a:pt x="2029" y="631"/>
                  <a:pt x="2035" y="627"/>
                  <a:pt x="2036" y="621"/>
                </a:cubicBezTo>
                <a:cubicBezTo>
                  <a:pt x="2037" y="616"/>
                  <a:pt x="2032" y="611"/>
                  <a:pt x="2025" y="611"/>
                </a:cubicBezTo>
                <a:cubicBezTo>
                  <a:pt x="2025" y="611"/>
                  <a:pt x="2025" y="611"/>
                  <a:pt x="2025" y="611"/>
                </a:cubicBezTo>
                <a:moveTo>
                  <a:pt x="2062" y="611"/>
                </a:moveTo>
                <a:cubicBezTo>
                  <a:pt x="2055" y="611"/>
                  <a:pt x="2048" y="615"/>
                  <a:pt x="2048" y="621"/>
                </a:cubicBezTo>
                <a:cubicBezTo>
                  <a:pt x="2047" y="627"/>
                  <a:pt x="2052" y="631"/>
                  <a:pt x="2059" y="631"/>
                </a:cubicBezTo>
                <a:cubicBezTo>
                  <a:pt x="2066" y="631"/>
                  <a:pt x="2073" y="627"/>
                  <a:pt x="2074" y="621"/>
                </a:cubicBezTo>
                <a:cubicBezTo>
                  <a:pt x="2074" y="615"/>
                  <a:pt x="2069" y="611"/>
                  <a:pt x="2062" y="611"/>
                </a:cubicBezTo>
                <a:cubicBezTo>
                  <a:pt x="2062" y="611"/>
                  <a:pt x="2062" y="611"/>
                  <a:pt x="2062" y="611"/>
                </a:cubicBezTo>
                <a:moveTo>
                  <a:pt x="2100" y="611"/>
                </a:moveTo>
                <a:cubicBezTo>
                  <a:pt x="2093" y="611"/>
                  <a:pt x="2087" y="615"/>
                  <a:pt x="2086" y="621"/>
                </a:cubicBezTo>
                <a:cubicBezTo>
                  <a:pt x="2085" y="627"/>
                  <a:pt x="2090" y="631"/>
                  <a:pt x="2097" y="631"/>
                </a:cubicBezTo>
                <a:cubicBezTo>
                  <a:pt x="2105" y="631"/>
                  <a:pt x="2111" y="626"/>
                  <a:pt x="2112" y="621"/>
                </a:cubicBezTo>
                <a:cubicBezTo>
                  <a:pt x="2113" y="615"/>
                  <a:pt x="2107" y="611"/>
                  <a:pt x="2100" y="611"/>
                </a:cubicBezTo>
                <a:cubicBezTo>
                  <a:pt x="2100" y="611"/>
                  <a:pt x="2100" y="611"/>
                  <a:pt x="2100" y="611"/>
                </a:cubicBezTo>
                <a:moveTo>
                  <a:pt x="2137" y="610"/>
                </a:moveTo>
                <a:cubicBezTo>
                  <a:pt x="2130" y="610"/>
                  <a:pt x="2123" y="615"/>
                  <a:pt x="2123" y="621"/>
                </a:cubicBezTo>
                <a:cubicBezTo>
                  <a:pt x="2122" y="626"/>
                  <a:pt x="2127" y="631"/>
                  <a:pt x="2134" y="631"/>
                </a:cubicBezTo>
                <a:cubicBezTo>
                  <a:pt x="2142" y="631"/>
                  <a:pt x="2148" y="626"/>
                  <a:pt x="2149" y="621"/>
                </a:cubicBezTo>
                <a:cubicBezTo>
                  <a:pt x="2149" y="615"/>
                  <a:pt x="2144" y="610"/>
                  <a:pt x="2137" y="610"/>
                </a:cubicBezTo>
                <a:cubicBezTo>
                  <a:pt x="2137" y="610"/>
                  <a:pt x="2137" y="610"/>
                  <a:pt x="2137" y="610"/>
                </a:cubicBezTo>
                <a:moveTo>
                  <a:pt x="2174" y="610"/>
                </a:moveTo>
                <a:cubicBezTo>
                  <a:pt x="2167" y="610"/>
                  <a:pt x="2161" y="615"/>
                  <a:pt x="2160" y="620"/>
                </a:cubicBezTo>
                <a:cubicBezTo>
                  <a:pt x="2159" y="626"/>
                  <a:pt x="2165" y="631"/>
                  <a:pt x="2172" y="631"/>
                </a:cubicBezTo>
                <a:cubicBezTo>
                  <a:pt x="2179" y="631"/>
                  <a:pt x="2185" y="626"/>
                  <a:pt x="2186" y="620"/>
                </a:cubicBezTo>
                <a:cubicBezTo>
                  <a:pt x="2186" y="615"/>
                  <a:pt x="2181" y="610"/>
                  <a:pt x="2174" y="610"/>
                </a:cubicBezTo>
                <a:cubicBezTo>
                  <a:pt x="2174" y="610"/>
                  <a:pt x="2174" y="610"/>
                  <a:pt x="2174" y="610"/>
                </a:cubicBezTo>
                <a:moveTo>
                  <a:pt x="2433" y="608"/>
                </a:moveTo>
                <a:cubicBezTo>
                  <a:pt x="2426" y="608"/>
                  <a:pt x="2420" y="613"/>
                  <a:pt x="2420" y="618"/>
                </a:cubicBezTo>
                <a:cubicBezTo>
                  <a:pt x="2419" y="624"/>
                  <a:pt x="2425" y="628"/>
                  <a:pt x="2432" y="628"/>
                </a:cubicBezTo>
                <a:cubicBezTo>
                  <a:pt x="2440" y="628"/>
                  <a:pt x="2445" y="624"/>
                  <a:pt x="2446" y="618"/>
                </a:cubicBezTo>
                <a:cubicBezTo>
                  <a:pt x="2446" y="612"/>
                  <a:pt x="2440" y="608"/>
                  <a:pt x="2433" y="608"/>
                </a:cubicBezTo>
                <a:cubicBezTo>
                  <a:pt x="2433" y="608"/>
                  <a:pt x="2433" y="608"/>
                  <a:pt x="2433" y="608"/>
                </a:cubicBezTo>
                <a:moveTo>
                  <a:pt x="2802" y="607"/>
                </a:moveTo>
                <a:cubicBezTo>
                  <a:pt x="2795" y="607"/>
                  <a:pt x="2790" y="611"/>
                  <a:pt x="2790" y="617"/>
                </a:cubicBezTo>
                <a:cubicBezTo>
                  <a:pt x="2791" y="623"/>
                  <a:pt x="2797" y="627"/>
                  <a:pt x="2804" y="627"/>
                </a:cubicBezTo>
                <a:cubicBezTo>
                  <a:pt x="2812" y="627"/>
                  <a:pt x="2817" y="623"/>
                  <a:pt x="2816" y="617"/>
                </a:cubicBezTo>
                <a:cubicBezTo>
                  <a:pt x="2816" y="611"/>
                  <a:pt x="2809" y="607"/>
                  <a:pt x="2802" y="607"/>
                </a:cubicBezTo>
                <a:cubicBezTo>
                  <a:pt x="2802" y="607"/>
                  <a:pt x="2802" y="607"/>
                  <a:pt x="2802" y="607"/>
                </a:cubicBezTo>
                <a:moveTo>
                  <a:pt x="2837" y="607"/>
                </a:moveTo>
                <a:cubicBezTo>
                  <a:pt x="2830" y="607"/>
                  <a:pt x="2825" y="611"/>
                  <a:pt x="2825" y="617"/>
                </a:cubicBezTo>
                <a:cubicBezTo>
                  <a:pt x="2826" y="622"/>
                  <a:pt x="2832" y="627"/>
                  <a:pt x="2839" y="627"/>
                </a:cubicBezTo>
                <a:cubicBezTo>
                  <a:pt x="2847" y="627"/>
                  <a:pt x="2852" y="622"/>
                  <a:pt x="2851" y="617"/>
                </a:cubicBezTo>
                <a:cubicBezTo>
                  <a:pt x="2850" y="611"/>
                  <a:pt x="2844" y="607"/>
                  <a:pt x="2837" y="607"/>
                </a:cubicBezTo>
                <a:cubicBezTo>
                  <a:pt x="2837" y="607"/>
                  <a:pt x="2837" y="607"/>
                  <a:pt x="2837" y="607"/>
                </a:cubicBezTo>
                <a:moveTo>
                  <a:pt x="2874" y="606"/>
                </a:moveTo>
                <a:cubicBezTo>
                  <a:pt x="2866" y="606"/>
                  <a:pt x="2861" y="611"/>
                  <a:pt x="2862" y="617"/>
                </a:cubicBezTo>
                <a:cubicBezTo>
                  <a:pt x="2863" y="622"/>
                  <a:pt x="2869" y="627"/>
                  <a:pt x="2876" y="627"/>
                </a:cubicBezTo>
                <a:cubicBezTo>
                  <a:pt x="2883" y="627"/>
                  <a:pt x="2889" y="622"/>
                  <a:pt x="2888" y="616"/>
                </a:cubicBezTo>
                <a:cubicBezTo>
                  <a:pt x="2887" y="611"/>
                  <a:pt x="2881" y="606"/>
                  <a:pt x="2874" y="606"/>
                </a:cubicBezTo>
                <a:cubicBezTo>
                  <a:pt x="2874" y="606"/>
                  <a:pt x="2874" y="606"/>
                  <a:pt x="2874" y="606"/>
                </a:cubicBezTo>
                <a:moveTo>
                  <a:pt x="2655" y="606"/>
                </a:moveTo>
                <a:cubicBezTo>
                  <a:pt x="2648" y="606"/>
                  <a:pt x="2642" y="611"/>
                  <a:pt x="2643" y="616"/>
                </a:cubicBezTo>
                <a:cubicBezTo>
                  <a:pt x="2643" y="622"/>
                  <a:pt x="2649" y="627"/>
                  <a:pt x="2656" y="627"/>
                </a:cubicBezTo>
                <a:cubicBezTo>
                  <a:pt x="2663" y="627"/>
                  <a:pt x="2669" y="622"/>
                  <a:pt x="2669" y="616"/>
                </a:cubicBezTo>
                <a:cubicBezTo>
                  <a:pt x="2668" y="611"/>
                  <a:pt x="2662" y="606"/>
                  <a:pt x="2655" y="606"/>
                </a:cubicBezTo>
                <a:cubicBezTo>
                  <a:pt x="2655" y="606"/>
                  <a:pt x="2655" y="606"/>
                  <a:pt x="2655" y="606"/>
                </a:cubicBezTo>
                <a:moveTo>
                  <a:pt x="2911" y="606"/>
                </a:moveTo>
                <a:cubicBezTo>
                  <a:pt x="2903" y="606"/>
                  <a:pt x="2898" y="611"/>
                  <a:pt x="2899" y="616"/>
                </a:cubicBezTo>
                <a:cubicBezTo>
                  <a:pt x="2900" y="622"/>
                  <a:pt x="2906" y="627"/>
                  <a:pt x="2914" y="627"/>
                </a:cubicBezTo>
                <a:cubicBezTo>
                  <a:pt x="2921" y="627"/>
                  <a:pt x="2926" y="622"/>
                  <a:pt x="2925" y="616"/>
                </a:cubicBezTo>
                <a:cubicBezTo>
                  <a:pt x="2924" y="611"/>
                  <a:pt x="2918" y="606"/>
                  <a:pt x="2911" y="606"/>
                </a:cubicBezTo>
                <a:cubicBezTo>
                  <a:pt x="2911" y="606"/>
                  <a:pt x="2911" y="606"/>
                  <a:pt x="2911" y="606"/>
                </a:cubicBezTo>
                <a:moveTo>
                  <a:pt x="2691" y="606"/>
                </a:moveTo>
                <a:cubicBezTo>
                  <a:pt x="2684" y="606"/>
                  <a:pt x="2679" y="611"/>
                  <a:pt x="2679" y="616"/>
                </a:cubicBezTo>
                <a:cubicBezTo>
                  <a:pt x="2680" y="622"/>
                  <a:pt x="2686" y="626"/>
                  <a:pt x="2693" y="626"/>
                </a:cubicBezTo>
                <a:cubicBezTo>
                  <a:pt x="2700" y="626"/>
                  <a:pt x="2706" y="622"/>
                  <a:pt x="2705" y="616"/>
                </a:cubicBezTo>
                <a:cubicBezTo>
                  <a:pt x="2705" y="610"/>
                  <a:pt x="2699" y="606"/>
                  <a:pt x="2692" y="606"/>
                </a:cubicBezTo>
                <a:cubicBezTo>
                  <a:pt x="2692" y="606"/>
                  <a:pt x="2692" y="606"/>
                  <a:pt x="2691" y="606"/>
                </a:cubicBezTo>
                <a:moveTo>
                  <a:pt x="2765" y="606"/>
                </a:moveTo>
                <a:cubicBezTo>
                  <a:pt x="2758" y="606"/>
                  <a:pt x="2753" y="611"/>
                  <a:pt x="2753" y="616"/>
                </a:cubicBezTo>
                <a:cubicBezTo>
                  <a:pt x="2754" y="622"/>
                  <a:pt x="2760" y="626"/>
                  <a:pt x="2767" y="626"/>
                </a:cubicBezTo>
                <a:cubicBezTo>
                  <a:pt x="2774" y="626"/>
                  <a:pt x="2780" y="622"/>
                  <a:pt x="2779" y="616"/>
                </a:cubicBezTo>
                <a:cubicBezTo>
                  <a:pt x="2779" y="610"/>
                  <a:pt x="2772" y="606"/>
                  <a:pt x="2765" y="606"/>
                </a:cubicBezTo>
                <a:cubicBezTo>
                  <a:pt x="2765" y="606"/>
                  <a:pt x="2765" y="606"/>
                  <a:pt x="2765" y="606"/>
                </a:cubicBezTo>
                <a:moveTo>
                  <a:pt x="2948" y="606"/>
                </a:moveTo>
                <a:cubicBezTo>
                  <a:pt x="2941" y="606"/>
                  <a:pt x="2936" y="611"/>
                  <a:pt x="2937" y="616"/>
                </a:cubicBezTo>
                <a:cubicBezTo>
                  <a:pt x="2937" y="622"/>
                  <a:pt x="2944" y="626"/>
                  <a:pt x="2951" y="626"/>
                </a:cubicBezTo>
                <a:cubicBezTo>
                  <a:pt x="2958" y="626"/>
                  <a:pt x="2963" y="622"/>
                  <a:pt x="2962" y="616"/>
                </a:cubicBezTo>
                <a:cubicBezTo>
                  <a:pt x="2962" y="610"/>
                  <a:pt x="2955" y="606"/>
                  <a:pt x="2948" y="606"/>
                </a:cubicBezTo>
                <a:cubicBezTo>
                  <a:pt x="2948" y="606"/>
                  <a:pt x="2948" y="606"/>
                  <a:pt x="2948" y="606"/>
                </a:cubicBezTo>
                <a:moveTo>
                  <a:pt x="2728" y="606"/>
                </a:moveTo>
                <a:cubicBezTo>
                  <a:pt x="2721" y="606"/>
                  <a:pt x="2716" y="610"/>
                  <a:pt x="2716" y="616"/>
                </a:cubicBezTo>
                <a:cubicBezTo>
                  <a:pt x="2717" y="622"/>
                  <a:pt x="2723" y="626"/>
                  <a:pt x="2730" y="626"/>
                </a:cubicBezTo>
                <a:cubicBezTo>
                  <a:pt x="2737" y="626"/>
                  <a:pt x="2742" y="622"/>
                  <a:pt x="2742" y="616"/>
                </a:cubicBezTo>
                <a:cubicBezTo>
                  <a:pt x="2741" y="610"/>
                  <a:pt x="2735" y="606"/>
                  <a:pt x="2728" y="606"/>
                </a:cubicBezTo>
                <a:cubicBezTo>
                  <a:pt x="2728" y="606"/>
                  <a:pt x="2728" y="606"/>
                  <a:pt x="2728" y="606"/>
                </a:cubicBezTo>
                <a:moveTo>
                  <a:pt x="2984" y="606"/>
                </a:moveTo>
                <a:cubicBezTo>
                  <a:pt x="2977" y="606"/>
                  <a:pt x="2972" y="610"/>
                  <a:pt x="2973" y="616"/>
                </a:cubicBezTo>
                <a:cubicBezTo>
                  <a:pt x="2974" y="622"/>
                  <a:pt x="2981" y="626"/>
                  <a:pt x="2988" y="626"/>
                </a:cubicBezTo>
                <a:cubicBezTo>
                  <a:pt x="2995" y="626"/>
                  <a:pt x="3000" y="621"/>
                  <a:pt x="2999" y="616"/>
                </a:cubicBezTo>
                <a:cubicBezTo>
                  <a:pt x="2998" y="610"/>
                  <a:pt x="2992" y="606"/>
                  <a:pt x="2985" y="606"/>
                </a:cubicBezTo>
                <a:cubicBezTo>
                  <a:pt x="2985" y="606"/>
                  <a:pt x="2985" y="606"/>
                  <a:pt x="2984" y="606"/>
                </a:cubicBezTo>
                <a:moveTo>
                  <a:pt x="2618" y="605"/>
                </a:moveTo>
                <a:cubicBezTo>
                  <a:pt x="2611" y="606"/>
                  <a:pt x="2606" y="610"/>
                  <a:pt x="2606" y="616"/>
                </a:cubicBezTo>
                <a:cubicBezTo>
                  <a:pt x="2606" y="621"/>
                  <a:pt x="2612" y="626"/>
                  <a:pt x="2619" y="626"/>
                </a:cubicBezTo>
                <a:cubicBezTo>
                  <a:pt x="2626" y="626"/>
                  <a:pt x="2632" y="621"/>
                  <a:pt x="2632" y="616"/>
                </a:cubicBezTo>
                <a:cubicBezTo>
                  <a:pt x="2632" y="610"/>
                  <a:pt x="2626" y="605"/>
                  <a:pt x="2618" y="605"/>
                </a:cubicBezTo>
                <a:cubicBezTo>
                  <a:pt x="2618" y="605"/>
                  <a:pt x="2618" y="605"/>
                  <a:pt x="2618" y="605"/>
                </a:cubicBezTo>
                <a:moveTo>
                  <a:pt x="3021" y="605"/>
                </a:moveTo>
                <a:cubicBezTo>
                  <a:pt x="3014" y="605"/>
                  <a:pt x="3009" y="610"/>
                  <a:pt x="3010" y="616"/>
                </a:cubicBezTo>
                <a:cubicBezTo>
                  <a:pt x="3011" y="621"/>
                  <a:pt x="3018" y="626"/>
                  <a:pt x="3025" y="626"/>
                </a:cubicBezTo>
                <a:cubicBezTo>
                  <a:pt x="3032" y="626"/>
                  <a:pt x="3037" y="621"/>
                  <a:pt x="3036" y="616"/>
                </a:cubicBezTo>
                <a:cubicBezTo>
                  <a:pt x="3035" y="610"/>
                  <a:pt x="3029" y="605"/>
                  <a:pt x="3021" y="605"/>
                </a:cubicBezTo>
                <a:cubicBezTo>
                  <a:pt x="3021" y="605"/>
                  <a:pt x="3021" y="605"/>
                  <a:pt x="3021" y="605"/>
                </a:cubicBezTo>
                <a:moveTo>
                  <a:pt x="3058" y="605"/>
                </a:moveTo>
                <a:cubicBezTo>
                  <a:pt x="3051" y="605"/>
                  <a:pt x="3046" y="610"/>
                  <a:pt x="3047" y="616"/>
                </a:cubicBezTo>
                <a:cubicBezTo>
                  <a:pt x="3048" y="621"/>
                  <a:pt x="3055" y="626"/>
                  <a:pt x="3062" y="626"/>
                </a:cubicBezTo>
                <a:cubicBezTo>
                  <a:pt x="3069" y="626"/>
                  <a:pt x="3074" y="621"/>
                  <a:pt x="3073" y="615"/>
                </a:cubicBezTo>
                <a:cubicBezTo>
                  <a:pt x="3072" y="610"/>
                  <a:pt x="3065" y="605"/>
                  <a:pt x="3058" y="605"/>
                </a:cubicBezTo>
                <a:cubicBezTo>
                  <a:pt x="3058" y="605"/>
                  <a:pt x="3058" y="605"/>
                  <a:pt x="3058" y="605"/>
                </a:cubicBezTo>
                <a:moveTo>
                  <a:pt x="3095" y="605"/>
                </a:moveTo>
                <a:cubicBezTo>
                  <a:pt x="3088" y="605"/>
                  <a:pt x="3083" y="610"/>
                  <a:pt x="3084" y="615"/>
                </a:cubicBezTo>
                <a:cubicBezTo>
                  <a:pt x="3085" y="621"/>
                  <a:pt x="3092" y="626"/>
                  <a:pt x="3099" y="626"/>
                </a:cubicBezTo>
                <a:cubicBezTo>
                  <a:pt x="3107" y="625"/>
                  <a:pt x="3111" y="621"/>
                  <a:pt x="3110" y="615"/>
                </a:cubicBezTo>
                <a:cubicBezTo>
                  <a:pt x="3109" y="610"/>
                  <a:pt x="3102" y="605"/>
                  <a:pt x="3095" y="605"/>
                </a:cubicBezTo>
                <a:cubicBezTo>
                  <a:pt x="3095" y="605"/>
                  <a:pt x="3095" y="605"/>
                  <a:pt x="3095" y="605"/>
                </a:cubicBezTo>
                <a:moveTo>
                  <a:pt x="3133" y="605"/>
                </a:moveTo>
                <a:cubicBezTo>
                  <a:pt x="3126" y="605"/>
                  <a:pt x="3121" y="609"/>
                  <a:pt x="3122" y="615"/>
                </a:cubicBezTo>
                <a:cubicBezTo>
                  <a:pt x="3124" y="621"/>
                  <a:pt x="3131" y="625"/>
                  <a:pt x="3138" y="625"/>
                </a:cubicBezTo>
                <a:cubicBezTo>
                  <a:pt x="3145" y="625"/>
                  <a:pt x="3150" y="621"/>
                  <a:pt x="3148" y="615"/>
                </a:cubicBezTo>
                <a:cubicBezTo>
                  <a:pt x="3147" y="609"/>
                  <a:pt x="3140" y="605"/>
                  <a:pt x="3133" y="605"/>
                </a:cubicBezTo>
                <a:cubicBezTo>
                  <a:pt x="3133" y="605"/>
                  <a:pt x="3133" y="605"/>
                  <a:pt x="3133" y="605"/>
                </a:cubicBezTo>
                <a:moveTo>
                  <a:pt x="3170" y="605"/>
                </a:moveTo>
                <a:cubicBezTo>
                  <a:pt x="3163" y="605"/>
                  <a:pt x="3158" y="609"/>
                  <a:pt x="3159" y="615"/>
                </a:cubicBezTo>
                <a:cubicBezTo>
                  <a:pt x="3161" y="621"/>
                  <a:pt x="3167" y="625"/>
                  <a:pt x="3175" y="625"/>
                </a:cubicBezTo>
                <a:cubicBezTo>
                  <a:pt x="3182" y="625"/>
                  <a:pt x="3187" y="620"/>
                  <a:pt x="3185" y="615"/>
                </a:cubicBezTo>
                <a:cubicBezTo>
                  <a:pt x="3184" y="609"/>
                  <a:pt x="3177" y="605"/>
                  <a:pt x="3170" y="605"/>
                </a:cubicBezTo>
                <a:cubicBezTo>
                  <a:pt x="3170" y="605"/>
                  <a:pt x="3170" y="605"/>
                  <a:pt x="3170" y="605"/>
                </a:cubicBezTo>
                <a:moveTo>
                  <a:pt x="3207" y="604"/>
                </a:moveTo>
                <a:cubicBezTo>
                  <a:pt x="3200" y="604"/>
                  <a:pt x="3195" y="609"/>
                  <a:pt x="3196" y="615"/>
                </a:cubicBezTo>
                <a:cubicBezTo>
                  <a:pt x="3198" y="620"/>
                  <a:pt x="3205" y="625"/>
                  <a:pt x="3212" y="625"/>
                </a:cubicBezTo>
                <a:cubicBezTo>
                  <a:pt x="3219" y="625"/>
                  <a:pt x="3224" y="620"/>
                  <a:pt x="3222" y="615"/>
                </a:cubicBezTo>
                <a:cubicBezTo>
                  <a:pt x="3221" y="609"/>
                  <a:pt x="3214" y="604"/>
                  <a:pt x="3207" y="604"/>
                </a:cubicBezTo>
                <a:cubicBezTo>
                  <a:pt x="3207" y="604"/>
                  <a:pt x="3207" y="604"/>
                  <a:pt x="3207" y="604"/>
                </a:cubicBezTo>
                <a:moveTo>
                  <a:pt x="3244" y="604"/>
                </a:moveTo>
                <a:cubicBezTo>
                  <a:pt x="3237" y="604"/>
                  <a:pt x="3232" y="609"/>
                  <a:pt x="3234" y="614"/>
                </a:cubicBezTo>
                <a:cubicBezTo>
                  <a:pt x="3235" y="620"/>
                  <a:pt x="3242" y="625"/>
                  <a:pt x="3249" y="625"/>
                </a:cubicBezTo>
                <a:cubicBezTo>
                  <a:pt x="3257" y="625"/>
                  <a:pt x="3261" y="620"/>
                  <a:pt x="3260" y="614"/>
                </a:cubicBezTo>
                <a:cubicBezTo>
                  <a:pt x="3258" y="609"/>
                  <a:pt x="3251" y="604"/>
                  <a:pt x="3244" y="604"/>
                </a:cubicBezTo>
                <a:cubicBezTo>
                  <a:pt x="3244" y="604"/>
                  <a:pt x="3244" y="604"/>
                  <a:pt x="3244" y="604"/>
                </a:cubicBezTo>
                <a:moveTo>
                  <a:pt x="3281" y="604"/>
                </a:moveTo>
                <a:cubicBezTo>
                  <a:pt x="3273" y="604"/>
                  <a:pt x="3269" y="609"/>
                  <a:pt x="3271" y="614"/>
                </a:cubicBezTo>
                <a:cubicBezTo>
                  <a:pt x="3272" y="620"/>
                  <a:pt x="3279" y="624"/>
                  <a:pt x="3286" y="624"/>
                </a:cubicBezTo>
                <a:cubicBezTo>
                  <a:pt x="3293" y="624"/>
                  <a:pt x="3298" y="620"/>
                  <a:pt x="3296" y="614"/>
                </a:cubicBezTo>
                <a:cubicBezTo>
                  <a:pt x="3295" y="608"/>
                  <a:pt x="3288" y="604"/>
                  <a:pt x="3281" y="604"/>
                </a:cubicBezTo>
                <a:cubicBezTo>
                  <a:pt x="3281" y="604"/>
                  <a:pt x="3281" y="604"/>
                  <a:pt x="3281" y="604"/>
                </a:cubicBezTo>
                <a:moveTo>
                  <a:pt x="3317" y="604"/>
                </a:moveTo>
                <a:cubicBezTo>
                  <a:pt x="3310" y="604"/>
                  <a:pt x="3306" y="608"/>
                  <a:pt x="3307" y="614"/>
                </a:cubicBezTo>
                <a:cubicBezTo>
                  <a:pt x="3309" y="620"/>
                  <a:pt x="3316" y="624"/>
                  <a:pt x="3323" y="624"/>
                </a:cubicBezTo>
                <a:cubicBezTo>
                  <a:pt x="3331" y="624"/>
                  <a:pt x="3335" y="620"/>
                  <a:pt x="3333" y="614"/>
                </a:cubicBezTo>
                <a:cubicBezTo>
                  <a:pt x="3332" y="608"/>
                  <a:pt x="3325" y="604"/>
                  <a:pt x="3318" y="604"/>
                </a:cubicBezTo>
                <a:cubicBezTo>
                  <a:pt x="3318" y="604"/>
                  <a:pt x="3317" y="604"/>
                  <a:pt x="3317" y="604"/>
                </a:cubicBezTo>
                <a:moveTo>
                  <a:pt x="3354" y="604"/>
                </a:moveTo>
                <a:cubicBezTo>
                  <a:pt x="3347" y="604"/>
                  <a:pt x="3343" y="608"/>
                  <a:pt x="3344" y="614"/>
                </a:cubicBezTo>
                <a:cubicBezTo>
                  <a:pt x="3346" y="620"/>
                  <a:pt x="3353" y="624"/>
                  <a:pt x="3360" y="624"/>
                </a:cubicBezTo>
                <a:cubicBezTo>
                  <a:pt x="3368" y="624"/>
                  <a:pt x="3372" y="619"/>
                  <a:pt x="3370" y="614"/>
                </a:cubicBezTo>
                <a:cubicBezTo>
                  <a:pt x="3368" y="608"/>
                  <a:pt x="3361" y="604"/>
                  <a:pt x="3354" y="604"/>
                </a:cubicBezTo>
                <a:cubicBezTo>
                  <a:pt x="3354" y="604"/>
                  <a:pt x="3354" y="604"/>
                  <a:pt x="3354" y="604"/>
                </a:cubicBezTo>
                <a:moveTo>
                  <a:pt x="3391" y="603"/>
                </a:moveTo>
                <a:cubicBezTo>
                  <a:pt x="3384" y="603"/>
                  <a:pt x="3380" y="608"/>
                  <a:pt x="3381" y="614"/>
                </a:cubicBezTo>
                <a:cubicBezTo>
                  <a:pt x="3383" y="619"/>
                  <a:pt x="3390" y="624"/>
                  <a:pt x="3398" y="624"/>
                </a:cubicBezTo>
                <a:cubicBezTo>
                  <a:pt x="3405" y="624"/>
                  <a:pt x="3409" y="619"/>
                  <a:pt x="3407" y="613"/>
                </a:cubicBezTo>
                <a:cubicBezTo>
                  <a:pt x="3405" y="608"/>
                  <a:pt x="3398" y="603"/>
                  <a:pt x="3391" y="603"/>
                </a:cubicBezTo>
                <a:cubicBezTo>
                  <a:pt x="3391" y="603"/>
                  <a:pt x="3391" y="603"/>
                  <a:pt x="3391" y="603"/>
                </a:cubicBezTo>
                <a:moveTo>
                  <a:pt x="3428" y="603"/>
                </a:moveTo>
                <a:cubicBezTo>
                  <a:pt x="3421" y="603"/>
                  <a:pt x="3417" y="608"/>
                  <a:pt x="3419" y="613"/>
                </a:cubicBezTo>
                <a:cubicBezTo>
                  <a:pt x="3421" y="619"/>
                  <a:pt x="3428" y="624"/>
                  <a:pt x="3435" y="624"/>
                </a:cubicBezTo>
                <a:cubicBezTo>
                  <a:pt x="3442" y="624"/>
                  <a:pt x="3447" y="619"/>
                  <a:pt x="3445" y="613"/>
                </a:cubicBezTo>
                <a:cubicBezTo>
                  <a:pt x="3443" y="608"/>
                  <a:pt x="3435" y="603"/>
                  <a:pt x="3428" y="603"/>
                </a:cubicBezTo>
                <a:cubicBezTo>
                  <a:pt x="3428" y="603"/>
                  <a:pt x="3428" y="603"/>
                  <a:pt x="3428" y="603"/>
                </a:cubicBezTo>
                <a:moveTo>
                  <a:pt x="3465" y="603"/>
                </a:moveTo>
                <a:cubicBezTo>
                  <a:pt x="3458" y="603"/>
                  <a:pt x="3454" y="608"/>
                  <a:pt x="3456" y="613"/>
                </a:cubicBezTo>
                <a:cubicBezTo>
                  <a:pt x="3457" y="619"/>
                  <a:pt x="3465" y="623"/>
                  <a:pt x="3472" y="623"/>
                </a:cubicBezTo>
                <a:cubicBezTo>
                  <a:pt x="3479" y="623"/>
                  <a:pt x="3483" y="619"/>
                  <a:pt x="3481" y="613"/>
                </a:cubicBezTo>
                <a:cubicBezTo>
                  <a:pt x="3479" y="607"/>
                  <a:pt x="3472" y="603"/>
                  <a:pt x="3465" y="603"/>
                </a:cubicBezTo>
                <a:cubicBezTo>
                  <a:pt x="3465" y="603"/>
                  <a:pt x="3465" y="603"/>
                  <a:pt x="3465" y="603"/>
                </a:cubicBezTo>
                <a:moveTo>
                  <a:pt x="3502" y="603"/>
                </a:moveTo>
                <a:cubicBezTo>
                  <a:pt x="3495" y="603"/>
                  <a:pt x="3490" y="607"/>
                  <a:pt x="3492" y="613"/>
                </a:cubicBezTo>
                <a:cubicBezTo>
                  <a:pt x="3494" y="619"/>
                  <a:pt x="3502" y="623"/>
                  <a:pt x="3509" y="623"/>
                </a:cubicBezTo>
                <a:cubicBezTo>
                  <a:pt x="3516" y="623"/>
                  <a:pt x="3520" y="619"/>
                  <a:pt x="3518" y="613"/>
                </a:cubicBezTo>
                <a:cubicBezTo>
                  <a:pt x="3516" y="607"/>
                  <a:pt x="3509" y="603"/>
                  <a:pt x="3502" y="603"/>
                </a:cubicBezTo>
                <a:cubicBezTo>
                  <a:pt x="3502" y="603"/>
                  <a:pt x="3502" y="603"/>
                  <a:pt x="3502" y="603"/>
                </a:cubicBezTo>
                <a:moveTo>
                  <a:pt x="3538" y="602"/>
                </a:moveTo>
                <a:cubicBezTo>
                  <a:pt x="3531" y="602"/>
                  <a:pt x="3527" y="607"/>
                  <a:pt x="3529" y="613"/>
                </a:cubicBezTo>
                <a:cubicBezTo>
                  <a:pt x="3531" y="618"/>
                  <a:pt x="3539" y="623"/>
                  <a:pt x="3546" y="623"/>
                </a:cubicBezTo>
                <a:cubicBezTo>
                  <a:pt x="3553" y="623"/>
                  <a:pt x="3557" y="618"/>
                  <a:pt x="3555" y="613"/>
                </a:cubicBezTo>
                <a:cubicBezTo>
                  <a:pt x="3553" y="607"/>
                  <a:pt x="3546" y="602"/>
                  <a:pt x="3538" y="602"/>
                </a:cubicBezTo>
                <a:cubicBezTo>
                  <a:pt x="3538" y="602"/>
                  <a:pt x="3538" y="602"/>
                  <a:pt x="3538" y="602"/>
                </a:cubicBezTo>
                <a:moveTo>
                  <a:pt x="3575" y="602"/>
                </a:moveTo>
                <a:cubicBezTo>
                  <a:pt x="3568" y="602"/>
                  <a:pt x="3564" y="607"/>
                  <a:pt x="3566" y="613"/>
                </a:cubicBezTo>
                <a:cubicBezTo>
                  <a:pt x="3568" y="618"/>
                  <a:pt x="3576" y="623"/>
                  <a:pt x="3583" y="623"/>
                </a:cubicBezTo>
                <a:cubicBezTo>
                  <a:pt x="3590" y="623"/>
                  <a:pt x="3594" y="618"/>
                  <a:pt x="3592" y="612"/>
                </a:cubicBezTo>
                <a:cubicBezTo>
                  <a:pt x="3590" y="607"/>
                  <a:pt x="3583" y="602"/>
                  <a:pt x="3575" y="602"/>
                </a:cubicBezTo>
                <a:cubicBezTo>
                  <a:pt x="3575" y="602"/>
                  <a:pt x="3575" y="602"/>
                  <a:pt x="3575" y="602"/>
                </a:cubicBezTo>
                <a:moveTo>
                  <a:pt x="3613" y="602"/>
                </a:moveTo>
                <a:cubicBezTo>
                  <a:pt x="3605" y="602"/>
                  <a:pt x="3601" y="607"/>
                  <a:pt x="3604" y="612"/>
                </a:cubicBezTo>
                <a:cubicBezTo>
                  <a:pt x="3606" y="618"/>
                  <a:pt x="3614" y="623"/>
                  <a:pt x="3621" y="623"/>
                </a:cubicBezTo>
                <a:cubicBezTo>
                  <a:pt x="3628" y="622"/>
                  <a:pt x="3632" y="618"/>
                  <a:pt x="3630" y="612"/>
                </a:cubicBezTo>
                <a:cubicBezTo>
                  <a:pt x="3627" y="607"/>
                  <a:pt x="3620" y="602"/>
                  <a:pt x="3613" y="602"/>
                </a:cubicBezTo>
                <a:cubicBezTo>
                  <a:pt x="3613" y="602"/>
                  <a:pt x="3613" y="602"/>
                  <a:pt x="3613" y="602"/>
                </a:cubicBezTo>
                <a:moveTo>
                  <a:pt x="3649" y="601"/>
                </a:moveTo>
                <a:cubicBezTo>
                  <a:pt x="3642" y="601"/>
                  <a:pt x="3638" y="606"/>
                  <a:pt x="3641" y="612"/>
                </a:cubicBezTo>
                <a:cubicBezTo>
                  <a:pt x="3643" y="617"/>
                  <a:pt x="3651" y="622"/>
                  <a:pt x="3658" y="622"/>
                </a:cubicBezTo>
                <a:cubicBezTo>
                  <a:pt x="3665" y="622"/>
                  <a:pt x="3669" y="617"/>
                  <a:pt x="3666" y="612"/>
                </a:cubicBezTo>
                <a:cubicBezTo>
                  <a:pt x="3664" y="606"/>
                  <a:pt x="3656" y="601"/>
                  <a:pt x="3649" y="601"/>
                </a:cubicBezTo>
                <a:cubicBezTo>
                  <a:pt x="3649" y="601"/>
                  <a:pt x="3649" y="601"/>
                  <a:pt x="3649" y="601"/>
                </a:cubicBezTo>
                <a:moveTo>
                  <a:pt x="3686" y="601"/>
                </a:moveTo>
                <a:cubicBezTo>
                  <a:pt x="3679" y="601"/>
                  <a:pt x="3675" y="606"/>
                  <a:pt x="3677" y="612"/>
                </a:cubicBezTo>
                <a:cubicBezTo>
                  <a:pt x="3680" y="617"/>
                  <a:pt x="3687" y="622"/>
                  <a:pt x="3695" y="622"/>
                </a:cubicBezTo>
                <a:cubicBezTo>
                  <a:pt x="3702" y="622"/>
                  <a:pt x="3706" y="617"/>
                  <a:pt x="3703" y="611"/>
                </a:cubicBezTo>
                <a:cubicBezTo>
                  <a:pt x="3701" y="606"/>
                  <a:pt x="3693" y="601"/>
                  <a:pt x="3686" y="601"/>
                </a:cubicBezTo>
                <a:cubicBezTo>
                  <a:pt x="3686" y="601"/>
                  <a:pt x="3686" y="601"/>
                  <a:pt x="3686" y="601"/>
                </a:cubicBezTo>
                <a:moveTo>
                  <a:pt x="3723" y="601"/>
                </a:moveTo>
                <a:cubicBezTo>
                  <a:pt x="3716" y="601"/>
                  <a:pt x="3712" y="606"/>
                  <a:pt x="3714" y="611"/>
                </a:cubicBezTo>
                <a:cubicBezTo>
                  <a:pt x="3717" y="617"/>
                  <a:pt x="3725" y="622"/>
                  <a:pt x="3732" y="622"/>
                </a:cubicBezTo>
                <a:cubicBezTo>
                  <a:pt x="3739" y="622"/>
                  <a:pt x="3743" y="617"/>
                  <a:pt x="3740" y="611"/>
                </a:cubicBezTo>
                <a:cubicBezTo>
                  <a:pt x="3738" y="606"/>
                  <a:pt x="3730" y="601"/>
                  <a:pt x="3723" y="601"/>
                </a:cubicBezTo>
                <a:cubicBezTo>
                  <a:pt x="3723" y="601"/>
                  <a:pt x="3723" y="601"/>
                  <a:pt x="3723" y="601"/>
                </a:cubicBezTo>
                <a:moveTo>
                  <a:pt x="3762" y="601"/>
                </a:moveTo>
                <a:cubicBezTo>
                  <a:pt x="3755" y="601"/>
                  <a:pt x="3751" y="605"/>
                  <a:pt x="3754" y="611"/>
                </a:cubicBezTo>
                <a:cubicBezTo>
                  <a:pt x="3756" y="617"/>
                  <a:pt x="3764" y="621"/>
                  <a:pt x="3771" y="621"/>
                </a:cubicBezTo>
                <a:cubicBezTo>
                  <a:pt x="3778" y="621"/>
                  <a:pt x="3782" y="617"/>
                  <a:pt x="3779" y="611"/>
                </a:cubicBezTo>
                <a:cubicBezTo>
                  <a:pt x="3777" y="605"/>
                  <a:pt x="3769" y="601"/>
                  <a:pt x="3762" y="601"/>
                </a:cubicBezTo>
                <a:cubicBezTo>
                  <a:pt x="3762" y="601"/>
                  <a:pt x="3762" y="601"/>
                  <a:pt x="3762" y="601"/>
                </a:cubicBezTo>
                <a:moveTo>
                  <a:pt x="3798" y="601"/>
                </a:moveTo>
                <a:cubicBezTo>
                  <a:pt x="3791" y="601"/>
                  <a:pt x="3787" y="605"/>
                  <a:pt x="3790" y="611"/>
                </a:cubicBezTo>
                <a:cubicBezTo>
                  <a:pt x="3793" y="617"/>
                  <a:pt x="3801" y="621"/>
                  <a:pt x="3808" y="621"/>
                </a:cubicBezTo>
                <a:cubicBezTo>
                  <a:pt x="3815" y="621"/>
                  <a:pt x="3819" y="616"/>
                  <a:pt x="3816" y="611"/>
                </a:cubicBezTo>
                <a:cubicBezTo>
                  <a:pt x="3813" y="605"/>
                  <a:pt x="3805" y="601"/>
                  <a:pt x="3798" y="601"/>
                </a:cubicBezTo>
                <a:cubicBezTo>
                  <a:pt x="3798" y="601"/>
                  <a:pt x="3798" y="601"/>
                  <a:pt x="3798" y="601"/>
                </a:cubicBezTo>
                <a:moveTo>
                  <a:pt x="3835" y="600"/>
                </a:moveTo>
                <a:cubicBezTo>
                  <a:pt x="3828" y="600"/>
                  <a:pt x="3824" y="605"/>
                  <a:pt x="3827" y="611"/>
                </a:cubicBezTo>
                <a:cubicBezTo>
                  <a:pt x="3829" y="616"/>
                  <a:pt x="3837" y="621"/>
                  <a:pt x="3845" y="621"/>
                </a:cubicBezTo>
                <a:cubicBezTo>
                  <a:pt x="3852" y="621"/>
                  <a:pt x="3855" y="616"/>
                  <a:pt x="3853" y="611"/>
                </a:cubicBezTo>
                <a:cubicBezTo>
                  <a:pt x="3850" y="605"/>
                  <a:pt x="3842" y="600"/>
                  <a:pt x="3835" y="600"/>
                </a:cubicBezTo>
                <a:cubicBezTo>
                  <a:pt x="3835" y="600"/>
                  <a:pt x="3835" y="600"/>
                  <a:pt x="3835" y="600"/>
                </a:cubicBezTo>
                <a:moveTo>
                  <a:pt x="3872" y="600"/>
                </a:moveTo>
                <a:cubicBezTo>
                  <a:pt x="3865" y="600"/>
                  <a:pt x="3861" y="605"/>
                  <a:pt x="3864" y="611"/>
                </a:cubicBezTo>
                <a:cubicBezTo>
                  <a:pt x="3867" y="616"/>
                  <a:pt x="3875" y="621"/>
                  <a:pt x="3882" y="621"/>
                </a:cubicBezTo>
                <a:cubicBezTo>
                  <a:pt x="3889" y="621"/>
                  <a:pt x="3892" y="616"/>
                  <a:pt x="3890" y="610"/>
                </a:cubicBezTo>
                <a:cubicBezTo>
                  <a:pt x="3887" y="605"/>
                  <a:pt x="3879" y="600"/>
                  <a:pt x="3872" y="600"/>
                </a:cubicBezTo>
                <a:cubicBezTo>
                  <a:pt x="3872" y="600"/>
                  <a:pt x="3872" y="600"/>
                  <a:pt x="3872" y="600"/>
                </a:cubicBezTo>
                <a:moveTo>
                  <a:pt x="3909" y="600"/>
                </a:moveTo>
                <a:cubicBezTo>
                  <a:pt x="3902" y="600"/>
                  <a:pt x="3898" y="605"/>
                  <a:pt x="3901" y="610"/>
                </a:cubicBezTo>
                <a:cubicBezTo>
                  <a:pt x="3904" y="616"/>
                  <a:pt x="3912" y="621"/>
                  <a:pt x="3919" y="621"/>
                </a:cubicBezTo>
                <a:cubicBezTo>
                  <a:pt x="3926" y="620"/>
                  <a:pt x="3930" y="616"/>
                  <a:pt x="3927" y="610"/>
                </a:cubicBezTo>
                <a:cubicBezTo>
                  <a:pt x="3924" y="604"/>
                  <a:pt x="3916" y="600"/>
                  <a:pt x="3909" y="600"/>
                </a:cubicBezTo>
                <a:cubicBezTo>
                  <a:pt x="3909" y="600"/>
                  <a:pt x="3909" y="600"/>
                  <a:pt x="3909" y="600"/>
                </a:cubicBezTo>
                <a:moveTo>
                  <a:pt x="3946" y="600"/>
                </a:moveTo>
                <a:cubicBezTo>
                  <a:pt x="3938" y="600"/>
                  <a:pt x="3935" y="604"/>
                  <a:pt x="3938" y="610"/>
                </a:cubicBezTo>
                <a:cubicBezTo>
                  <a:pt x="3941" y="616"/>
                  <a:pt x="3949" y="620"/>
                  <a:pt x="3956" y="620"/>
                </a:cubicBezTo>
                <a:cubicBezTo>
                  <a:pt x="3963" y="620"/>
                  <a:pt x="3967" y="616"/>
                  <a:pt x="3964" y="610"/>
                </a:cubicBezTo>
                <a:cubicBezTo>
                  <a:pt x="3961" y="604"/>
                  <a:pt x="3953" y="600"/>
                  <a:pt x="3946" y="600"/>
                </a:cubicBezTo>
                <a:cubicBezTo>
                  <a:pt x="3946" y="600"/>
                  <a:pt x="3946" y="600"/>
                  <a:pt x="3946" y="600"/>
                </a:cubicBezTo>
                <a:moveTo>
                  <a:pt x="4055" y="599"/>
                </a:moveTo>
                <a:cubicBezTo>
                  <a:pt x="4048" y="599"/>
                  <a:pt x="4045" y="604"/>
                  <a:pt x="4048" y="610"/>
                </a:cubicBezTo>
                <a:cubicBezTo>
                  <a:pt x="4051" y="615"/>
                  <a:pt x="4059" y="620"/>
                  <a:pt x="4066" y="620"/>
                </a:cubicBezTo>
                <a:cubicBezTo>
                  <a:pt x="4073" y="620"/>
                  <a:pt x="4077" y="615"/>
                  <a:pt x="4073" y="610"/>
                </a:cubicBezTo>
                <a:cubicBezTo>
                  <a:pt x="4070" y="604"/>
                  <a:pt x="4062" y="599"/>
                  <a:pt x="4055" y="599"/>
                </a:cubicBezTo>
                <a:cubicBezTo>
                  <a:pt x="4055" y="599"/>
                  <a:pt x="4055" y="599"/>
                  <a:pt x="4055" y="599"/>
                </a:cubicBezTo>
                <a:moveTo>
                  <a:pt x="4092" y="599"/>
                </a:moveTo>
                <a:cubicBezTo>
                  <a:pt x="4085" y="599"/>
                  <a:pt x="4081" y="604"/>
                  <a:pt x="4085" y="610"/>
                </a:cubicBezTo>
                <a:cubicBezTo>
                  <a:pt x="4088" y="615"/>
                  <a:pt x="4096" y="620"/>
                  <a:pt x="4103" y="620"/>
                </a:cubicBezTo>
                <a:cubicBezTo>
                  <a:pt x="4111" y="620"/>
                  <a:pt x="4114" y="615"/>
                  <a:pt x="4111" y="609"/>
                </a:cubicBezTo>
                <a:cubicBezTo>
                  <a:pt x="4107" y="604"/>
                  <a:pt x="4099" y="599"/>
                  <a:pt x="4092" y="599"/>
                </a:cubicBezTo>
                <a:cubicBezTo>
                  <a:pt x="4092" y="599"/>
                  <a:pt x="4092" y="599"/>
                  <a:pt x="4092" y="599"/>
                </a:cubicBezTo>
                <a:moveTo>
                  <a:pt x="4166" y="599"/>
                </a:moveTo>
                <a:cubicBezTo>
                  <a:pt x="4159" y="599"/>
                  <a:pt x="4156" y="603"/>
                  <a:pt x="4159" y="609"/>
                </a:cubicBezTo>
                <a:cubicBezTo>
                  <a:pt x="4163" y="615"/>
                  <a:pt x="4171" y="619"/>
                  <a:pt x="4178" y="619"/>
                </a:cubicBezTo>
                <a:cubicBezTo>
                  <a:pt x="4185" y="619"/>
                  <a:pt x="4188" y="615"/>
                  <a:pt x="4185" y="609"/>
                </a:cubicBezTo>
                <a:cubicBezTo>
                  <a:pt x="4182" y="603"/>
                  <a:pt x="4173" y="599"/>
                  <a:pt x="4166" y="599"/>
                </a:cubicBezTo>
                <a:cubicBezTo>
                  <a:pt x="4166" y="599"/>
                  <a:pt x="4166" y="599"/>
                  <a:pt x="4166" y="599"/>
                </a:cubicBezTo>
                <a:moveTo>
                  <a:pt x="4206" y="599"/>
                </a:moveTo>
                <a:cubicBezTo>
                  <a:pt x="4199" y="599"/>
                  <a:pt x="4196" y="603"/>
                  <a:pt x="4200" y="609"/>
                </a:cubicBezTo>
                <a:cubicBezTo>
                  <a:pt x="4203" y="615"/>
                  <a:pt x="4212" y="619"/>
                  <a:pt x="4219" y="619"/>
                </a:cubicBezTo>
                <a:cubicBezTo>
                  <a:pt x="4226" y="619"/>
                  <a:pt x="4229" y="614"/>
                  <a:pt x="4225" y="609"/>
                </a:cubicBezTo>
                <a:cubicBezTo>
                  <a:pt x="4222" y="603"/>
                  <a:pt x="4213" y="599"/>
                  <a:pt x="4206" y="599"/>
                </a:cubicBezTo>
                <a:cubicBezTo>
                  <a:pt x="4206" y="599"/>
                  <a:pt x="4206" y="599"/>
                  <a:pt x="4206" y="599"/>
                </a:cubicBezTo>
                <a:moveTo>
                  <a:pt x="4239" y="598"/>
                </a:moveTo>
                <a:cubicBezTo>
                  <a:pt x="4232" y="598"/>
                  <a:pt x="4229" y="603"/>
                  <a:pt x="4233" y="609"/>
                </a:cubicBezTo>
                <a:cubicBezTo>
                  <a:pt x="4236" y="614"/>
                  <a:pt x="4245" y="619"/>
                  <a:pt x="4252" y="619"/>
                </a:cubicBezTo>
                <a:cubicBezTo>
                  <a:pt x="4259" y="619"/>
                  <a:pt x="4262" y="614"/>
                  <a:pt x="4259" y="609"/>
                </a:cubicBezTo>
                <a:cubicBezTo>
                  <a:pt x="4255" y="603"/>
                  <a:pt x="4246" y="598"/>
                  <a:pt x="4239" y="598"/>
                </a:cubicBezTo>
                <a:cubicBezTo>
                  <a:pt x="4239" y="598"/>
                  <a:pt x="4239" y="598"/>
                  <a:pt x="4239" y="598"/>
                </a:cubicBezTo>
                <a:moveTo>
                  <a:pt x="123" y="595"/>
                </a:moveTo>
                <a:cubicBezTo>
                  <a:pt x="116" y="595"/>
                  <a:pt x="107" y="599"/>
                  <a:pt x="102" y="605"/>
                </a:cubicBezTo>
                <a:cubicBezTo>
                  <a:pt x="97" y="611"/>
                  <a:pt x="99" y="615"/>
                  <a:pt x="106" y="615"/>
                </a:cubicBezTo>
                <a:cubicBezTo>
                  <a:pt x="113" y="615"/>
                  <a:pt x="123" y="610"/>
                  <a:pt x="128" y="605"/>
                </a:cubicBezTo>
                <a:cubicBezTo>
                  <a:pt x="132" y="599"/>
                  <a:pt x="130" y="595"/>
                  <a:pt x="123" y="595"/>
                </a:cubicBezTo>
                <a:cubicBezTo>
                  <a:pt x="123" y="595"/>
                  <a:pt x="123" y="595"/>
                  <a:pt x="123" y="595"/>
                </a:cubicBezTo>
                <a:moveTo>
                  <a:pt x="160" y="595"/>
                </a:moveTo>
                <a:cubicBezTo>
                  <a:pt x="153" y="595"/>
                  <a:pt x="143" y="599"/>
                  <a:pt x="139" y="605"/>
                </a:cubicBezTo>
                <a:cubicBezTo>
                  <a:pt x="134" y="610"/>
                  <a:pt x="136" y="615"/>
                  <a:pt x="143" y="615"/>
                </a:cubicBezTo>
                <a:cubicBezTo>
                  <a:pt x="150" y="615"/>
                  <a:pt x="160" y="610"/>
                  <a:pt x="164" y="605"/>
                </a:cubicBezTo>
                <a:cubicBezTo>
                  <a:pt x="169" y="599"/>
                  <a:pt x="167" y="595"/>
                  <a:pt x="160" y="595"/>
                </a:cubicBezTo>
                <a:cubicBezTo>
                  <a:pt x="160" y="595"/>
                  <a:pt x="160" y="595"/>
                  <a:pt x="160" y="595"/>
                </a:cubicBezTo>
                <a:moveTo>
                  <a:pt x="198" y="594"/>
                </a:moveTo>
                <a:cubicBezTo>
                  <a:pt x="191" y="594"/>
                  <a:pt x="182" y="599"/>
                  <a:pt x="177" y="604"/>
                </a:cubicBezTo>
                <a:cubicBezTo>
                  <a:pt x="172" y="610"/>
                  <a:pt x="174" y="615"/>
                  <a:pt x="182" y="615"/>
                </a:cubicBezTo>
                <a:cubicBezTo>
                  <a:pt x="189" y="614"/>
                  <a:pt x="198" y="610"/>
                  <a:pt x="203" y="604"/>
                </a:cubicBezTo>
                <a:cubicBezTo>
                  <a:pt x="207" y="599"/>
                  <a:pt x="205" y="594"/>
                  <a:pt x="198" y="594"/>
                </a:cubicBezTo>
                <a:cubicBezTo>
                  <a:pt x="198" y="594"/>
                  <a:pt x="198" y="594"/>
                  <a:pt x="198" y="594"/>
                </a:cubicBezTo>
                <a:moveTo>
                  <a:pt x="235" y="594"/>
                </a:moveTo>
                <a:cubicBezTo>
                  <a:pt x="228" y="594"/>
                  <a:pt x="218" y="599"/>
                  <a:pt x="214" y="604"/>
                </a:cubicBezTo>
                <a:cubicBezTo>
                  <a:pt x="209" y="610"/>
                  <a:pt x="211" y="614"/>
                  <a:pt x="218" y="614"/>
                </a:cubicBezTo>
                <a:cubicBezTo>
                  <a:pt x="226" y="614"/>
                  <a:pt x="235" y="610"/>
                  <a:pt x="239" y="604"/>
                </a:cubicBezTo>
                <a:cubicBezTo>
                  <a:pt x="244" y="599"/>
                  <a:pt x="242" y="594"/>
                  <a:pt x="235" y="594"/>
                </a:cubicBezTo>
                <a:cubicBezTo>
                  <a:pt x="235" y="594"/>
                  <a:pt x="235" y="594"/>
                  <a:pt x="235" y="594"/>
                </a:cubicBezTo>
                <a:moveTo>
                  <a:pt x="271" y="594"/>
                </a:moveTo>
                <a:cubicBezTo>
                  <a:pt x="264" y="594"/>
                  <a:pt x="255" y="598"/>
                  <a:pt x="250" y="604"/>
                </a:cubicBezTo>
                <a:cubicBezTo>
                  <a:pt x="246" y="610"/>
                  <a:pt x="248" y="614"/>
                  <a:pt x="255" y="614"/>
                </a:cubicBezTo>
                <a:cubicBezTo>
                  <a:pt x="262" y="614"/>
                  <a:pt x="272" y="609"/>
                  <a:pt x="276" y="604"/>
                </a:cubicBezTo>
                <a:cubicBezTo>
                  <a:pt x="281" y="598"/>
                  <a:pt x="278" y="594"/>
                  <a:pt x="271" y="594"/>
                </a:cubicBezTo>
                <a:cubicBezTo>
                  <a:pt x="271" y="594"/>
                  <a:pt x="271" y="594"/>
                  <a:pt x="271" y="594"/>
                </a:cubicBezTo>
                <a:moveTo>
                  <a:pt x="308" y="594"/>
                </a:moveTo>
                <a:cubicBezTo>
                  <a:pt x="301" y="594"/>
                  <a:pt x="291" y="598"/>
                  <a:pt x="287" y="604"/>
                </a:cubicBezTo>
                <a:cubicBezTo>
                  <a:pt x="283" y="609"/>
                  <a:pt x="285" y="614"/>
                  <a:pt x="292" y="614"/>
                </a:cubicBezTo>
                <a:cubicBezTo>
                  <a:pt x="299" y="614"/>
                  <a:pt x="309" y="609"/>
                  <a:pt x="313" y="604"/>
                </a:cubicBezTo>
                <a:cubicBezTo>
                  <a:pt x="317" y="598"/>
                  <a:pt x="315" y="594"/>
                  <a:pt x="308" y="594"/>
                </a:cubicBezTo>
                <a:cubicBezTo>
                  <a:pt x="308" y="594"/>
                  <a:pt x="308" y="594"/>
                  <a:pt x="308" y="594"/>
                </a:cubicBezTo>
                <a:moveTo>
                  <a:pt x="345" y="593"/>
                </a:moveTo>
                <a:cubicBezTo>
                  <a:pt x="338" y="593"/>
                  <a:pt x="328" y="598"/>
                  <a:pt x="324" y="604"/>
                </a:cubicBezTo>
                <a:cubicBezTo>
                  <a:pt x="320" y="609"/>
                  <a:pt x="322" y="614"/>
                  <a:pt x="329" y="614"/>
                </a:cubicBezTo>
                <a:cubicBezTo>
                  <a:pt x="336" y="614"/>
                  <a:pt x="346" y="609"/>
                  <a:pt x="350" y="603"/>
                </a:cubicBezTo>
                <a:cubicBezTo>
                  <a:pt x="354" y="598"/>
                  <a:pt x="352" y="593"/>
                  <a:pt x="345" y="593"/>
                </a:cubicBezTo>
                <a:cubicBezTo>
                  <a:pt x="345" y="593"/>
                  <a:pt x="345" y="593"/>
                  <a:pt x="345" y="593"/>
                </a:cubicBezTo>
                <a:moveTo>
                  <a:pt x="383" y="593"/>
                </a:moveTo>
                <a:cubicBezTo>
                  <a:pt x="375" y="593"/>
                  <a:pt x="366" y="598"/>
                  <a:pt x="362" y="603"/>
                </a:cubicBezTo>
                <a:cubicBezTo>
                  <a:pt x="358" y="609"/>
                  <a:pt x="360" y="613"/>
                  <a:pt x="367" y="613"/>
                </a:cubicBezTo>
                <a:cubicBezTo>
                  <a:pt x="374" y="613"/>
                  <a:pt x="384" y="609"/>
                  <a:pt x="388" y="603"/>
                </a:cubicBezTo>
                <a:cubicBezTo>
                  <a:pt x="392" y="598"/>
                  <a:pt x="390" y="593"/>
                  <a:pt x="383" y="593"/>
                </a:cubicBezTo>
                <a:cubicBezTo>
                  <a:pt x="383" y="593"/>
                  <a:pt x="383" y="593"/>
                  <a:pt x="383" y="593"/>
                </a:cubicBezTo>
                <a:moveTo>
                  <a:pt x="419" y="593"/>
                </a:moveTo>
                <a:cubicBezTo>
                  <a:pt x="412" y="593"/>
                  <a:pt x="403" y="598"/>
                  <a:pt x="399" y="603"/>
                </a:cubicBezTo>
                <a:cubicBezTo>
                  <a:pt x="395" y="609"/>
                  <a:pt x="397" y="613"/>
                  <a:pt x="404" y="613"/>
                </a:cubicBezTo>
                <a:cubicBezTo>
                  <a:pt x="411" y="613"/>
                  <a:pt x="420" y="609"/>
                  <a:pt x="425" y="603"/>
                </a:cubicBezTo>
                <a:cubicBezTo>
                  <a:pt x="429" y="597"/>
                  <a:pt x="426" y="593"/>
                  <a:pt x="419" y="593"/>
                </a:cubicBezTo>
                <a:cubicBezTo>
                  <a:pt x="419" y="593"/>
                  <a:pt x="419" y="593"/>
                  <a:pt x="419" y="593"/>
                </a:cubicBezTo>
                <a:moveTo>
                  <a:pt x="456" y="593"/>
                </a:moveTo>
                <a:cubicBezTo>
                  <a:pt x="449" y="593"/>
                  <a:pt x="440" y="597"/>
                  <a:pt x="436" y="603"/>
                </a:cubicBezTo>
                <a:cubicBezTo>
                  <a:pt x="432" y="609"/>
                  <a:pt x="434" y="613"/>
                  <a:pt x="441" y="613"/>
                </a:cubicBezTo>
                <a:cubicBezTo>
                  <a:pt x="448" y="613"/>
                  <a:pt x="457" y="608"/>
                  <a:pt x="461" y="603"/>
                </a:cubicBezTo>
                <a:cubicBezTo>
                  <a:pt x="465" y="597"/>
                  <a:pt x="463" y="593"/>
                  <a:pt x="456" y="593"/>
                </a:cubicBezTo>
                <a:cubicBezTo>
                  <a:pt x="456" y="593"/>
                  <a:pt x="456" y="593"/>
                  <a:pt x="456" y="593"/>
                </a:cubicBezTo>
                <a:moveTo>
                  <a:pt x="493" y="593"/>
                </a:moveTo>
                <a:cubicBezTo>
                  <a:pt x="486" y="593"/>
                  <a:pt x="477" y="597"/>
                  <a:pt x="473" y="603"/>
                </a:cubicBezTo>
                <a:cubicBezTo>
                  <a:pt x="469" y="608"/>
                  <a:pt x="471" y="613"/>
                  <a:pt x="479" y="613"/>
                </a:cubicBezTo>
                <a:cubicBezTo>
                  <a:pt x="486" y="613"/>
                  <a:pt x="495" y="608"/>
                  <a:pt x="499" y="603"/>
                </a:cubicBezTo>
                <a:cubicBezTo>
                  <a:pt x="503" y="597"/>
                  <a:pt x="500" y="593"/>
                  <a:pt x="493" y="593"/>
                </a:cubicBezTo>
                <a:cubicBezTo>
                  <a:pt x="493" y="593"/>
                  <a:pt x="493" y="593"/>
                  <a:pt x="493" y="593"/>
                </a:cubicBezTo>
                <a:moveTo>
                  <a:pt x="529" y="592"/>
                </a:moveTo>
                <a:cubicBezTo>
                  <a:pt x="522" y="592"/>
                  <a:pt x="513" y="597"/>
                  <a:pt x="510" y="602"/>
                </a:cubicBezTo>
                <a:cubicBezTo>
                  <a:pt x="506" y="608"/>
                  <a:pt x="508" y="613"/>
                  <a:pt x="515" y="613"/>
                </a:cubicBezTo>
                <a:cubicBezTo>
                  <a:pt x="522" y="613"/>
                  <a:pt x="531" y="608"/>
                  <a:pt x="535" y="602"/>
                </a:cubicBezTo>
                <a:cubicBezTo>
                  <a:pt x="539" y="597"/>
                  <a:pt x="537" y="592"/>
                  <a:pt x="530" y="592"/>
                </a:cubicBezTo>
                <a:cubicBezTo>
                  <a:pt x="530" y="592"/>
                  <a:pt x="530" y="592"/>
                  <a:pt x="529" y="592"/>
                </a:cubicBezTo>
                <a:moveTo>
                  <a:pt x="566" y="592"/>
                </a:moveTo>
                <a:cubicBezTo>
                  <a:pt x="559" y="592"/>
                  <a:pt x="550" y="597"/>
                  <a:pt x="546" y="602"/>
                </a:cubicBezTo>
                <a:cubicBezTo>
                  <a:pt x="542" y="608"/>
                  <a:pt x="545" y="612"/>
                  <a:pt x="552" y="612"/>
                </a:cubicBezTo>
                <a:cubicBezTo>
                  <a:pt x="559" y="612"/>
                  <a:pt x="568" y="608"/>
                  <a:pt x="572" y="602"/>
                </a:cubicBezTo>
                <a:cubicBezTo>
                  <a:pt x="576" y="597"/>
                  <a:pt x="573" y="592"/>
                  <a:pt x="566" y="592"/>
                </a:cubicBezTo>
                <a:cubicBezTo>
                  <a:pt x="566" y="592"/>
                  <a:pt x="566" y="592"/>
                  <a:pt x="566" y="592"/>
                </a:cubicBezTo>
                <a:moveTo>
                  <a:pt x="603" y="592"/>
                </a:moveTo>
                <a:cubicBezTo>
                  <a:pt x="596" y="592"/>
                  <a:pt x="587" y="596"/>
                  <a:pt x="583" y="602"/>
                </a:cubicBezTo>
                <a:cubicBezTo>
                  <a:pt x="579" y="608"/>
                  <a:pt x="582" y="612"/>
                  <a:pt x="589" y="612"/>
                </a:cubicBezTo>
                <a:cubicBezTo>
                  <a:pt x="596" y="612"/>
                  <a:pt x="605" y="608"/>
                  <a:pt x="609" y="602"/>
                </a:cubicBezTo>
                <a:cubicBezTo>
                  <a:pt x="612" y="596"/>
                  <a:pt x="610" y="592"/>
                  <a:pt x="603" y="592"/>
                </a:cubicBezTo>
                <a:cubicBezTo>
                  <a:pt x="603" y="592"/>
                  <a:pt x="603" y="592"/>
                  <a:pt x="603" y="592"/>
                </a:cubicBezTo>
                <a:moveTo>
                  <a:pt x="639" y="592"/>
                </a:moveTo>
                <a:cubicBezTo>
                  <a:pt x="632" y="592"/>
                  <a:pt x="624" y="596"/>
                  <a:pt x="620" y="602"/>
                </a:cubicBezTo>
                <a:cubicBezTo>
                  <a:pt x="616" y="607"/>
                  <a:pt x="619" y="612"/>
                  <a:pt x="626" y="612"/>
                </a:cubicBezTo>
                <a:cubicBezTo>
                  <a:pt x="633" y="612"/>
                  <a:pt x="642" y="607"/>
                  <a:pt x="646" y="602"/>
                </a:cubicBezTo>
                <a:cubicBezTo>
                  <a:pt x="649" y="596"/>
                  <a:pt x="647" y="592"/>
                  <a:pt x="640" y="592"/>
                </a:cubicBezTo>
                <a:cubicBezTo>
                  <a:pt x="640" y="592"/>
                  <a:pt x="639" y="592"/>
                  <a:pt x="639" y="592"/>
                </a:cubicBezTo>
                <a:moveTo>
                  <a:pt x="677" y="591"/>
                </a:moveTo>
                <a:cubicBezTo>
                  <a:pt x="669" y="591"/>
                  <a:pt x="661" y="596"/>
                  <a:pt x="657" y="602"/>
                </a:cubicBezTo>
                <a:cubicBezTo>
                  <a:pt x="653" y="607"/>
                  <a:pt x="656" y="612"/>
                  <a:pt x="663" y="612"/>
                </a:cubicBezTo>
                <a:cubicBezTo>
                  <a:pt x="671" y="612"/>
                  <a:pt x="679" y="607"/>
                  <a:pt x="683" y="601"/>
                </a:cubicBezTo>
                <a:cubicBezTo>
                  <a:pt x="686" y="596"/>
                  <a:pt x="684" y="591"/>
                  <a:pt x="677" y="591"/>
                </a:cubicBezTo>
                <a:cubicBezTo>
                  <a:pt x="677" y="591"/>
                  <a:pt x="677" y="591"/>
                  <a:pt x="677" y="591"/>
                </a:cubicBezTo>
                <a:moveTo>
                  <a:pt x="713" y="591"/>
                </a:moveTo>
                <a:cubicBezTo>
                  <a:pt x="706" y="591"/>
                  <a:pt x="697" y="596"/>
                  <a:pt x="694" y="601"/>
                </a:cubicBezTo>
                <a:cubicBezTo>
                  <a:pt x="690" y="607"/>
                  <a:pt x="693" y="612"/>
                  <a:pt x="700" y="611"/>
                </a:cubicBezTo>
                <a:cubicBezTo>
                  <a:pt x="707" y="611"/>
                  <a:pt x="716" y="607"/>
                  <a:pt x="720" y="601"/>
                </a:cubicBezTo>
                <a:cubicBezTo>
                  <a:pt x="723" y="596"/>
                  <a:pt x="720" y="591"/>
                  <a:pt x="713" y="591"/>
                </a:cubicBezTo>
                <a:cubicBezTo>
                  <a:pt x="713" y="591"/>
                  <a:pt x="713" y="591"/>
                  <a:pt x="713" y="591"/>
                </a:cubicBezTo>
                <a:moveTo>
                  <a:pt x="750" y="591"/>
                </a:moveTo>
                <a:cubicBezTo>
                  <a:pt x="743" y="591"/>
                  <a:pt x="734" y="596"/>
                  <a:pt x="731" y="601"/>
                </a:cubicBezTo>
                <a:cubicBezTo>
                  <a:pt x="727" y="607"/>
                  <a:pt x="730" y="611"/>
                  <a:pt x="737" y="611"/>
                </a:cubicBezTo>
                <a:cubicBezTo>
                  <a:pt x="744" y="611"/>
                  <a:pt x="753" y="607"/>
                  <a:pt x="756" y="601"/>
                </a:cubicBezTo>
                <a:cubicBezTo>
                  <a:pt x="760" y="595"/>
                  <a:pt x="757" y="591"/>
                  <a:pt x="750" y="591"/>
                </a:cubicBezTo>
                <a:cubicBezTo>
                  <a:pt x="750" y="591"/>
                  <a:pt x="750" y="591"/>
                  <a:pt x="750" y="591"/>
                </a:cubicBezTo>
                <a:moveTo>
                  <a:pt x="785" y="591"/>
                </a:moveTo>
                <a:cubicBezTo>
                  <a:pt x="778" y="591"/>
                  <a:pt x="770" y="595"/>
                  <a:pt x="766" y="601"/>
                </a:cubicBezTo>
                <a:cubicBezTo>
                  <a:pt x="763" y="607"/>
                  <a:pt x="766" y="611"/>
                  <a:pt x="773" y="611"/>
                </a:cubicBezTo>
                <a:cubicBezTo>
                  <a:pt x="780" y="611"/>
                  <a:pt x="789" y="606"/>
                  <a:pt x="792" y="601"/>
                </a:cubicBezTo>
                <a:cubicBezTo>
                  <a:pt x="795" y="595"/>
                  <a:pt x="792" y="591"/>
                  <a:pt x="785" y="591"/>
                </a:cubicBezTo>
                <a:cubicBezTo>
                  <a:pt x="785" y="591"/>
                  <a:pt x="785" y="591"/>
                  <a:pt x="785" y="591"/>
                </a:cubicBezTo>
                <a:moveTo>
                  <a:pt x="2248" y="582"/>
                </a:moveTo>
                <a:cubicBezTo>
                  <a:pt x="2241" y="582"/>
                  <a:pt x="2234" y="586"/>
                  <a:pt x="2234" y="592"/>
                </a:cubicBezTo>
                <a:cubicBezTo>
                  <a:pt x="2233" y="598"/>
                  <a:pt x="2239" y="602"/>
                  <a:pt x="2246" y="602"/>
                </a:cubicBezTo>
                <a:cubicBezTo>
                  <a:pt x="2253" y="602"/>
                  <a:pt x="2259" y="597"/>
                  <a:pt x="2260" y="592"/>
                </a:cubicBezTo>
                <a:cubicBezTo>
                  <a:pt x="2260" y="586"/>
                  <a:pt x="2255" y="582"/>
                  <a:pt x="2248" y="582"/>
                </a:cubicBezTo>
                <a:cubicBezTo>
                  <a:pt x="2248" y="582"/>
                  <a:pt x="2248" y="582"/>
                  <a:pt x="2248" y="582"/>
                </a:cubicBezTo>
                <a:moveTo>
                  <a:pt x="1921" y="581"/>
                </a:moveTo>
                <a:cubicBezTo>
                  <a:pt x="1914" y="581"/>
                  <a:pt x="1907" y="586"/>
                  <a:pt x="1906" y="591"/>
                </a:cubicBezTo>
                <a:cubicBezTo>
                  <a:pt x="1905" y="597"/>
                  <a:pt x="1910" y="601"/>
                  <a:pt x="1917" y="601"/>
                </a:cubicBezTo>
                <a:cubicBezTo>
                  <a:pt x="1924" y="601"/>
                  <a:pt x="1931" y="597"/>
                  <a:pt x="1932" y="591"/>
                </a:cubicBezTo>
                <a:cubicBezTo>
                  <a:pt x="1933" y="585"/>
                  <a:pt x="1928" y="581"/>
                  <a:pt x="1921" y="581"/>
                </a:cubicBezTo>
                <a:cubicBezTo>
                  <a:pt x="1921" y="581"/>
                  <a:pt x="1921" y="581"/>
                  <a:pt x="1921" y="581"/>
                </a:cubicBezTo>
                <a:moveTo>
                  <a:pt x="1957" y="581"/>
                </a:moveTo>
                <a:cubicBezTo>
                  <a:pt x="1950" y="581"/>
                  <a:pt x="1944" y="585"/>
                  <a:pt x="1942" y="591"/>
                </a:cubicBezTo>
                <a:cubicBezTo>
                  <a:pt x="1941" y="597"/>
                  <a:pt x="1946" y="601"/>
                  <a:pt x="1953" y="601"/>
                </a:cubicBezTo>
                <a:cubicBezTo>
                  <a:pt x="1960" y="601"/>
                  <a:pt x="1967" y="596"/>
                  <a:pt x="1968" y="591"/>
                </a:cubicBezTo>
                <a:cubicBezTo>
                  <a:pt x="1969" y="585"/>
                  <a:pt x="1964" y="581"/>
                  <a:pt x="1957" y="581"/>
                </a:cubicBezTo>
                <a:cubicBezTo>
                  <a:pt x="1957" y="581"/>
                  <a:pt x="1957" y="581"/>
                  <a:pt x="1957" y="581"/>
                </a:cubicBezTo>
                <a:moveTo>
                  <a:pt x="1994" y="580"/>
                </a:moveTo>
                <a:cubicBezTo>
                  <a:pt x="1987" y="581"/>
                  <a:pt x="1980" y="585"/>
                  <a:pt x="1979" y="591"/>
                </a:cubicBezTo>
                <a:cubicBezTo>
                  <a:pt x="1978" y="596"/>
                  <a:pt x="1983" y="601"/>
                  <a:pt x="1990" y="601"/>
                </a:cubicBezTo>
                <a:cubicBezTo>
                  <a:pt x="1997" y="601"/>
                  <a:pt x="2004" y="596"/>
                  <a:pt x="2005" y="591"/>
                </a:cubicBezTo>
                <a:cubicBezTo>
                  <a:pt x="2006" y="585"/>
                  <a:pt x="2001" y="580"/>
                  <a:pt x="1994" y="580"/>
                </a:cubicBezTo>
                <a:cubicBezTo>
                  <a:pt x="1994" y="580"/>
                  <a:pt x="1994" y="580"/>
                  <a:pt x="1994" y="580"/>
                </a:cubicBezTo>
                <a:moveTo>
                  <a:pt x="2397" y="579"/>
                </a:moveTo>
                <a:cubicBezTo>
                  <a:pt x="2390" y="579"/>
                  <a:pt x="2384" y="583"/>
                  <a:pt x="2384" y="589"/>
                </a:cubicBezTo>
                <a:cubicBezTo>
                  <a:pt x="2384" y="595"/>
                  <a:pt x="2389" y="599"/>
                  <a:pt x="2396" y="599"/>
                </a:cubicBezTo>
                <a:cubicBezTo>
                  <a:pt x="2404" y="599"/>
                  <a:pt x="2409" y="594"/>
                  <a:pt x="2410" y="589"/>
                </a:cubicBezTo>
                <a:cubicBezTo>
                  <a:pt x="2410" y="583"/>
                  <a:pt x="2404" y="579"/>
                  <a:pt x="2397" y="579"/>
                </a:cubicBezTo>
                <a:cubicBezTo>
                  <a:pt x="2397" y="579"/>
                  <a:pt x="2397" y="579"/>
                  <a:pt x="2397" y="579"/>
                </a:cubicBezTo>
                <a:moveTo>
                  <a:pt x="2470" y="578"/>
                </a:moveTo>
                <a:cubicBezTo>
                  <a:pt x="2463" y="578"/>
                  <a:pt x="2457" y="583"/>
                  <a:pt x="2457" y="588"/>
                </a:cubicBezTo>
                <a:cubicBezTo>
                  <a:pt x="2457" y="594"/>
                  <a:pt x="2463" y="599"/>
                  <a:pt x="2470" y="599"/>
                </a:cubicBezTo>
                <a:cubicBezTo>
                  <a:pt x="2477" y="599"/>
                  <a:pt x="2483" y="594"/>
                  <a:pt x="2483" y="588"/>
                </a:cubicBezTo>
                <a:cubicBezTo>
                  <a:pt x="2483" y="583"/>
                  <a:pt x="2477" y="578"/>
                  <a:pt x="2470" y="578"/>
                </a:cubicBezTo>
                <a:cubicBezTo>
                  <a:pt x="2470" y="578"/>
                  <a:pt x="2470" y="578"/>
                  <a:pt x="2470" y="578"/>
                </a:cubicBezTo>
                <a:moveTo>
                  <a:pt x="2506" y="578"/>
                </a:moveTo>
                <a:cubicBezTo>
                  <a:pt x="2499" y="578"/>
                  <a:pt x="2493" y="583"/>
                  <a:pt x="2493" y="588"/>
                </a:cubicBezTo>
                <a:cubicBezTo>
                  <a:pt x="2493" y="594"/>
                  <a:pt x="2499" y="598"/>
                  <a:pt x="2506" y="598"/>
                </a:cubicBezTo>
                <a:cubicBezTo>
                  <a:pt x="2513" y="598"/>
                  <a:pt x="2519" y="594"/>
                  <a:pt x="2519" y="588"/>
                </a:cubicBezTo>
                <a:cubicBezTo>
                  <a:pt x="2519" y="582"/>
                  <a:pt x="2513" y="578"/>
                  <a:pt x="2506" y="578"/>
                </a:cubicBezTo>
                <a:cubicBezTo>
                  <a:pt x="2506" y="578"/>
                  <a:pt x="2506" y="578"/>
                  <a:pt x="2506" y="578"/>
                </a:cubicBezTo>
                <a:moveTo>
                  <a:pt x="2543" y="578"/>
                </a:moveTo>
                <a:cubicBezTo>
                  <a:pt x="2536" y="578"/>
                  <a:pt x="2530" y="582"/>
                  <a:pt x="2530" y="588"/>
                </a:cubicBezTo>
                <a:cubicBezTo>
                  <a:pt x="2530" y="594"/>
                  <a:pt x="2536" y="598"/>
                  <a:pt x="2543" y="598"/>
                </a:cubicBezTo>
                <a:cubicBezTo>
                  <a:pt x="2550" y="598"/>
                  <a:pt x="2556" y="594"/>
                  <a:pt x="2556" y="588"/>
                </a:cubicBezTo>
                <a:cubicBezTo>
                  <a:pt x="2556" y="582"/>
                  <a:pt x="2550" y="578"/>
                  <a:pt x="2543" y="578"/>
                </a:cubicBezTo>
                <a:cubicBezTo>
                  <a:pt x="2543" y="578"/>
                  <a:pt x="2543" y="578"/>
                  <a:pt x="2543" y="578"/>
                </a:cubicBezTo>
                <a:moveTo>
                  <a:pt x="2617" y="578"/>
                </a:moveTo>
                <a:cubicBezTo>
                  <a:pt x="2610" y="578"/>
                  <a:pt x="2605" y="582"/>
                  <a:pt x="2605" y="588"/>
                </a:cubicBezTo>
                <a:cubicBezTo>
                  <a:pt x="2605" y="594"/>
                  <a:pt x="2611" y="598"/>
                  <a:pt x="2618" y="598"/>
                </a:cubicBezTo>
                <a:cubicBezTo>
                  <a:pt x="2625" y="598"/>
                  <a:pt x="2631" y="593"/>
                  <a:pt x="2630" y="588"/>
                </a:cubicBezTo>
                <a:cubicBezTo>
                  <a:pt x="2630" y="582"/>
                  <a:pt x="2624" y="578"/>
                  <a:pt x="2617" y="578"/>
                </a:cubicBezTo>
                <a:cubicBezTo>
                  <a:pt x="2617" y="578"/>
                  <a:pt x="2617" y="578"/>
                  <a:pt x="2617" y="578"/>
                </a:cubicBezTo>
                <a:moveTo>
                  <a:pt x="2580" y="578"/>
                </a:moveTo>
                <a:cubicBezTo>
                  <a:pt x="2573" y="578"/>
                  <a:pt x="2567" y="582"/>
                  <a:pt x="2567" y="588"/>
                </a:cubicBezTo>
                <a:cubicBezTo>
                  <a:pt x="2567" y="593"/>
                  <a:pt x="2573" y="598"/>
                  <a:pt x="2580" y="598"/>
                </a:cubicBezTo>
                <a:cubicBezTo>
                  <a:pt x="2588" y="598"/>
                  <a:pt x="2593" y="593"/>
                  <a:pt x="2593" y="588"/>
                </a:cubicBezTo>
                <a:cubicBezTo>
                  <a:pt x="2593" y="582"/>
                  <a:pt x="2587" y="578"/>
                  <a:pt x="2580" y="578"/>
                </a:cubicBezTo>
                <a:cubicBezTo>
                  <a:pt x="2580" y="578"/>
                  <a:pt x="2580" y="578"/>
                  <a:pt x="2580" y="578"/>
                </a:cubicBezTo>
                <a:moveTo>
                  <a:pt x="2762" y="577"/>
                </a:moveTo>
                <a:cubicBezTo>
                  <a:pt x="2755" y="577"/>
                  <a:pt x="2750" y="582"/>
                  <a:pt x="2750" y="588"/>
                </a:cubicBezTo>
                <a:cubicBezTo>
                  <a:pt x="2751" y="593"/>
                  <a:pt x="2757" y="598"/>
                  <a:pt x="2764" y="598"/>
                </a:cubicBezTo>
                <a:cubicBezTo>
                  <a:pt x="2771" y="598"/>
                  <a:pt x="2776" y="593"/>
                  <a:pt x="2776" y="588"/>
                </a:cubicBezTo>
                <a:cubicBezTo>
                  <a:pt x="2775" y="582"/>
                  <a:pt x="2769" y="577"/>
                  <a:pt x="2762" y="577"/>
                </a:cubicBezTo>
                <a:cubicBezTo>
                  <a:pt x="2762" y="577"/>
                  <a:pt x="2762" y="577"/>
                  <a:pt x="2762" y="577"/>
                </a:cubicBezTo>
                <a:moveTo>
                  <a:pt x="2799" y="577"/>
                </a:moveTo>
                <a:cubicBezTo>
                  <a:pt x="2792" y="577"/>
                  <a:pt x="2787" y="582"/>
                  <a:pt x="2787" y="587"/>
                </a:cubicBezTo>
                <a:cubicBezTo>
                  <a:pt x="2788" y="593"/>
                  <a:pt x="2794" y="598"/>
                  <a:pt x="2801" y="598"/>
                </a:cubicBezTo>
                <a:cubicBezTo>
                  <a:pt x="2808" y="598"/>
                  <a:pt x="2813" y="593"/>
                  <a:pt x="2813" y="587"/>
                </a:cubicBezTo>
                <a:cubicBezTo>
                  <a:pt x="2812" y="582"/>
                  <a:pt x="2806" y="577"/>
                  <a:pt x="2799" y="577"/>
                </a:cubicBezTo>
                <a:cubicBezTo>
                  <a:pt x="2799" y="577"/>
                  <a:pt x="2799" y="577"/>
                  <a:pt x="2799" y="577"/>
                </a:cubicBezTo>
                <a:moveTo>
                  <a:pt x="2833" y="577"/>
                </a:moveTo>
                <a:cubicBezTo>
                  <a:pt x="2826" y="577"/>
                  <a:pt x="2821" y="582"/>
                  <a:pt x="2822" y="587"/>
                </a:cubicBezTo>
                <a:cubicBezTo>
                  <a:pt x="2822" y="593"/>
                  <a:pt x="2829" y="597"/>
                  <a:pt x="2836" y="597"/>
                </a:cubicBezTo>
                <a:cubicBezTo>
                  <a:pt x="2843" y="597"/>
                  <a:pt x="2848" y="593"/>
                  <a:pt x="2847" y="587"/>
                </a:cubicBezTo>
                <a:cubicBezTo>
                  <a:pt x="2847" y="581"/>
                  <a:pt x="2840" y="577"/>
                  <a:pt x="2833" y="577"/>
                </a:cubicBezTo>
                <a:cubicBezTo>
                  <a:pt x="2833" y="577"/>
                  <a:pt x="2833" y="577"/>
                  <a:pt x="2833" y="577"/>
                </a:cubicBezTo>
                <a:moveTo>
                  <a:pt x="2870" y="577"/>
                </a:moveTo>
                <a:cubicBezTo>
                  <a:pt x="2862" y="577"/>
                  <a:pt x="2857" y="581"/>
                  <a:pt x="2858" y="587"/>
                </a:cubicBezTo>
                <a:cubicBezTo>
                  <a:pt x="2859" y="593"/>
                  <a:pt x="2865" y="597"/>
                  <a:pt x="2872" y="597"/>
                </a:cubicBezTo>
                <a:cubicBezTo>
                  <a:pt x="2879" y="597"/>
                  <a:pt x="2885" y="593"/>
                  <a:pt x="2884" y="587"/>
                </a:cubicBezTo>
                <a:cubicBezTo>
                  <a:pt x="2883" y="581"/>
                  <a:pt x="2877" y="577"/>
                  <a:pt x="2870" y="577"/>
                </a:cubicBezTo>
                <a:cubicBezTo>
                  <a:pt x="2870" y="577"/>
                  <a:pt x="2870" y="577"/>
                  <a:pt x="2870" y="577"/>
                </a:cubicBezTo>
                <a:moveTo>
                  <a:pt x="2653" y="577"/>
                </a:moveTo>
                <a:cubicBezTo>
                  <a:pt x="2646" y="577"/>
                  <a:pt x="2641" y="581"/>
                  <a:pt x="2641" y="587"/>
                </a:cubicBezTo>
                <a:cubicBezTo>
                  <a:pt x="2641" y="593"/>
                  <a:pt x="2647" y="597"/>
                  <a:pt x="2655" y="597"/>
                </a:cubicBezTo>
                <a:cubicBezTo>
                  <a:pt x="2662" y="597"/>
                  <a:pt x="2667" y="592"/>
                  <a:pt x="2667" y="587"/>
                </a:cubicBezTo>
                <a:cubicBezTo>
                  <a:pt x="2666" y="581"/>
                  <a:pt x="2661" y="577"/>
                  <a:pt x="2653" y="577"/>
                </a:cubicBezTo>
                <a:cubicBezTo>
                  <a:pt x="2653" y="577"/>
                  <a:pt x="2653" y="577"/>
                  <a:pt x="2653" y="577"/>
                </a:cubicBezTo>
                <a:moveTo>
                  <a:pt x="2906" y="577"/>
                </a:moveTo>
                <a:cubicBezTo>
                  <a:pt x="2899" y="577"/>
                  <a:pt x="2894" y="581"/>
                  <a:pt x="2895" y="587"/>
                </a:cubicBezTo>
                <a:cubicBezTo>
                  <a:pt x="2896" y="592"/>
                  <a:pt x="2902" y="597"/>
                  <a:pt x="2909" y="597"/>
                </a:cubicBezTo>
                <a:cubicBezTo>
                  <a:pt x="2916" y="597"/>
                  <a:pt x="2921" y="592"/>
                  <a:pt x="2921" y="587"/>
                </a:cubicBezTo>
                <a:cubicBezTo>
                  <a:pt x="2920" y="581"/>
                  <a:pt x="2913" y="577"/>
                  <a:pt x="2906" y="577"/>
                </a:cubicBezTo>
                <a:cubicBezTo>
                  <a:pt x="2906" y="577"/>
                  <a:pt x="2906" y="577"/>
                  <a:pt x="2906" y="577"/>
                </a:cubicBezTo>
                <a:moveTo>
                  <a:pt x="2689" y="576"/>
                </a:moveTo>
                <a:cubicBezTo>
                  <a:pt x="2682" y="576"/>
                  <a:pt x="2677" y="581"/>
                  <a:pt x="2677" y="587"/>
                </a:cubicBezTo>
                <a:cubicBezTo>
                  <a:pt x="2678" y="592"/>
                  <a:pt x="2684" y="597"/>
                  <a:pt x="2691" y="597"/>
                </a:cubicBezTo>
                <a:cubicBezTo>
                  <a:pt x="2698" y="597"/>
                  <a:pt x="2703" y="592"/>
                  <a:pt x="2703" y="587"/>
                </a:cubicBezTo>
                <a:cubicBezTo>
                  <a:pt x="2703" y="581"/>
                  <a:pt x="2697" y="576"/>
                  <a:pt x="2689" y="576"/>
                </a:cubicBezTo>
                <a:cubicBezTo>
                  <a:pt x="2689" y="576"/>
                  <a:pt x="2689" y="576"/>
                  <a:pt x="2689" y="576"/>
                </a:cubicBezTo>
                <a:moveTo>
                  <a:pt x="2943" y="576"/>
                </a:moveTo>
                <a:cubicBezTo>
                  <a:pt x="2936" y="576"/>
                  <a:pt x="2931" y="581"/>
                  <a:pt x="2932" y="587"/>
                </a:cubicBezTo>
                <a:cubicBezTo>
                  <a:pt x="2933" y="592"/>
                  <a:pt x="2939" y="597"/>
                  <a:pt x="2946" y="597"/>
                </a:cubicBezTo>
                <a:cubicBezTo>
                  <a:pt x="2953" y="597"/>
                  <a:pt x="2958" y="592"/>
                  <a:pt x="2958" y="586"/>
                </a:cubicBezTo>
                <a:cubicBezTo>
                  <a:pt x="2957" y="581"/>
                  <a:pt x="2950" y="576"/>
                  <a:pt x="2943" y="576"/>
                </a:cubicBezTo>
                <a:cubicBezTo>
                  <a:pt x="2943" y="576"/>
                  <a:pt x="2943" y="576"/>
                  <a:pt x="2943" y="576"/>
                </a:cubicBezTo>
                <a:moveTo>
                  <a:pt x="2726" y="576"/>
                </a:moveTo>
                <a:cubicBezTo>
                  <a:pt x="2719" y="576"/>
                  <a:pt x="2713" y="581"/>
                  <a:pt x="2714" y="587"/>
                </a:cubicBezTo>
                <a:cubicBezTo>
                  <a:pt x="2714" y="592"/>
                  <a:pt x="2720" y="597"/>
                  <a:pt x="2727" y="597"/>
                </a:cubicBezTo>
                <a:cubicBezTo>
                  <a:pt x="2734" y="597"/>
                  <a:pt x="2740" y="592"/>
                  <a:pt x="2739" y="586"/>
                </a:cubicBezTo>
                <a:cubicBezTo>
                  <a:pt x="2739" y="581"/>
                  <a:pt x="2733" y="576"/>
                  <a:pt x="2726" y="576"/>
                </a:cubicBezTo>
                <a:cubicBezTo>
                  <a:pt x="2726" y="576"/>
                  <a:pt x="2726" y="576"/>
                  <a:pt x="2726" y="576"/>
                </a:cubicBezTo>
                <a:moveTo>
                  <a:pt x="2979" y="576"/>
                </a:moveTo>
                <a:cubicBezTo>
                  <a:pt x="2972" y="576"/>
                  <a:pt x="2967" y="581"/>
                  <a:pt x="2968" y="586"/>
                </a:cubicBezTo>
                <a:cubicBezTo>
                  <a:pt x="2969" y="592"/>
                  <a:pt x="2976" y="597"/>
                  <a:pt x="2983" y="597"/>
                </a:cubicBezTo>
                <a:cubicBezTo>
                  <a:pt x="2990" y="597"/>
                  <a:pt x="2995" y="592"/>
                  <a:pt x="2994" y="586"/>
                </a:cubicBezTo>
                <a:cubicBezTo>
                  <a:pt x="2993" y="581"/>
                  <a:pt x="2986" y="576"/>
                  <a:pt x="2979" y="576"/>
                </a:cubicBezTo>
                <a:cubicBezTo>
                  <a:pt x="2979" y="576"/>
                  <a:pt x="2979" y="576"/>
                  <a:pt x="2979" y="576"/>
                </a:cubicBezTo>
                <a:moveTo>
                  <a:pt x="3016" y="576"/>
                </a:moveTo>
                <a:cubicBezTo>
                  <a:pt x="3009" y="576"/>
                  <a:pt x="3004" y="581"/>
                  <a:pt x="3005" y="586"/>
                </a:cubicBezTo>
                <a:cubicBezTo>
                  <a:pt x="3006" y="592"/>
                  <a:pt x="3013" y="596"/>
                  <a:pt x="3020" y="596"/>
                </a:cubicBezTo>
                <a:cubicBezTo>
                  <a:pt x="3027" y="596"/>
                  <a:pt x="3032" y="592"/>
                  <a:pt x="3031" y="586"/>
                </a:cubicBezTo>
                <a:cubicBezTo>
                  <a:pt x="3030" y="580"/>
                  <a:pt x="3023" y="576"/>
                  <a:pt x="3016" y="576"/>
                </a:cubicBezTo>
                <a:cubicBezTo>
                  <a:pt x="3016" y="576"/>
                  <a:pt x="3016" y="576"/>
                  <a:pt x="3016" y="576"/>
                </a:cubicBezTo>
                <a:moveTo>
                  <a:pt x="3052" y="576"/>
                </a:moveTo>
                <a:cubicBezTo>
                  <a:pt x="3045" y="576"/>
                  <a:pt x="3040" y="580"/>
                  <a:pt x="3041" y="586"/>
                </a:cubicBezTo>
                <a:cubicBezTo>
                  <a:pt x="3042" y="592"/>
                  <a:pt x="3049" y="596"/>
                  <a:pt x="3056" y="596"/>
                </a:cubicBezTo>
                <a:cubicBezTo>
                  <a:pt x="3063" y="596"/>
                  <a:pt x="3068" y="591"/>
                  <a:pt x="3067" y="586"/>
                </a:cubicBezTo>
                <a:cubicBezTo>
                  <a:pt x="3066" y="580"/>
                  <a:pt x="3059" y="576"/>
                  <a:pt x="3052" y="576"/>
                </a:cubicBezTo>
                <a:cubicBezTo>
                  <a:pt x="3052" y="576"/>
                  <a:pt x="3052" y="576"/>
                  <a:pt x="3052" y="576"/>
                </a:cubicBezTo>
                <a:moveTo>
                  <a:pt x="3089" y="575"/>
                </a:moveTo>
                <a:cubicBezTo>
                  <a:pt x="3082" y="575"/>
                  <a:pt x="3077" y="580"/>
                  <a:pt x="3078" y="586"/>
                </a:cubicBezTo>
                <a:cubicBezTo>
                  <a:pt x="3079" y="591"/>
                  <a:pt x="3086" y="596"/>
                  <a:pt x="3093" y="596"/>
                </a:cubicBezTo>
                <a:cubicBezTo>
                  <a:pt x="3100" y="596"/>
                  <a:pt x="3105" y="591"/>
                  <a:pt x="3104" y="586"/>
                </a:cubicBezTo>
                <a:cubicBezTo>
                  <a:pt x="3102" y="580"/>
                  <a:pt x="3096" y="575"/>
                  <a:pt x="3089" y="575"/>
                </a:cubicBezTo>
                <a:cubicBezTo>
                  <a:pt x="3089" y="575"/>
                  <a:pt x="3089" y="575"/>
                  <a:pt x="3089" y="575"/>
                </a:cubicBezTo>
                <a:moveTo>
                  <a:pt x="3126" y="575"/>
                </a:moveTo>
                <a:cubicBezTo>
                  <a:pt x="3119" y="575"/>
                  <a:pt x="3115" y="580"/>
                  <a:pt x="3116" y="586"/>
                </a:cubicBezTo>
                <a:cubicBezTo>
                  <a:pt x="3117" y="591"/>
                  <a:pt x="3124" y="596"/>
                  <a:pt x="3131" y="596"/>
                </a:cubicBezTo>
                <a:cubicBezTo>
                  <a:pt x="3138" y="596"/>
                  <a:pt x="3143" y="591"/>
                  <a:pt x="3141" y="585"/>
                </a:cubicBezTo>
                <a:cubicBezTo>
                  <a:pt x="3140" y="580"/>
                  <a:pt x="3133" y="575"/>
                  <a:pt x="3126" y="575"/>
                </a:cubicBezTo>
                <a:cubicBezTo>
                  <a:pt x="3126" y="575"/>
                  <a:pt x="3126" y="575"/>
                  <a:pt x="3126" y="575"/>
                </a:cubicBezTo>
                <a:moveTo>
                  <a:pt x="3163" y="575"/>
                </a:moveTo>
                <a:cubicBezTo>
                  <a:pt x="3156" y="575"/>
                  <a:pt x="3151" y="580"/>
                  <a:pt x="3152" y="585"/>
                </a:cubicBezTo>
                <a:cubicBezTo>
                  <a:pt x="3154" y="591"/>
                  <a:pt x="3160" y="596"/>
                  <a:pt x="3168" y="595"/>
                </a:cubicBezTo>
                <a:cubicBezTo>
                  <a:pt x="3175" y="595"/>
                  <a:pt x="3179" y="591"/>
                  <a:pt x="3178" y="585"/>
                </a:cubicBezTo>
                <a:cubicBezTo>
                  <a:pt x="3177" y="579"/>
                  <a:pt x="3170" y="575"/>
                  <a:pt x="3163" y="575"/>
                </a:cubicBezTo>
                <a:cubicBezTo>
                  <a:pt x="3163" y="575"/>
                  <a:pt x="3163" y="575"/>
                  <a:pt x="3163" y="575"/>
                </a:cubicBezTo>
                <a:moveTo>
                  <a:pt x="3199" y="575"/>
                </a:moveTo>
                <a:cubicBezTo>
                  <a:pt x="3192" y="575"/>
                  <a:pt x="3188" y="579"/>
                  <a:pt x="3189" y="585"/>
                </a:cubicBezTo>
                <a:cubicBezTo>
                  <a:pt x="3190" y="591"/>
                  <a:pt x="3197" y="595"/>
                  <a:pt x="3204" y="595"/>
                </a:cubicBezTo>
                <a:cubicBezTo>
                  <a:pt x="3211" y="595"/>
                  <a:pt x="3216" y="591"/>
                  <a:pt x="3215" y="585"/>
                </a:cubicBezTo>
                <a:cubicBezTo>
                  <a:pt x="3213" y="579"/>
                  <a:pt x="3206" y="575"/>
                  <a:pt x="3199" y="575"/>
                </a:cubicBezTo>
                <a:cubicBezTo>
                  <a:pt x="3199" y="575"/>
                  <a:pt x="3199" y="575"/>
                  <a:pt x="3199" y="575"/>
                </a:cubicBezTo>
                <a:moveTo>
                  <a:pt x="3236" y="575"/>
                </a:moveTo>
                <a:cubicBezTo>
                  <a:pt x="3229" y="575"/>
                  <a:pt x="3225" y="579"/>
                  <a:pt x="3226" y="585"/>
                </a:cubicBezTo>
                <a:cubicBezTo>
                  <a:pt x="3227" y="591"/>
                  <a:pt x="3234" y="595"/>
                  <a:pt x="3242" y="595"/>
                </a:cubicBezTo>
                <a:cubicBezTo>
                  <a:pt x="3249" y="595"/>
                  <a:pt x="3253" y="590"/>
                  <a:pt x="3252" y="585"/>
                </a:cubicBezTo>
                <a:cubicBezTo>
                  <a:pt x="3250" y="579"/>
                  <a:pt x="3243" y="575"/>
                  <a:pt x="3236" y="575"/>
                </a:cubicBezTo>
                <a:cubicBezTo>
                  <a:pt x="3236" y="575"/>
                  <a:pt x="3236" y="575"/>
                  <a:pt x="3236" y="575"/>
                </a:cubicBezTo>
                <a:moveTo>
                  <a:pt x="3272" y="574"/>
                </a:moveTo>
                <a:cubicBezTo>
                  <a:pt x="3265" y="574"/>
                  <a:pt x="3261" y="579"/>
                  <a:pt x="3262" y="585"/>
                </a:cubicBezTo>
                <a:cubicBezTo>
                  <a:pt x="3264" y="590"/>
                  <a:pt x="3271" y="595"/>
                  <a:pt x="3278" y="595"/>
                </a:cubicBezTo>
                <a:cubicBezTo>
                  <a:pt x="3285" y="595"/>
                  <a:pt x="3290" y="590"/>
                  <a:pt x="3288" y="584"/>
                </a:cubicBezTo>
                <a:cubicBezTo>
                  <a:pt x="3286" y="579"/>
                  <a:pt x="3279" y="574"/>
                  <a:pt x="3272" y="574"/>
                </a:cubicBezTo>
                <a:cubicBezTo>
                  <a:pt x="3272" y="574"/>
                  <a:pt x="3272" y="574"/>
                  <a:pt x="3272" y="574"/>
                </a:cubicBezTo>
                <a:moveTo>
                  <a:pt x="3309" y="574"/>
                </a:moveTo>
                <a:cubicBezTo>
                  <a:pt x="3302" y="574"/>
                  <a:pt x="3297" y="579"/>
                  <a:pt x="3299" y="584"/>
                </a:cubicBezTo>
                <a:cubicBezTo>
                  <a:pt x="3301" y="590"/>
                  <a:pt x="3308" y="595"/>
                  <a:pt x="3315" y="595"/>
                </a:cubicBezTo>
                <a:cubicBezTo>
                  <a:pt x="3322" y="595"/>
                  <a:pt x="3326" y="590"/>
                  <a:pt x="3325" y="584"/>
                </a:cubicBezTo>
                <a:cubicBezTo>
                  <a:pt x="3323" y="579"/>
                  <a:pt x="3316" y="574"/>
                  <a:pt x="3309" y="574"/>
                </a:cubicBezTo>
                <a:cubicBezTo>
                  <a:pt x="3309" y="574"/>
                  <a:pt x="3309" y="574"/>
                  <a:pt x="3309" y="574"/>
                </a:cubicBezTo>
                <a:moveTo>
                  <a:pt x="3345" y="574"/>
                </a:moveTo>
                <a:cubicBezTo>
                  <a:pt x="3338" y="574"/>
                  <a:pt x="3334" y="579"/>
                  <a:pt x="3335" y="584"/>
                </a:cubicBezTo>
                <a:cubicBezTo>
                  <a:pt x="3337" y="590"/>
                  <a:pt x="3344" y="594"/>
                  <a:pt x="3351" y="594"/>
                </a:cubicBezTo>
                <a:cubicBezTo>
                  <a:pt x="3358" y="594"/>
                  <a:pt x="3363" y="590"/>
                  <a:pt x="3361" y="584"/>
                </a:cubicBezTo>
                <a:cubicBezTo>
                  <a:pt x="3359" y="578"/>
                  <a:pt x="3352" y="574"/>
                  <a:pt x="3345" y="574"/>
                </a:cubicBezTo>
                <a:cubicBezTo>
                  <a:pt x="3345" y="574"/>
                  <a:pt x="3345" y="574"/>
                  <a:pt x="3345" y="574"/>
                </a:cubicBezTo>
                <a:moveTo>
                  <a:pt x="3382" y="574"/>
                </a:moveTo>
                <a:cubicBezTo>
                  <a:pt x="3375" y="574"/>
                  <a:pt x="3370" y="578"/>
                  <a:pt x="3372" y="584"/>
                </a:cubicBezTo>
                <a:cubicBezTo>
                  <a:pt x="3374" y="590"/>
                  <a:pt x="3381" y="594"/>
                  <a:pt x="3388" y="594"/>
                </a:cubicBezTo>
                <a:cubicBezTo>
                  <a:pt x="3395" y="594"/>
                  <a:pt x="3400" y="589"/>
                  <a:pt x="3398" y="584"/>
                </a:cubicBezTo>
                <a:cubicBezTo>
                  <a:pt x="3396" y="578"/>
                  <a:pt x="3389" y="574"/>
                  <a:pt x="3382" y="574"/>
                </a:cubicBezTo>
                <a:cubicBezTo>
                  <a:pt x="3382" y="574"/>
                  <a:pt x="3382" y="574"/>
                  <a:pt x="3382" y="574"/>
                </a:cubicBezTo>
                <a:moveTo>
                  <a:pt x="3419" y="573"/>
                </a:moveTo>
                <a:cubicBezTo>
                  <a:pt x="3411" y="573"/>
                  <a:pt x="3407" y="578"/>
                  <a:pt x="3409" y="584"/>
                </a:cubicBezTo>
                <a:cubicBezTo>
                  <a:pt x="3411" y="589"/>
                  <a:pt x="3418" y="594"/>
                  <a:pt x="3425" y="594"/>
                </a:cubicBezTo>
                <a:cubicBezTo>
                  <a:pt x="3432" y="594"/>
                  <a:pt x="3437" y="589"/>
                  <a:pt x="3435" y="584"/>
                </a:cubicBezTo>
                <a:cubicBezTo>
                  <a:pt x="3433" y="578"/>
                  <a:pt x="3426" y="573"/>
                  <a:pt x="3419" y="573"/>
                </a:cubicBezTo>
                <a:cubicBezTo>
                  <a:pt x="3419" y="573"/>
                  <a:pt x="3419" y="573"/>
                  <a:pt x="3419" y="573"/>
                </a:cubicBezTo>
                <a:moveTo>
                  <a:pt x="3638" y="573"/>
                </a:moveTo>
                <a:cubicBezTo>
                  <a:pt x="3631" y="573"/>
                  <a:pt x="3627" y="578"/>
                  <a:pt x="3629" y="584"/>
                </a:cubicBezTo>
                <a:cubicBezTo>
                  <a:pt x="3631" y="589"/>
                  <a:pt x="3639" y="594"/>
                  <a:pt x="3646" y="594"/>
                </a:cubicBezTo>
                <a:cubicBezTo>
                  <a:pt x="3653" y="594"/>
                  <a:pt x="3657" y="589"/>
                  <a:pt x="3655" y="583"/>
                </a:cubicBezTo>
                <a:cubicBezTo>
                  <a:pt x="3652" y="578"/>
                  <a:pt x="3645" y="573"/>
                  <a:pt x="3638" y="573"/>
                </a:cubicBezTo>
                <a:cubicBezTo>
                  <a:pt x="3638" y="573"/>
                  <a:pt x="3638" y="573"/>
                  <a:pt x="3638" y="573"/>
                </a:cubicBezTo>
                <a:moveTo>
                  <a:pt x="3455" y="573"/>
                </a:moveTo>
                <a:cubicBezTo>
                  <a:pt x="3448" y="573"/>
                  <a:pt x="3444" y="578"/>
                  <a:pt x="3445" y="584"/>
                </a:cubicBezTo>
                <a:cubicBezTo>
                  <a:pt x="3447" y="589"/>
                  <a:pt x="3455" y="594"/>
                  <a:pt x="3462" y="594"/>
                </a:cubicBezTo>
                <a:cubicBezTo>
                  <a:pt x="3469" y="594"/>
                  <a:pt x="3473" y="589"/>
                  <a:pt x="3471" y="583"/>
                </a:cubicBezTo>
                <a:cubicBezTo>
                  <a:pt x="3469" y="578"/>
                  <a:pt x="3462" y="573"/>
                  <a:pt x="3455" y="573"/>
                </a:cubicBezTo>
                <a:cubicBezTo>
                  <a:pt x="3455" y="573"/>
                  <a:pt x="3455" y="573"/>
                  <a:pt x="3455" y="573"/>
                </a:cubicBezTo>
                <a:moveTo>
                  <a:pt x="3674" y="573"/>
                </a:moveTo>
                <a:cubicBezTo>
                  <a:pt x="3667" y="573"/>
                  <a:pt x="3663" y="578"/>
                  <a:pt x="3666" y="583"/>
                </a:cubicBezTo>
                <a:cubicBezTo>
                  <a:pt x="3668" y="589"/>
                  <a:pt x="3676" y="594"/>
                  <a:pt x="3683" y="594"/>
                </a:cubicBezTo>
                <a:cubicBezTo>
                  <a:pt x="3690" y="594"/>
                  <a:pt x="3694" y="589"/>
                  <a:pt x="3691" y="583"/>
                </a:cubicBezTo>
                <a:cubicBezTo>
                  <a:pt x="3689" y="578"/>
                  <a:pt x="3681" y="573"/>
                  <a:pt x="3674" y="573"/>
                </a:cubicBezTo>
                <a:cubicBezTo>
                  <a:pt x="3674" y="573"/>
                  <a:pt x="3674" y="573"/>
                  <a:pt x="3674" y="573"/>
                </a:cubicBezTo>
                <a:moveTo>
                  <a:pt x="3491" y="573"/>
                </a:moveTo>
                <a:cubicBezTo>
                  <a:pt x="3484" y="573"/>
                  <a:pt x="3480" y="578"/>
                  <a:pt x="3482" y="583"/>
                </a:cubicBezTo>
                <a:cubicBezTo>
                  <a:pt x="3484" y="589"/>
                  <a:pt x="3491" y="594"/>
                  <a:pt x="3499" y="594"/>
                </a:cubicBezTo>
                <a:cubicBezTo>
                  <a:pt x="3506" y="593"/>
                  <a:pt x="3510" y="589"/>
                  <a:pt x="3508" y="583"/>
                </a:cubicBezTo>
                <a:cubicBezTo>
                  <a:pt x="3506" y="578"/>
                  <a:pt x="3498" y="573"/>
                  <a:pt x="3491" y="573"/>
                </a:cubicBezTo>
                <a:cubicBezTo>
                  <a:pt x="3491" y="573"/>
                  <a:pt x="3491" y="573"/>
                  <a:pt x="3491" y="573"/>
                </a:cubicBezTo>
                <a:moveTo>
                  <a:pt x="3711" y="573"/>
                </a:moveTo>
                <a:cubicBezTo>
                  <a:pt x="3704" y="573"/>
                  <a:pt x="3700" y="577"/>
                  <a:pt x="3702" y="583"/>
                </a:cubicBezTo>
                <a:cubicBezTo>
                  <a:pt x="3705" y="589"/>
                  <a:pt x="3712" y="593"/>
                  <a:pt x="3719" y="593"/>
                </a:cubicBezTo>
                <a:cubicBezTo>
                  <a:pt x="3727" y="593"/>
                  <a:pt x="3730" y="589"/>
                  <a:pt x="3728" y="583"/>
                </a:cubicBezTo>
                <a:cubicBezTo>
                  <a:pt x="3725" y="577"/>
                  <a:pt x="3718" y="573"/>
                  <a:pt x="3711" y="573"/>
                </a:cubicBezTo>
                <a:cubicBezTo>
                  <a:pt x="3711" y="573"/>
                  <a:pt x="3711" y="573"/>
                  <a:pt x="3711" y="573"/>
                </a:cubicBezTo>
                <a:moveTo>
                  <a:pt x="3527" y="573"/>
                </a:moveTo>
                <a:cubicBezTo>
                  <a:pt x="3520" y="573"/>
                  <a:pt x="3516" y="577"/>
                  <a:pt x="3518" y="583"/>
                </a:cubicBezTo>
                <a:cubicBezTo>
                  <a:pt x="3521" y="589"/>
                  <a:pt x="3528" y="593"/>
                  <a:pt x="3535" y="593"/>
                </a:cubicBezTo>
                <a:cubicBezTo>
                  <a:pt x="3542" y="593"/>
                  <a:pt x="3546" y="589"/>
                  <a:pt x="3544" y="583"/>
                </a:cubicBezTo>
                <a:cubicBezTo>
                  <a:pt x="3542" y="577"/>
                  <a:pt x="3535" y="573"/>
                  <a:pt x="3528" y="573"/>
                </a:cubicBezTo>
                <a:cubicBezTo>
                  <a:pt x="3528" y="573"/>
                  <a:pt x="3527" y="573"/>
                  <a:pt x="3527" y="573"/>
                </a:cubicBezTo>
                <a:moveTo>
                  <a:pt x="3749" y="573"/>
                </a:moveTo>
                <a:cubicBezTo>
                  <a:pt x="3742" y="573"/>
                  <a:pt x="3739" y="577"/>
                  <a:pt x="3741" y="583"/>
                </a:cubicBezTo>
                <a:cubicBezTo>
                  <a:pt x="3744" y="589"/>
                  <a:pt x="3751" y="593"/>
                  <a:pt x="3758" y="593"/>
                </a:cubicBezTo>
                <a:cubicBezTo>
                  <a:pt x="3766" y="593"/>
                  <a:pt x="3769" y="588"/>
                  <a:pt x="3767" y="583"/>
                </a:cubicBezTo>
                <a:cubicBezTo>
                  <a:pt x="3764" y="577"/>
                  <a:pt x="3756" y="573"/>
                  <a:pt x="3749" y="573"/>
                </a:cubicBezTo>
                <a:cubicBezTo>
                  <a:pt x="3749" y="573"/>
                  <a:pt x="3749" y="573"/>
                  <a:pt x="3749" y="573"/>
                </a:cubicBezTo>
                <a:moveTo>
                  <a:pt x="3564" y="573"/>
                </a:moveTo>
                <a:cubicBezTo>
                  <a:pt x="3557" y="573"/>
                  <a:pt x="3553" y="577"/>
                  <a:pt x="3555" y="583"/>
                </a:cubicBezTo>
                <a:cubicBezTo>
                  <a:pt x="3557" y="589"/>
                  <a:pt x="3565" y="593"/>
                  <a:pt x="3572" y="593"/>
                </a:cubicBezTo>
                <a:cubicBezTo>
                  <a:pt x="3579" y="593"/>
                  <a:pt x="3583" y="588"/>
                  <a:pt x="3581" y="583"/>
                </a:cubicBezTo>
                <a:cubicBezTo>
                  <a:pt x="3579" y="577"/>
                  <a:pt x="3571" y="573"/>
                  <a:pt x="3564" y="573"/>
                </a:cubicBezTo>
                <a:cubicBezTo>
                  <a:pt x="3564" y="573"/>
                  <a:pt x="3564" y="573"/>
                  <a:pt x="3564" y="573"/>
                </a:cubicBezTo>
                <a:moveTo>
                  <a:pt x="3785" y="572"/>
                </a:moveTo>
                <a:cubicBezTo>
                  <a:pt x="3778" y="572"/>
                  <a:pt x="3775" y="577"/>
                  <a:pt x="3777" y="583"/>
                </a:cubicBezTo>
                <a:cubicBezTo>
                  <a:pt x="3780" y="588"/>
                  <a:pt x="3788" y="593"/>
                  <a:pt x="3795" y="593"/>
                </a:cubicBezTo>
                <a:cubicBezTo>
                  <a:pt x="3802" y="593"/>
                  <a:pt x="3805" y="588"/>
                  <a:pt x="3803" y="583"/>
                </a:cubicBezTo>
                <a:cubicBezTo>
                  <a:pt x="3800" y="577"/>
                  <a:pt x="3792" y="572"/>
                  <a:pt x="3785" y="572"/>
                </a:cubicBezTo>
                <a:cubicBezTo>
                  <a:pt x="3785" y="572"/>
                  <a:pt x="3785" y="572"/>
                  <a:pt x="3785" y="572"/>
                </a:cubicBezTo>
                <a:moveTo>
                  <a:pt x="3601" y="572"/>
                </a:moveTo>
                <a:cubicBezTo>
                  <a:pt x="3594" y="572"/>
                  <a:pt x="3590" y="577"/>
                  <a:pt x="3592" y="583"/>
                </a:cubicBezTo>
                <a:cubicBezTo>
                  <a:pt x="3594" y="588"/>
                  <a:pt x="3602" y="593"/>
                  <a:pt x="3609" y="593"/>
                </a:cubicBezTo>
                <a:cubicBezTo>
                  <a:pt x="3616" y="593"/>
                  <a:pt x="3620" y="588"/>
                  <a:pt x="3618" y="583"/>
                </a:cubicBezTo>
                <a:cubicBezTo>
                  <a:pt x="3615" y="577"/>
                  <a:pt x="3608" y="572"/>
                  <a:pt x="3601" y="572"/>
                </a:cubicBezTo>
                <a:cubicBezTo>
                  <a:pt x="3601" y="572"/>
                  <a:pt x="3601" y="572"/>
                  <a:pt x="3601" y="572"/>
                </a:cubicBezTo>
                <a:moveTo>
                  <a:pt x="3821" y="572"/>
                </a:moveTo>
                <a:cubicBezTo>
                  <a:pt x="3814" y="572"/>
                  <a:pt x="3811" y="577"/>
                  <a:pt x="3814" y="582"/>
                </a:cubicBezTo>
                <a:cubicBezTo>
                  <a:pt x="3816" y="588"/>
                  <a:pt x="3824" y="593"/>
                  <a:pt x="3831" y="593"/>
                </a:cubicBezTo>
                <a:cubicBezTo>
                  <a:pt x="3838" y="593"/>
                  <a:pt x="3842" y="588"/>
                  <a:pt x="3839" y="582"/>
                </a:cubicBezTo>
                <a:cubicBezTo>
                  <a:pt x="3836" y="577"/>
                  <a:pt x="3829" y="572"/>
                  <a:pt x="3822" y="572"/>
                </a:cubicBezTo>
                <a:cubicBezTo>
                  <a:pt x="3822" y="572"/>
                  <a:pt x="3822" y="572"/>
                  <a:pt x="3821" y="572"/>
                </a:cubicBezTo>
                <a:moveTo>
                  <a:pt x="3858" y="572"/>
                </a:moveTo>
                <a:cubicBezTo>
                  <a:pt x="3851" y="572"/>
                  <a:pt x="3847" y="577"/>
                  <a:pt x="3850" y="582"/>
                </a:cubicBezTo>
                <a:cubicBezTo>
                  <a:pt x="3853" y="588"/>
                  <a:pt x="3861" y="593"/>
                  <a:pt x="3868" y="592"/>
                </a:cubicBezTo>
                <a:cubicBezTo>
                  <a:pt x="3875" y="592"/>
                  <a:pt x="3879" y="588"/>
                  <a:pt x="3876" y="582"/>
                </a:cubicBezTo>
                <a:cubicBezTo>
                  <a:pt x="3873" y="576"/>
                  <a:pt x="3865" y="572"/>
                  <a:pt x="3858" y="572"/>
                </a:cubicBezTo>
                <a:cubicBezTo>
                  <a:pt x="3858" y="572"/>
                  <a:pt x="3858" y="572"/>
                  <a:pt x="3858" y="572"/>
                </a:cubicBezTo>
                <a:moveTo>
                  <a:pt x="3895" y="572"/>
                </a:moveTo>
                <a:cubicBezTo>
                  <a:pt x="3888" y="572"/>
                  <a:pt x="3884" y="576"/>
                  <a:pt x="3887" y="582"/>
                </a:cubicBezTo>
                <a:cubicBezTo>
                  <a:pt x="3890" y="588"/>
                  <a:pt x="3898" y="592"/>
                  <a:pt x="3905" y="592"/>
                </a:cubicBezTo>
                <a:cubicBezTo>
                  <a:pt x="3912" y="592"/>
                  <a:pt x="3916" y="588"/>
                  <a:pt x="3913" y="582"/>
                </a:cubicBezTo>
                <a:cubicBezTo>
                  <a:pt x="3910" y="576"/>
                  <a:pt x="3902" y="572"/>
                  <a:pt x="3895" y="572"/>
                </a:cubicBezTo>
                <a:cubicBezTo>
                  <a:pt x="3895" y="572"/>
                  <a:pt x="3895" y="572"/>
                  <a:pt x="3895" y="572"/>
                </a:cubicBezTo>
                <a:moveTo>
                  <a:pt x="3931" y="571"/>
                </a:moveTo>
                <a:cubicBezTo>
                  <a:pt x="3924" y="571"/>
                  <a:pt x="3921" y="576"/>
                  <a:pt x="3924" y="582"/>
                </a:cubicBezTo>
                <a:cubicBezTo>
                  <a:pt x="3926" y="588"/>
                  <a:pt x="3935" y="592"/>
                  <a:pt x="3942" y="592"/>
                </a:cubicBezTo>
                <a:cubicBezTo>
                  <a:pt x="3949" y="592"/>
                  <a:pt x="3952" y="587"/>
                  <a:pt x="3949" y="582"/>
                </a:cubicBezTo>
                <a:cubicBezTo>
                  <a:pt x="3946" y="576"/>
                  <a:pt x="3938" y="571"/>
                  <a:pt x="3931" y="571"/>
                </a:cubicBezTo>
                <a:cubicBezTo>
                  <a:pt x="3931" y="571"/>
                  <a:pt x="3931" y="571"/>
                  <a:pt x="3931" y="571"/>
                </a:cubicBezTo>
                <a:moveTo>
                  <a:pt x="4004" y="571"/>
                </a:moveTo>
                <a:cubicBezTo>
                  <a:pt x="3997" y="571"/>
                  <a:pt x="3993" y="576"/>
                  <a:pt x="3996" y="581"/>
                </a:cubicBezTo>
                <a:cubicBezTo>
                  <a:pt x="4000" y="587"/>
                  <a:pt x="4008" y="592"/>
                  <a:pt x="4015" y="592"/>
                </a:cubicBezTo>
                <a:cubicBezTo>
                  <a:pt x="4022" y="592"/>
                  <a:pt x="4025" y="587"/>
                  <a:pt x="4022" y="581"/>
                </a:cubicBezTo>
                <a:cubicBezTo>
                  <a:pt x="4019" y="576"/>
                  <a:pt x="4011" y="571"/>
                  <a:pt x="4004" y="571"/>
                </a:cubicBezTo>
                <a:cubicBezTo>
                  <a:pt x="4004" y="571"/>
                  <a:pt x="4004" y="571"/>
                  <a:pt x="4004" y="571"/>
                </a:cubicBezTo>
                <a:moveTo>
                  <a:pt x="4040" y="571"/>
                </a:moveTo>
                <a:cubicBezTo>
                  <a:pt x="4033" y="571"/>
                  <a:pt x="4030" y="575"/>
                  <a:pt x="4033" y="581"/>
                </a:cubicBezTo>
                <a:cubicBezTo>
                  <a:pt x="4036" y="587"/>
                  <a:pt x="4045" y="591"/>
                  <a:pt x="4052" y="591"/>
                </a:cubicBezTo>
                <a:cubicBezTo>
                  <a:pt x="4059" y="591"/>
                  <a:pt x="4062" y="587"/>
                  <a:pt x="4059" y="581"/>
                </a:cubicBezTo>
                <a:cubicBezTo>
                  <a:pt x="4056" y="575"/>
                  <a:pt x="4047" y="571"/>
                  <a:pt x="4040" y="571"/>
                </a:cubicBezTo>
                <a:cubicBezTo>
                  <a:pt x="4040" y="571"/>
                  <a:pt x="4040" y="571"/>
                  <a:pt x="4040" y="571"/>
                </a:cubicBezTo>
                <a:moveTo>
                  <a:pt x="4223" y="570"/>
                </a:moveTo>
                <a:cubicBezTo>
                  <a:pt x="4216" y="570"/>
                  <a:pt x="4213" y="574"/>
                  <a:pt x="4216" y="580"/>
                </a:cubicBezTo>
                <a:cubicBezTo>
                  <a:pt x="4220" y="586"/>
                  <a:pt x="4228" y="590"/>
                  <a:pt x="4235" y="590"/>
                </a:cubicBezTo>
                <a:cubicBezTo>
                  <a:pt x="4243" y="590"/>
                  <a:pt x="4245" y="586"/>
                  <a:pt x="4242" y="580"/>
                </a:cubicBezTo>
                <a:cubicBezTo>
                  <a:pt x="4238" y="574"/>
                  <a:pt x="4230" y="570"/>
                  <a:pt x="4223" y="570"/>
                </a:cubicBezTo>
                <a:cubicBezTo>
                  <a:pt x="4223" y="570"/>
                  <a:pt x="4223" y="570"/>
                  <a:pt x="4223" y="570"/>
                </a:cubicBezTo>
                <a:moveTo>
                  <a:pt x="114" y="564"/>
                </a:moveTo>
                <a:cubicBezTo>
                  <a:pt x="107" y="565"/>
                  <a:pt x="98" y="569"/>
                  <a:pt x="93" y="575"/>
                </a:cubicBezTo>
                <a:cubicBezTo>
                  <a:pt x="88" y="580"/>
                  <a:pt x="90" y="585"/>
                  <a:pt x="97" y="585"/>
                </a:cubicBezTo>
                <a:cubicBezTo>
                  <a:pt x="104" y="585"/>
                  <a:pt x="114" y="580"/>
                  <a:pt x="119" y="575"/>
                </a:cubicBezTo>
                <a:cubicBezTo>
                  <a:pt x="123" y="569"/>
                  <a:pt x="122" y="564"/>
                  <a:pt x="115" y="564"/>
                </a:cubicBezTo>
                <a:cubicBezTo>
                  <a:pt x="115" y="564"/>
                  <a:pt x="115" y="564"/>
                  <a:pt x="114" y="564"/>
                </a:cubicBezTo>
                <a:moveTo>
                  <a:pt x="149" y="564"/>
                </a:moveTo>
                <a:cubicBezTo>
                  <a:pt x="142" y="564"/>
                  <a:pt x="132" y="569"/>
                  <a:pt x="128" y="574"/>
                </a:cubicBezTo>
                <a:cubicBezTo>
                  <a:pt x="123" y="580"/>
                  <a:pt x="125" y="585"/>
                  <a:pt x="132" y="585"/>
                </a:cubicBezTo>
                <a:cubicBezTo>
                  <a:pt x="139" y="584"/>
                  <a:pt x="149" y="580"/>
                  <a:pt x="153" y="574"/>
                </a:cubicBezTo>
                <a:cubicBezTo>
                  <a:pt x="158" y="569"/>
                  <a:pt x="156" y="564"/>
                  <a:pt x="149" y="564"/>
                </a:cubicBezTo>
                <a:cubicBezTo>
                  <a:pt x="149" y="564"/>
                  <a:pt x="149" y="564"/>
                  <a:pt x="149" y="564"/>
                </a:cubicBezTo>
                <a:moveTo>
                  <a:pt x="185" y="564"/>
                </a:moveTo>
                <a:cubicBezTo>
                  <a:pt x="178" y="564"/>
                  <a:pt x="169" y="569"/>
                  <a:pt x="164" y="574"/>
                </a:cubicBezTo>
                <a:cubicBezTo>
                  <a:pt x="159" y="580"/>
                  <a:pt x="161" y="584"/>
                  <a:pt x="168" y="584"/>
                </a:cubicBezTo>
                <a:cubicBezTo>
                  <a:pt x="175" y="584"/>
                  <a:pt x="185" y="580"/>
                  <a:pt x="190" y="574"/>
                </a:cubicBezTo>
                <a:cubicBezTo>
                  <a:pt x="194" y="569"/>
                  <a:pt x="192" y="564"/>
                  <a:pt x="185" y="564"/>
                </a:cubicBezTo>
                <a:cubicBezTo>
                  <a:pt x="185" y="564"/>
                  <a:pt x="185" y="564"/>
                  <a:pt x="185" y="564"/>
                </a:cubicBezTo>
                <a:moveTo>
                  <a:pt x="223" y="564"/>
                </a:moveTo>
                <a:cubicBezTo>
                  <a:pt x="216" y="564"/>
                  <a:pt x="207" y="568"/>
                  <a:pt x="202" y="574"/>
                </a:cubicBezTo>
                <a:cubicBezTo>
                  <a:pt x="197" y="580"/>
                  <a:pt x="199" y="584"/>
                  <a:pt x="207" y="584"/>
                </a:cubicBezTo>
                <a:cubicBezTo>
                  <a:pt x="214" y="584"/>
                  <a:pt x="223" y="579"/>
                  <a:pt x="228" y="574"/>
                </a:cubicBezTo>
                <a:cubicBezTo>
                  <a:pt x="232" y="568"/>
                  <a:pt x="230" y="564"/>
                  <a:pt x="223" y="564"/>
                </a:cubicBezTo>
                <a:cubicBezTo>
                  <a:pt x="223" y="564"/>
                  <a:pt x="223" y="564"/>
                  <a:pt x="223" y="564"/>
                </a:cubicBezTo>
                <a:moveTo>
                  <a:pt x="259" y="564"/>
                </a:moveTo>
                <a:cubicBezTo>
                  <a:pt x="252" y="564"/>
                  <a:pt x="243" y="568"/>
                  <a:pt x="238" y="574"/>
                </a:cubicBezTo>
                <a:cubicBezTo>
                  <a:pt x="234" y="579"/>
                  <a:pt x="236" y="584"/>
                  <a:pt x="243" y="584"/>
                </a:cubicBezTo>
                <a:cubicBezTo>
                  <a:pt x="250" y="584"/>
                  <a:pt x="259" y="579"/>
                  <a:pt x="264" y="574"/>
                </a:cubicBezTo>
                <a:cubicBezTo>
                  <a:pt x="268" y="568"/>
                  <a:pt x="266" y="564"/>
                  <a:pt x="259" y="564"/>
                </a:cubicBezTo>
                <a:cubicBezTo>
                  <a:pt x="259" y="564"/>
                  <a:pt x="259" y="564"/>
                  <a:pt x="259" y="564"/>
                </a:cubicBezTo>
                <a:moveTo>
                  <a:pt x="295" y="563"/>
                </a:moveTo>
                <a:cubicBezTo>
                  <a:pt x="288" y="563"/>
                  <a:pt x="279" y="568"/>
                  <a:pt x="275" y="574"/>
                </a:cubicBezTo>
                <a:cubicBezTo>
                  <a:pt x="270" y="579"/>
                  <a:pt x="272" y="584"/>
                  <a:pt x="279" y="584"/>
                </a:cubicBezTo>
                <a:cubicBezTo>
                  <a:pt x="287" y="584"/>
                  <a:pt x="296" y="579"/>
                  <a:pt x="300" y="573"/>
                </a:cubicBezTo>
                <a:cubicBezTo>
                  <a:pt x="305" y="568"/>
                  <a:pt x="302" y="563"/>
                  <a:pt x="296" y="563"/>
                </a:cubicBezTo>
                <a:cubicBezTo>
                  <a:pt x="295" y="563"/>
                  <a:pt x="295" y="563"/>
                  <a:pt x="295" y="563"/>
                </a:cubicBezTo>
                <a:moveTo>
                  <a:pt x="332" y="563"/>
                </a:moveTo>
                <a:cubicBezTo>
                  <a:pt x="325" y="563"/>
                  <a:pt x="315" y="568"/>
                  <a:pt x="311" y="573"/>
                </a:cubicBezTo>
                <a:cubicBezTo>
                  <a:pt x="307" y="579"/>
                  <a:pt x="309" y="583"/>
                  <a:pt x="316" y="583"/>
                </a:cubicBezTo>
                <a:cubicBezTo>
                  <a:pt x="323" y="583"/>
                  <a:pt x="332" y="579"/>
                  <a:pt x="336" y="573"/>
                </a:cubicBezTo>
                <a:cubicBezTo>
                  <a:pt x="341" y="568"/>
                  <a:pt x="339" y="563"/>
                  <a:pt x="332" y="563"/>
                </a:cubicBezTo>
                <a:cubicBezTo>
                  <a:pt x="332" y="563"/>
                  <a:pt x="332" y="563"/>
                  <a:pt x="332" y="563"/>
                </a:cubicBezTo>
                <a:moveTo>
                  <a:pt x="368" y="563"/>
                </a:moveTo>
                <a:cubicBezTo>
                  <a:pt x="361" y="563"/>
                  <a:pt x="352" y="568"/>
                  <a:pt x="347" y="573"/>
                </a:cubicBezTo>
                <a:cubicBezTo>
                  <a:pt x="343" y="579"/>
                  <a:pt x="345" y="583"/>
                  <a:pt x="353" y="583"/>
                </a:cubicBezTo>
                <a:cubicBezTo>
                  <a:pt x="360" y="583"/>
                  <a:pt x="369" y="579"/>
                  <a:pt x="373" y="573"/>
                </a:cubicBezTo>
                <a:cubicBezTo>
                  <a:pt x="377" y="567"/>
                  <a:pt x="375" y="563"/>
                  <a:pt x="368" y="563"/>
                </a:cubicBezTo>
                <a:cubicBezTo>
                  <a:pt x="368" y="563"/>
                  <a:pt x="368" y="563"/>
                  <a:pt x="368" y="563"/>
                </a:cubicBezTo>
                <a:moveTo>
                  <a:pt x="405" y="563"/>
                </a:moveTo>
                <a:cubicBezTo>
                  <a:pt x="398" y="563"/>
                  <a:pt x="389" y="567"/>
                  <a:pt x="385" y="573"/>
                </a:cubicBezTo>
                <a:cubicBezTo>
                  <a:pt x="381" y="578"/>
                  <a:pt x="383" y="583"/>
                  <a:pt x="390" y="583"/>
                </a:cubicBezTo>
                <a:cubicBezTo>
                  <a:pt x="397" y="583"/>
                  <a:pt x="406" y="578"/>
                  <a:pt x="411" y="573"/>
                </a:cubicBezTo>
                <a:cubicBezTo>
                  <a:pt x="415" y="567"/>
                  <a:pt x="412" y="563"/>
                  <a:pt x="406" y="563"/>
                </a:cubicBezTo>
                <a:cubicBezTo>
                  <a:pt x="406" y="563"/>
                  <a:pt x="405" y="563"/>
                  <a:pt x="405" y="563"/>
                </a:cubicBezTo>
                <a:moveTo>
                  <a:pt x="442" y="562"/>
                </a:moveTo>
                <a:cubicBezTo>
                  <a:pt x="435" y="563"/>
                  <a:pt x="425" y="567"/>
                  <a:pt x="421" y="573"/>
                </a:cubicBezTo>
                <a:cubicBezTo>
                  <a:pt x="417" y="578"/>
                  <a:pt x="420" y="583"/>
                  <a:pt x="427" y="583"/>
                </a:cubicBezTo>
                <a:cubicBezTo>
                  <a:pt x="434" y="583"/>
                  <a:pt x="443" y="578"/>
                  <a:pt x="447" y="573"/>
                </a:cubicBezTo>
                <a:cubicBezTo>
                  <a:pt x="451" y="567"/>
                  <a:pt x="449" y="562"/>
                  <a:pt x="442" y="562"/>
                </a:cubicBezTo>
                <a:cubicBezTo>
                  <a:pt x="442" y="562"/>
                  <a:pt x="442" y="562"/>
                  <a:pt x="442" y="562"/>
                </a:cubicBezTo>
                <a:moveTo>
                  <a:pt x="478" y="562"/>
                </a:moveTo>
                <a:cubicBezTo>
                  <a:pt x="471" y="562"/>
                  <a:pt x="462" y="567"/>
                  <a:pt x="458" y="572"/>
                </a:cubicBezTo>
                <a:cubicBezTo>
                  <a:pt x="454" y="578"/>
                  <a:pt x="456" y="583"/>
                  <a:pt x="463" y="582"/>
                </a:cubicBezTo>
                <a:cubicBezTo>
                  <a:pt x="470" y="582"/>
                  <a:pt x="479" y="578"/>
                  <a:pt x="483" y="572"/>
                </a:cubicBezTo>
                <a:cubicBezTo>
                  <a:pt x="487" y="567"/>
                  <a:pt x="485" y="562"/>
                  <a:pt x="478" y="562"/>
                </a:cubicBezTo>
                <a:cubicBezTo>
                  <a:pt x="478" y="562"/>
                  <a:pt x="478" y="562"/>
                  <a:pt x="478" y="562"/>
                </a:cubicBezTo>
                <a:moveTo>
                  <a:pt x="515" y="562"/>
                </a:moveTo>
                <a:cubicBezTo>
                  <a:pt x="508" y="562"/>
                  <a:pt x="499" y="567"/>
                  <a:pt x="495" y="572"/>
                </a:cubicBezTo>
                <a:cubicBezTo>
                  <a:pt x="491" y="578"/>
                  <a:pt x="493" y="582"/>
                  <a:pt x="500" y="582"/>
                </a:cubicBezTo>
                <a:cubicBezTo>
                  <a:pt x="507" y="582"/>
                  <a:pt x="516" y="578"/>
                  <a:pt x="520" y="572"/>
                </a:cubicBezTo>
                <a:cubicBezTo>
                  <a:pt x="524" y="566"/>
                  <a:pt x="522" y="562"/>
                  <a:pt x="515" y="562"/>
                </a:cubicBezTo>
                <a:cubicBezTo>
                  <a:pt x="515" y="562"/>
                  <a:pt x="515" y="562"/>
                  <a:pt x="515" y="562"/>
                </a:cubicBezTo>
                <a:moveTo>
                  <a:pt x="551" y="562"/>
                </a:moveTo>
                <a:cubicBezTo>
                  <a:pt x="544" y="562"/>
                  <a:pt x="535" y="566"/>
                  <a:pt x="531" y="572"/>
                </a:cubicBezTo>
                <a:cubicBezTo>
                  <a:pt x="527" y="578"/>
                  <a:pt x="530" y="582"/>
                  <a:pt x="537" y="582"/>
                </a:cubicBezTo>
                <a:cubicBezTo>
                  <a:pt x="544" y="582"/>
                  <a:pt x="553" y="577"/>
                  <a:pt x="556" y="572"/>
                </a:cubicBezTo>
                <a:cubicBezTo>
                  <a:pt x="560" y="566"/>
                  <a:pt x="558" y="562"/>
                  <a:pt x="551" y="562"/>
                </a:cubicBezTo>
                <a:cubicBezTo>
                  <a:pt x="551" y="562"/>
                  <a:pt x="551" y="562"/>
                  <a:pt x="551" y="562"/>
                </a:cubicBezTo>
                <a:moveTo>
                  <a:pt x="587" y="562"/>
                </a:moveTo>
                <a:cubicBezTo>
                  <a:pt x="580" y="562"/>
                  <a:pt x="571" y="566"/>
                  <a:pt x="567" y="572"/>
                </a:cubicBezTo>
                <a:cubicBezTo>
                  <a:pt x="564" y="577"/>
                  <a:pt x="566" y="582"/>
                  <a:pt x="573" y="582"/>
                </a:cubicBezTo>
                <a:cubicBezTo>
                  <a:pt x="580" y="582"/>
                  <a:pt x="589" y="577"/>
                  <a:pt x="593" y="572"/>
                </a:cubicBezTo>
                <a:cubicBezTo>
                  <a:pt x="597" y="566"/>
                  <a:pt x="594" y="562"/>
                  <a:pt x="587" y="562"/>
                </a:cubicBezTo>
                <a:cubicBezTo>
                  <a:pt x="587" y="562"/>
                  <a:pt x="587" y="562"/>
                  <a:pt x="587" y="562"/>
                </a:cubicBezTo>
                <a:moveTo>
                  <a:pt x="623" y="561"/>
                </a:moveTo>
                <a:cubicBezTo>
                  <a:pt x="616" y="561"/>
                  <a:pt x="607" y="566"/>
                  <a:pt x="604" y="572"/>
                </a:cubicBezTo>
                <a:cubicBezTo>
                  <a:pt x="600" y="577"/>
                  <a:pt x="602" y="582"/>
                  <a:pt x="610" y="582"/>
                </a:cubicBezTo>
                <a:cubicBezTo>
                  <a:pt x="617" y="582"/>
                  <a:pt x="625" y="577"/>
                  <a:pt x="629" y="571"/>
                </a:cubicBezTo>
                <a:cubicBezTo>
                  <a:pt x="633" y="566"/>
                  <a:pt x="630" y="561"/>
                  <a:pt x="623" y="561"/>
                </a:cubicBezTo>
                <a:cubicBezTo>
                  <a:pt x="623" y="561"/>
                  <a:pt x="623" y="561"/>
                  <a:pt x="623" y="561"/>
                </a:cubicBezTo>
                <a:moveTo>
                  <a:pt x="660" y="561"/>
                </a:moveTo>
                <a:cubicBezTo>
                  <a:pt x="653" y="561"/>
                  <a:pt x="644" y="566"/>
                  <a:pt x="640" y="571"/>
                </a:cubicBezTo>
                <a:cubicBezTo>
                  <a:pt x="636" y="577"/>
                  <a:pt x="639" y="581"/>
                  <a:pt x="646" y="581"/>
                </a:cubicBezTo>
                <a:cubicBezTo>
                  <a:pt x="653" y="581"/>
                  <a:pt x="662" y="577"/>
                  <a:pt x="666" y="571"/>
                </a:cubicBezTo>
                <a:cubicBezTo>
                  <a:pt x="669" y="566"/>
                  <a:pt x="667" y="561"/>
                  <a:pt x="660" y="561"/>
                </a:cubicBezTo>
                <a:cubicBezTo>
                  <a:pt x="660" y="561"/>
                  <a:pt x="660" y="561"/>
                  <a:pt x="660" y="561"/>
                </a:cubicBezTo>
                <a:moveTo>
                  <a:pt x="696" y="561"/>
                </a:moveTo>
                <a:cubicBezTo>
                  <a:pt x="689" y="561"/>
                  <a:pt x="681" y="565"/>
                  <a:pt x="677" y="571"/>
                </a:cubicBezTo>
                <a:cubicBezTo>
                  <a:pt x="673" y="577"/>
                  <a:pt x="676" y="581"/>
                  <a:pt x="683" y="581"/>
                </a:cubicBezTo>
                <a:cubicBezTo>
                  <a:pt x="690" y="581"/>
                  <a:pt x="699" y="577"/>
                  <a:pt x="702" y="571"/>
                </a:cubicBezTo>
                <a:cubicBezTo>
                  <a:pt x="706" y="565"/>
                  <a:pt x="703" y="561"/>
                  <a:pt x="696" y="561"/>
                </a:cubicBezTo>
                <a:cubicBezTo>
                  <a:pt x="696" y="561"/>
                  <a:pt x="696" y="561"/>
                  <a:pt x="696" y="561"/>
                </a:cubicBezTo>
                <a:moveTo>
                  <a:pt x="732" y="561"/>
                </a:moveTo>
                <a:cubicBezTo>
                  <a:pt x="725" y="561"/>
                  <a:pt x="717" y="565"/>
                  <a:pt x="713" y="571"/>
                </a:cubicBezTo>
                <a:cubicBezTo>
                  <a:pt x="710" y="576"/>
                  <a:pt x="712" y="581"/>
                  <a:pt x="720" y="581"/>
                </a:cubicBezTo>
                <a:cubicBezTo>
                  <a:pt x="727" y="581"/>
                  <a:pt x="735" y="576"/>
                  <a:pt x="739" y="571"/>
                </a:cubicBezTo>
                <a:cubicBezTo>
                  <a:pt x="742" y="565"/>
                  <a:pt x="739" y="561"/>
                  <a:pt x="732" y="561"/>
                </a:cubicBezTo>
                <a:cubicBezTo>
                  <a:pt x="732" y="561"/>
                  <a:pt x="732" y="561"/>
                  <a:pt x="732" y="561"/>
                </a:cubicBezTo>
                <a:moveTo>
                  <a:pt x="769" y="560"/>
                </a:moveTo>
                <a:cubicBezTo>
                  <a:pt x="762" y="560"/>
                  <a:pt x="753" y="565"/>
                  <a:pt x="750" y="571"/>
                </a:cubicBezTo>
                <a:cubicBezTo>
                  <a:pt x="746" y="576"/>
                  <a:pt x="749" y="581"/>
                  <a:pt x="756" y="581"/>
                </a:cubicBezTo>
                <a:cubicBezTo>
                  <a:pt x="763" y="581"/>
                  <a:pt x="772" y="576"/>
                  <a:pt x="775" y="571"/>
                </a:cubicBezTo>
                <a:cubicBezTo>
                  <a:pt x="779" y="565"/>
                  <a:pt x="776" y="560"/>
                  <a:pt x="769" y="560"/>
                </a:cubicBezTo>
                <a:cubicBezTo>
                  <a:pt x="769" y="560"/>
                  <a:pt x="769" y="560"/>
                  <a:pt x="769" y="560"/>
                </a:cubicBezTo>
                <a:moveTo>
                  <a:pt x="803" y="560"/>
                </a:moveTo>
                <a:cubicBezTo>
                  <a:pt x="796" y="560"/>
                  <a:pt x="788" y="565"/>
                  <a:pt x="784" y="571"/>
                </a:cubicBezTo>
                <a:cubicBezTo>
                  <a:pt x="781" y="576"/>
                  <a:pt x="784" y="581"/>
                  <a:pt x="791" y="581"/>
                </a:cubicBezTo>
                <a:cubicBezTo>
                  <a:pt x="798" y="581"/>
                  <a:pt x="807" y="576"/>
                  <a:pt x="810" y="570"/>
                </a:cubicBezTo>
                <a:cubicBezTo>
                  <a:pt x="813" y="565"/>
                  <a:pt x="810" y="560"/>
                  <a:pt x="803" y="560"/>
                </a:cubicBezTo>
                <a:cubicBezTo>
                  <a:pt x="803" y="560"/>
                  <a:pt x="803" y="560"/>
                  <a:pt x="803" y="560"/>
                </a:cubicBezTo>
                <a:moveTo>
                  <a:pt x="839" y="560"/>
                </a:moveTo>
                <a:cubicBezTo>
                  <a:pt x="832" y="560"/>
                  <a:pt x="824" y="565"/>
                  <a:pt x="821" y="570"/>
                </a:cubicBezTo>
                <a:cubicBezTo>
                  <a:pt x="817" y="576"/>
                  <a:pt x="820" y="581"/>
                  <a:pt x="827" y="580"/>
                </a:cubicBezTo>
                <a:cubicBezTo>
                  <a:pt x="834" y="580"/>
                  <a:pt x="843" y="576"/>
                  <a:pt x="846" y="570"/>
                </a:cubicBezTo>
                <a:cubicBezTo>
                  <a:pt x="849" y="565"/>
                  <a:pt x="846" y="560"/>
                  <a:pt x="839" y="560"/>
                </a:cubicBezTo>
                <a:cubicBezTo>
                  <a:pt x="839" y="560"/>
                  <a:pt x="839" y="560"/>
                  <a:pt x="839" y="560"/>
                </a:cubicBezTo>
                <a:moveTo>
                  <a:pt x="876" y="560"/>
                </a:moveTo>
                <a:cubicBezTo>
                  <a:pt x="869" y="560"/>
                  <a:pt x="860" y="565"/>
                  <a:pt x="857" y="570"/>
                </a:cubicBezTo>
                <a:cubicBezTo>
                  <a:pt x="854" y="576"/>
                  <a:pt x="857" y="580"/>
                  <a:pt x="864" y="580"/>
                </a:cubicBezTo>
                <a:cubicBezTo>
                  <a:pt x="871" y="580"/>
                  <a:pt x="879" y="576"/>
                  <a:pt x="883" y="570"/>
                </a:cubicBezTo>
                <a:cubicBezTo>
                  <a:pt x="886" y="564"/>
                  <a:pt x="883" y="560"/>
                  <a:pt x="876" y="560"/>
                </a:cubicBezTo>
                <a:cubicBezTo>
                  <a:pt x="876" y="560"/>
                  <a:pt x="876" y="560"/>
                  <a:pt x="876" y="560"/>
                </a:cubicBezTo>
                <a:moveTo>
                  <a:pt x="1893" y="554"/>
                </a:moveTo>
                <a:cubicBezTo>
                  <a:pt x="1886" y="554"/>
                  <a:pt x="1879" y="559"/>
                  <a:pt x="1878" y="565"/>
                </a:cubicBezTo>
                <a:cubicBezTo>
                  <a:pt x="1877" y="570"/>
                  <a:pt x="1882" y="575"/>
                  <a:pt x="1889" y="575"/>
                </a:cubicBezTo>
                <a:cubicBezTo>
                  <a:pt x="1896" y="575"/>
                  <a:pt x="1902" y="570"/>
                  <a:pt x="1904" y="565"/>
                </a:cubicBezTo>
                <a:cubicBezTo>
                  <a:pt x="1905" y="559"/>
                  <a:pt x="1900" y="554"/>
                  <a:pt x="1893" y="554"/>
                </a:cubicBezTo>
                <a:cubicBezTo>
                  <a:pt x="1893" y="554"/>
                  <a:pt x="1893" y="554"/>
                  <a:pt x="1893" y="554"/>
                </a:cubicBezTo>
                <a:moveTo>
                  <a:pt x="1926" y="554"/>
                </a:moveTo>
                <a:cubicBezTo>
                  <a:pt x="1919" y="554"/>
                  <a:pt x="1913" y="559"/>
                  <a:pt x="1912" y="564"/>
                </a:cubicBezTo>
                <a:cubicBezTo>
                  <a:pt x="1910" y="570"/>
                  <a:pt x="1915" y="575"/>
                  <a:pt x="1922" y="575"/>
                </a:cubicBezTo>
                <a:cubicBezTo>
                  <a:pt x="1929" y="575"/>
                  <a:pt x="1936" y="570"/>
                  <a:pt x="1937" y="564"/>
                </a:cubicBezTo>
                <a:cubicBezTo>
                  <a:pt x="1938" y="559"/>
                  <a:pt x="1933" y="554"/>
                  <a:pt x="1926" y="554"/>
                </a:cubicBezTo>
                <a:cubicBezTo>
                  <a:pt x="1926" y="554"/>
                  <a:pt x="1926" y="554"/>
                  <a:pt x="1926" y="554"/>
                </a:cubicBezTo>
                <a:moveTo>
                  <a:pt x="1962" y="554"/>
                </a:moveTo>
                <a:cubicBezTo>
                  <a:pt x="1955" y="554"/>
                  <a:pt x="1949" y="559"/>
                  <a:pt x="1948" y="564"/>
                </a:cubicBezTo>
                <a:cubicBezTo>
                  <a:pt x="1947" y="570"/>
                  <a:pt x="1951" y="574"/>
                  <a:pt x="1958" y="574"/>
                </a:cubicBezTo>
                <a:cubicBezTo>
                  <a:pt x="1966" y="574"/>
                  <a:pt x="1972" y="570"/>
                  <a:pt x="1973" y="564"/>
                </a:cubicBezTo>
                <a:cubicBezTo>
                  <a:pt x="1974" y="558"/>
                  <a:pt x="1969" y="554"/>
                  <a:pt x="1962" y="554"/>
                </a:cubicBezTo>
                <a:cubicBezTo>
                  <a:pt x="1962" y="554"/>
                  <a:pt x="1962" y="554"/>
                  <a:pt x="1962" y="554"/>
                </a:cubicBezTo>
                <a:moveTo>
                  <a:pt x="1999" y="554"/>
                </a:moveTo>
                <a:cubicBezTo>
                  <a:pt x="1992" y="554"/>
                  <a:pt x="1985" y="558"/>
                  <a:pt x="1984" y="564"/>
                </a:cubicBezTo>
                <a:cubicBezTo>
                  <a:pt x="1983" y="570"/>
                  <a:pt x="1988" y="574"/>
                  <a:pt x="1995" y="574"/>
                </a:cubicBezTo>
                <a:cubicBezTo>
                  <a:pt x="2002" y="574"/>
                  <a:pt x="2008" y="569"/>
                  <a:pt x="2009" y="564"/>
                </a:cubicBezTo>
                <a:cubicBezTo>
                  <a:pt x="2010" y="558"/>
                  <a:pt x="2006" y="554"/>
                  <a:pt x="1999" y="554"/>
                </a:cubicBezTo>
                <a:cubicBezTo>
                  <a:pt x="1999" y="554"/>
                  <a:pt x="1999" y="554"/>
                  <a:pt x="1999" y="554"/>
                </a:cubicBezTo>
                <a:moveTo>
                  <a:pt x="2035" y="552"/>
                </a:moveTo>
                <a:cubicBezTo>
                  <a:pt x="2028" y="552"/>
                  <a:pt x="2021" y="557"/>
                  <a:pt x="2020" y="562"/>
                </a:cubicBezTo>
                <a:cubicBezTo>
                  <a:pt x="2019" y="568"/>
                  <a:pt x="2024" y="573"/>
                  <a:pt x="2031" y="573"/>
                </a:cubicBezTo>
                <a:cubicBezTo>
                  <a:pt x="2038" y="573"/>
                  <a:pt x="2045" y="568"/>
                  <a:pt x="2046" y="562"/>
                </a:cubicBezTo>
                <a:cubicBezTo>
                  <a:pt x="2047" y="557"/>
                  <a:pt x="2042" y="552"/>
                  <a:pt x="2035" y="552"/>
                </a:cubicBezTo>
                <a:cubicBezTo>
                  <a:pt x="2035" y="552"/>
                  <a:pt x="2035" y="552"/>
                  <a:pt x="2035" y="552"/>
                </a:cubicBezTo>
                <a:moveTo>
                  <a:pt x="2179" y="551"/>
                </a:moveTo>
                <a:cubicBezTo>
                  <a:pt x="2172" y="551"/>
                  <a:pt x="2166" y="556"/>
                  <a:pt x="2165" y="562"/>
                </a:cubicBezTo>
                <a:cubicBezTo>
                  <a:pt x="2164" y="567"/>
                  <a:pt x="2170" y="572"/>
                  <a:pt x="2177" y="572"/>
                </a:cubicBezTo>
                <a:cubicBezTo>
                  <a:pt x="2184" y="572"/>
                  <a:pt x="2190" y="567"/>
                  <a:pt x="2190" y="561"/>
                </a:cubicBezTo>
                <a:cubicBezTo>
                  <a:pt x="2191" y="556"/>
                  <a:pt x="2186" y="551"/>
                  <a:pt x="2179" y="551"/>
                </a:cubicBezTo>
                <a:cubicBezTo>
                  <a:pt x="2179" y="551"/>
                  <a:pt x="2179" y="551"/>
                  <a:pt x="2179" y="551"/>
                </a:cubicBezTo>
                <a:moveTo>
                  <a:pt x="2289" y="550"/>
                </a:moveTo>
                <a:cubicBezTo>
                  <a:pt x="2282" y="550"/>
                  <a:pt x="2276" y="554"/>
                  <a:pt x="2276" y="560"/>
                </a:cubicBezTo>
                <a:cubicBezTo>
                  <a:pt x="2275" y="566"/>
                  <a:pt x="2281" y="570"/>
                  <a:pt x="2288" y="570"/>
                </a:cubicBezTo>
                <a:cubicBezTo>
                  <a:pt x="2295" y="570"/>
                  <a:pt x="2301" y="566"/>
                  <a:pt x="2301" y="560"/>
                </a:cubicBezTo>
                <a:cubicBezTo>
                  <a:pt x="2302" y="554"/>
                  <a:pt x="2296" y="550"/>
                  <a:pt x="2289" y="550"/>
                </a:cubicBezTo>
                <a:cubicBezTo>
                  <a:pt x="2289" y="550"/>
                  <a:pt x="2289" y="550"/>
                  <a:pt x="2289" y="550"/>
                </a:cubicBezTo>
                <a:moveTo>
                  <a:pt x="2362" y="549"/>
                </a:moveTo>
                <a:cubicBezTo>
                  <a:pt x="2355" y="549"/>
                  <a:pt x="2349" y="554"/>
                  <a:pt x="2348" y="560"/>
                </a:cubicBezTo>
                <a:cubicBezTo>
                  <a:pt x="2348" y="565"/>
                  <a:pt x="2354" y="570"/>
                  <a:pt x="2361" y="570"/>
                </a:cubicBezTo>
                <a:cubicBezTo>
                  <a:pt x="2368" y="570"/>
                  <a:pt x="2374" y="565"/>
                  <a:pt x="2374" y="559"/>
                </a:cubicBezTo>
                <a:cubicBezTo>
                  <a:pt x="2374" y="554"/>
                  <a:pt x="2369" y="549"/>
                  <a:pt x="2362" y="549"/>
                </a:cubicBezTo>
                <a:cubicBezTo>
                  <a:pt x="2362" y="549"/>
                  <a:pt x="2362" y="549"/>
                  <a:pt x="2362" y="549"/>
                </a:cubicBezTo>
                <a:moveTo>
                  <a:pt x="2760" y="549"/>
                </a:moveTo>
                <a:cubicBezTo>
                  <a:pt x="2753" y="549"/>
                  <a:pt x="2747" y="554"/>
                  <a:pt x="2748" y="559"/>
                </a:cubicBezTo>
                <a:cubicBezTo>
                  <a:pt x="2748" y="565"/>
                  <a:pt x="2755" y="570"/>
                  <a:pt x="2762" y="569"/>
                </a:cubicBezTo>
                <a:cubicBezTo>
                  <a:pt x="2769" y="569"/>
                  <a:pt x="2774" y="565"/>
                  <a:pt x="2773" y="559"/>
                </a:cubicBezTo>
                <a:cubicBezTo>
                  <a:pt x="2773" y="554"/>
                  <a:pt x="2767" y="549"/>
                  <a:pt x="2760" y="549"/>
                </a:cubicBezTo>
                <a:cubicBezTo>
                  <a:pt x="2760" y="549"/>
                  <a:pt x="2760" y="549"/>
                  <a:pt x="2760" y="549"/>
                </a:cubicBezTo>
                <a:moveTo>
                  <a:pt x="2470" y="549"/>
                </a:moveTo>
                <a:cubicBezTo>
                  <a:pt x="2463" y="549"/>
                  <a:pt x="2457" y="553"/>
                  <a:pt x="2457" y="559"/>
                </a:cubicBezTo>
                <a:cubicBezTo>
                  <a:pt x="2457" y="565"/>
                  <a:pt x="2463" y="569"/>
                  <a:pt x="2470" y="569"/>
                </a:cubicBezTo>
                <a:cubicBezTo>
                  <a:pt x="2477" y="569"/>
                  <a:pt x="2483" y="564"/>
                  <a:pt x="2483" y="559"/>
                </a:cubicBezTo>
                <a:cubicBezTo>
                  <a:pt x="2483" y="553"/>
                  <a:pt x="2477" y="549"/>
                  <a:pt x="2470" y="549"/>
                </a:cubicBezTo>
                <a:cubicBezTo>
                  <a:pt x="2470" y="549"/>
                  <a:pt x="2470" y="549"/>
                  <a:pt x="2470" y="549"/>
                </a:cubicBezTo>
                <a:moveTo>
                  <a:pt x="2506" y="548"/>
                </a:moveTo>
                <a:cubicBezTo>
                  <a:pt x="2499" y="548"/>
                  <a:pt x="2493" y="553"/>
                  <a:pt x="2493" y="559"/>
                </a:cubicBezTo>
                <a:cubicBezTo>
                  <a:pt x="2493" y="564"/>
                  <a:pt x="2499" y="569"/>
                  <a:pt x="2506" y="569"/>
                </a:cubicBezTo>
                <a:cubicBezTo>
                  <a:pt x="2513" y="569"/>
                  <a:pt x="2519" y="564"/>
                  <a:pt x="2519" y="559"/>
                </a:cubicBezTo>
                <a:cubicBezTo>
                  <a:pt x="2519" y="553"/>
                  <a:pt x="2513" y="548"/>
                  <a:pt x="2506" y="548"/>
                </a:cubicBezTo>
                <a:cubicBezTo>
                  <a:pt x="2506" y="548"/>
                  <a:pt x="2506" y="548"/>
                  <a:pt x="2506" y="548"/>
                </a:cubicBezTo>
                <a:moveTo>
                  <a:pt x="2652" y="548"/>
                </a:moveTo>
                <a:cubicBezTo>
                  <a:pt x="2645" y="548"/>
                  <a:pt x="2639" y="553"/>
                  <a:pt x="2640" y="559"/>
                </a:cubicBezTo>
                <a:cubicBezTo>
                  <a:pt x="2640" y="564"/>
                  <a:pt x="2646" y="569"/>
                  <a:pt x="2653" y="569"/>
                </a:cubicBezTo>
                <a:cubicBezTo>
                  <a:pt x="2660" y="569"/>
                  <a:pt x="2665" y="564"/>
                  <a:pt x="2665" y="559"/>
                </a:cubicBezTo>
                <a:cubicBezTo>
                  <a:pt x="2665" y="553"/>
                  <a:pt x="2659" y="548"/>
                  <a:pt x="2652" y="548"/>
                </a:cubicBezTo>
                <a:cubicBezTo>
                  <a:pt x="2652" y="548"/>
                  <a:pt x="2652" y="548"/>
                  <a:pt x="2652" y="548"/>
                </a:cubicBezTo>
                <a:moveTo>
                  <a:pt x="2542" y="548"/>
                </a:moveTo>
                <a:cubicBezTo>
                  <a:pt x="2535" y="548"/>
                  <a:pt x="2530" y="553"/>
                  <a:pt x="2530" y="558"/>
                </a:cubicBezTo>
                <a:cubicBezTo>
                  <a:pt x="2530" y="564"/>
                  <a:pt x="2536" y="569"/>
                  <a:pt x="2543" y="569"/>
                </a:cubicBezTo>
                <a:cubicBezTo>
                  <a:pt x="2550" y="569"/>
                  <a:pt x="2555" y="564"/>
                  <a:pt x="2555" y="558"/>
                </a:cubicBezTo>
                <a:cubicBezTo>
                  <a:pt x="2555" y="553"/>
                  <a:pt x="2549" y="548"/>
                  <a:pt x="2542" y="548"/>
                </a:cubicBezTo>
                <a:cubicBezTo>
                  <a:pt x="2542" y="548"/>
                  <a:pt x="2542" y="548"/>
                  <a:pt x="2542" y="548"/>
                </a:cubicBezTo>
                <a:moveTo>
                  <a:pt x="2687" y="548"/>
                </a:moveTo>
                <a:cubicBezTo>
                  <a:pt x="2680" y="548"/>
                  <a:pt x="2675" y="553"/>
                  <a:pt x="2675" y="558"/>
                </a:cubicBezTo>
                <a:cubicBezTo>
                  <a:pt x="2676" y="564"/>
                  <a:pt x="2682" y="569"/>
                  <a:pt x="2689" y="569"/>
                </a:cubicBezTo>
                <a:cubicBezTo>
                  <a:pt x="2696" y="569"/>
                  <a:pt x="2701" y="564"/>
                  <a:pt x="2701" y="558"/>
                </a:cubicBezTo>
                <a:cubicBezTo>
                  <a:pt x="2700" y="553"/>
                  <a:pt x="2694" y="548"/>
                  <a:pt x="2688" y="548"/>
                </a:cubicBezTo>
                <a:cubicBezTo>
                  <a:pt x="2688" y="548"/>
                  <a:pt x="2687" y="548"/>
                  <a:pt x="2687" y="548"/>
                </a:cubicBezTo>
                <a:moveTo>
                  <a:pt x="2616" y="548"/>
                </a:moveTo>
                <a:cubicBezTo>
                  <a:pt x="2609" y="548"/>
                  <a:pt x="2603" y="553"/>
                  <a:pt x="2604" y="558"/>
                </a:cubicBezTo>
                <a:cubicBezTo>
                  <a:pt x="2604" y="564"/>
                  <a:pt x="2610" y="569"/>
                  <a:pt x="2617" y="569"/>
                </a:cubicBezTo>
                <a:cubicBezTo>
                  <a:pt x="2624" y="569"/>
                  <a:pt x="2629" y="564"/>
                  <a:pt x="2629" y="558"/>
                </a:cubicBezTo>
                <a:cubicBezTo>
                  <a:pt x="2629" y="553"/>
                  <a:pt x="2623" y="548"/>
                  <a:pt x="2616" y="548"/>
                </a:cubicBezTo>
                <a:cubicBezTo>
                  <a:pt x="2616" y="548"/>
                  <a:pt x="2616" y="548"/>
                  <a:pt x="2616" y="548"/>
                </a:cubicBezTo>
                <a:moveTo>
                  <a:pt x="2579" y="548"/>
                </a:moveTo>
                <a:cubicBezTo>
                  <a:pt x="2572" y="548"/>
                  <a:pt x="2566" y="553"/>
                  <a:pt x="2566" y="558"/>
                </a:cubicBezTo>
                <a:cubicBezTo>
                  <a:pt x="2567" y="564"/>
                  <a:pt x="2572" y="568"/>
                  <a:pt x="2579" y="568"/>
                </a:cubicBezTo>
                <a:cubicBezTo>
                  <a:pt x="2587" y="568"/>
                  <a:pt x="2592" y="564"/>
                  <a:pt x="2592" y="558"/>
                </a:cubicBezTo>
                <a:cubicBezTo>
                  <a:pt x="2592" y="552"/>
                  <a:pt x="2586" y="548"/>
                  <a:pt x="2579" y="548"/>
                </a:cubicBezTo>
                <a:cubicBezTo>
                  <a:pt x="2579" y="548"/>
                  <a:pt x="2579" y="548"/>
                  <a:pt x="2579" y="548"/>
                </a:cubicBezTo>
                <a:moveTo>
                  <a:pt x="2723" y="548"/>
                </a:moveTo>
                <a:cubicBezTo>
                  <a:pt x="2716" y="548"/>
                  <a:pt x="2711" y="553"/>
                  <a:pt x="2712" y="558"/>
                </a:cubicBezTo>
                <a:cubicBezTo>
                  <a:pt x="2712" y="564"/>
                  <a:pt x="2718" y="568"/>
                  <a:pt x="2725" y="568"/>
                </a:cubicBezTo>
                <a:cubicBezTo>
                  <a:pt x="2732" y="568"/>
                  <a:pt x="2737" y="564"/>
                  <a:pt x="2737" y="558"/>
                </a:cubicBezTo>
                <a:cubicBezTo>
                  <a:pt x="2736" y="552"/>
                  <a:pt x="2730" y="548"/>
                  <a:pt x="2723" y="548"/>
                </a:cubicBezTo>
                <a:cubicBezTo>
                  <a:pt x="2723" y="548"/>
                  <a:pt x="2723" y="548"/>
                  <a:pt x="2723" y="548"/>
                </a:cubicBezTo>
                <a:moveTo>
                  <a:pt x="2796" y="548"/>
                </a:moveTo>
                <a:cubicBezTo>
                  <a:pt x="2789" y="548"/>
                  <a:pt x="2784" y="552"/>
                  <a:pt x="2784" y="558"/>
                </a:cubicBezTo>
                <a:cubicBezTo>
                  <a:pt x="2785" y="564"/>
                  <a:pt x="2791" y="568"/>
                  <a:pt x="2798" y="568"/>
                </a:cubicBezTo>
                <a:cubicBezTo>
                  <a:pt x="2805" y="568"/>
                  <a:pt x="2810" y="563"/>
                  <a:pt x="2809" y="558"/>
                </a:cubicBezTo>
                <a:cubicBezTo>
                  <a:pt x="2809" y="552"/>
                  <a:pt x="2803" y="548"/>
                  <a:pt x="2796" y="548"/>
                </a:cubicBezTo>
                <a:cubicBezTo>
                  <a:pt x="2796" y="548"/>
                  <a:pt x="2796" y="548"/>
                  <a:pt x="2796" y="548"/>
                </a:cubicBezTo>
                <a:moveTo>
                  <a:pt x="2830" y="547"/>
                </a:moveTo>
                <a:cubicBezTo>
                  <a:pt x="2823" y="547"/>
                  <a:pt x="2818" y="552"/>
                  <a:pt x="2818" y="558"/>
                </a:cubicBezTo>
                <a:cubicBezTo>
                  <a:pt x="2819" y="563"/>
                  <a:pt x="2825" y="568"/>
                  <a:pt x="2832" y="568"/>
                </a:cubicBezTo>
                <a:cubicBezTo>
                  <a:pt x="2839" y="568"/>
                  <a:pt x="2844" y="563"/>
                  <a:pt x="2844" y="558"/>
                </a:cubicBezTo>
                <a:cubicBezTo>
                  <a:pt x="2843" y="552"/>
                  <a:pt x="2837" y="547"/>
                  <a:pt x="2830" y="547"/>
                </a:cubicBezTo>
                <a:cubicBezTo>
                  <a:pt x="2830" y="547"/>
                  <a:pt x="2830" y="547"/>
                  <a:pt x="2830" y="547"/>
                </a:cubicBezTo>
                <a:moveTo>
                  <a:pt x="2866" y="547"/>
                </a:moveTo>
                <a:cubicBezTo>
                  <a:pt x="2859" y="547"/>
                  <a:pt x="2854" y="552"/>
                  <a:pt x="2854" y="557"/>
                </a:cubicBezTo>
                <a:cubicBezTo>
                  <a:pt x="2855" y="563"/>
                  <a:pt x="2861" y="568"/>
                  <a:pt x="2868" y="568"/>
                </a:cubicBezTo>
                <a:cubicBezTo>
                  <a:pt x="2875" y="568"/>
                  <a:pt x="2880" y="563"/>
                  <a:pt x="2880" y="557"/>
                </a:cubicBezTo>
                <a:cubicBezTo>
                  <a:pt x="2879" y="552"/>
                  <a:pt x="2873" y="547"/>
                  <a:pt x="2866" y="547"/>
                </a:cubicBezTo>
                <a:cubicBezTo>
                  <a:pt x="2866" y="547"/>
                  <a:pt x="2866" y="547"/>
                  <a:pt x="2866" y="547"/>
                </a:cubicBezTo>
                <a:moveTo>
                  <a:pt x="2902" y="547"/>
                </a:moveTo>
                <a:cubicBezTo>
                  <a:pt x="2895" y="547"/>
                  <a:pt x="2890" y="552"/>
                  <a:pt x="2891" y="557"/>
                </a:cubicBezTo>
                <a:cubicBezTo>
                  <a:pt x="2891" y="563"/>
                  <a:pt x="2898" y="567"/>
                  <a:pt x="2905" y="567"/>
                </a:cubicBezTo>
                <a:cubicBezTo>
                  <a:pt x="2912" y="567"/>
                  <a:pt x="2917" y="563"/>
                  <a:pt x="2916" y="557"/>
                </a:cubicBezTo>
                <a:cubicBezTo>
                  <a:pt x="2915" y="551"/>
                  <a:pt x="2909" y="547"/>
                  <a:pt x="2902" y="547"/>
                </a:cubicBezTo>
                <a:cubicBezTo>
                  <a:pt x="2902" y="547"/>
                  <a:pt x="2902" y="547"/>
                  <a:pt x="2902" y="547"/>
                </a:cubicBezTo>
                <a:moveTo>
                  <a:pt x="2938" y="547"/>
                </a:moveTo>
                <a:cubicBezTo>
                  <a:pt x="2931" y="547"/>
                  <a:pt x="2926" y="551"/>
                  <a:pt x="2927" y="557"/>
                </a:cubicBezTo>
                <a:cubicBezTo>
                  <a:pt x="2928" y="563"/>
                  <a:pt x="2935" y="567"/>
                  <a:pt x="2942" y="567"/>
                </a:cubicBezTo>
                <a:cubicBezTo>
                  <a:pt x="2949" y="567"/>
                  <a:pt x="2954" y="563"/>
                  <a:pt x="2953" y="557"/>
                </a:cubicBezTo>
                <a:cubicBezTo>
                  <a:pt x="2952" y="551"/>
                  <a:pt x="2945" y="547"/>
                  <a:pt x="2938" y="547"/>
                </a:cubicBezTo>
                <a:cubicBezTo>
                  <a:pt x="2938" y="547"/>
                  <a:pt x="2938" y="547"/>
                  <a:pt x="2938" y="547"/>
                </a:cubicBezTo>
                <a:moveTo>
                  <a:pt x="2974" y="546"/>
                </a:moveTo>
                <a:cubicBezTo>
                  <a:pt x="2967" y="547"/>
                  <a:pt x="2962" y="551"/>
                  <a:pt x="2963" y="557"/>
                </a:cubicBezTo>
                <a:cubicBezTo>
                  <a:pt x="2964" y="562"/>
                  <a:pt x="2971" y="567"/>
                  <a:pt x="2978" y="567"/>
                </a:cubicBezTo>
                <a:cubicBezTo>
                  <a:pt x="2985" y="567"/>
                  <a:pt x="2990" y="562"/>
                  <a:pt x="2989" y="557"/>
                </a:cubicBezTo>
                <a:cubicBezTo>
                  <a:pt x="2988" y="551"/>
                  <a:pt x="2981" y="546"/>
                  <a:pt x="2974" y="546"/>
                </a:cubicBezTo>
                <a:cubicBezTo>
                  <a:pt x="2974" y="546"/>
                  <a:pt x="2974" y="546"/>
                  <a:pt x="2974" y="546"/>
                </a:cubicBezTo>
                <a:moveTo>
                  <a:pt x="3010" y="546"/>
                </a:moveTo>
                <a:cubicBezTo>
                  <a:pt x="3003" y="546"/>
                  <a:pt x="2999" y="551"/>
                  <a:pt x="3000" y="557"/>
                </a:cubicBezTo>
                <a:cubicBezTo>
                  <a:pt x="3001" y="562"/>
                  <a:pt x="3007" y="567"/>
                  <a:pt x="3014" y="567"/>
                </a:cubicBezTo>
                <a:cubicBezTo>
                  <a:pt x="3021" y="567"/>
                  <a:pt x="3026" y="562"/>
                  <a:pt x="3025" y="556"/>
                </a:cubicBezTo>
                <a:cubicBezTo>
                  <a:pt x="3024" y="551"/>
                  <a:pt x="3017" y="546"/>
                  <a:pt x="3010" y="546"/>
                </a:cubicBezTo>
                <a:cubicBezTo>
                  <a:pt x="3010" y="546"/>
                  <a:pt x="3010" y="546"/>
                  <a:pt x="3010" y="546"/>
                </a:cubicBezTo>
                <a:moveTo>
                  <a:pt x="3046" y="546"/>
                </a:moveTo>
                <a:cubicBezTo>
                  <a:pt x="3039" y="546"/>
                  <a:pt x="3035" y="551"/>
                  <a:pt x="3036" y="556"/>
                </a:cubicBezTo>
                <a:cubicBezTo>
                  <a:pt x="3037" y="562"/>
                  <a:pt x="3043" y="567"/>
                  <a:pt x="3050" y="567"/>
                </a:cubicBezTo>
                <a:cubicBezTo>
                  <a:pt x="3057" y="566"/>
                  <a:pt x="3062" y="562"/>
                  <a:pt x="3061" y="556"/>
                </a:cubicBezTo>
                <a:cubicBezTo>
                  <a:pt x="3060" y="551"/>
                  <a:pt x="3053" y="546"/>
                  <a:pt x="3046" y="546"/>
                </a:cubicBezTo>
                <a:cubicBezTo>
                  <a:pt x="3046" y="546"/>
                  <a:pt x="3046" y="546"/>
                  <a:pt x="3046" y="546"/>
                </a:cubicBezTo>
                <a:moveTo>
                  <a:pt x="3082" y="546"/>
                </a:moveTo>
                <a:cubicBezTo>
                  <a:pt x="3075" y="546"/>
                  <a:pt x="3071" y="550"/>
                  <a:pt x="3072" y="556"/>
                </a:cubicBezTo>
                <a:cubicBezTo>
                  <a:pt x="3073" y="562"/>
                  <a:pt x="3080" y="566"/>
                  <a:pt x="3087" y="566"/>
                </a:cubicBezTo>
                <a:cubicBezTo>
                  <a:pt x="3094" y="566"/>
                  <a:pt x="3099" y="562"/>
                  <a:pt x="3097" y="556"/>
                </a:cubicBezTo>
                <a:cubicBezTo>
                  <a:pt x="3096" y="550"/>
                  <a:pt x="3090" y="546"/>
                  <a:pt x="3083" y="546"/>
                </a:cubicBezTo>
                <a:cubicBezTo>
                  <a:pt x="3083" y="546"/>
                  <a:pt x="3083" y="546"/>
                  <a:pt x="3082" y="546"/>
                </a:cubicBezTo>
                <a:moveTo>
                  <a:pt x="3120" y="546"/>
                </a:moveTo>
                <a:cubicBezTo>
                  <a:pt x="3113" y="546"/>
                  <a:pt x="3108" y="550"/>
                  <a:pt x="3109" y="556"/>
                </a:cubicBezTo>
                <a:cubicBezTo>
                  <a:pt x="3111" y="562"/>
                  <a:pt x="3117" y="566"/>
                  <a:pt x="3124" y="566"/>
                </a:cubicBezTo>
                <a:cubicBezTo>
                  <a:pt x="3131" y="566"/>
                  <a:pt x="3136" y="561"/>
                  <a:pt x="3135" y="556"/>
                </a:cubicBezTo>
                <a:cubicBezTo>
                  <a:pt x="3133" y="550"/>
                  <a:pt x="3127" y="546"/>
                  <a:pt x="3120" y="546"/>
                </a:cubicBezTo>
                <a:cubicBezTo>
                  <a:pt x="3120" y="546"/>
                  <a:pt x="3120" y="546"/>
                  <a:pt x="3120" y="546"/>
                </a:cubicBezTo>
                <a:moveTo>
                  <a:pt x="3156" y="545"/>
                </a:moveTo>
                <a:cubicBezTo>
                  <a:pt x="3149" y="545"/>
                  <a:pt x="3144" y="550"/>
                  <a:pt x="3145" y="556"/>
                </a:cubicBezTo>
                <a:cubicBezTo>
                  <a:pt x="3147" y="561"/>
                  <a:pt x="3153" y="566"/>
                  <a:pt x="3160" y="566"/>
                </a:cubicBezTo>
                <a:cubicBezTo>
                  <a:pt x="3167" y="566"/>
                  <a:pt x="3172" y="561"/>
                  <a:pt x="3171" y="556"/>
                </a:cubicBezTo>
                <a:cubicBezTo>
                  <a:pt x="3169" y="550"/>
                  <a:pt x="3163" y="545"/>
                  <a:pt x="3156" y="545"/>
                </a:cubicBezTo>
                <a:cubicBezTo>
                  <a:pt x="3156" y="545"/>
                  <a:pt x="3156" y="545"/>
                  <a:pt x="3156" y="545"/>
                </a:cubicBezTo>
                <a:moveTo>
                  <a:pt x="3192" y="545"/>
                </a:moveTo>
                <a:cubicBezTo>
                  <a:pt x="3185" y="545"/>
                  <a:pt x="3180" y="550"/>
                  <a:pt x="3182" y="555"/>
                </a:cubicBezTo>
                <a:cubicBezTo>
                  <a:pt x="3183" y="561"/>
                  <a:pt x="3190" y="566"/>
                  <a:pt x="3197" y="566"/>
                </a:cubicBezTo>
                <a:cubicBezTo>
                  <a:pt x="3204" y="566"/>
                  <a:pt x="3208" y="561"/>
                  <a:pt x="3207" y="555"/>
                </a:cubicBezTo>
                <a:cubicBezTo>
                  <a:pt x="3206" y="550"/>
                  <a:pt x="3199" y="545"/>
                  <a:pt x="3192" y="545"/>
                </a:cubicBezTo>
                <a:cubicBezTo>
                  <a:pt x="3192" y="545"/>
                  <a:pt x="3192" y="545"/>
                  <a:pt x="3192" y="545"/>
                </a:cubicBezTo>
                <a:moveTo>
                  <a:pt x="3228" y="545"/>
                </a:moveTo>
                <a:cubicBezTo>
                  <a:pt x="3221" y="545"/>
                  <a:pt x="3217" y="550"/>
                  <a:pt x="3218" y="555"/>
                </a:cubicBezTo>
                <a:cubicBezTo>
                  <a:pt x="3220" y="561"/>
                  <a:pt x="3227" y="565"/>
                  <a:pt x="3234" y="565"/>
                </a:cubicBezTo>
                <a:cubicBezTo>
                  <a:pt x="3241" y="565"/>
                  <a:pt x="3245" y="561"/>
                  <a:pt x="3244" y="555"/>
                </a:cubicBezTo>
                <a:cubicBezTo>
                  <a:pt x="3242" y="549"/>
                  <a:pt x="3235" y="545"/>
                  <a:pt x="3228" y="545"/>
                </a:cubicBezTo>
                <a:cubicBezTo>
                  <a:pt x="3228" y="545"/>
                  <a:pt x="3228" y="545"/>
                  <a:pt x="3228" y="545"/>
                </a:cubicBezTo>
                <a:moveTo>
                  <a:pt x="3264" y="545"/>
                </a:moveTo>
                <a:cubicBezTo>
                  <a:pt x="3257" y="545"/>
                  <a:pt x="3253" y="549"/>
                  <a:pt x="3254" y="555"/>
                </a:cubicBezTo>
                <a:cubicBezTo>
                  <a:pt x="3256" y="561"/>
                  <a:pt x="3263" y="565"/>
                  <a:pt x="3270" y="565"/>
                </a:cubicBezTo>
                <a:cubicBezTo>
                  <a:pt x="3277" y="565"/>
                  <a:pt x="3281" y="561"/>
                  <a:pt x="3280" y="555"/>
                </a:cubicBezTo>
                <a:cubicBezTo>
                  <a:pt x="3278" y="549"/>
                  <a:pt x="3271" y="545"/>
                  <a:pt x="3264" y="545"/>
                </a:cubicBezTo>
                <a:cubicBezTo>
                  <a:pt x="3264" y="545"/>
                  <a:pt x="3264" y="545"/>
                  <a:pt x="3264" y="545"/>
                </a:cubicBezTo>
                <a:moveTo>
                  <a:pt x="3300" y="544"/>
                </a:moveTo>
                <a:cubicBezTo>
                  <a:pt x="3293" y="544"/>
                  <a:pt x="3289" y="549"/>
                  <a:pt x="3291" y="555"/>
                </a:cubicBezTo>
                <a:cubicBezTo>
                  <a:pt x="3292" y="560"/>
                  <a:pt x="3299" y="565"/>
                  <a:pt x="3306" y="565"/>
                </a:cubicBezTo>
                <a:cubicBezTo>
                  <a:pt x="3313" y="565"/>
                  <a:pt x="3318" y="560"/>
                  <a:pt x="3316" y="555"/>
                </a:cubicBezTo>
                <a:cubicBezTo>
                  <a:pt x="3314" y="549"/>
                  <a:pt x="3307" y="544"/>
                  <a:pt x="3300" y="544"/>
                </a:cubicBezTo>
                <a:cubicBezTo>
                  <a:pt x="3300" y="544"/>
                  <a:pt x="3300" y="544"/>
                  <a:pt x="3300" y="544"/>
                </a:cubicBezTo>
                <a:moveTo>
                  <a:pt x="3336" y="544"/>
                </a:moveTo>
                <a:cubicBezTo>
                  <a:pt x="3329" y="544"/>
                  <a:pt x="3325" y="549"/>
                  <a:pt x="3327" y="555"/>
                </a:cubicBezTo>
                <a:cubicBezTo>
                  <a:pt x="3328" y="560"/>
                  <a:pt x="3335" y="565"/>
                  <a:pt x="3342" y="565"/>
                </a:cubicBezTo>
                <a:cubicBezTo>
                  <a:pt x="3349" y="565"/>
                  <a:pt x="3354" y="560"/>
                  <a:pt x="3352" y="554"/>
                </a:cubicBezTo>
                <a:cubicBezTo>
                  <a:pt x="3350" y="549"/>
                  <a:pt x="3343" y="544"/>
                  <a:pt x="3336" y="544"/>
                </a:cubicBezTo>
                <a:cubicBezTo>
                  <a:pt x="3336" y="544"/>
                  <a:pt x="3336" y="544"/>
                  <a:pt x="3336" y="544"/>
                </a:cubicBezTo>
                <a:moveTo>
                  <a:pt x="3372" y="544"/>
                </a:moveTo>
                <a:cubicBezTo>
                  <a:pt x="3365" y="544"/>
                  <a:pt x="3361" y="549"/>
                  <a:pt x="3363" y="554"/>
                </a:cubicBezTo>
                <a:cubicBezTo>
                  <a:pt x="3365" y="560"/>
                  <a:pt x="3372" y="565"/>
                  <a:pt x="3379" y="565"/>
                </a:cubicBezTo>
                <a:cubicBezTo>
                  <a:pt x="3386" y="564"/>
                  <a:pt x="3390" y="560"/>
                  <a:pt x="3388" y="554"/>
                </a:cubicBezTo>
                <a:cubicBezTo>
                  <a:pt x="3386" y="549"/>
                  <a:pt x="3379" y="544"/>
                  <a:pt x="3372" y="544"/>
                </a:cubicBezTo>
                <a:cubicBezTo>
                  <a:pt x="3372" y="544"/>
                  <a:pt x="3372" y="544"/>
                  <a:pt x="3372" y="544"/>
                </a:cubicBezTo>
                <a:moveTo>
                  <a:pt x="3409" y="544"/>
                </a:moveTo>
                <a:cubicBezTo>
                  <a:pt x="3402" y="544"/>
                  <a:pt x="3398" y="548"/>
                  <a:pt x="3399" y="554"/>
                </a:cubicBezTo>
                <a:cubicBezTo>
                  <a:pt x="3401" y="560"/>
                  <a:pt x="3408" y="564"/>
                  <a:pt x="3416" y="564"/>
                </a:cubicBezTo>
                <a:cubicBezTo>
                  <a:pt x="3423" y="564"/>
                  <a:pt x="3427" y="560"/>
                  <a:pt x="3425" y="554"/>
                </a:cubicBezTo>
                <a:cubicBezTo>
                  <a:pt x="3423" y="548"/>
                  <a:pt x="3416" y="544"/>
                  <a:pt x="3409" y="544"/>
                </a:cubicBezTo>
                <a:cubicBezTo>
                  <a:pt x="3409" y="544"/>
                  <a:pt x="3409" y="544"/>
                  <a:pt x="3409" y="544"/>
                </a:cubicBezTo>
                <a:moveTo>
                  <a:pt x="3626" y="544"/>
                </a:moveTo>
                <a:cubicBezTo>
                  <a:pt x="3619" y="544"/>
                  <a:pt x="3615" y="548"/>
                  <a:pt x="3617" y="554"/>
                </a:cubicBezTo>
                <a:cubicBezTo>
                  <a:pt x="3620" y="560"/>
                  <a:pt x="3627" y="564"/>
                  <a:pt x="3634" y="564"/>
                </a:cubicBezTo>
                <a:cubicBezTo>
                  <a:pt x="3641" y="564"/>
                  <a:pt x="3645" y="559"/>
                  <a:pt x="3643" y="554"/>
                </a:cubicBezTo>
                <a:cubicBezTo>
                  <a:pt x="3640" y="548"/>
                  <a:pt x="3633" y="544"/>
                  <a:pt x="3626" y="544"/>
                </a:cubicBezTo>
                <a:cubicBezTo>
                  <a:pt x="3626" y="544"/>
                  <a:pt x="3626" y="544"/>
                  <a:pt x="3626" y="544"/>
                </a:cubicBezTo>
                <a:moveTo>
                  <a:pt x="3445" y="544"/>
                </a:moveTo>
                <a:cubicBezTo>
                  <a:pt x="3438" y="544"/>
                  <a:pt x="3434" y="548"/>
                  <a:pt x="3435" y="554"/>
                </a:cubicBezTo>
                <a:cubicBezTo>
                  <a:pt x="3437" y="560"/>
                  <a:pt x="3445" y="564"/>
                  <a:pt x="3452" y="564"/>
                </a:cubicBezTo>
                <a:cubicBezTo>
                  <a:pt x="3459" y="564"/>
                  <a:pt x="3463" y="559"/>
                  <a:pt x="3461" y="554"/>
                </a:cubicBezTo>
                <a:cubicBezTo>
                  <a:pt x="3459" y="548"/>
                  <a:pt x="3452" y="544"/>
                  <a:pt x="3445" y="544"/>
                </a:cubicBezTo>
                <a:cubicBezTo>
                  <a:pt x="3445" y="544"/>
                  <a:pt x="3445" y="544"/>
                  <a:pt x="3445" y="544"/>
                </a:cubicBezTo>
                <a:moveTo>
                  <a:pt x="3662" y="543"/>
                </a:moveTo>
                <a:cubicBezTo>
                  <a:pt x="3655" y="543"/>
                  <a:pt x="3651" y="548"/>
                  <a:pt x="3653" y="554"/>
                </a:cubicBezTo>
                <a:cubicBezTo>
                  <a:pt x="3656" y="559"/>
                  <a:pt x="3663" y="564"/>
                  <a:pt x="3670" y="564"/>
                </a:cubicBezTo>
                <a:cubicBezTo>
                  <a:pt x="3677" y="564"/>
                  <a:pt x="3681" y="559"/>
                  <a:pt x="3679" y="554"/>
                </a:cubicBezTo>
                <a:cubicBezTo>
                  <a:pt x="3676" y="548"/>
                  <a:pt x="3669" y="543"/>
                  <a:pt x="3662" y="543"/>
                </a:cubicBezTo>
                <a:cubicBezTo>
                  <a:pt x="3662" y="543"/>
                  <a:pt x="3662" y="543"/>
                  <a:pt x="3662" y="543"/>
                </a:cubicBezTo>
                <a:moveTo>
                  <a:pt x="3481" y="543"/>
                </a:moveTo>
                <a:cubicBezTo>
                  <a:pt x="3474" y="543"/>
                  <a:pt x="3470" y="548"/>
                  <a:pt x="3472" y="554"/>
                </a:cubicBezTo>
                <a:cubicBezTo>
                  <a:pt x="3474" y="559"/>
                  <a:pt x="3481" y="564"/>
                  <a:pt x="3488" y="564"/>
                </a:cubicBezTo>
                <a:cubicBezTo>
                  <a:pt x="3495" y="564"/>
                  <a:pt x="3499" y="559"/>
                  <a:pt x="3497" y="553"/>
                </a:cubicBezTo>
                <a:cubicBezTo>
                  <a:pt x="3495" y="548"/>
                  <a:pt x="3488" y="543"/>
                  <a:pt x="3481" y="543"/>
                </a:cubicBezTo>
                <a:cubicBezTo>
                  <a:pt x="3481" y="543"/>
                  <a:pt x="3481" y="543"/>
                  <a:pt x="3481" y="543"/>
                </a:cubicBezTo>
                <a:moveTo>
                  <a:pt x="3698" y="543"/>
                </a:moveTo>
                <a:cubicBezTo>
                  <a:pt x="3691" y="543"/>
                  <a:pt x="3687" y="548"/>
                  <a:pt x="3690" y="554"/>
                </a:cubicBezTo>
                <a:cubicBezTo>
                  <a:pt x="3692" y="559"/>
                  <a:pt x="3700" y="564"/>
                  <a:pt x="3707" y="564"/>
                </a:cubicBezTo>
                <a:cubicBezTo>
                  <a:pt x="3714" y="564"/>
                  <a:pt x="3717" y="559"/>
                  <a:pt x="3715" y="553"/>
                </a:cubicBezTo>
                <a:cubicBezTo>
                  <a:pt x="3712" y="548"/>
                  <a:pt x="3705" y="543"/>
                  <a:pt x="3698" y="543"/>
                </a:cubicBezTo>
                <a:cubicBezTo>
                  <a:pt x="3698" y="543"/>
                  <a:pt x="3698" y="543"/>
                  <a:pt x="3698" y="543"/>
                </a:cubicBezTo>
                <a:moveTo>
                  <a:pt x="3517" y="543"/>
                </a:moveTo>
                <a:cubicBezTo>
                  <a:pt x="3510" y="543"/>
                  <a:pt x="3506" y="548"/>
                  <a:pt x="3508" y="553"/>
                </a:cubicBezTo>
                <a:cubicBezTo>
                  <a:pt x="3510" y="559"/>
                  <a:pt x="3517" y="564"/>
                  <a:pt x="3524" y="564"/>
                </a:cubicBezTo>
                <a:cubicBezTo>
                  <a:pt x="3531" y="564"/>
                  <a:pt x="3535" y="559"/>
                  <a:pt x="3533" y="553"/>
                </a:cubicBezTo>
                <a:cubicBezTo>
                  <a:pt x="3531" y="548"/>
                  <a:pt x="3524" y="543"/>
                  <a:pt x="3517" y="543"/>
                </a:cubicBezTo>
                <a:cubicBezTo>
                  <a:pt x="3517" y="543"/>
                  <a:pt x="3517" y="543"/>
                  <a:pt x="3517" y="543"/>
                </a:cubicBezTo>
                <a:moveTo>
                  <a:pt x="3736" y="543"/>
                </a:moveTo>
                <a:cubicBezTo>
                  <a:pt x="3729" y="543"/>
                  <a:pt x="3726" y="548"/>
                  <a:pt x="3728" y="553"/>
                </a:cubicBezTo>
                <a:cubicBezTo>
                  <a:pt x="3731" y="559"/>
                  <a:pt x="3738" y="564"/>
                  <a:pt x="3745" y="563"/>
                </a:cubicBezTo>
                <a:cubicBezTo>
                  <a:pt x="3752" y="563"/>
                  <a:pt x="3756" y="559"/>
                  <a:pt x="3753" y="553"/>
                </a:cubicBezTo>
                <a:cubicBezTo>
                  <a:pt x="3751" y="547"/>
                  <a:pt x="3743" y="543"/>
                  <a:pt x="3736" y="543"/>
                </a:cubicBezTo>
                <a:cubicBezTo>
                  <a:pt x="3736" y="543"/>
                  <a:pt x="3736" y="543"/>
                  <a:pt x="3736" y="543"/>
                </a:cubicBezTo>
                <a:moveTo>
                  <a:pt x="3553" y="543"/>
                </a:moveTo>
                <a:cubicBezTo>
                  <a:pt x="3546" y="543"/>
                  <a:pt x="3542" y="548"/>
                  <a:pt x="3544" y="553"/>
                </a:cubicBezTo>
                <a:cubicBezTo>
                  <a:pt x="3546" y="559"/>
                  <a:pt x="3554" y="563"/>
                  <a:pt x="3561" y="563"/>
                </a:cubicBezTo>
                <a:cubicBezTo>
                  <a:pt x="3568" y="563"/>
                  <a:pt x="3572" y="559"/>
                  <a:pt x="3569" y="553"/>
                </a:cubicBezTo>
                <a:cubicBezTo>
                  <a:pt x="3567" y="547"/>
                  <a:pt x="3560" y="543"/>
                  <a:pt x="3553" y="543"/>
                </a:cubicBezTo>
                <a:cubicBezTo>
                  <a:pt x="3553" y="543"/>
                  <a:pt x="3553" y="543"/>
                  <a:pt x="3553" y="543"/>
                </a:cubicBezTo>
                <a:moveTo>
                  <a:pt x="3772" y="543"/>
                </a:moveTo>
                <a:cubicBezTo>
                  <a:pt x="3765" y="543"/>
                  <a:pt x="3761" y="547"/>
                  <a:pt x="3764" y="553"/>
                </a:cubicBezTo>
                <a:cubicBezTo>
                  <a:pt x="3766" y="559"/>
                  <a:pt x="3774" y="563"/>
                  <a:pt x="3781" y="563"/>
                </a:cubicBezTo>
                <a:cubicBezTo>
                  <a:pt x="3788" y="563"/>
                  <a:pt x="3792" y="559"/>
                  <a:pt x="3789" y="553"/>
                </a:cubicBezTo>
                <a:cubicBezTo>
                  <a:pt x="3786" y="547"/>
                  <a:pt x="3779" y="543"/>
                  <a:pt x="3772" y="543"/>
                </a:cubicBezTo>
                <a:cubicBezTo>
                  <a:pt x="3772" y="543"/>
                  <a:pt x="3772" y="543"/>
                  <a:pt x="3772" y="543"/>
                </a:cubicBezTo>
                <a:moveTo>
                  <a:pt x="3589" y="543"/>
                </a:moveTo>
                <a:cubicBezTo>
                  <a:pt x="3582" y="543"/>
                  <a:pt x="3578" y="547"/>
                  <a:pt x="3581" y="553"/>
                </a:cubicBezTo>
                <a:cubicBezTo>
                  <a:pt x="3583" y="559"/>
                  <a:pt x="3590" y="563"/>
                  <a:pt x="3597" y="563"/>
                </a:cubicBezTo>
                <a:cubicBezTo>
                  <a:pt x="3604" y="563"/>
                  <a:pt x="3608" y="558"/>
                  <a:pt x="3606" y="553"/>
                </a:cubicBezTo>
                <a:cubicBezTo>
                  <a:pt x="3604" y="547"/>
                  <a:pt x="3596" y="543"/>
                  <a:pt x="3589" y="543"/>
                </a:cubicBezTo>
                <a:cubicBezTo>
                  <a:pt x="3589" y="543"/>
                  <a:pt x="3589" y="543"/>
                  <a:pt x="3589" y="543"/>
                </a:cubicBezTo>
                <a:moveTo>
                  <a:pt x="3808" y="542"/>
                </a:moveTo>
                <a:cubicBezTo>
                  <a:pt x="3801" y="543"/>
                  <a:pt x="3797" y="547"/>
                  <a:pt x="3800" y="553"/>
                </a:cubicBezTo>
                <a:cubicBezTo>
                  <a:pt x="3802" y="559"/>
                  <a:pt x="3810" y="563"/>
                  <a:pt x="3817" y="563"/>
                </a:cubicBezTo>
                <a:cubicBezTo>
                  <a:pt x="3824" y="563"/>
                  <a:pt x="3828" y="558"/>
                  <a:pt x="3825" y="553"/>
                </a:cubicBezTo>
                <a:cubicBezTo>
                  <a:pt x="3822" y="547"/>
                  <a:pt x="3815" y="542"/>
                  <a:pt x="3808" y="542"/>
                </a:cubicBezTo>
                <a:cubicBezTo>
                  <a:pt x="3808" y="542"/>
                  <a:pt x="3808" y="542"/>
                  <a:pt x="3808" y="542"/>
                </a:cubicBezTo>
                <a:moveTo>
                  <a:pt x="3844" y="542"/>
                </a:moveTo>
                <a:cubicBezTo>
                  <a:pt x="3837" y="542"/>
                  <a:pt x="3833" y="547"/>
                  <a:pt x="3836" y="553"/>
                </a:cubicBezTo>
                <a:cubicBezTo>
                  <a:pt x="3839" y="558"/>
                  <a:pt x="3847" y="563"/>
                  <a:pt x="3854" y="563"/>
                </a:cubicBezTo>
                <a:cubicBezTo>
                  <a:pt x="3861" y="563"/>
                  <a:pt x="3864" y="558"/>
                  <a:pt x="3861" y="552"/>
                </a:cubicBezTo>
                <a:cubicBezTo>
                  <a:pt x="3859" y="547"/>
                  <a:pt x="3851" y="542"/>
                  <a:pt x="3844" y="542"/>
                </a:cubicBezTo>
                <a:cubicBezTo>
                  <a:pt x="3844" y="542"/>
                  <a:pt x="3844" y="542"/>
                  <a:pt x="3844" y="542"/>
                </a:cubicBezTo>
                <a:moveTo>
                  <a:pt x="3880" y="542"/>
                </a:moveTo>
                <a:cubicBezTo>
                  <a:pt x="3873" y="542"/>
                  <a:pt x="3870" y="547"/>
                  <a:pt x="3873" y="552"/>
                </a:cubicBezTo>
                <a:cubicBezTo>
                  <a:pt x="3875" y="558"/>
                  <a:pt x="3883" y="563"/>
                  <a:pt x="3890" y="563"/>
                </a:cubicBezTo>
                <a:cubicBezTo>
                  <a:pt x="3897" y="563"/>
                  <a:pt x="3901" y="558"/>
                  <a:pt x="3898" y="552"/>
                </a:cubicBezTo>
                <a:cubicBezTo>
                  <a:pt x="3895" y="547"/>
                  <a:pt x="3887" y="542"/>
                  <a:pt x="3880" y="542"/>
                </a:cubicBezTo>
                <a:cubicBezTo>
                  <a:pt x="3880" y="542"/>
                  <a:pt x="3880" y="542"/>
                  <a:pt x="3880" y="542"/>
                </a:cubicBezTo>
                <a:moveTo>
                  <a:pt x="3916" y="542"/>
                </a:moveTo>
                <a:cubicBezTo>
                  <a:pt x="3909" y="542"/>
                  <a:pt x="3906" y="546"/>
                  <a:pt x="3909" y="552"/>
                </a:cubicBezTo>
                <a:cubicBezTo>
                  <a:pt x="3911" y="558"/>
                  <a:pt x="3919" y="562"/>
                  <a:pt x="3926" y="562"/>
                </a:cubicBezTo>
                <a:cubicBezTo>
                  <a:pt x="3933" y="562"/>
                  <a:pt x="3937" y="558"/>
                  <a:pt x="3934" y="552"/>
                </a:cubicBezTo>
                <a:cubicBezTo>
                  <a:pt x="3931" y="546"/>
                  <a:pt x="3923" y="542"/>
                  <a:pt x="3916" y="542"/>
                </a:cubicBezTo>
                <a:cubicBezTo>
                  <a:pt x="3916" y="542"/>
                  <a:pt x="3916" y="542"/>
                  <a:pt x="3916" y="542"/>
                </a:cubicBezTo>
                <a:moveTo>
                  <a:pt x="3988" y="541"/>
                </a:moveTo>
                <a:cubicBezTo>
                  <a:pt x="3981" y="541"/>
                  <a:pt x="3978" y="546"/>
                  <a:pt x="3981" y="552"/>
                </a:cubicBezTo>
                <a:cubicBezTo>
                  <a:pt x="3984" y="557"/>
                  <a:pt x="3992" y="562"/>
                  <a:pt x="3999" y="562"/>
                </a:cubicBezTo>
                <a:cubicBezTo>
                  <a:pt x="4006" y="562"/>
                  <a:pt x="4009" y="557"/>
                  <a:pt x="4006" y="552"/>
                </a:cubicBezTo>
                <a:cubicBezTo>
                  <a:pt x="4003" y="546"/>
                  <a:pt x="3995" y="541"/>
                  <a:pt x="3988" y="541"/>
                </a:cubicBezTo>
                <a:cubicBezTo>
                  <a:pt x="3988" y="541"/>
                  <a:pt x="3988" y="541"/>
                  <a:pt x="3988" y="541"/>
                </a:cubicBezTo>
                <a:moveTo>
                  <a:pt x="4203" y="537"/>
                </a:moveTo>
                <a:cubicBezTo>
                  <a:pt x="4196" y="537"/>
                  <a:pt x="4193" y="541"/>
                  <a:pt x="4196" y="547"/>
                </a:cubicBezTo>
                <a:cubicBezTo>
                  <a:pt x="4200" y="553"/>
                  <a:pt x="4208" y="557"/>
                  <a:pt x="4215" y="557"/>
                </a:cubicBezTo>
                <a:cubicBezTo>
                  <a:pt x="4222" y="557"/>
                  <a:pt x="4225" y="553"/>
                  <a:pt x="4222" y="547"/>
                </a:cubicBezTo>
                <a:cubicBezTo>
                  <a:pt x="4218" y="541"/>
                  <a:pt x="4210" y="537"/>
                  <a:pt x="4203" y="537"/>
                </a:cubicBezTo>
                <a:cubicBezTo>
                  <a:pt x="4203" y="537"/>
                  <a:pt x="4203" y="537"/>
                  <a:pt x="4203" y="537"/>
                </a:cubicBezTo>
                <a:moveTo>
                  <a:pt x="174" y="535"/>
                </a:moveTo>
                <a:cubicBezTo>
                  <a:pt x="167" y="535"/>
                  <a:pt x="157" y="540"/>
                  <a:pt x="152" y="545"/>
                </a:cubicBezTo>
                <a:cubicBezTo>
                  <a:pt x="148" y="551"/>
                  <a:pt x="150" y="555"/>
                  <a:pt x="157" y="555"/>
                </a:cubicBezTo>
                <a:cubicBezTo>
                  <a:pt x="164" y="555"/>
                  <a:pt x="173" y="551"/>
                  <a:pt x="178" y="545"/>
                </a:cubicBezTo>
                <a:cubicBezTo>
                  <a:pt x="182" y="540"/>
                  <a:pt x="180" y="535"/>
                  <a:pt x="174" y="535"/>
                </a:cubicBezTo>
                <a:cubicBezTo>
                  <a:pt x="174" y="535"/>
                  <a:pt x="174" y="535"/>
                  <a:pt x="174" y="535"/>
                </a:cubicBezTo>
                <a:moveTo>
                  <a:pt x="209" y="535"/>
                </a:moveTo>
                <a:cubicBezTo>
                  <a:pt x="202" y="535"/>
                  <a:pt x="193" y="539"/>
                  <a:pt x="188" y="545"/>
                </a:cubicBezTo>
                <a:cubicBezTo>
                  <a:pt x="184" y="551"/>
                  <a:pt x="186" y="555"/>
                  <a:pt x="193" y="555"/>
                </a:cubicBezTo>
                <a:cubicBezTo>
                  <a:pt x="200" y="555"/>
                  <a:pt x="209" y="550"/>
                  <a:pt x="214" y="545"/>
                </a:cubicBezTo>
                <a:cubicBezTo>
                  <a:pt x="218" y="539"/>
                  <a:pt x="216" y="535"/>
                  <a:pt x="209" y="535"/>
                </a:cubicBezTo>
                <a:cubicBezTo>
                  <a:pt x="209" y="535"/>
                  <a:pt x="209" y="535"/>
                  <a:pt x="209" y="535"/>
                </a:cubicBezTo>
                <a:moveTo>
                  <a:pt x="247" y="535"/>
                </a:moveTo>
                <a:cubicBezTo>
                  <a:pt x="240" y="535"/>
                  <a:pt x="230" y="539"/>
                  <a:pt x="226" y="545"/>
                </a:cubicBezTo>
                <a:cubicBezTo>
                  <a:pt x="221" y="550"/>
                  <a:pt x="223" y="555"/>
                  <a:pt x="230" y="555"/>
                </a:cubicBezTo>
                <a:cubicBezTo>
                  <a:pt x="237" y="555"/>
                  <a:pt x="247" y="550"/>
                  <a:pt x="251" y="545"/>
                </a:cubicBezTo>
                <a:cubicBezTo>
                  <a:pt x="256" y="539"/>
                  <a:pt x="254" y="535"/>
                  <a:pt x="247" y="535"/>
                </a:cubicBezTo>
                <a:cubicBezTo>
                  <a:pt x="247" y="535"/>
                  <a:pt x="247" y="535"/>
                  <a:pt x="247" y="535"/>
                </a:cubicBezTo>
                <a:moveTo>
                  <a:pt x="282" y="534"/>
                </a:moveTo>
                <a:cubicBezTo>
                  <a:pt x="276" y="534"/>
                  <a:pt x="266" y="539"/>
                  <a:pt x="262" y="545"/>
                </a:cubicBezTo>
                <a:cubicBezTo>
                  <a:pt x="257" y="550"/>
                  <a:pt x="259" y="555"/>
                  <a:pt x="266" y="555"/>
                </a:cubicBezTo>
                <a:cubicBezTo>
                  <a:pt x="273" y="555"/>
                  <a:pt x="283" y="550"/>
                  <a:pt x="287" y="544"/>
                </a:cubicBezTo>
                <a:cubicBezTo>
                  <a:pt x="291" y="539"/>
                  <a:pt x="289" y="534"/>
                  <a:pt x="283" y="534"/>
                </a:cubicBezTo>
                <a:cubicBezTo>
                  <a:pt x="283" y="534"/>
                  <a:pt x="282" y="534"/>
                  <a:pt x="282" y="534"/>
                </a:cubicBezTo>
                <a:moveTo>
                  <a:pt x="318" y="534"/>
                </a:moveTo>
                <a:cubicBezTo>
                  <a:pt x="311" y="534"/>
                  <a:pt x="302" y="539"/>
                  <a:pt x="298" y="544"/>
                </a:cubicBezTo>
                <a:cubicBezTo>
                  <a:pt x="293" y="550"/>
                  <a:pt x="296" y="554"/>
                  <a:pt x="303" y="554"/>
                </a:cubicBezTo>
                <a:cubicBezTo>
                  <a:pt x="310" y="554"/>
                  <a:pt x="319" y="550"/>
                  <a:pt x="323" y="544"/>
                </a:cubicBezTo>
                <a:cubicBezTo>
                  <a:pt x="327" y="539"/>
                  <a:pt x="325" y="534"/>
                  <a:pt x="319" y="534"/>
                </a:cubicBezTo>
                <a:cubicBezTo>
                  <a:pt x="318" y="534"/>
                  <a:pt x="318" y="534"/>
                  <a:pt x="318" y="534"/>
                </a:cubicBezTo>
                <a:moveTo>
                  <a:pt x="354" y="534"/>
                </a:moveTo>
                <a:cubicBezTo>
                  <a:pt x="347" y="534"/>
                  <a:pt x="338" y="538"/>
                  <a:pt x="334" y="544"/>
                </a:cubicBezTo>
                <a:cubicBezTo>
                  <a:pt x="329" y="550"/>
                  <a:pt x="332" y="554"/>
                  <a:pt x="339" y="554"/>
                </a:cubicBezTo>
                <a:cubicBezTo>
                  <a:pt x="346" y="554"/>
                  <a:pt x="355" y="550"/>
                  <a:pt x="359" y="544"/>
                </a:cubicBezTo>
                <a:cubicBezTo>
                  <a:pt x="363" y="538"/>
                  <a:pt x="361" y="534"/>
                  <a:pt x="354" y="534"/>
                </a:cubicBezTo>
                <a:cubicBezTo>
                  <a:pt x="354" y="534"/>
                  <a:pt x="354" y="534"/>
                  <a:pt x="354" y="534"/>
                </a:cubicBezTo>
                <a:moveTo>
                  <a:pt x="390" y="534"/>
                </a:moveTo>
                <a:cubicBezTo>
                  <a:pt x="383" y="534"/>
                  <a:pt x="374" y="538"/>
                  <a:pt x="370" y="544"/>
                </a:cubicBezTo>
                <a:cubicBezTo>
                  <a:pt x="366" y="549"/>
                  <a:pt x="368" y="554"/>
                  <a:pt x="375" y="554"/>
                </a:cubicBezTo>
                <a:cubicBezTo>
                  <a:pt x="382" y="554"/>
                  <a:pt x="391" y="549"/>
                  <a:pt x="395" y="544"/>
                </a:cubicBezTo>
                <a:cubicBezTo>
                  <a:pt x="399" y="538"/>
                  <a:pt x="397" y="534"/>
                  <a:pt x="390" y="534"/>
                </a:cubicBezTo>
                <a:cubicBezTo>
                  <a:pt x="390" y="534"/>
                  <a:pt x="390" y="534"/>
                  <a:pt x="390" y="534"/>
                </a:cubicBezTo>
                <a:moveTo>
                  <a:pt x="427" y="533"/>
                </a:moveTo>
                <a:cubicBezTo>
                  <a:pt x="420" y="533"/>
                  <a:pt x="411" y="538"/>
                  <a:pt x="407" y="544"/>
                </a:cubicBezTo>
                <a:cubicBezTo>
                  <a:pt x="403" y="549"/>
                  <a:pt x="405" y="554"/>
                  <a:pt x="412" y="554"/>
                </a:cubicBezTo>
                <a:cubicBezTo>
                  <a:pt x="419" y="554"/>
                  <a:pt x="428" y="549"/>
                  <a:pt x="432" y="543"/>
                </a:cubicBezTo>
                <a:cubicBezTo>
                  <a:pt x="436" y="538"/>
                  <a:pt x="434" y="533"/>
                  <a:pt x="427" y="533"/>
                </a:cubicBezTo>
                <a:cubicBezTo>
                  <a:pt x="427" y="533"/>
                  <a:pt x="427" y="533"/>
                  <a:pt x="427" y="533"/>
                </a:cubicBezTo>
                <a:moveTo>
                  <a:pt x="463" y="533"/>
                </a:moveTo>
                <a:cubicBezTo>
                  <a:pt x="456" y="533"/>
                  <a:pt x="447" y="538"/>
                  <a:pt x="443" y="543"/>
                </a:cubicBezTo>
                <a:cubicBezTo>
                  <a:pt x="439" y="549"/>
                  <a:pt x="441" y="553"/>
                  <a:pt x="448" y="553"/>
                </a:cubicBezTo>
                <a:cubicBezTo>
                  <a:pt x="455" y="553"/>
                  <a:pt x="464" y="549"/>
                  <a:pt x="468" y="543"/>
                </a:cubicBezTo>
                <a:cubicBezTo>
                  <a:pt x="472" y="538"/>
                  <a:pt x="470" y="533"/>
                  <a:pt x="463" y="533"/>
                </a:cubicBezTo>
                <a:cubicBezTo>
                  <a:pt x="463" y="533"/>
                  <a:pt x="463" y="533"/>
                  <a:pt x="463" y="533"/>
                </a:cubicBezTo>
                <a:moveTo>
                  <a:pt x="499" y="533"/>
                </a:moveTo>
                <a:cubicBezTo>
                  <a:pt x="492" y="533"/>
                  <a:pt x="483" y="538"/>
                  <a:pt x="479" y="543"/>
                </a:cubicBezTo>
                <a:cubicBezTo>
                  <a:pt x="475" y="549"/>
                  <a:pt x="477" y="553"/>
                  <a:pt x="484" y="553"/>
                </a:cubicBezTo>
                <a:cubicBezTo>
                  <a:pt x="491" y="553"/>
                  <a:pt x="500" y="549"/>
                  <a:pt x="504" y="543"/>
                </a:cubicBezTo>
                <a:cubicBezTo>
                  <a:pt x="508" y="537"/>
                  <a:pt x="506" y="533"/>
                  <a:pt x="499" y="533"/>
                </a:cubicBezTo>
                <a:cubicBezTo>
                  <a:pt x="499" y="533"/>
                  <a:pt x="499" y="533"/>
                  <a:pt x="499" y="533"/>
                </a:cubicBezTo>
                <a:moveTo>
                  <a:pt x="535" y="533"/>
                </a:moveTo>
                <a:cubicBezTo>
                  <a:pt x="528" y="533"/>
                  <a:pt x="520" y="537"/>
                  <a:pt x="516" y="543"/>
                </a:cubicBezTo>
                <a:cubicBezTo>
                  <a:pt x="512" y="549"/>
                  <a:pt x="514" y="553"/>
                  <a:pt x="521" y="553"/>
                </a:cubicBezTo>
                <a:cubicBezTo>
                  <a:pt x="528" y="553"/>
                  <a:pt x="537" y="548"/>
                  <a:pt x="541" y="543"/>
                </a:cubicBezTo>
                <a:cubicBezTo>
                  <a:pt x="545" y="537"/>
                  <a:pt x="542" y="533"/>
                  <a:pt x="535" y="533"/>
                </a:cubicBezTo>
                <a:cubicBezTo>
                  <a:pt x="535" y="533"/>
                  <a:pt x="535" y="533"/>
                  <a:pt x="535" y="533"/>
                </a:cubicBezTo>
                <a:moveTo>
                  <a:pt x="571" y="532"/>
                </a:moveTo>
                <a:cubicBezTo>
                  <a:pt x="564" y="533"/>
                  <a:pt x="555" y="537"/>
                  <a:pt x="551" y="543"/>
                </a:cubicBezTo>
                <a:cubicBezTo>
                  <a:pt x="548" y="548"/>
                  <a:pt x="550" y="553"/>
                  <a:pt x="557" y="553"/>
                </a:cubicBezTo>
                <a:cubicBezTo>
                  <a:pt x="564" y="553"/>
                  <a:pt x="573" y="548"/>
                  <a:pt x="577" y="543"/>
                </a:cubicBezTo>
                <a:cubicBezTo>
                  <a:pt x="581" y="537"/>
                  <a:pt x="578" y="532"/>
                  <a:pt x="571" y="532"/>
                </a:cubicBezTo>
                <a:cubicBezTo>
                  <a:pt x="571" y="532"/>
                  <a:pt x="571" y="532"/>
                  <a:pt x="571" y="532"/>
                </a:cubicBezTo>
                <a:moveTo>
                  <a:pt x="607" y="532"/>
                </a:moveTo>
                <a:cubicBezTo>
                  <a:pt x="600" y="532"/>
                  <a:pt x="591" y="537"/>
                  <a:pt x="588" y="542"/>
                </a:cubicBezTo>
                <a:cubicBezTo>
                  <a:pt x="584" y="548"/>
                  <a:pt x="586" y="553"/>
                  <a:pt x="593" y="553"/>
                </a:cubicBezTo>
                <a:cubicBezTo>
                  <a:pt x="600" y="552"/>
                  <a:pt x="609" y="548"/>
                  <a:pt x="613" y="542"/>
                </a:cubicBezTo>
                <a:cubicBezTo>
                  <a:pt x="616" y="537"/>
                  <a:pt x="614" y="532"/>
                  <a:pt x="607" y="532"/>
                </a:cubicBezTo>
                <a:cubicBezTo>
                  <a:pt x="607" y="532"/>
                  <a:pt x="607" y="532"/>
                  <a:pt x="607" y="532"/>
                </a:cubicBezTo>
                <a:moveTo>
                  <a:pt x="643" y="532"/>
                </a:moveTo>
                <a:cubicBezTo>
                  <a:pt x="636" y="532"/>
                  <a:pt x="627" y="537"/>
                  <a:pt x="623" y="542"/>
                </a:cubicBezTo>
                <a:cubicBezTo>
                  <a:pt x="620" y="548"/>
                  <a:pt x="622" y="552"/>
                  <a:pt x="629" y="552"/>
                </a:cubicBezTo>
                <a:cubicBezTo>
                  <a:pt x="636" y="552"/>
                  <a:pt x="645" y="548"/>
                  <a:pt x="649" y="542"/>
                </a:cubicBezTo>
                <a:cubicBezTo>
                  <a:pt x="652" y="537"/>
                  <a:pt x="650" y="532"/>
                  <a:pt x="643" y="532"/>
                </a:cubicBezTo>
                <a:cubicBezTo>
                  <a:pt x="643" y="532"/>
                  <a:pt x="643" y="532"/>
                  <a:pt x="643" y="532"/>
                </a:cubicBezTo>
                <a:moveTo>
                  <a:pt x="679" y="532"/>
                </a:moveTo>
                <a:cubicBezTo>
                  <a:pt x="672" y="532"/>
                  <a:pt x="663" y="536"/>
                  <a:pt x="659" y="542"/>
                </a:cubicBezTo>
                <a:cubicBezTo>
                  <a:pt x="656" y="548"/>
                  <a:pt x="658" y="552"/>
                  <a:pt x="665" y="552"/>
                </a:cubicBezTo>
                <a:cubicBezTo>
                  <a:pt x="672" y="552"/>
                  <a:pt x="681" y="547"/>
                  <a:pt x="685" y="542"/>
                </a:cubicBezTo>
                <a:cubicBezTo>
                  <a:pt x="688" y="536"/>
                  <a:pt x="686" y="532"/>
                  <a:pt x="679" y="532"/>
                </a:cubicBezTo>
                <a:cubicBezTo>
                  <a:pt x="679" y="532"/>
                  <a:pt x="679" y="532"/>
                  <a:pt x="679" y="532"/>
                </a:cubicBezTo>
                <a:moveTo>
                  <a:pt x="715" y="532"/>
                </a:moveTo>
                <a:cubicBezTo>
                  <a:pt x="708" y="532"/>
                  <a:pt x="700" y="536"/>
                  <a:pt x="696" y="542"/>
                </a:cubicBezTo>
                <a:cubicBezTo>
                  <a:pt x="692" y="547"/>
                  <a:pt x="695" y="552"/>
                  <a:pt x="702" y="552"/>
                </a:cubicBezTo>
                <a:cubicBezTo>
                  <a:pt x="709" y="552"/>
                  <a:pt x="718" y="547"/>
                  <a:pt x="721" y="542"/>
                </a:cubicBezTo>
                <a:cubicBezTo>
                  <a:pt x="725" y="536"/>
                  <a:pt x="722" y="532"/>
                  <a:pt x="715" y="532"/>
                </a:cubicBezTo>
                <a:cubicBezTo>
                  <a:pt x="715" y="532"/>
                  <a:pt x="715" y="532"/>
                  <a:pt x="715" y="532"/>
                </a:cubicBezTo>
                <a:moveTo>
                  <a:pt x="751" y="531"/>
                </a:moveTo>
                <a:cubicBezTo>
                  <a:pt x="744" y="531"/>
                  <a:pt x="735" y="536"/>
                  <a:pt x="732" y="542"/>
                </a:cubicBezTo>
                <a:cubicBezTo>
                  <a:pt x="728" y="547"/>
                  <a:pt x="731" y="552"/>
                  <a:pt x="738" y="552"/>
                </a:cubicBezTo>
                <a:cubicBezTo>
                  <a:pt x="745" y="552"/>
                  <a:pt x="754" y="547"/>
                  <a:pt x="757" y="541"/>
                </a:cubicBezTo>
                <a:cubicBezTo>
                  <a:pt x="760" y="536"/>
                  <a:pt x="758" y="531"/>
                  <a:pt x="751" y="531"/>
                </a:cubicBezTo>
                <a:cubicBezTo>
                  <a:pt x="751" y="531"/>
                  <a:pt x="751" y="531"/>
                  <a:pt x="751" y="531"/>
                </a:cubicBezTo>
                <a:moveTo>
                  <a:pt x="785" y="531"/>
                </a:moveTo>
                <a:cubicBezTo>
                  <a:pt x="778" y="531"/>
                  <a:pt x="769" y="536"/>
                  <a:pt x="766" y="541"/>
                </a:cubicBezTo>
                <a:cubicBezTo>
                  <a:pt x="762" y="547"/>
                  <a:pt x="765" y="551"/>
                  <a:pt x="772" y="551"/>
                </a:cubicBezTo>
                <a:cubicBezTo>
                  <a:pt x="779" y="551"/>
                  <a:pt x="788" y="547"/>
                  <a:pt x="791" y="541"/>
                </a:cubicBezTo>
                <a:cubicBezTo>
                  <a:pt x="795" y="536"/>
                  <a:pt x="792" y="531"/>
                  <a:pt x="785" y="531"/>
                </a:cubicBezTo>
                <a:cubicBezTo>
                  <a:pt x="785" y="531"/>
                  <a:pt x="785" y="531"/>
                  <a:pt x="785" y="531"/>
                </a:cubicBezTo>
                <a:moveTo>
                  <a:pt x="821" y="531"/>
                </a:moveTo>
                <a:cubicBezTo>
                  <a:pt x="814" y="531"/>
                  <a:pt x="806" y="536"/>
                  <a:pt x="802" y="541"/>
                </a:cubicBezTo>
                <a:cubicBezTo>
                  <a:pt x="799" y="547"/>
                  <a:pt x="802" y="551"/>
                  <a:pt x="809" y="551"/>
                </a:cubicBezTo>
                <a:cubicBezTo>
                  <a:pt x="816" y="551"/>
                  <a:pt x="824" y="547"/>
                  <a:pt x="828" y="541"/>
                </a:cubicBezTo>
                <a:cubicBezTo>
                  <a:pt x="831" y="535"/>
                  <a:pt x="828" y="531"/>
                  <a:pt x="821" y="531"/>
                </a:cubicBezTo>
                <a:cubicBezTo>
                  <a:pt x="821" y="531"/>
                  <a:pt x="821" y="531"/>
                  <a:pt x="821" y="531"/>
                </a:cubicBezTo>
                <a:moveTo>
                  <a:pt x="857" y="531"/>
                </a:moveTo>
                <a:cubicBezTo>
                  <a:pt x="850" y="531"/>
                  <a:pt x="842" y="535"/>
                  <a:pt x="838" y="541"/>
                </a:cubicBezTo>
                <a:cubicBezTo>
                  <a:pt x="835" y="547"/>
                  <a:pt x="838" y="551"/>
                  <a:pt x="845" y="551"/>
                </a:cubicBezTo>
                <a:cubicBezTo>
                  <a:pt x="852" y="551"/>
                  <a:pt x="860" y="546"/>
                  <a:pt x="863" y="541"/>
                </a:cubicBezTo>
                <a:cubicBezTo>
                  <a:pt x="867" y="535"/>
                  <a:pt x="864" y="531"/>
                  <a:pt x="857" y="531"/>
                </a:cubicBezTo>
                <a:cubicBezTo>
                  <a:pt x="857" y="531"/>
                  <a:pt x="857" y="531"/>
                  <a:pt x="857" y="531"/>
                </a:cubicBezTo>
                <a:moveTo>
                  <a:pt x="893" y="530"/>
                </a:moveTo>
                <a:cubicBezTo>
                  <a:pt x="886" y="530"/>
                  <a:pt x="877" y="535"/>
                  <a:pt x="874" y="541"/>
                </a:cubicBezTo>
                <a:cubicBezTo>
                  <a:pt x="871" y="546"/>
                  <a:pt x="874" y="551"/>
                  <a:pt x="881" y="551"/>
                </a:cubicBezTo>
                <a:cubicBezTo>
                  <a:pt x="888" y="551"/>
                  <a:pt x="896" y="546"/>
                  <a:pt x="899" y="541"/>
                </a:cubicBezTo>
                <a:cubicBezTo>
                  <a:pt x="903" y="535"/>
                  <a:pt x="900" y="530"/>
                  <a:pt x="893" y="530"/>
                </a:cubicBezTo>
                <a:cubicBezTo>
                  <a:pt x="893" y="530"/>
                  <a:pt x="893" y="530"/>
                  <a:pt x="893" y="530"/>
                </a:cubicBezTo>
                <a:moveTo>
                  <a:pt x="928" y="530"/>
                </a:moveTo>
                <a:cubicBezTo>
                  <a:pt x="921" y="530"/>
                  <a:pt x="913" y="535"/>
                  <a:pt x="910" y="540"/>
                </a:cubicBezTo>
                <a:cubicBezTo>
                  <a:pt x="907" y="546"/>
                  <a:pt x="910" y="551"/>
                  <a:pt x="917" y="551"/>
                </a:cubicBezTo>
                <a:cubicBezTo>
                  <a:pt x="924" y="550"/>
                  <a:pt x="932" y="546"/>
                  <a:pt x="935" y="540"/>
                </a:cubicBezTo>
                <a:cubicBezTo>
                  <a:pt x="938" y="535"/>
                  <a:pt x="935" y="530"/>
                  <a:pt x="928" y="530"/>
                </a:cubicBezTo>
                <a:cubicBezTo>
                  <a:pt x="928" y="530"/>
                  <a:pt x="928" y="530"/>
                  <a:pt x="928" y="530"/>
                </a:cubicBezTo>
                <a:moveTo>
                  <a:pt x="1933" y="523"/>
                </a:moveTo>
                <a:cubicBezTo>
                  <a:pt x="1926" y="523"/>
                  <a:pt x="1919" y="528"/>
                  <a:pt x="1918" y="534"/>
                </a:cubicBezTo>
                <a:cubicBezTo>
                  <a:pt x="1917" y="539"/>
                  <a:pt x="1921" y="544"/>
                  <a:pt x="1928" y="544"/>
                </a:cubicBezTo>
                <a:cubicBezTo>
                  <a:pt x="1935" y="544"/>
                  <a:pt x="1942" y="539"/>
                  <a:pt x="1943" y="534"/>
                </a:cubicBezTo>
                <a:cubicBezTo>
                  <a:pt x="1944" y="528"/>
                  <a:pt x="1940" y="523"/>
                  <a:pt x="1933" y="523"/>
                </a:cubicBezTo>
                <a:cubicBezTo>
                  <a:pt x="1933" y="523"/>
                  <a:pt x="1933" y="523"/>
                  <a:pt x="1933" y="523"/>
                </a:cubicBezTo>
                <a:moveTo>
                  <a:pt x="1968" y="523"/>
                </a:moveTo>
                <a:cubicBezTo>
                  <a:pt x="1961" y="523"/>
                  <a:pt x="1955" y="528"/>
                  <a:pt x="1954" y="533"/>
                </a:cubicBezTo>
                <a:cubicBezTo>
                  <a:pt x="1953" y="539"/>
                  <a:pt x="1957" y="544"/>
                  <a:pt x="1964" y="544"/>
                </a:cubicBezTo>
                <a:cubicBezTo>
                  <a:pt x="1971" y="544"/>
                  <a:pt x="1978" y="539"/>
                  <a:pt x="1979" y="533"/>
                </a:cubicBezTo>
                <a:cubicBezTo>
                  <a:pt x="1980" y="528"/>
                  <a:pt x="1975" y="523"/>
                  <a:pt x="1968" y="523"/>
                </a:cubicBezTo>
                <a:cubicBezTo>
                  <a:pt x="1968" y="523"/>
                  <a:pt x="1968" y="523"/>
                  <a:pt x="1968" y="523"/>
                </a:cubicBezTo>
                <a:moveTo>
                  <a:pt x="2004" y="523"/>
                </a:moveTo>
                <a:cubicBezTo>
                  <a:pt x="1997" y="523"/>
                  <a:pt x="1991" y="528"/>
                  <a:pt x="1990" y="533"/>
                </a:cubicBezTo>
                <a:cubicBezTo>
                  <a:pt x="1989" y="539"/>
                  <a:pt x="1993" y="543"/>
                  <a:pt x="2000" y="543"/>
                </a:cubicBezTo>
                <a:cubicBezTo>
                  <a:pt x="2007" y="543"/>
                  <a:pt x="2014" y="539"/>
                  <a:pt x="2015" y="533"/>
                </a:cubicBezTo>
                <a:cubicBezTo>
                  <a:pt x="2016" y="527"/>
                  <a:pt x="2011" y="523"/>
                  <a:pt x="2004" y="523"/>
                </a:cubicBezTo>
                <a:cubicBezTo>
                  <a:pt x="2004" y="523"/>
                  <a:pt x="2004" y="523"/>
                  <a:pt x="2004" y="523"/>
                </a:cubicBezTo>
                <a:moveTo>
                  <a:pt x="2256" y="523"/>
                </a:moveTo>
                <a:cubicBezTo>
                  <a:pt x="2249" y="523"/>
                  <a:pt x="2243" y="527"/>
                  <a:pt x="2243" y="533"/>
                </a:cubicBezTo>
                <a:cubicBezTo>
                  <a:pt x="2242" y="539"/>
                  <a:pt x="2247" y="543"/>
                  <a:pt x="2254" y="543"/>
                </a:cubicBezTo>
                <a:cubicBezTo>
                  <a:pt x="2261" y="543"/>
                  <a:pt x="2267" y="538"/>
                  <a:pt x="2268" y="533"/>
                </a:cubicBezTo>
                <a:cubicBezTo>
                  <a:pt x="2268" y="527"/>
                  <a:pt x="2263" y="523"/>
                  <a:pt x="2256" y="523"/>
                </a:cubicBezTo>
                <a:cubicBezTo>
                  <a:pt x="2256" y="523"/>
                  <a:pt x="2256" y="523"/>
                  <a:pt x="2256" y="523"/>
                </a:cubicBezTo>
                <a:moveTo>
                  <a:pt x="2040" y="521"/>
                </a:moveTo>
                <a:cubicBezTo>
                  <a:pt x="2033" y="521"/>
                  <a:pt x="2026" y="526"/>
                  <a:pt x="2026" y="532"/>
                </a:cubicBezTo>
                <a:cubicBezTo>
                  <a:pt x="2025" y="537"/>
                  <a:pt x="2029" y="542"/>
                  <a:pt x="2036" y="542"/>
                </a:cubicBezTo>
                <a:cubicBezTo>
                  <a:pt x="2043" y="542"/>
                  <a:pt x="2050" y="537"/>
                  <a:pt x="2051" y="532"/>
                </a:cubicBezTo>
                <a:cubicBezTo>
                  <a:pt x="2052" y="526"/>
                  <a:pt x="2047" y="521"/>
                  <a:pt x="2040" y="521"/>
                </a:cubicBezTo>
                <a:cubicBezTo>
                  <a:pt x="2040" y="521"/>
                  <a:pt x="2040" y="521"/>
                  <a:pt x="2040" y="521"/>
                </a:cubicBezTo>
                <a:moveTo>
                  <a:pt x="2076" y="521"/>
                </a:moveTo>
                <a:cubicBezTo>
                  <a:pt x="2069" y="521"/>
                  <a:pt x="2063" y="526"/>
                  <a:pt x="2062" y="531"/>
                </a:cubicBezTo>
                <a:cubicBezTo>
                  <a:pt x="2061" y="537"/>
                  <a:pt x="2066" y="542"/>
                  <a:pt x="2073" y="542"/>
                </a:cubicBezTo>
                <a:cubicBezTo>
                  <a:pt x="2080" y="542"/>
                  <a:pt x="2086" y="537"/>
                  <a:pt x="2087" y="531"/>
                </a:cubicBezTo>
                <a:cubicBezTo>
                  <a:pt x="2088" y="526"/>
                  <a:pt x="2083" y="521"/>
                  <a:pt x="2076" y="521"/>
                </a:cubicBezTo>
                <a:cubicBezTo>
                  <a:pt x="2076" y="521"/>
                  <a:pt x="2076" y="521"/>
                  <a:pt x="2076" y="521"/>
                </a:cubicBezTo>
                <a:moveTo>
                  <a:pt x="2363" y="520"/>
                </a:moveTo>
                <a:cubicBezTo>
                  <a:pt x="2356" y="520"/>
                  <a:pt x="2350" y="524"/>
                  <a:pt x="2350" y="530"/>
                </a:cubicBezTo>
                <a:cubicBezTo>
                  <a:pt x="2350" y="536"/>
                  <a:pt x="2355" y="540"/>
                  <a:pt x="2362" y="540"/>
                </a:cubicBezTo>
                <a:cubicBezTo>
                  <a:pt x="2369" y="540"/>
                  <a:pt x="2375" y="536"/>
                  <a:pt x="2375" y="530"/>
                </a:cubicBezTo>
                <a:cubicBezTo>
                  <a:pt x="2375" y="524"/>
                  <a:pt x="2370" y="520"/>
                  <a:pt x="2363" y="520"/>
                </a:cubicBezTo>
                <a:cubicBezTo>
                  <a:pt x="2363" y="520"/>
                  <a:pt x="2363" y="520"/>
                  <a:pt x="2363" y="520"/>
                </a:cubicBezTo>
                <a:moveTo>
                  <a:pt x="2399" y="520"/>
                </a:moveTo>
                <a:cubicBezTo>
                  <a:pt x="2392" y="520"/>
                  <a:pt x="2386" y="524"/>
                  <a:pt x="2386" y="530"/>
                </a:cubicBezTo>
                <a:cubicBezTo>
                  <a:pt x="2386" y="535"/>
                  <a:pt x="2391" y="540"/>
                  <a:pt x="2398" y="540"/>
                </a:cubicBezTo>
                <a:cubicBezTo>
                  <a:pt x="2405" y="540"/>
                  <a:pt x="2411" y="535"/>
                  <a:pt x="2411" y="530"/>
                </a:cubicBezTo>
                <a:cubicBezTo>
                  <a:pt x="2411" y="524"/>
                  <a:pt x="2406" y="520"/>
                  <a:pt x="2399" y="520"/>
                </a:cubicBezTo>
                <a:cubicBezTo>
                  <a:pt x="2399" y="520"/>
                  <a:pt x="2399" y="520"/>
                  <a:pt x="2399" y="520"/>
                </a:cubicBezTo>
                <a:moveTo>
                  <a:pt x="2793" y="519"/>
                </a:moveTo>
                <a:cubicBezTo>
                  <a:pt x="2786" y="519"/>
                  <a:pt x="2781" y="524"/>
                  <a:pt x="2781" y="530"/>
                </a:cubicBezTo>
                <a:cubicBezTo>
                  <a:pt x="2782" y="535"/>
                  <a:pt x="2788" y="540"/>
                  <a:pt x="2795" y="540"/>
                </a:cubicBezTo>
                <a:cubicBezTo>
                  <a:pt x="2802" y="540"/>
                  <a:pt x="2807" y="535"/>
                  <a:pt x="2806" y="530"/>
                </a:cubicBezTo>
                <a:cubicBezTo>
                  <a:pt x="2806" y="524"/>
                  <a:pt x="2800" y="519"/>
                  <a:pt x="2793" y="519"/>
                </a:cubicBezTo>
                <a:cubicBezTo>
                  <a:pt x="2793" y="519"/>
                  <a:pt x="2793" y="519"/>
                  <a:pt x="2793" y="519"/>
                </a:cubicBezTo>
                <a:moveTo>
                  <a:pt x="2435" y="519"/>
                </a:moveTo>
                <a:cubicBezTo>
                  <a:pt x="2428" y="519"/>
                  <a:pt x="2422" y="524"/>
                  <a:pt x="2422" y="530"/>
                </a:cubicBezTo>
                <a:cubicBezTo>
                  <a:pt x="2422" y="535"/>
                  <a:pt x="2427" y="540"/>
                  <a:pt x="2434" y="540"/>
                </a:cubicBezTo>
                <a:cubicBezTo>
                  <a:pt x="2441" y="540"/>
                  <a:pt x="2447" y="535"/>
                  <a:pt x="2447" y="529"/>
                </a:cubicBezTo>
                <a:cubicBezTo>
                  <a:pt x="2447" y="524"/>
                  <a:pt x="2442" y="519"/>
                  <a:pt x="2435" y="519"/>
                </a:cubicBezTo>
                <a:cubicBezTo>
                  <a:pt x="2435" y="519"/>
                  <a:pt x="2435" y="519"/>
                  <a:pt x="2435" y="519"/>
                </a:cubicBezTo>
                <a:moveTo>
                  <a:pt x="2826" y="519"/>
                </a:moveTo>
                <a:cubicBezTo>
                  <a:pt x="2819" y="519"/>
                  <a:pt x="2814" y="524"/>
                  <a:pt x="2815" y="530"/>
                </a:cubicBezTo>
                <a:cubicBezTo>
                  <a:pt x="2816" y="535"/>
                  <a:pt x="2822" y="540"/>
                  <a:pt x="2829" y="540"/>
                </a:cubicBezTo>
                <a:cubicBezTo>
                  <a:pt x="2836" y="540"/>
                  <a:pt x="2841" y="535"/>
                  <a:pt x="2840" y="529"/>
                </a:cubicBezTo>
                <a:cubicBezTo>
                  <a:pt x="2839" y="524"/>
                  <a:pt x="2833" y="519"/>
                  <a:pt x="2826" y="519"/>
                </a:cubicBezTo>
                <a:cubicBezTo>
                  <a:pt x="2826" y="519"/>
                  <a:pt x="2826" y="519"/>
                  <a:pt x="2826" y="519"/>
                </a:cubicBezTo>
                <a:moveTo>
                  <a:pt x="2685" y="519"/>
                </a:moveTo>
                <a:cubicBezTo>
                  <a:pt x="2679" y="519"/>
                  <a:pt x="2673" y="524"/>
                  <a:pt x="2674" y="529"/>
                </a:cubicBezTo>
                <a:cubicBezTo>
                  <a:pt x="2674" y="535"/>
                  <a:pt x="2680" y="540"/>
                  <a:pt x="2687" y="540"/>
                </a:cubicBezTo>
                <a:cubicBezTo>
                  <a:pt x="2694" y="540"/>
                  <a:pt x="2699" y="535"/>
                  <a:pt x="2699" y="529"/>
                </a:cubicBezTo>
                <a:cubicBezTo>
                  <a:pt x="2698" y="524"/>
                  <a:pt x="2692" y="519"/>
                  <a:pt x="2686" y="519"/>
                </a:cubicBezTo>
                <a:cubicBezTo>
                  <a:pt x="2685" y="519"/>
                  <a:pt x="2685" y="519"/>
                  <a:pt x="2685" y="519"/>
                </a:cubicBezTo>
                <a:moveTo>
                  <a:pt x="2470" y="519"/>
                </a:moveTo>
                <a:cubicBezTo>
                  <a:pt x="2463" y="519"/>
                  <a:pt x="2458" y="524"/>
                  <a:pt x="2458" y="529"/>
                </a:cubicBezTo>
                <a:cubicBezTo>
                  <a:pt x="2458" y="535"/>
                  <a:pt x="2463" y="540"/>
                  <a:pt x="2470" y="540"/>
                </a:cubicBezTo>
                <a:cubicBezTo>
                  <a:pt x="2477" y="540"/>
                  <a:pt x="2483" y="535"/>
                  <a:pt x="2483" y="529"/>
                </a:cubicBezTo>
                <a:cubicBezTo>
                  <a:pt x="2483" y="524"/>
                  <a:pt x="2477" y="519"/>
                  <a:pt x="2471" y="519"/>
                </a:cubicBezTo>
                <a:cubicBezTo>
                  <a:pt x="2470" y="519"/>
                  <a:pt x="2470" y="519"/>
                  <a:pt x="2470" y="519"/>
                </a:cubicBezTo>
                <a:moveTo>
                  <a:pt x="2862" y="519"/>
                </a:moveTo>
                <a:cubicBezTo>
                  <a:pt x="2855" y="519"/>
                  <a:pt x="2850" y="524"/>
                  <a:pt x="2851" y="529"/>
                </a:cubicBezTo>
                <a:cubicBezTo>
                  <a:pt x="2851" y="535"/>
                  <a:pt x="2858" y="540"/>
                  <a:pt x="2865" y="539"/>
                </a:cubicBezTo>
                <a:cubicBezTo>
                  <a:pt x="2872" y="539"/>
                  <a:pt x="2877" y="535"/>
                  <a:pt x="2876" y="529"/>
                </a:cubicBezTo>
                <a:cubicBezTo>
                  <a:pt x="2875" y="524"/>
                  <a:pt x="2869" y="519"/>
                  <a:pt x="2862" y="519"/>
                </a:cubicBezTo>
                <a:cubicBezTo>
                  <a:pt x="2862" y="519"/>
                  <a:pt x="2862" y="519"/>
                  <a:pt x="2862" y="519"/>
                </a:cubicBezTo>
                <a:moveTo>
                  <a:pt x="2721" y="519"/>
                </a:moveTo>
                <a:cubicBezTo>
                  <a:pt x="2714" y="519"/>
                  <a:pt x="2709" y="524"/>
                  <a:pt x="2709" y="529"/>
                </a:cubicBezTo>
                <a:cubicBezTo>
                  <a:pt x="2710" y="535"/>
                  <a:pt x="2716" y="539"/>
                  <a:pt x="2723" y="539"/>
                </a:cubicBezTo>
                <a:cubicBezTo>
                  <a:pt x="2730" y="539"/>
                  <a:pt x="2735" y="535"/>
                  <a:pt x="2734" y="529"/>
                </a:cubicBezTo>
                <a:cubicBezTo>
                  <a:pt x="2734" y="523"/>
                  <a:pt x="2728" y="519"/>
                  <a:pt x="2721" y="519"/>
                </a:cubicBezTo>
                <a:cubicBezTo>
                  <a:pt x="2721" y="519"/>
                  <a:pt x="2721" y="519"/>
                  <a:pt x="2721" y="519"/>
                </a:cubicBezTo>
                <a:moveTo>
                  <a:pt x="2898" y="519"/>
                </a:moveTo>
                <a:cubicBezTo>
                  <a:pt x="2891" y="519"/>
                  <a:pt x="2886" y="523"/>
                  <a:pt x="2887" y="529"/>
                </a:cubicBezTo>
                <a:cubicBezTo>
                  <a:pt x="2887" y="535"/>
                  <a:pt x="2894" y="539"/>
                  <a:pt x="2901" y="539"/>
                </a:cubicBezTo>
                <a:cubicBezTo>
                  <a:pt x="2908" y="539"/>
                  <a:pt x="2913" y="535"/>
                  <a:pt x="2912" y="529"/>
                </a:cubicBezTo>
                <a:cubicBezTo>
                  <a:pt x="2911" y="523"/>
                  <a:pt x="2905" y="519"/>
                  <a:pt x="2898" y="519"/>
                </a:cubicBezTo>
                <a:cubicBezTo>
                  <a:pt x="2898" y="519"/>
                  <a:pt x="2898" y="519"/>
                  <a:pt x="2898" y="519"/>
                </a:cubicBezTo>
                <a:moveTo>
                  <a:pt x="2757" y="519"/>
                </a:moveTo>
                <a:cubicBezTo>
                  <a:pt x="2750" y="519"/>
                  <a:pt x="2745" y="523"/>
                  <a:pt x="2745" y="529"/>
                </a:cubicBezTo>
                <a:cubicBezTo>
                  <a:pt x="2746" y="535"/>
                  <a:pt x="2752" y="539"/>
                  <a:pt x="2759" y="539"/>
                </a:cubicBezTo>
                <a:cubicBezTo>
                  <a:pt x="2766" y="539"/>
                  <a:pt x="2771" y="534"/>
                  <a:pt x="2770" y="529"/>
                </a:cubicBezTo>
                <a:cubicBezTo>
                  <a:pt x="2770" y="523"/>
                  <a:pt x="2764" y="519"/>
                  <a:pt x="2757" y="519"/>
                </a:cubicBezTo>
                <a:cubicBezTo>
                  <a:pt x="2757" y="519"/>
                  <a:pt x="2757" y="519"/>
                  <a:pt x="2757" y="519"/>
                </a:cubicBezTo>
                <a:moveTo>
                  <a:pt x="2542" y="519"/>
                </a:moveTo>
                <a:cubicBezTo>
                  <a:pt x="2535" y="519"/>
                  <a:pt x="2529" y="523"/>
                  <a:pt x="2529" y="529"/>
                </a:cubicBezTo>
                <a:cubicBezTo>
                  <a:pt x="2529" y="535"/>
                  <a:pt x="2535" y="539"/>
                  <a:pt x="2542" y="539"/>
                </a:cubicBezTo>
                <a:cubicBezTo>
                  <a:pt x="2549" y="539"/>
                  <a:pt x="2555" y="534"/>
                  <a:pt x="2555" y="529"/>
                </a:cubicBezTo>
                <a:cubicBezTo>
                  <a:pt x="2554" y="523"/>
                  <a:pt x="2549" y="519"/>
                  <a:pt x="2542" y="519"/>
                </a:cubicBezTo>
                <a:cubicBezTo>
                  <a:pt x="2542" y="519"/>
                  <a:pt x="2542" y="519"/>
                  <a:pt x="2542" y="519"/>
                </a:cubicBezTo>
                <a:moveTo>
                  <a:pt x="2934" y="519"/>
                </a:moveTo>
                <a:cubicBezTo>
                  <a:pt x="2927" y="519"/>
                  <a:pt x="2922" y="523"/>
                  <a:pt x="2923" y="529"/>
                </a:cubicBezTo>
                <a:cubicBezTo>
                  <a:pt x="2924" y="535"/>
                  <a:pt x="2930" y="539"/>
                  <a:pt x="2937" y="539"/>
                </a:cubicBezTo>
                <a:cubicBezTo>
                  <a:pt x="2944" y="539"/>
                  <a:pt x="2949" y="534"/>
                  <a:pt x="2948" y="529"/>
                </a:cubicBezTo>
                <a:cubicBezTo>
                  <a:pt x="2947" y="523"/>
                  <a:pt x="2941" y="519"/>
                  <a:pt x="2934" y="519"/>
                </a:cubicBezTo>
                <a:cubicBezTo>
                  <a:pt x="2934" y="519"/>
                  <a:pt x="2934" y="519"/>
                  <a:pt x="2934" y="519"/>
                </a:cubicBezTo>
                <a:moveTo>
                  <a:pt x="2578" y="518"/>
                </a:moveTo>
                <a:cubicBezTo>
                  <a:pt x="2571" y="518"/>
                  <a:pt x="2566" y="523"/>
                  <a:pt x="2566" y="529"/>
                </a:cubicBezTo>
                <a:cubicBezTo>
                  <a:pt x="2566" y="534"/>
                  <a:pt x="2572" y="539"/>
                  <a:pt x="2579" y="539"/>
                </a:cubicBezTo>
                <a:cubicBezTo>
                  <a:pt x="2586" y="539"/>
                  <a:pt x="2591" y="534"/>
                  <a:pt x="2591" y="529"/>
                </a:cubicBezTo>
                <a:cubicBezTo>
                  <a:pt x="2591" y="523"/>
                  <a:pt x="2585" y="518"/>
                  <a:pt x="2578" y="518"/>
                </a:cubicBezTo>
                <a:cubicBezTo>
                  <a:pt x="2578" y="518"/>
                  <a:pt x="2578" y="518"/>
                  <a:pt x="2578" y="518"/>
                </a:cubicBezTo>
                <a:moveTo>
                  <a:pt x="2969" y="518"/>
                </a:moveTo>
                <a:cubicBezTo>
                  <a:pt x="2963" y="518"/>
                  <a:pt x="2958" y="523"/>
                  <a:pt x="2959" y="529"/>
                </a:cubicBezTo>
                <a:cubicBezTo>
                  <a:pt x="2960" y="534"/>
                  <a:pt x="2966" y="539"/>
                  <a:pt x="2973" y="539"/>
                </a:cubicBezTo>
                <a:cubicBezTo>
                  <a:pt x="2980" y="539"/>
                  <a:pt x="2985" y="534"/>
                  <a:pt x="2984" y="528"/>
                </a:cubicBezTo>
                <a:cubicBezTo>
                  <a:pt x="2983" y="523"/>
                  <a:pt x="2976" y="518"/>
                  <a:pt x="2970" y="518"/>
                </a:cubicBezTo>
                <a:cubicBezTo>
                  <a:pt x="2969" y="518"/>
                  <a:pt x="2969" y="518"/>
                  <a:pt x="2969" y="518"/>
                </a:cubicBezTo>
                <a:moveTo>
                  <a:pt x="3005" y="518"/>
                </a:moveTo>
                <a:cubicBezTo>
                  <a:pt x="2998" y="518"/>
                  <a:pt x="2993" y="523"/>
                  <a:pt x="2995" y="528"/>
                </a:cubicBezTo>
                <a:cubicBezTo>
                  <a:pt x="2996" y="534"/>
                  <a:pt x="3002" y="539"/>
                  <a:pt x="3009" y="539"/>
                </a:cubicBezTo>
                <a:cubicBezTo>
                  <a:pt x="3016" y="539"/>
                  <a:pt x="3021" y="534"/>
                  <a:pt x="3020" y="528"/>
                </a:cubicBezTo>
                <a:cubicBezTo>
                  <a:pt x="3019" y="523"/>
                  <a:pt x="3012" y="518"/>
                  <a:pt x="3005" y="518"/>
                </a:cubicBezTo>
                <a:cubicBezTo>
                  <a:pt x="3005" y="518"/>
                  <a:pt x="3005" y="518"/>
                  <a:pt x="3005" y="518"/>
                </a:cubicBezTo>
                <a:moveTo>
                  <a:pt x="3041" y="518"/>
                </a:moveTo>
                <a:cubicBezTo>
                  <a:pt x="3034" y="518"/>
                  <a:pt x="3029" y="523"/>
                  <a:pt x="3030" y="528"/>
                </a:cubicBezTo>
                <a:cubicBezTo>
                  <a:pt x="3031" y="534"/>
                  <a:pt x="3038" y="538"/>
                  <a:pt x="3045" y="538"/>
                </a:cubicBezTo>
                <a:cubicBezTo>
                  <a:pt x="3052" y="538"/>
                  <a:pt x="3056" y="534"/>
                  <a:pt x="3055" y="528"/>
                </a:cubicBezTo>
                <a:cubicBezTo>
                  <a:pt x="3054" y="522"/>
                  <a:pt x="3048" y="518"/>
                  <a:pt x="3041" y="518"/>
                </a:cubicBezTo>
                <a:cubicBezTo>
                  <a:pt x="3041" y="518"/>
                  <a:pt x="3041" y="518"/>
                  <a:pt x="3041" y="518"/>
                </a:cubicBezTo>
                <a:moveTo>
                  <a:pt x="3077" y="518"/>
                </a:moveTo>
                <a:cubicBezTo>
                  <a:pt x="3070" y="518"/>
                  <a:pt x="3065" y="522"/>
                  <a:pt x="3066" y="528"/>
                </a:cubicBezTo>
                <a:cubicBezTo>
                  <a:pt x="3067" y="534"/>
                  <a:pt x="3074" y="538"/>
                  <a:pt x="3081" y="538"/>
                </a:cubicBezTo>
                <a:cubicBezTo>
                  <a:pt x="3088" y="538"/>
                  <a:pt x="3092" y="533"/>
                  <a:pt x="3091" y="528"/>
                </a:cubicBezTo>
                <a:cubicBezTo>
                  <a:pt x="3090" y="522"/>
                  <a:pt x="3084" y="518"/>
                  <a:pt x="3077" y="518"/>
                </a:cubicBezTo>
                <a:cubicBezTo>
                  <a:pt x="3077" y="518"/>
                  <a:pt x="3077" y="518"/>
                  <a:pt x="3077" y="518"/>
                </a:cubicBezTo>
                <a:moveTo>
                  <a:pt x="3113" y="517"/>
                </a:moveTo>
                <a:cubicBezTo>
                  <a:pt x="3107" y="517"/>
                  <a:pt x="3102" y="522"/>
                  <a:pt x="3103" y="528"/>
                </a:cubicBezTo>
                <a:cubicBezTo>
                  <a:pt x="3104" y="533"/>
                  <a:pt x="3111" y="538"/>
                  <a:pt x="3118" y="538"/>
                </a:cubicBezTo>
                <a:cubicBezTo>
                  <a:pt x="3125" y="538"/>
                  <a:pt x="3130" y="533"/>
                  <a:pt x="3128" y="528"/>
                </a:cubicBezTo>
                <a:cubicBezTo>
                  <a:pt x="3127" y="522"/>
                  <a:pt x="3120" y="517"/>
                  <a:pt x="3114" y="517"/>
                </a:cubicBezTo>
                <a:cubicBezTo>
                  <a:pt x="3114" y="517"/>
                  <a:pt x="3113" y="517"/>
                  <a:pt x="3113" y="517"/>
                </a:cubicBezTo>
                <a:moveTo>
                  <a:pt x="3149" y="517"/>
                </a:moveTo>
                <a:cubicBezTo>
                  <a:pt x="3142" y="517"/>
                  <a:pt x="3138" y="522"/>
                  <a:pt x="3139" y="528"/>
                </a:cubicBezTo>
                <a:cubicBezTo>
                  <a:pt x="3140" y="533"/>
                  <a:pt x="3147" y="538"/>
                  <a:pt x="3154" y="538"/>
                </a:cubicBezTo>
                <a:cubicBezTo>
                  <a:pt x="3161" y="538"/>
                  <a:pt x="3165" y="533"/>
                  <a:pt x="3164" y="527"/>
                </a:cubicBezTo>
                <a:cubicBezTo>
                  <a:pt x="3163" y="522"/>
                  <a:pt x="3156" y="517"/>
                  <a:pt x="3149" y="517"/>
                </a:cubicBezTo>
                <a:cubicBezTo>
                  <a:pt x="3149" y="517"/>
                  <a:pt x="3149" y="517"/>
                  <a:pt x="3149" y="517"/>
                </a:cubicBezTo>
                <a:moveTo>
                  <a:pt x="3185" y="517"/>
                </a:moveTo>
                <a:cubicBezTo>
                  <a:pt x="3178" y="517"/>
                  <a:pt x="3173" y="522"/>
                  <a:pt x="3175" y="527"/>
                </a:cubicBezTo>
                <a:cubicBezTo>
                  <a:pt x="3176" y="533"/>
                  <a:pt x="3183" y="537"/>
                  <a:pt x="3190" y="537"/>
                </a:cubicBezTo>
                <a:cubicBezTo>
                  <a:pt x="3197" y="537"/>
                  <a:pt x="3201" y="533"/>
                  <a:pt x="3200" y="527"/>
                </a:cubicBezTo>
                <a:cubicBezTo>
                  <a:pt x="3198" y="521"/>
                  <a:pt x="3192" y="517"/>
                  <a:pt x="3185" y="517"/>
                </a:cubicBezTo>
                <a:cubicBezTo>
                  <a:pt x="3185" y="517"/>
                  <a:pt x="3185" y="517"/>
                  <a:pt x="3185" y="517"/>
                </a:cubicBezTo>
                <a:moveTo>
                  <a:pt x="3221" y="517"/>
                </a:moveTo>
                <a:cubicBezTo>
                  <a:pt x="3214" y="517"/>
                  <a:pt x="3210" y="521"/>
                  <a:pt x="3211" y="527"/>
                </a:cubicBezTo>
                <a:cubicBezTo>
                  <a:pt x="3213" y="533"/>
                  <a:pt x="3219" y="537"/>
                  <a:pt x="3226" y="537"/>
                </a:cubicBezTo>
                <a:cubicBezTo>
                  <a:pt x="3233" y="537"/>
                  <a:pt x="3238" y="533"/>
                  <a:pt x="3236" y="527"/>
                </a:cubicBezTo>
                <a:cubicBezTo>
                  <a:pt x="3235" y="521"/>
                  <a:pt x="3228" y="517"/>
                  <a:pt x="3221" y="517"/>
                </a:cubicBezTo>
                <a:cubicBezTo>
                  <a:pt x="3221" y="517"/>
                  <a:pt x="3221" y="517"/>
                  <a:pt x="3221" y="517"/>
                </a:cubicBezTo>
                <a:moveTo>
                  <a:pt x="3256" y="516"/>
                </a:moveTo>
                <a:cubicBezTo>
                  <a:pt x="3250" y="516"/>
                  <a:pt x="3245" y="521"/>
                  <a:pt x="3247" y="527"/>
                </a:cubicBezTo>
                <a:cubicBezTo>
                  <a:pt x="3248" y="532"/>
                  <a:pt x="3255" y="537"/>
                  <a:pt x="3262" y="537"/>
                </a:cubicBezTo>
                <a:cubicBezTo>
                  <a:pt x="3269" y="537"/>
                  <a:pt x="3273" y="532"/>
                  <a:pt x="3272" y="527"/>
                </a:cubicBezTo>
                <a:cubicBezTo>
                  <a:pt x="3270" y="521"/>
                  <a:pt x="3263" y="516"/>
                  <a:pt x="3257" y="516"/>
                </a:cubicBezTo>
                <a:cubicBezTo>
                  <a:pt x="3257" y="516"/>
                  <a:pt x="3256" y="516"/>
                  <a:pt x="3256" y="516"/>
                </a:cubicBezTo>
                <a:moveTo>
                  <a:pt x="3292" y="516"/>
                </a:moveTo>
                <a:cubicBezTo>
                  <a:pt x="3285" y="516"/>
                  <a:pt x="3281" y="521"/>
                  <a:pt x="3283" y="527"/>
                </a:cubicBezTo>
                <a:cubicBezTo>
                  <a:pt x="3284" y="532"/>
                  <a:pt x="3291" y="537"/>
                  <a:pt x="3298" y="537"/>
                </a:cubicBezTo>
                <a:cubicBezTo>
                  <a:pt x="3305" y="537"/>
                  <a:pt x="3309" y="532"/>
                  <a:pt x="3308" y="526"/>
                </a:cubicBezTo>
                <a:cubicBezTo>
                  <a:pt x="3306" y="521"/>
                  <a:pt x="3299" y="516"/>
                  <a:pt x="3292" y="516"/>
                </a:cubicBezTo>
                <a:cubicBezTo>
                  <a:pt x="3292" y="516"/>
                  <a:pt x="3292" y="516"/>
                  <a:pt x="3292" y="516"/>
                </a:cubicBezTo>
                <a:moveTo>
                  <a:pt x="3328" y="516"/>
                </a:moveTo>
                <a:cubicBezTo>
                  <a:pt x="3321" y="516"/>
                  <a:pt x="3317" y="521"/>
                  <a:pt x="3318" y="526"/>
                </a:cubicBezTo>
                <a:cubicBezTo>
                  <a:pt x="3320" y="532"/>
                  <a:pt x="3327" y="537"/>
                  <a:pt x="3334" y="537"/>
                </a:cubicBezTo>
                <a:cubicBezTo>
                  <a:pt x="3341" y="536"/>
                  <a:pt x="3345" y="532"/>
                  <a:pt x="3343" y="526"/>
                </a:cubicBezTo>
                <a:cubicBezTo>
                  <a:pt x="3342" y="521"/>
                  <a:pt x="3335" y="516"/>
                  <a:pt x="3328" y="516"/>
                </a:cubicBezTo>
                <a:cubicBezTo>
                  <a:pt x="3328" y="516"/>
                  <a:pt x="3328" y="516"/>
                  <a:pt x="3328" y="516"/>
                </a:cubicBezTo>
                <a:moveTo>
                  <a:pt x="3364" y="516"/>
                </a:moveTo>
                <a:cubicBezTo>
                  <a:pt x="3357" y="516"/>
                  <a:pt x="3352" y="520"/>
                  <a:pt x="3354" y="526"/>
                </a:cubicBezTo>
                <a:cubicBezTo>
                  <a:pt x="3356" y="532"/>
                  <a:pt x="3363" y="536"/>
                  <a:pt x="3370" y="536"/>
                </a:cubicBezTo>
                <a:cubicBezTo>
                  <a:pt x="3377" y="536"/>
                  <a:pt x="3381" y="532"/>
                  <a:pt x="3379" y="526"/>
                </a:cubicBezTo>
                <a:cubicBezTo>
                  <a:pt x="3377" y="520"/>
                  <a:pt x="3370" y="516"/>
                  <a:pt x="3364" y="516"/>
                </a:cubicBezTo>
                <a:cubicBezTo>
                  <a:pt x="3364" y="516"/>
                  <a:pt x="3364" y="516"/>
                  <a:pt x="3364" y="516"/>
                </a:cubicBezTo>
                <a:moveTo>
                  <a:pt x="3400" y="516"/>
                </a:moveTo>
                <a:cubicBezTo>
                  <a:pt x="3393" y="516"/>
                  <a:pt x="3389" y="520"/>
                  <a:pt x="3390" y="526"/>
                </a:cubicBezTo>
                <a:cubicBezTo>
                  <a:pt x="3392" y="532"/>
                  <a:pt x="3399" y="536"/>
                  <a:pt x="3406" y="536"/>
                </a:cubicBezTo>
                <a:cubicBezTo>
                  <a:pt x="3413" y="536"/>
                  <a:pt x="3417" y="531"/>
                  <a:pt x="3416" y="526"/>
                </a:cubicBezTo>
                <a:cubicBezTo>
                  <a:pt x="3414" y="520"/>
                  <a:pt x="3407" y="516"/>
                  <a:pt x="3400" y="516"/>
                </a:cubicBezTo>
                <a:cubicBezTo>
                  <a:pt x="3400" y="516"/>
                  <a:pt x="3400" y="516"/>
                  <a:pt x="3400" y="516"/>
                </a:cubicBezTo>
                <a:moveTo>
                  <a:pt x="3435" y="515"/>
                </a:moveTo>
                <a:cubicBezTo>
                  <a:pt x="3428" y="515"/>
                  <a:pt x="3424" y="520"/>
                  <a:pt x="3426" y="526"/>
                </a:cubicBezTo>
                <a:cubicBezTo>
                  <a:pt x="3428" y="531"/>
                  <a:pt x="3435" y="536"/>
                  <a:pt x="3442" y="536"/>
                </a:cubicBezTo>
                <a:cubicBezTo>
                  <a:pt x="3449" y="536"/>
                  <a:pt x="3453" y="531"/>
                  <a:pt x="3451" y="526"/>
                </a:cubicBezTo>
                <a:cubicBezTo>
                  <a:pt x="3449" y="520"/>
                  <a:pt x="3442" y="515"/>
                  <a:pt x="3435" y="515"/>
                </a:cubicBezTo>
                <a:cubicBezTo>
                  <a:pt x="3435" y="515"/>
                  <a:pt x="3435" y="515"/>
                  <a:pt x="3435" y="515"/>
                </a:cubicBezTo>
                <a:moveTo>
                  <a:pt x="3471" y="515"/>
                </a:moveTo>
                <a:cubicBezTo>
                  <a:pt x="3464" y="515"/>
                  <a:pt x="3460" y="520"/>
                  <a:pt x="3462" y="525"/>
                </a:cubicBezTo>
                <a:cubicBezTo>
                  <a:pt x="3464" y="531"/>
                  <a:pt x="3471" y="536"/>
                  <a:pt x="3478" y="536"/>
                </a:cubicBezTo>
                <a:cubicBezTo>
                  <a:pt x="3485" y="536"/>
                  <a:pt x="3489" y="531"/>
                  <a:pt x="3487" y="525"/>
                </a:cubicBezTo>
                <a:cubicBezTo>
                  <a:pt x="3485" y="520"/>
                  <a:pt x="3478" y="515"/>
                  <a:pt x="3471" y="515"/>
                </a:cubicBezTo>
                <a:cubicBezTo>
                  <a:pt x="3471" y="515"/>
                  <a:pt x="3471" y="515"/>
                  <a:pt x="3471" y="515"/>
                </a:cubicBezTo>
                <a:moveTo>
                  <a:pt x="3506" y="515"/>
                </a:moveTo>
                <a:cubicBezTo>
                  <a:pt x="3499" y="515"/>
                  <a:pt x="3495" y="520"/>
                  <a:pt x="3498" y="525"/>
                </a:cubicBezTo>
                <a:cubicBezTo>
                  <a:pt x="3500" y="531"/>
                  <a:pt x="3507" y="535"/>
                  <a:pt x="3514" y="535"/>
                </a:cubicBezTo>
                <a:cubicBezTo>
                  <a:pt x="3521" y="535"/>
                  <a:pt x="3525" y="531"/>
                  <a:pt x="3523" y="525"/>
                </a:cubicBezTo>
                <a:cubicBezTo>
                  <a:pt x="3521" y="519"/>
                  <a:pt x="3513" y="515"/>
                  <a:pt x="3506" y="515"/>
                </a:cubicBezTo>
                <a:cubicBezTo>
                  <a:pt x="3506" y="515"/>
                  <a:pt x="3506" y="515"/>
                  <a:pt x="3506" y="515"/>
                </a:cubicBezTo>
                <a:moveTo>
                  <a:pt x="3542" y="515"/>
                </a:moveTo>
                <a:cubicBezTo>
                  <a:pt x="3535" y="515"/>
                  <a:pt x="3531" y="519"/>
                  <a:pt x="3533" y="525"/>
                </a:cubicBezTo>
                <a:cubicBezTo>
                  <a:pt x="3536" y="531"/>
                  <a:pt x="3543" y="535"/>
                  <a:pt x="3550" y="535"/>
                </a:cubicBezTo>
                <a:cubicBezTo>
                  <a:pt x="3557" y="535"/>
                  <a:pt x="3561" y="530"/>
                  <a:pt x="3559" y="525"/>
                </a:cubicBezTo>
                <a:cubicBezTo>
                  <a:pt x="3556" y="519"/>
                  <a:pt x="3549" y="515"/>
                  <a:pt x="3542" y="515"/>
                </a:cubicBezTo>
                <a:cubicBezTo>
                  <a:pt x="3542" y="515"/>
                  <a:pt x="3542" y="515"/>
                  <a:pt x="3542" y="515"/>
                </a:cubicBezTo>
                <a:moveTo>
                  <a:pt x="3578" y="514"/>
                </a:moveTo>
                <a:cubicBezTo>
                  <a:pt x="3571" y="514"/>
                  <a:pt x="3568" y="519"/>
                  <a:pt x="3570" y="525"/>
                </a:cubicBezTo>
                <a:cubicBezTo>
                  <a:pt x="3572" y="530"/>
                  <a:pt x="3579" y="535"/>
                  <a:pt x="3586" y="535"/>
                </a:cubicBezTo>
                <a:cubicBezTo>
                  <a:pt x="3593" y="535"/>
                  <a:pt x="3597" y="530"/>
                  <a:pt x="3595" y="525"/>
                </a:cubicBezTo>
                <a:cubicBezTo>
                  <a:pt x="3593" y="519"/>
                  <a:pt x="3585" y="514"/>
                  <a:pt x="3578" y="514"/>
                </a:cubicBezTo>
                <a:cubicBezTo>
                  <a:pt x="3578" y="514"/>
                  <a:pt x="3578" y="514"/>
                  <a:pt x="3578" y="514"/>
                </a:cubicBezTo>
                <a:moveTo>
                  <a:pt x="3614" y="514"/>
                </a:moveTo>
                <a:cubicBezTo>
                  <a:pt x="3607" y="514"/>
                  <a:pt x="3603" y="519"/>
                  <a:pt x="3605" y="524"/>
                </a:cubicBezTo>
                <a:cubicBezTo>
                  <a:pt x="3608" y="530"/>
                  <a:pt x="3615" y="535"/>
                  <a:pt x="3622" y="535"/>
                </a:cubicBezTo>
                <a:cubicBezTo>
                  <a:pt x="3629" y="534"/>
                  <a:pt x="3633" y="530"/>
                  <a:pt x="3631" y="524"/>
                </a:cubicBezTo>
                <a:cubicBezTo>
                  <a:pt x="3628" y="519"/>
                  <a:pt x="3621" y="514"/>
                  <a:pt x="3614" y="514"/>
                </a:cubicBezTo>
                <a:cubicBezTo>
                  <a:pt x="3614" y="514"/>
                  <a:pt x="3614" y="514"/>
                  <a:pt x="3614" y="514"/>
                </a:cubicBezTo>
                <a:moveTo>
                  <a:pt x="3649" y="514"/>
                </a:moveTo>
                <a:cubicBezTo>
                  <a:pt x="3642" y="514"/>
                  <a:pt x="3639" y="518"/>
                  <a:pt x="3641" y="524"/>
                </a:cubicBezTo>
                <a:cubicBezTo>
                  <a:pt x="3643" y="530"/>
                  <a:pt x="3651" y="534"/>
                  <a:pt x="3658" y="534"/>
                </a:cubicBezTo>
                <a:cubicBezTo>
                  <a:pt x="3665" y="534"/>
                  <a:pt x="3669" y="530"/>
                  <a:pt x="3666" y="524"/>
                </a:cubicBezTo>
                <a:cubicBezTo>
                  <a:pt x="3664" y="518"/>
                  <a:pt x="3656" y="514"/>
                  <a:pt x="3649" y="514"/>
                </a:cubicBezTo>
                <a:cubicBezTo>
                  <a:pt x="3649" y="514"/>
                  <a:pt x="3649" y="514"/>
                  <a:pt x="3649" y="514"/>
                </a:cubicBezTo>
                <a:moveTo>
                  <a:pt x="3685" y="514"/>
                </a:moveTo>
                <a:cubicBezTo>
                  <a:pt x="3678" y="514"/>
                  <a:pt x="3675" y="518"/>
                  <a:pt x="3677" y="524"/>
                </a:cubicBezTo>
                <a:cubicBezTo>
                  <a:pt x="3679" y="530"/>
                  <a:pt x="3687" y="534"/>
                  <a:pt x="3694" y="534"/>
                </a:cubicBezTo>
                <a:cubicBezTo>
                  <a:pt x="3701" y="534"/>
                  <a:pt x="3705" y="529"/>
                  <a:pt x="3702" y="524"/>
                </a:cubicBezTo>
                <a:cubicBezTo>
                  <a:pt x="3700" y="518"/>
                  <a:pt x="3692" y="514"/>
                  <a:pt x="3685" y="514"/>
                </a:cubicBezTo>
                <a:cubicBezTo>
                  <a:pt x="3685" y="514"/>
                  <a:pt x="3685" y="514"/>
                  <a:pt x="3685" y="514"/>
                </a:cubicBezTo>
                <a:moveTo>
                  <a:pt x="3723" y="513"/>
                </a:moveTo>
                <a:cubicBezTo>
                  <a:pt x="3716" y="513"/>
                  <a:pt x="3713" y="518"/>
                  <a:pt x="3715" y="524"/>
                </a:cubicBezTo>
                <a:cubicBezTo>
                  <a:pt x="3718" y="529"/>
                  <a:pt x="3725" y="534"/>
                  <a:pt x="3732" y="534"/>
                </a:cubicBezTo>
                <a:cubicBezTo>
                  <a:pt x="3739" y="534"/>
                  <a:pt x="3743" y="529"/>
                  <a:pt x="3740" y="523"/>
                </a:cubicBezTo>
                <a:cubicBezTo>
                  <a:pt x="3738" y="518"/>
                  <a:pt x="3730" y="513"/>
                  <a:pt x="3723" y="513"/>
                </a:cubicBezTo>
                <a:cubicBezTo>
                  <a:pt x="3723" y="513"/>
                  <a:pt x="3723" y="513"/>
                  <a:pt x="3723" y="513"/>
                </a:cubicBezTo>
                <a:moveTo>
                  <a:pt x="3758" y="513"/>
                </a:moveTo>
                <a:cubicBezTo>
                  <a:pt x="3751" y="513"/>
                  <a:pt x="3748" y="518"/>
                  <a:pt x="3750" y="523"/>
                </a:cubicBezTo>
                <a:cubicBezTo>
                  <a:pt x="3753" y="529"/>
                  <a:pt x="3761" y="534"/>
                  <a:pt x="3768" y="534"/>
                </a:cubicBezTo>
                <a:cubicBezTo>
                  <a:pt x="3775" y="534"/>
                  <a:pt x="3778" y="529"/>
                  <a:pt x="3775" y="523"/>
                </a:cubicBezTo>
                <a:cubicBezTo>
                  <a:pt x="3773" y="518"/>
                  <a:pt x="3765" y="513"/>
                  <a:pt x="3758" y="513"/>
                </a:cubicBezTo>
                <a:cubicBezTo>
                  <a:pt x="3758" y="513"/>
                  <a:pt x="3758" y="513"/>
                  <a:pt x="3758" y="513"/>
                </a:cubicBezTo>
                <a:moveTo>
                  <a:pt x="3794" y="513"/>
                </a:moveTo>
                <a:cubicBezTo>
                  <a:pt x="3787" y="513"/>
                  <a:pt x="3783" y="518"/>
                  <a:pt x="3786" y="523"/>
                </a:cubicBezTo>
                <a:cubicBezTo>
                  <a:pt x="3789" y="529"/>
                  <a:pt x="3796" y="533"/>
                  <a:pt x="3803" y="533"/>
                </a:cubicBezTo>
                <a:cubicBezTo>
                  <a:pt x="3810" y="533"/>
                  <a:pt x="3814" y="529"/>
                  <a:pt x="3811" y="523"/>
                </a:cubicBezTo>
                <a:cubicBezTo>
                  <a:pt x="3808" y="517"/>
                  <a:pt x="3801" y="513"/>
                  <a:pt x="3794" y="513"/>
                </a:cubicBezTo>
                <a:cubicBezTo>
                  <a:pt x="3794" y="513"/>
                  <a:pt x="3794" y="513"/>
                  <a:pt x="3794" y="513"/>
                </a:cubicBezTo>
                <a:moveTo>
                  <a:pt x="3830" y="513"/>
                </a:moveTo>
                <a:cubicBezTo>
                  <a:pt x="3823" y="513"/>
                  <a:pt x="3819" y="517"/>
                  <a:pt x="3822" y="523"/>
                </a:cubicBezTo>
                <a:cubicBezTo>
                  <a:pt x="3825" y="529"/>
                  <a:pt x="3832" y="533"/>
                  <a:pt x="3839" y="533"/>
                </a:cubicBezTo>
                <a:cubicBezTo>
                  <a:pt x="3846" y="533"/>
                  <a:pt x="3850" y="528"/>
                  <a:pt x="3847" y="523"/>
                </a:cubicBezTo>
                <a:cubicBezTo>
                  <a:pt x="3844" y="517"/>
                  <a:pt x="3836" y="513"/>
                  <a:pt x="3830" y="513"/>
                </a:cubicBezTo>
                <a:cubicBezTo>
                  <a:pt x="3830" y="513"/>
                  <a:pt x="3830" y="513"/>
                  <a:pt x="3830" y="513"/>
                </a:cubicBezTo>
                <a:moveTo>
                  <a:pt x="3866" y="512"/>
                </a:moveTo>
                <a:cubicBezTo>
                  <a:pt x="3859" y="512"/>
                  <a:pt x="3855" y="517"/>
                  <a:pt x="3858" y="523"/>
                </a:cubicBezTo>
                <a:cubicBezTo>
                  <a:pt x="3861" y="528"/>
                  <a:pt x="3869" y="533"/>
                  <a:pt x="3876" y="533"/>
                </a:cubicBezTo>
                <a:cubicBezTo>
                  <a:pt x="3883" y="533"/>
                  <a:pt x="3886" y="528"/>
                  <a:pt x="3883" y="523"/>
                </a:cubicBezTo>
                <a:cubicBezTo>
                  <a:pt x="3880" y="517"/>
                  <a:pt x="3873" y="512"/>
                  <a:pt x="3866" y="512"/>
                </a:cubicBezTo>
                <a:cubicBezTo>
                  <a:pt x="3866" y="512"/>
                  <a:pt x="3866" y="512"/>
                  <a:pt x="3866" y="512"/>
                </a:cubicBezTo>
                <a:moveTo>
                  <a:pt x="3901" y="512"/>
                </a:moveTo>
                <a:cubicBezTo>
                  <a:pt x="3894" y="512"/>
                  <a:pt x="3891" y="517"/>
                  <a:pt x="3894" y="522"/>
                </a:cubicBezTo>
                <a:cubicBezTo>
                  <a:pt x="3897" y="528"/>
                  <a:pt x="3904" y="533"/>
                  <a:pt x="3911" y="533"/>
                </a:cubicBezTo>
                <a:cubicBezTo>
                  <a:pt x="3918" y="533"/>
                  <a:pt x="3922" y="528"/>
                  <a:pt x="3919" y="522"/>
                </a:cubicBezTo>
                <a:cubicBezTo>
                  <a:pt x="3916" y="517"/>
                  <a:pt x="3908" y="512"/>
                  <a:pt x="3901" y="512"/>
                </a:cubicBezTo>
                <a:cubicBezTo>
                  <a:pt x="3901" y="512"/>
                  <a:pt x="3901" y="512"/>
                  <a:pt x="3901" y="512"/>
                </a:cubicBezTo>
                <a:moveTo>
                  <a:pt x="3937" y="512"/>
                </a:moveTo>
                <a:cubicBezTo>
                  <a:pt x="3930" y="512"/>
                  <a:pt x="3927" y="517"/>
                  <a:pt x="3930" y="522"/>
                </a:cubicBezTo>
                <a:cubicBezTo>
                  <a:pt x="3932" y="528"/>
                  <a:pt x="3940" y="533"/>
                  <a:pt x="3947" y="532"/>
                </a:cubicBezTo>
                <a:cubicBezTo>
                  <a:pt x="3954" y="532"/>
                  <a:pt x="3958" y="528"/>
                  <a:pt x="3955" y="522"/>
                </a:cubicBezTo>
                <a:cubicBezTo>
                  <a:pt x="3952" y="516"/>
                  <a:pt x="3944" y="512"/>
                  <a:pt x="3937" y="512"/>
                </a:cubicBezTo>
                <a:cubicBezTo>
                  <a:pt x="3937" y="512"/>
                  <a:pt x="3937" y="512"/>
                  <a:pt x="3937" y="512"/>
                </a:cubicBezTo>
                <a:moveTo>
                  <a:pt x="3972" y="512"/>
                </a:moveTo>
                <a:cubicBezTo>
                  <a:pt x="3965" y="512"/>
                  <a:pt x="3962" y="516"/>
                  <a:pt x="3965" y="522"/>
                </a:cubicBezTo>
                <a:cubicBezTo>
                  <a:pt x="3968" y="528"/>
                  <a:pt x="3976" y="532"/>
                  <a:pt x="3983" y="532"/>
                </a:cubicBezTo>
                <a:cubicBezTo>
                  <a:pt x="3990" y="532"/>
                  <a:pt x="3993" y="528"/>
                  <a:pt x="3990" y="522"/>
                </a:cubicBezTo>
                <a:cubicBezTo>
                  <a:pt x="3987" y="516"/>
                  <a:pt x="3979" y="512"/>
                  <a:pt x="3972" y="512"/>
                </a:cubicBezTo>
                <a:cubicBezTo>
                  <a:pt x="3972" y="512"/>
                  <a:pt x="3972" y="512"/>
                  <a:pt x="3972" y="512"/>
                </a:cubicBezTo>
                <a:moveTo>
                  <a:pt x="4008" y="511"/>
                </a:moveTo>
                <a:cubicBezTo>
                  <a:pt x="4001" y="511"/>
                  <a:pt x="3998" y="516"/>
                  <a:pt x="4001" y="522"/>
                </a:cubicBezTo>
                <a:cubicBezTo>
                  <a:pt x="4004" y="527"/>
                  <a:pt x="4012" y="532"/>
                  <a:pt x="4019" y="532"/>
                </a:cubicBezTo>
                <a:cubicBezTo>
                  <a:pt x="4026" y="532"/>
                  <a:pt x="4029" y="527"/>
                  <a:pt x="4026" y="522"/>
                </a:cubicBezTo>
                <a:cubicBezTo>
                  <a:pt x="4023" y="516"/>
                  <a:pt x="4015" y="511"/>
                  <a:pt x="4008" y="511"/>
                </a:cubicBezTo>
                <a:cubicBezTo>
                  <a:pt x="4008" y="511"/>
                  <a:pt x="4008" y="511"/>
                  <a:pt x="4008" y="511"/>
                </a:cubicBezTo>
                <a:moveTo>
                  <a:pt x="199" y="506"/>
                </a:moveTo>
                <a:cubicBezTo>
                  <a:pt x="192" y="506"/>
                  <a:pt x="183" y="511"/>
                  <a:pt x="178" y="516"/>
                </a:cubicBezTo>
                <a:cubicBezTo>
                  <a:pt x="174" y="522"/>
                  <a:pt x="175" y="527"/>
                  <a:pt x="182" y="526"/>
                </a:cubicBezTo>
                <a:cubicBezTo>
                  <a:pt x="189" y="526"/>
                  <a:pt x="199" y="522"/>
                  <a:pt x="203" y="516"/>
                </a:cubicBezTo>
                <a:cubicBezTo>
                  <a:pt x="208" y="511"/>
                  <a:pt x="206" y="506"/>
                  <a:pt x="199" y="506"/>
                </a:cubicBezTo>
                <a:cubicBezTo>
                  <a:pt x="199" y="506"/>
                  <a:pt x="199" y="506"/>
                  <a:pt x="199" y="506"/>
                </a:cubicBezTo>
                <a:moveTo>
                  <a:pt x="235" y="506"/>
                </a:moveTo>
                <a:cubicBezTo>
                  <a:pt x="228" y="506"/>
                  <a:pt x="218" y="511"/>
                  <a:pt x="214" y="516"/>
                </a:cubicBezTo>
                <a:cubicBezTo>
                  <a:pt x="209" y="522"/>
                  <a:pt x="211" y="526"/>
                  <a:pt x="218" y="526"/>
                </a:cubicBezTo>
                <a:cubicBezTo>
                  <a:pt x="225" y="526"/>
                  <a:pt x="234" y="522"/>
                  <a:pt x="239" y="516"/>
                </a:cubicBezTo>
                <a:cubicBezTo>
                  <a:pt x="243" y="510"/>
                  <a:pt x="241" y="506"/>
                  <a:pt x="235" y="506"/>
                </a:cubicBezTo>
                <a:cubicBezTo>
                  <a:pt x="235" y="506"/>
                  <a:pt x="235" y="506"/>
                  <a:pt x="235" y="506"/>
                </a:cubicBezTo>
                <a:moveTo>
                  <a:pt x="270" y="506"/>
                </a:moveTo>
                <a:cubicBezTo>
                  <a:pt x="263" y="506"/>
                  <a:pt x="254" y="510"/>
                  <a:pt x="249" y="516"/>
                </a:cubicBezTo>
                <a:cubicBezTo>
                  <a:pt x="245" y="522"/>
                  <a:pt x="247" y="526"/>
                  <a:pt x="254" y="526"/>
                </a:cubicBezTo>
                <a:cubicBezTo>
                  <a:pt x="261" y="526"/>
                  <a:pt x="270" y="521"/>
                  <a:pt x="274" y="516"/>
                </a:cubicBezTo>
                <a:cubicBezTo>
                  <a:pt x="279" y="510"/>
                  <a:pt x="277" y="506"/>
                  <a:pt x="270" y="506"/>
                </a:cubicBezTo>
                <a:cubicBezTo>
                  <a:pt x="270" y="506"/>
                  <a:pt x="270" y="506"/>
                  <a:pt x="270" y="506"/>
                </a:cubicBezTo>
                <a:moveTo>
                  <a:pt x="305" y="506"/>
                </a:moveTo>
                <a:cubicBezTo>
                  <a:pt x="298" y="506"/>
                  <a:pt x="289" y="510"/>
                  <a:pt x="285" y="516"/>
                </a:cubicBezTo>
                <a:cubicBezTo>
                  <a:pt x="280" y="521"/>
                  <a:pt x="282" y="526"/>
                  <a:pt x="289" y="526"/>
                </a:cubicBezTo>
                <a:cubicBezTo>
                  <a:pt x="296" y="526"/>
                  <a:pt x="305" y="521"/>
                  <a:pt x="310" y="516"/>
                </a:cubicBezTo>
                <a:cubicBezTo>
                  <a:pt x="314" y="510"/>
                  <a:pt x="312" y="506"/>
                  <a:pt x="305" y="506"/>
                </a:cubicBezTo>
                <a:cubicBezTo>
                  <a:pt x="305" y="506"/>
                  <a:pt x="305" y="506"/>
                  <a:pt x="305" y="506"/>
                </a:cubicBezTo>
                <a:moveTo>
                  <a:pt x="341" y="505"/>
                </a:moveTo>
                <a:cubicBezTo>
                  <a:pt x="334" y="505"/>
                  <a:pt x="325" y="510"/>
                  <a:pt x="321" y="515"/>
                </a:cubicBezTo>
                <a:cubicBezTo>
                  <a:pt x="316" y="521"/>
                  <a:pt x="318" y="526"/>
                  <a:pt x="325" y="526"/>
                </a:cubicBezTo>
                <a:cubicBezTo>
                  <a:pt x="332" y="526"/>
                  <a:pt x="341" y="521"/>
                  <a:pt x="346" y="515"/>
                </a:cubicBezTo>
                <a:cubicBezTo>
                  <a:pt x="350" y="510"/>
                  <a:pt x="348" y="505"/>
                  <a:pt x="341" y="505"/>
                </a:cubicBezTo>
                <a:cubicBezTo>
                  <a:pt x="341" y="505"/>
                  <a:pt x="341" y="505"/>
                  <a:pt x="341" y="505"/>
                </a:cubicBezTo>
                <a:moveTo>
                  <a:pt x="376" y="505"/>
                </a:moveTo>
                <a:cubicBezTo>
                  <a:pt x="369" y="505"/>
                  <a:pt x="360" y="510"/>
                  <a:pt x="356" y="515"/>
                </a:cubicBezTo>
                <a:cubicBezTo>
                  <a:pt x="352" y="521"/>
                  <a:pt x="354" y="525"/>
                  <a:pt x="361" y="525"/>
                </a:cubicBezTo>
                <a:cubicBezTo>
                  <a:pt x="368" y="525"/>
                  <a:pt x="377" y="521"/>
                  <a:pt x="381" y="515"/>
                </a:cubicBezTo>
                <a:cubicBezTo>
                  <a:pt x="385" y="510"/>
                  <a:pt x="383" y="505"/>
                  <a:pt x="376" y="505"/>
                </a:cubicBezTo>
                <a:cubicBezTo>
                  <a:pt x="376" y="505"/>
                  <a:pt x="376" y="505"/>
                  <a:pt x="376" y="505"/>
                </a:cubicBezTo>
                <a:moveTo>
                  <a:pt x="412" y="505"/>
                </a:moveTo>
                <a:cubicBezTo>
                  <a:pt x="405" y="505"/>
                  <a:pt x="396" y="509"/>
                  <a:pt x="392" y="515"/>
                </a:cubicBezTo>
                <a:cubicBezTo>
                  <a:pt x="388" y="521"/>
                  <a:pt x="390" y="525"/>
                  <a:pt x="397" y="525"/>
                </a:cubicBezTo>
                <a:cubicBezTo>
                  <a:pt x="404" y="525"/>
                  <a:pt x="413" y="520"/>
                  <a:pt x="417" y="515"/>
                </a:cubicBezTo>
                <a:cubicBezTo>
                  <a:pt x="421" y="509"/>
                  <a:pt x="419" y="505"/>
                  <a:pt x="412" y="505"/>
                </a:cubicBezTo>
                <a:cubicBezTo>
                  <a:pt x="412" y="505"/>
                  <a:pt x="412" y="505"/>
                  <a:pt x="412" y="505"/>
                </a:cubicBezTo>
                <a:moveTo>
                  <a:pt x="449" y="505"/>
                </a:moveTo>
                <a:cubicBezTo>
                  <a:pt x="442" y="505"/>
                  <a:pt x="433" y="509"/>
                  <a:pt x="429" y="515"/>
                </a:cubicBezTo>
                <a:cubicBezTo>
                  <a:pt x="424" y="520"/>
                  <a:pt x="427" y="525"/>
                  <a:pt x="434" y="525"/>
                </a:cubicBezTo>
                <a:cubicBezTo>
                  <a:pt x="441" y="525"/>
                  <a:pt x="450" y="520"/>
                  <a:pt x="454" y="515"/>
                </a:cubicBezTo>
                <a:cubicBezTo>
                  <a:pt x="458" y="509"/>
                  <a:pt x="456" y="505"/>
                  <a:pt x="449" y="505"/>
                </a:cubicBezTo>
                <a:cubicBezTo>
                  <a:pt x="449" y="505"/>
                  <a:pt x="449" y="505"/>
                  <a:pt x="449" y="505"/>
                </a:cubicBezTo>
                <a:moveTo>
                  <a:pt x="484" y="504"/>
                </a:moveTo>
                <a:cubicBezTo>
                  <a:pt x="477" y="504"/>
                  <a:pt x="468" y="509"/>
                  <a:pt x="464" y="515"/>
                </a:cubicBezTo>
                <a:cubicBezTo>
                  <a:pt x="460" y="520"/>
                  <a:pt x="462" y="525"/>
                  <a:pt x="469" y="525"/>
                </a:cubicBezTo>
                <a:cubicBezTo>
                  <a:pt x="476" y="525"/>
                  <a:pt x="485" y="520"/>
                  <a:pt x="489" y="514"/>
                </a:cubicBezTo>
                <a:cubicBezTo>
                  <a:pt x="493" y="509"/>
                  <a:pt x="491" y="504"/>
                  <a:pt x="484" y="504"/>
                </a:cubicBezTo>
                <a:cubicBezTo>
                  <a:pt x="484" y="504"/>
                  <a:pt x="484" y="504"/>
                  <a:pt x="484" y="504"/>
                </a:cubicBezTo>
                <a:moveTo>
                  <a:pt x="520" y="504"/>
                </a:moveTo>
                <a:cubicBezTo>
                  <a:pt x="513" y="504"/>
                  <a:pt x="504" y="509"/>
                  <a:pt x="500" y="514"/>
                </a:cubicBezTo>
                <a:cubicBezTo>
                  <a:pt x="496" y="520"/>
                  <a:pt x="498" y="524"/>
                  <a:pt x="505" y="524"/>
                </a:cubicBezTo>
                <a:cubicBezTo>
                  <a:pt x="512" y="524"/>
                  <a:pt x="521" y="520"/>
                  <a:pt x="525" y="514"/>
                </a:cubicBezTo>
                <a:cubicBezTo>
                  <a:pt x="529" y="509"/>
                  <a:pt x="527" y="504"/>
                  <a:pt x="520" y="504"/>
                </a:cubicBezTo>
                <a:cubicBezTo>
                  <a:pt x="520" y="504"/>
                  <a:pt x="520" y="504"/>
                  <a:pt x="520" y="504"/>
                </a:cubicBezTo>
                <a:moveTo>
                  <a:pt x="556" y="504"/>
                </a:moveTo>
                <a:cubicBezTo>
                  <a:pt x="549" y="504"/>
                  <a:pt x="540" y="509"/>
                  <a:pt x="536" y="514"/>
                </a:cubicBezTo>
                <a:cubicBezTo>
                  <a:pt x="532" y="520"/>
                  <a:pt x="534" y="524"/>
                  <a:pt x="541" y="524"/>
                </a:cubicBezTo>
                <a:cubicBezTo>
                  <a:pt x="548" y="524"/>
                  <a:pt x="557" y="520"/>
                  <a:pt x="561" y="514"/>
                </a:cubicBezTo>
                <a:cubicBezTo>
                  <a:pt x="565" y="508"/>
                  <a:pt x="563" y="504"/>
                  <a:pt x="556" y="504"/>
                </a:cubicBezTo>
                <a:cubicBezTo>
                  <a:pt x="556" y="504"/>
                  <a:pt x="556" y="504"/>
                  <a:pt x="556" y="504"/>
                </a:cubicBezTo>
                <a:moveTo>
                  <a:pt x="591" y="504"/>
                </a:moveTo>
                <a:cubicBezTo>
                  <a:pt x="584" y="504"/>
                  <a:pt x="575" y="508"/>
                  <a:pt x="572" y="514"/>
                </a:cubicBezTo>
                <a:cubicBezTo>
                  <a:pt x="568" y="519"/>
                  <a:pt x="570" y="524"/>
                  <a:pt x="577" y="524"/>
                </a:cubicBezTo>
                <a:cubicBezTo>
                  <a:pt x="584" y="524"/>
                  <a:pt x="593" y="519"/>
                  <a:pt x="597" y="514"/>
                </a:cubicBezTo>
                <a:cubicBezTo>
                  <a:pt x="600" y="508"/>
                  <a:pt x="598" y="504"/>
                  <a:pt x="591" y="504"/>
                </a:cubicBezTo>
                <a:cubicBezTo>
                  <a:pt x="591" y="504"/>
                  <a:pt x="591" y="504"/>
                  <a:pt x="591" y="504"/>
                </a:cubicBezTo>
                <a:moveTo>
                  <a:pt x="627" y="503"/>
                </a:moveTo>
                <a:cubicBezTo>
                  <a:pt x="620" y="503"/>
                  <a:pt x="611" y="508"/>
                  <a:pt x="607" y="514"/>
                </a:cubicBezTo>
                <a:cubicBezTo>
                  <a:pt x="603" y="519"/>
                  <a:pt x="606" y="524"/>
                  <a:pt x="613" y="524"/>
                </a:cubicBezTo>
                <a:cubicBezTo>
                  <a:pt x="620" y="524"/>
                  <a:pt x="628" y="519"/>
                  <a:pt x="632" y="513"/>
                </a:cubicBezTo>
                <a:cubicBezTo>
                  <a:pt x="636" y="508"/>
                  <a:pt x="633" y="503"/>
                  <a:pt x="627" y="503"/>
                </a:cubicBezTo>
                <a:cubicBezTo>
                  <a:pt x="627" y="503"/>
                  <a:pt x="627" y="503"/>
                  <a:pt x="627" y="503"/>
                </a:cubicBezTo>
                <a:moveTo>
                  <a:pt x="662" y="503"/>
                </a:moveTo>
                <a:cubicBezTo>
                  <a:pt x="655" y="503"/>
                  <a:pt x="646" y="508"/>
                  <a:pt x="643" y="513"/>
                </a:cubicBezTo>
                <a:cubicBezTo>
                  <a:pt x="639" y="519"/>
                  <a:pt x="641" y="524"/>
                  <a:pt x="648" y="523"/>
                </a:cubicBezTo>
                <a:cubicBezTo>
                  <a:pt x="655" y="523"/>
                  <a:pt x="664" y="519"/>
                  <a:pt x="668" y="513"/>
                </a:cubicBezTo>
                <a:cubicBezTo>
                  <a:pt x="671" y="508"/>
                  <a:pt x="669" y="503"/>
                  <a:pt x="662" y="503"/>
                </a:cubicBezTo>
                <a:cubicBezTo>
                  <a:pt x="662" y="503"/>
                  <a:pt x="662" y="503"/>
                  <a:pt x="662" y="503"/>
                </a:cubicBezTo>
                <a:moveTo>
                  <a:pt x="698" y="503"/>
                </a:moveTo>
                <a:cubicBezTo>
                  <a:pt x="691" y="503"/>
                  <a:pt x="682" y="508"/>
                  <a:pt x="678" y="513"/>
                </a:cubicBezTo>
                <a:cubicBezTo>
                  <a:pt x="675" y="519"/>
                  <a:pt x="677" y="523"/>
                  <a:pt x="684" y="523"/>
                </a:cubicBezTo>
                <a:cubicBezTo>
                  <a:pt x="691" y="523"/>
                  <a:pt x="700" y="519"/>
                  <a:pt x="703" y="513"/>
                </a:cubicBezTo>
                <a:cubicBezTo>
                  <a:pt x="707" y="507"/>
                  <a:pt x="704" y="503"/>
                  <a:pt x="698" y="503"/>
                </a:cubicBezTo>
                <a:cubicBezTo>
                  <a:pt x="698" y="503"/>
                  <a:pt x="698" y="503"/>
                  <a:pt x="698" y="503"/>
                </a:cubicBezTo>
                <a:moveTo>
                  <a:pt x="733" y="503"/>
                </a:moveTo>
                <a:cubicBezTo>
                  <a:pt x="727" y="503"/>
                  <a:pt x="718" y="507"/>
                  <a:pt x="715" y="513"/>
                </a:cubicBezTo>
                <a:cubicBezTo>
                  <a:pt x="711" y="519"/>
                  <a:pt x="714" y="523"/>
                  <a:pt x="721" y="523"/>
                </a:cubicBezTo>
                <a:cubicBezTo>
                  <a:pt x="727" y="523"/>
                  <a:pt x="736" y="518"/>
                  <a:pt x="740" y="513"/>
                </a:cubicBezTo>
                <a:cubicBezTo>
                  <a:pt x="743" y="507"/>
                  <a:pt x="740" y="503"/>
                  <a:pt x="734" y="503"/>
                </a:cubicBezTo>
                <a:cubicBezTo>
                  <a:pt x="734" y="503"/>
                  <a:pt x="734" y="503"/>
                  <a:pt x="733" y="503"/>
                </a:cubicBezTo>
                <a:moveTo>
                  <a:pt x="769" y="502"/>
                </a:moveTo>
                <a:cubicBezTo>
                  <a:pt x="762" y="503"/>
                  <a:pt x="754" y="507"/>
                  <a:pt x="750" y="513"/>
                </a:cubicBezTo>
                <a:cubicBezTo>
                  <a:pt x="746" y="518"/>
                  <a:pt x="749" y="523"/>
                  <a:pt x="756" y="523"/>
                </a:cubicBezTo>
                <a:cubicBezTo>
                  <a:pt x="763" y="523"/>
                  <a:pt x="771" y="518"/>
                  <a:pt x="775" y="513"/>
                </a:cubicBezTo>
                <a:cubicBezTo>
                  <a:pt x="778" y="507"/>
                  <a:pt x="776" y="502"/>
                  <a:pt x="769" y="502"/>
                </a:cubicBezTo>
                <a:cubicBezTo>
                  <a:pt x="769" y="502"/>
                  <a:pt x="769" y="502"/>
                  <a:pt x="769" y="502"/>
                </a:cubicBezTo>
                <a:moveTo>
                  <a:pt x="802" y="502"/>
                </a:moveTo>
                <a:cubicBezTo>
                  <a:pt x="796" y="502"/>
                  <a:pt x="787" y="507"/>
                  <a:pt x="784" y="512"/>
                </a:cubicBezTo>
                <a:cubicBezTo>
                  <a:pt x="780" y="518"/>
                  <a:pt x="783" y="523"/>
                  <a:pt x="790" y="523"/>
                </a:cubicBezTo>
                <a:cubicBezTo>
                  <a:pt x="797" y="523"/>
                  <a:pt x="805" y="518"/>
                  <a:pt x="809" y="512"/>
                </a:cubicBezTo>
                <a:cubicBezTo>
                  <a:pt x="812" y="507"/>
                  <a:pt x="809" y="502"/>
                  <a:pt x="803" y="502"/>
                </a:cubicBezTo>
                <a:cubicBezTo>
                  <a:pt x="803" y="502"/>
                  <a:pt x="803" y="502"/>
                  <a:pt x="802" y="502"/>
                </a:cubicBezTo>
                <a:moveTo>
                  <a:pt x="838" y="502"/>
                </a:moveTo>
                <a:cubicBezTo>
                  <a:pt x="832" y="502"/>
                  <a:pt x="823" y="507"/>
                  <a:pt x="820" y="512"/>
                </a:cubicBezTo>
                <a:cubicBezTo>
                  <a:pt x="816" y="518"/>
                  <a:pt x="819" y="522"/>
                  <a:pt x="826" y="522"/>
                </a:cubicBezTo>
                <a:cubicBezTo>
                  <a:pt x="833" y="522"/>
                  <a:pt x="841" y="518"/>
                  <a:pt x="845" y="512"/>
                </a:cubicBezTo>
                <a:cubicBezTo>
                  <a:pt x="848" y="507"/>
                  <a:pt x="845" y="502"/>
                  <a:pt x="839" y="502"/>
                </a:cubicBezTo>
                <a:cubicBezTo>
                  <a:pt x="839" y="502"/>
                  <a:pt x="838" y="502"/>
                  <a:pt x="838" y="502"/>
                </a:cubicBezTo>
                <a:moveTo>
                  <a:pt x="874" y="502"/>
                </a:moveTo>
                <a:cubicBezTo>
                  <a:pt x="867" y="502"/>
                  <a:pt x="859" y="506"/>
                  <a:pt x="855" y="512"/>
                </a:cubicBezTo>
                <a:cubicBezTo>
                  <a:pt x="852" y="518"/>
                  <a:pt x="855" y="522"/>
                  <a:pt x="862" y="522"/>
                </a:cubicBezTo>
                <a:cubicBezTo>
                  <a:pt x="869" y="522"/>
                  <a:pt x="877" y="517"/>
                  <a:pt x="880" y="512"/>
                </a:cubicBezTo>
                <a:cubicBezTo>
                  <a:pt x="884" y="506"/>
                  <a:pt x="881" y="502"/>
                  <a:pt x="874" y="502"/>
                </a:cubicBezTo>
                <a:cubicBezTo>
                  <a:pt x="874" y="502"/>
                  <a:pt x="874" y="502"/>
                  <a:pt x="874" y="502"/>
                </a:cubicBezTo>
                <a:moveTo>
                  <a:pt x="909" y="502"/>
                </a:moveTo>
                <a:cubicBezTo>
                  <a:pt x="902" y="502"/>
                  <a:pt x="894" y="506"/>
                  <a:pt x="891" y="512"/>
                </a:cubicBezTo>
                <a:cubicBezTo>
                  <a:pt x="888" y="517"/>
                  <a:pt x="891" y="522"/>
                  <a:pt x="898" y="522"/>
                </a:cubicBezTo>
                <a:cubicBezTo>
                  <a:pt x="905" y="522"/>
                  <a:pt x="913" y="517"/>
                  <a:pt x="916" y="512"/>
                </a:cubicBezTo>
                <a:cubicBezTo>
                  <a:pt x="919" y="506"/>
                  <a:pt x="916" y="502"/>
                  <a:pt x="909" y="502"/>
                </a:cubicBezTo>
                <a:cubicBezTo>
                  <a:pt x="909" y="502"/>
                  <a:pt x="909" y="502"/>
                  <a:pt x="909" y="502"/>
                </a:cubicBezTo>
                <a:moveTo>
                  <a:pt x="945" y="501"/>
                </a:moveTo>
                <a:cubicBezTo>
                  <a:pt x="938" y="501"/>
                  <a:pt x="930" y="506"/>
                  <a:pt x="926" y="512"/>
                </a:cubicBezTo>
                <a:cubicBezTo>
                  <a:pt x="923" y="517"/>
                  <a:pt x="926" y="522"/>
                  <a:pt x="933" y="522"/>
                </a:cubicBezTo>
                <a:cubicBezTo>
                  <a:pt x="940" y="522"/>
                  <a:pt x="948" y="517"/>
                  <a:pt x="951" y="511"/>
                </a:cubicBezTo>
                <a:cubicBezTo>
                  <a:pt x="954" y="506"/>
                  <a:pt x="952" y="501"/>
                  <a:pt x="945" y="501"/>
                </a:cubicBezTo>
                <a:cubicBezTo>
                  <a:pt x="945" y="501"/>
                  <a:pt x="945" y="501"/>
                  <a:pt x="945" y="501"/>
                </a:cubicBezTo>
                <a:moveTo>
                  <a:pt x="980" y="501"/>
                </a:moveTo>
                <a:cubicBezTo>
                  <a:pt x="973" y="501"/>
                  <a:pt x="965" y="506"/>
                  <a:pt x="962" y="511"/>
                </a:cubicBezTo>
                <a:cubicBezTo>
                  <a:pt x="959" y="517"/>
                  <a:pt x="962" y="521"/>
                  <a:pt x="969" y="521"/>
                </a:cubicBezTo>
                <a:cubicBezTo>
                  <a:pt x="976" y="521"/>
                  <a:pt x="984" y="517"/>
                  <a:pt x="987" y="511"/>
                </a:cubicBezTo>
                <a:cubicBezTo>
                  <a:pt x="990" y="506"/>
                  <a:pt x="987" y="501"/>
                  <a:pt x="980" y="501"/>
                </a:cubicBezTo>
                <a:cubicBezTo>
                  <a:pt x="980" y="501"/>
                  <a:pt x="980" y="501"/>
                  <a:pt x="980" y="501"/>
                </a:cubicBezTo>
                <a:moveTo>
                  <a:pt x="1938" y="498"/>
                </a:moveTo>
                <a:cubicBezTo>
                  <a:pt x="1931" y="498"/>
                  <a:pt x="1924" y="503"/>
                  <a:pt x="1923" y="508"/>
                </a:cubicBezTo>
                <a:cubicBezTo>
                  <a:pt x="1922" y="514"/>
                  <a:pt x="1927" y="518"/>
                  <a:pt x="1934" y="518"/>
                </a:cubicBezTo>
                <a:cubicBezTo>
                  <a:pt x="1940" y="518"/>
                  <a:pt x="1947" y="514"/>
                  <a:pt x="1948" y="508"/>
                </a:cubicBezTo>
                <a:cubicBezTo>
                  <a:pt x="1949" y="503"/>
                  <a:pt x="1945" y="498"/>
                  <a:pt x="1938" y="498"/>
                </a:cubicBezTo>
                <a:cubicBezTo>
                  <a:pt x="1938" y="498"/>
                  <a:pt x="1938" y="498"/>
                  <a:pt x="1938" y="498"/>
                </a:cubicBezTo>
                <a:moveTo>
                  <a:pt x="1973" y="498"/>
                </a:moveTo>
                <a:cubicBezTo>
                  <a:pt x="1966" y="498"/>
                  <a:pt x="1960" y="502"/>
                  <a:pt x="1959" y="508"/>
                </a:cubicBezTo>
                <a:cubicBezTo>
                  <a:pt x="1957" y="514"/>
                  <a:pt x="1962" y="518"/>
                  <a:pt x="1969" y="518"/>
                </a:cubicBezTo>
                <a:cubicBezTo>
                  <a:pt x="1976" y="518"/>
                  <a:pt x="1982" y="514"/>
                  <a:pt x="1983" y="508"/>
                </a:cubicBezTo>
                <a:cubicBezTo>
                  <a:pt x="1985" y="502"/>
                  <a:pt x="1980" y="498"/>
                  <a:pt x="1973" y="498"/>
                </a:cubicBezTo>
                <a:cubicBezTo>
                  <a:pt x="1973" y="498"/>
                  <a:pt x="1973" y="498"/>
                  <a:pt x="1973" y="498"/>
                </a:cubicBezTo>
                <a:moveTo>
                  <a:pt x="2044" y="493"/>
                </a:moveTo>
                <a:cubicBezTo>
                  <a:pt x="2037" y="493"/>
                  <a:pt x="2031" y="498"/>
                  <a:pt x="2030" y="504"/>
                </a:cubicBezTo>
                <a:cubicBezTo>
                  <a:pt x="2029" y="509"/>
                  <a:pt x="2034" y="514"/>
                  <a:pt x="2041" y="514"/>
                </a:cubicBezTo>
                <a:cubicBezTo>
                  <a:pt x="2048" y="514"/>
                  <a:pt x="2054" y="509"/>
                  <a:pt x="2055" y="503"/>
                </a:cubicBezTo>
                <a:cubicBezTo>
                  <a:pt x="2056" y="498"/>
                  <a:pt x="2051" y="493"/>
                  <a:pt x="2044" y="493"/>
                </a:cubicBezTo>
                <a:cubicBezTo>
                  <a:pt x="2044" y="493"/>
                  <a:pt x="2044" y="493"/>
                  <a:pt x="2044" y="493"/>
                </a:cubicBezTo>
                <a:moveTo>
                  <a:pt x="2080" y="493"/>
                </a:moveTo>
                <a:cubicBezTo>
                  <a:pt x="2073" y="493"/>
                  <a:pt x="2067" y="498"/>
                  <a:pt x="2066" y="503"/>
                </a:cubicBezTo>
                <a:cubicBezTo>
                  <a:pt x="2065" y="509"/>
                  <a:pt x="2070" y="514"/>
                  <a:pt x="2077" y="514"/>
                </a:cubicBezTo>
                <a:cubicBezTo>
                  <a:pt x="2084" y="513"/>
                  <a:pt x="2090" y="509"/>
                  <a:pt x="2091" y="503"/>
                </a:cubicBezTo>
                <a:cubicBezTo>
                  <a:pt x="2092" y="498"/>
                  <a:pt x="2087" y="493"/>
                  <a:pt x="2080" y="493"/>
                </a:cubicBezTo>
                <a:cubicBezTo>
                  <a:pt x="2080" y="493"/>
                  <a:pt x="2080" y="493"/>
                  <a:pt x="2080" y="493"/>
                </a:cubicBezTo>
                <a:moveTo>
                  <a:pt x="2114" y="493"/>
                </a:moveTo>
                <a:cubicBezTo>
                  <a:pt x="2107" y="493"/>
                  <a:pt x="2101" y="498"/>
                  <a:pt x="2100" y="503"/>
                </a:cubicBezTo>
                <a:cubicBezTo>
                  <a:pt x="2099" y="509"/>
                  <a:pt x="2104" y="513"/>
                  <a:pt x="2111" y="513"/>
                </a:cubicBezTo>
                <a:cubicBezTo>
                  <a:pt x="2118" y="513"/>
                  <a:pt x="2124" y="509"/>
                  <a:pt x="2125" y="503"/>
                </a:cubicBezTo>
                <a:cubicBezTo>
                  <a:pt x="2126" y="497"/>
                  <a:pt x="2121" y="493"/>
                  <a:pt x="2114" y="493"/>
                </a:cubicBezTo>
                <a:cubicBezTo>
                  <a:pt x="2114" y="493"/>
                  <a:pt x="2114" y="493"/>
                  <a:pt x="2114" y="493"/>
                </a:cubicBezTo>
                <a:moveTo>
                  <a:pt x="2223" y="493"/>
                </a:moveTo>
                <a:cubicBezTo>
                  <a:pt x="2217" y="493"/>
                  <a:pt x="2211" y="497"/>
                  <a:pt x="2210" y="503"/>
                </a:cubicBezTo>
                <a:cubicBezTo>
                  <a:pt x="2209" y="509"/>
                  <a:pt x="2214" y="513"/>
                  <a:pt x="2221" y="513"/>
                </a:cubicBezTo>
                <a:cubicBezTo>
                  <a:pt x="2228" y="513"/>
                  <a:pt x="2234" y="508"/>
                  <a:pt x="2235" y="503"/>
                </a:cubicBezTo>
                <a:cubicBezTo>
                  <a:pt x="2235" y="497"/>
                  <a:pt x="2230" y="493"/>
                  <a:pt x="2223" y="493"/>
                </a:cubicBezTo>
                <a:cubicBezTo>
                  <a:pt x="2223" y="493"/>
                  <a:pt x="2223" y="493"/>
                  <a:pt x="2223" y="493"/>
                </a:cubicBezTo>
                <a:moveTo>
                  <a:pt x="2150" y="493"/>
                </a:moveTo>
                <a:cubicBezTo>
                  <a:pt x="2143" y="493"/>
                  <a:pt x="2137" y="497"/>
                  <a:pt x="2136" y="503"/>
                </a:cubicBezTo>
                <a:cubicBezTo>
                  <a:pt x="2135" y="509"/>
                  <a:pt x="2140" y="513"/>
                  <a:pt x="2147" y="513"/>
                </a:cubicBezTo>
                <a:cubicBezTo>
                  <a:pt x="2154" y="513"/>
                  <a:pt x="2160" y="508"/>
                  <a:pt x="2161" y="503"/>
                </a:cubicBezTo>
                <a:cubicBezTo>
                  <a:pt x="2162" y="497"/>
                  <a:pt x="2157" y="493"/>
                  <a:pt x="2150" y="493"/>
                </a:cubicBezTo>
                <a:cubicBezTo>
                  <a:pt x="2150" y="493"/>
                  <a:pt x="2150" y="493"/>
                  <a:pt x="2150" y="493"/>
                </a:cubicBezTo>
                <a:moveTo>
                  <a:pt x="2294" y="492"/>
                </a:moveTo>
                <a:cubicBezTo>
                  <a:pt x="2287" y="492"/>
                  <a:pt x="2281" y="497"/>
                  <a:pt x="2280" y="502"/>
                </a:cubicBezTo>
                <a:cubicBezTo>
                  <a:pt x="2280" y="508"/>
                  <a:pt x="2285" y="513"/>
                  <a:pt x="2292" y="513"/>
                </a:cubicBezTo>
                <a:cubicBezTo>
                  <a:pt x="2299" y="513"/>
                  <a:pt x="2305" y="508"/>
                  <a:pt x="2305" y="502"/>
                </a:cubicBezTo>
                <a:cubicBezTo>
                  <a:pt x="2306" y="497"/>
                  <a:pt x="2300" y="492"/>
                  <a:pt x="2294" y="492"/>
                </a:cubicBezTo>
                <a:cubicBezTo>
                  <a:pt x="2294" y="492"/>
                  <a:pt x="2294" y="492"/>
                  <a:pt x="2294" y="492"/>
                </a:cubicBezTo>
                <a:moveTo>
                  <a:pt x="2329" y="492"/>
                </a:moveTo>
                <a:cubicBezTo>
                  <a:pt x="2322" y="492"/>
                  <a:pt x="2316" y="497"/>
                  <a:pt x="2316" y="502"/>
                </a:cubicBezTo>
                <a:cubicBezTo>
                  <a:pt x="2315" y="508"/>
                  <a:pt x="2321" y="512"/>
                  <a:pt x="2328" y="512"/>
                </a:cubicBezTo>
                <a:cubicBezTo>
                  <a:pt x="2334" y="512"/>
                  <a:pt x="2340" y="508"/>
                  <a:pt x="2341" y="502"/>
                </a:cubicBezTo>
                <a:cubicBezTo>
                  <a:pt x="2341" y="496"/>
                  <a:pt x="2336" y="492"/>
                  <a:pt x="2329" y="492"/>
                </a:cubicBezTo>
                <a:cubicBezTo>
                  <a:pt x="2329" y="492"/>
                  <a:pt x="2329" y="492"/>
                  <a:pt x="2329" y="492"/>
                </a:cubicBezTo>
                <a:moveTo>
                  <a:pt x="2364" y="492"/>
                </a:moveTo>
                <a:cubicBezTo>
                  <a:pt x="2357" y="492"/>
                  <a:pt x="2352" y="496"/>
                  <a:pt x="2351" y="502"/>
                </a:cubicBezTo>
                <a:cubicBezTo>
                  <a:pt x="2351" y="508"/>
                  <a:pt x="2356" y="512"/>
                  <a:pt x="2363" y="512"/>
                </a:cubicBezTo>
                <a:cubicBezTo>
                  <a:pt x="2370" y="512"/>
                  <a:pt x="2376" y="507"/>
                  <a:pt x="2376" y="502"/>
                </a:cubicBezTo>
                <a:cubicBezTo>
                  <a:pt x="2376" y="496"/>
                  <a:pt x="2371" y="492"/>
                  <a:pt x="2364" y="492"/>
                </a:cubicBezTo>
                <a:cubicBezTo>
                  <a:pt x="2364" y="492"/>
                  <a:pt x="2364" y="492"/>
                  <a:pt x="2364" y="492"/>
                </a:cubicBezTo>
                <a:moveTo>
                  <a:pt x="2649" y="492"/>
                </a:moveTo>
                <a:cubicBezTo>
                  <a:pt x="2642" y="492"/>
                  <a:pt x="2636" y="496"/>
                  <a:pt x="2637" y="502"/>
                </a:cubicBezTo>
                <a:cubicBezTo>
                  <a:pt x="2637" y="507"/>
                  <a:pt x="2643" y="512"/>
                  <a:pt x="2650" y="512"/>
                </a:cubicBezTo>
                <a:cubicBezTo>
                  <a:pt x="2657" y="512"/>
                  <a:pt x="2662" y="507"/>
                  <a:pt x="2662" y="502"/>
                </a:cubicBezTo>
                <a:cubicBezTo>
                  <a:pt x="2661" y="496"/>
                  <a:pt x="2656" y="492"/>
                  <a:pt x="2649" y="492"/>
                </a:cubicBezTo>
                <a:cubicBezTo>
                  <a:pt x="2649" y="492"/>
                  <a:pt x="2649" y="492"/>
                  <a:pt x="2649" y="492"/>
                </a:cubicBezTo>
                <a:moveTo>
                  <a:pt x="2400" y="491"/>
                </a:moveTo>
                <a:cubicBezTo>
                  <a:pt x="2393" y="492"/>
                  <a:pt x="2387" y="496"/>
                  <a:pt x="2387" y="502"/>
                </a:cubicBezTo>
                <a:cubicBezTo>
                  <a:pt x="2387" y="507"/>
                  <a:pt x="2392" y="512"/>
                  <a:pt x="2399" y="512"/>
                </a:cubicBezTo>
                <a:cubicBezTo>
                  <a:pt x="2406" y="512"/>
                  <a:pt x="2412" y="507"/>
                  <a:pt x="2412" y="502"/>
                </a:cubicBezTo>
                <a:cubicBezTo>
                  <a:pt x="2412" y="496"/>
                  <a:pt x="2407" y="491"/>
                  <a:pt x="2400" y="491"/>
                </a:cubicBezTo>
                <a:cubicBezTo>
                  <a:pt x="2400" y="491"/>
                  <a:pt x="2400" y="491"/>
                  <a:pt x="2400" y="491"/>
                </a:cubicBezTo>
                <a:moveTo>
                  <a:pt x="2684" y="491"/>
                </a:moveTo>
                <a:cubicBezTo>
                  <a:pt x="2677" y="491"/>
                  <a:pt x="2671" y="496"/>
                  <a:pt x="2672" y="502"/>
                </a:cubicBezTo>
                <a:cubicBezTo>
                  <a:pt x="2672" y="507"/>
                  <a:pt x="2678" y="512"/>
                  <a:pt x="2685" y="512"/>
                </a:cubicBezTo>
                <a:cubicBezTo>
                  <a:pt x="2692" y="512"/>
                  <a:pt x="2697" y="507"/>
                  <a:pt x="2697" y="501"/>
                </a:cubicBezTo>
                <a:cubicBezTo>
                  <a:pt x="2696" y="496"/>
                  <a:pt x="2690" y="491"/>
                  <a:pt x="2684" y="491"/>
                </a:cubicBezTo>
                <a:cubicBezTo>
                  <a:pt x="2684" y="491"/>
                  <a:pt x="2684" y="491"/>
                  <a:pt x="2684" y="491"/>
                </a:cubicBezTo>
                <a:moveTo>
                  <a:pt x="2435" y="491"/>
                </a:moveTo>
                <a:cubicBezTo>
                  <a:pt x="2428" y="491"/>
                  <a:pt x="2423" y="496"/>
                  <a:pt x="2423" y="502"/>
                </a:cubicBezTo>
                <a:cubicBezTo>
                  <a:pt x="2422" y="507"/>
                  <a:pt x="2428" y="512"/>
                  <a:pt x="2435" y="512"/>
                </a:cubicBezTo>
                <a:cubicBezTo>
                  <a:pt x="2442" y="512"/>
                  <a:pt x="2447" y="507"/>
                  <a:pt x="2447" y="501"/>
                </a:cubicBezTo>
                <a:cubicBezTo>
                  <a:pt x="2448" y="496"/>
                  <a:pt x="2442" y="491"/>
                  <a:pt x="2435" y="491"/>
                </a:cubicBezTo>
                <a:cubicBezTo>
                  <a:pt x="2435" y="491"/>
                  <a:pt x="2435" y="491"/>
                  <a:pt x="2435" y="491"/>
                </a:cubicBezTo>
                <a:moveTo>
                  <a:pt x="2719" y="491"/>
                </a:moveTo>
                <a:cubicBezTo>
                  <a:pt x="2712" y="491"/>
                  <a:pt x="2707" y="496"/>
                  <a:pt x="2707" y="501"/>
                </a:cubicBezTo>
                <a:cubicBezTo>
                  <a:pt x="2708" y="507"/>
                  <a:pt x="2713" y="512"/>
                  <a:pt x="2720" y="512"/>
                </a:cubicBezTo>
                <a:cubicBezTo>
                  <a:pt x="2727" y="511"/>
                  <a:pt x="2732" y="507"/>
                  <a:pt x="2732" y="501"/>
                </a:cubicBezTo>
                <a:cubicBezTo>
                  <a:pt x="2732" y="496"/>
                  <a:pt x="2726" y="491"/>
                  <a:pt x="2719" y="491"/>
                </a:cubicBezTo>
                <a:cubicBezTo>
                  <a:pt x="2719" y="491"/>
                  <a:pt x="2719" y="491"/>
                  <a:pt x="2719" y="491"/>
                </a:cubicBezTo>
                <a:moveTo>
                  <a:pt x="2471" y="491"/>
                </a:moveTo>
                <a:cubicBezTo>
                  <a:pt x="2464" y="491"/>
                  <a:pt x="2458" y="496"/>
                  <a:pt x="2458" y="501"/>
                </a:cubicBezTo>
                <a:cubicBezTo>
                  <a:pt x="2458" y="507"/>
                  <a:pt x="2464" y="512"/>
                  <a:pt x="2470" y="511"/>
                </a:cubicBezTo>
                <a:cubicBezTo>
                  <a:pt x="2477" y="511"/>
                  <a:pt x="2483" y="507"/>
                  <a:pt x="2483" y="501"/>
                </a:cubicBezTo>
                <a:cubicBezTo>
                  <a:pt x="2483" y="496"/>
                  <a:pt x="2478" y="491"/>
                  <a:pt x="2471" y="491"/>
                </a:cubicBezTo>
                <a:cubicBezTo>
                  <a:pt x="2471" y="491"/>
                  <a:pt x="2471" y="491"/>
                  <a:pt x="2471" y="491"/>
                </a:cubicBezTo>
                <a:moveTo>
                  <a:pt x="2754" y="491"/>
                </a:moveTo>
                <a:cubicBezTo>
                  <a:pt x="2747" y="491"/>
                  <a:pt x="2742" y="496"/>
                  <a:pt x="2743" y="501"/>
                </a:cubicBezTo>
                <a:cubicBezTo>
                  <a:pt x="2743" y="507"/>
                  <a:pt x="2749" y="511"/>
                  <a:pt x="2756" y="511"/>
                </a:cubicBezTo>
                <a:cubicBezTo>
                  <a:pt x="2763" y="511"/>
                  <a:pt x="2768" y="507"/>
                  <a:pt x="2768" y="501"/>
                </a:cubicBezTo>
                <a:cubicBezTo>
                  <a:pt x="2767" y="495"/>
                  <a:pt x="2761" y="491"/>
                  <a:pt x="2754" y="491"/>
                </a:cubicBezTo>
                <a:cubicBezTo>
                  <a:pt x="2754" y="491"/>
                  <a:pt x="2754" y="491"/>
                  <a:pt x="2754" y="491"/>
                </a:cubicBezTo>
                <a:moveTo>
                  <a:pt x="2790" y="490"/>
                </a:moveTo>
                <a:cubicBezTo>
                  <a:pt x="2783" y="490"/>
                  <a:pt x="2778" y="495"/>
                  <a:pt x="2778" y="500"/>
                </a:cubicBezTo>
                <a:cubicBezTo>
                  <a:pt x="2779" y="506"/>
                  <a:pt x="2785" y="510"/>
                  <a:pt x="2792" y="510"/>
                </a:cubicBezTo>
                <a:cubicBezTo>
                  <a:pt x="2799" y="510"/>
                  <a:pt x="2804" y="506"/>
                  <a:pt x="2803" y="500"/>
                </a:cubicBezTo>
                <a:cubicBezTo>
                  <a:pt x="2802" y="494"/>
                  <a:pt x="2796" y="490"/>
                  <a:pt x="2790" y="490"/>
                </a:cubicBezTo>
                <a:cubicBezTo>
                  <a:pt x="2790" y="490"/>
                  <a:pt x="2790" y="490"/>
                  <a:pt x="2790" y="490"/>
                </a:cubicBezTo>
                <a:moveTo>
                  <a:pt x="2823" y="490"/>
                </a:moveTo>
                <a:cubicBezTo>
                  <a:pt x="2816" y="490"/>
                  <a:pt x="2811" y="494"/>
                  <a:pt x="2812" y="500"/>
                </a:cubicBezTo>
                <a:cubicBezTo>
                  <a:pt x="2812" y="506"/>
                  <a:pt x="2818" y="510"/>
                  <a:pt x="2825" y="510"/>
                </a:cubicBezTo>
                <a:cubicBezTo>
                  <a:pt x="2832" y="510"/>
                  <a:pt x="2837" y="505"/>
                  <a:pt x="2836" y="500"/>
                </a:cubicBezTo>
                <a:cubicBezTo>
                  <a:pt x="2836" y="494"/>
                  <a:pt x="2830" y="490"/>
                  <a:pt x="2823" y="490"/>
                </a:cubicBezTo>
                <a:cubicBezTo>
                  <a:pt x="2823" y="490"/>
                  <a:pt x="2823" y="490"/>
                  <a:pt x="2823" y="490"/>
                </a:cubicBezTo>
                <a:moveTo>
                  <a:pt x="2858" y="489"/>
                </a:moveTo>
                <a:cubicBezTo>
                  <a:pt x="2851" y="489"/>
                  <a:pt x="2846" y="494"/>
                  <a:pt x="2847" y="500"/>
                </a:cubicBezTo>
                <a:cubicBezTo>
                  <a:pt x="2848" y="505"/>
                  <a:pt x="2854" y="510"/>
                  <a:pt x="2861" y="510"/>
                </a:cubicBezTo>
                <a:cubicBezTo>
                  <a:pt x="2868" y="510"/>
                  <a:pt x="2873" y="505"/>
                  <a:pt x="2872" y="500"/>
                </a:cubicBezTo>
                <a:cubicBezTo>
                  <a:pt x="2871" y="494"/>
                  <a:pt x="2865" y="489"/>
                  <a:pt x="2858" y="489"/>
                </a:cubicBezTo>
                <a:cubicBezTo>
                  <a:pt x="2858" y="489"/>
                  <a:pt x="2858" y="489"/>
                  <a:pt x="2858" y="489"/>
                </a:cubicBezTo>
                <a:moveTo>
                  <a:pt x="2893" y="489"/>
                </a:moveTo>
                <a:cubicBezTo>
                  <a:pt x="2887" y="489"/>
                  <a:pt x="2882" y="494"/>
                  <a:pt x="2883" y="500"/>
                </a:cubicBezTo>
                <a:cubicBezTo>
                  <a:pt x="2883" y="505"/>
                  <a:pt x="2890" y="510"/>
                  <a:pt x="2896" y="510"/>
                </a:cubicBezTo>
                <a:cubicBezTo>
                  <a:pt x="2903" y="510"/>
                  <a:pt x="2908" y="505"/>
                  <a:pt x="2907" y="499"/>
                </a:cubicBezTo>
                <a:cubicBezTo>
                  <a:pt x="2907" y="494"/>
                  <a:pt x="2900" y="489"/>
                  <a:pt x="2894" y="489"/>
                </a:cubicBezTo>
                <a:cubicBezTo>
                  <a:pt x="2894" y="489"/>
                  <a:pt x="2894" y="489"/>
                  <a:pt x="2893" y="489"/>
                </a:cubicBezTo>
                <a:moveTo>
                  <a:pt x="2929" y="489"/>
                </a:moveTo>
                <a:cubicBezTo>
                  <a:pt x="2922" y="489"/>
                  <a:pt x="2918" y="494"/>
                  <a:pt x="2918" y="499"/>
                </a:cubicBezTo>
                <a:cubicBezTo>
                  <a:pt x="2919" y="505"/>
                  <a:pt x="2926" y="509"/>
                  <a:pt x="2932" y="509"/>
                </a:cubicBezTo>
                <a:cubicBezTo>
                  <a:pt x="2939" y="509"/>
                  <a:pt x="2944" y="505"/>
                  <a:pt x="2943" y="499"/>
                </a:cubicBezTo>
                <a:cubicBezTo>
                  <a:pt x="2942" y="493"/>
                  <a:pt x="2936" y="489"/>
                  <a:pt x="2929" y="489"/>
                </a:cubicBezTo>
                <a:cubicBezTo>
                  <a:pt x="2929" y="489"/>
                  <a:pt x="2929" y="489"/>
                  <a:pt x="2929" y="489"/>
                </a:cubicBezTo>
                <a:moveTo>
                  <a:pt x="2964" y="489"/>
                </a:moveTo>
                <a:cubicBezTo>
                  <a:pt x="2958" y="489"/>
                  <a:pt x="2953" y="493"/>
                  <a:pt x="2954" y="499"/>
                </a:cubicBezTo>
                <a:cubicBezTo>
                  <a:pt x="2955" y="505"/>
                  <a:pt x="2961" y="509"/>
                  <a:pt x="2968" y="509"/>
                </a:cubicBezTo>
                <a:cubicBezTo>
                  <a:pt x="2975" y="509"/>
                  <a:pt x="2980" y="505"/>
                  <a:pt x="2979" y="499"/>
                </a:cubicBezTo>
                <a:cubicBezTo>
                  <a:pt x="2978" y="493"/>
                  <a:pt x="2971" y="489"/>
                  <a:pt x="2965" y="489"/>
                </a:cubicBezTo>
                <a:cubicBezTo>
                  <a:pt x="2964" y="489"/>
                  <a:pt x="2964" y="489"/>
                  <a:pt x="2964" y="489"/>
                </a:cubicBezTo>
                <a:moveTo>
                  <a:pt x="3000" y="488"/>
                </a:moveTo>
                <a:cubicBezTo>
                  <a:pt x="2993" y="489"/>
                  <a:pt x="2988" y="493"/>
                  <a:pt x="2989" y="499"/>
                </a:cubicBezTo>
                <a:cubicBezTo>
                  <a:pt x="2990" y="504"/>
                  <a:pt x="2997" y="509"/>
                  <a:pt x="3004" y="509"/>
                </a:cubicBezTo>
                <a:cubicBezTo>
                  <a:pt x="3010" y="509"/>
                  <a:pt x="3015" y="504"/>
                  <a:pt x="3014" y="499"/>
                </a:cubicBezTo>
                <a:cubicBezTo>
                  <a:pt x="3013" y="493"/>
                  <a:pt x="3007" y="488"/>
                  <a:pt x="3000" y="488"/>
                </a:cubicBezTo>
                <a:cubicBezTo>
                  <a:pt x="3000" y="488"/>
                  <a:pt x="3000" y="488"/>
                  <a:pt x="3000" y="488"/>
                </a:cubicBezTo>
                <a:moveTo>
                  <a:pt x="3035" y="488"/>
                </a:moveTo>
                <a:cubicBezTo>
                  <a:pt x="3028" y="488"/>
                  <a:pt x="3023" y="493"/>
                  <a:pt x="3025" y="499"/>
                </a:cubicBezTo>
                <a:cubicBezTo>
                  <a:pt x="3026" y="504"/>
                  <a:pt x="3032" y="509"/>
                  <a:pt x="3039" y="509"/>
                </a:cubicBezTo>
                <a:cubicBezTo>
                  <a:pt x="3046" y="509"/>
                  <a:pt x="3050" y="504"/>
                  <a:pt x="3049" y="498"/>
                </a:cubicBezTo>
                <a:cubicBezTo>
                  <a:pt x="3048" y="493"/>
                  <a:pt x="3042" y="488"/>
                  <a:pt x="3035" y="488"/>
                </a:cubicBezTo>
                <a:cubicBezTo>
                  <a:pt x="3035" y="488"/>
                  <a:pt x="3035" y="488"/>
                  <a:pt x="3035" y="488"/>
                </a:cubicBezTo>
                <a:moveTo>
                  <a:pt x="3070" y="488"/>
                </a:moveTo>
                <a:cubicBezTo>
                  <a:pt x="3064" y="488"/>
                  <a:pt x="3059" y="493"/>
                  <a:pt x="3060" y="498"/>
                </a:cubicBezTo>
                <a:cubicBezTo>
                  <a:pt x="3061" y="504"/>
                  <a:pt x="3068" y="509"/>
                  <a:pt x="3075" y="509"/>
                </a:cubicBezTo>
                <a:cubicBezTo>
                  <a:pt x="3082" y="508"/>
                  <a:pt x="3086" y="504"/>
                  <a:pt x="3085" y="498"/>
                </a:cubicBezTo>
                <a:cubicBezTo>
                  <a:pt x="3084" y="493"/>
                  <a:pt x="3077" y="488"/>
                  <a:pt x="3071" y="488"/>
                </a:cubicBezTo>
                <a:cubicBezTo>
                  <a:pt x="3070" y="488"/>
                  <a:pt x="3070" y="488"/>
                  <a:pt x="3070" y="488"/>
                </a:cubicBezTo>
                <a:moveTo>
                  <a:pt x="3107" y="488"/>
                </a:moveTo>
                <a:cubicBezTo>
                  <a:pt x="3100" y="488"/>
                  <a:pt x="3096" y="492"/>
                  <a:pt x="3097" y="498"/>
                </a:cubicBezTo>
                <a:cubicBezTo>
                  <a:pt x="3098" y="504"/>
                  <a:pt x="3105" y="508"/>
                  <a:pt x="3111" y="508"/>
                </a:cubicBezTo>
                <a:cubicBezTo>
                  <a:pt x="3118" y="508"/>
                  <a:pt x="3123" y="504"/>
                  <a:pt x="3122" y="498"/>
                </a:cubicBezTo>
                <a:cubicBezTo>
                  <a:pt x="3120" y="492"/>
                  <a:pt x="3114" y="488"/>
                  <a:pt x="3107" y="488"/>
                </a:cubicBezTo>
                <a:cubicBezTo>
                  <a:pt x="3107" y="488"/>
                  <a:pt x="3107" y="488"/>
                  <a:pt x="3107" y="488"/>
                </a:cubicBezTo>
                <a:moveTo>
                  <a:pt x="3142" y="488"/>
                </a:moveTo>
                <a:cubicBezTo>
                  <a:pt x="3135" y="488"/>
                  <a:pt x="3131" y="492"/>
                  <a:pt x="3132" y="498"/>
                </a:cubicBezTo>
                <a:cubicBezTo>
                  <a:pt x="3133" y="504"/>
                  <a:pt x="3140" y="508"/>
                  <a:pt x="3147" y="508"/>
                </a:cubicBezTo>
                <a:cubicBezTo>
                  <a:pt x="3154" y="508"/>
                  <a:pt x="3158" y="503"/>
                  <a:pt x="3157" y="498"/>
                </a:cubicBezTo>
                <a:cubicBezTo>
                  <a:pt x="3156" y="492"/>
                  <a:pt x="3149" y="488"/>
                  <a:pt x="3142" y="488"/>
                </a:cubicBezTo>
                <a:cubicBezTo>
                  <a:pt x="3142" y="488"/>
                  <a:pt x="3142" y="488"/>
                  <a:pt x="3142" y="488"/>
                </a:cubicBezTo>
                <a:moveTo>
                  <a:pt x="3177" y="487"/>
                </a:moveTo>
                <a:cubicBezTo>
                  <a:pt x="3171" y="487"/>
                  <a:pt x="3166" y="492"/>
                  <a:pt x="3168" y="498"/>
                </a:cubicBezTo>
                <a:cubicBezTo>
                  <a:pt x="3169" y="503"/>
                  <a:pt x="3176" y="508"/>
                  <a:pt x="3183" y="508"/>
                </a:cubicBezTo>
                <a:cubicBezTo>
                  <a:pt x="3189" y="508"/>
                  <a:pt x="3194" y="503"/>
                  <a:pt x="3192" y="497"/>
                </a:cubicBezTo>
                <a:cubicBezTo>
                  <a:pt x="3191" y="492"/>
                  <a:pt x="3184" y="487"/>
                  <a:pt x="3178" y="487"/>
                </a:cubicBezTo>
                <a:cubicBezTo>
                  <a:pt x="3178" y="487"/>
                  <a:pt x="3178" y="487"/>
                  <a:pt x="3177" y="487"/>
                </a:cubicBezTo>
                <a:moveTo>
                  <a:pt x="3213" y="487"/>
                </a:moveTo>
                <a:cubicBezTo>
                  <a:pt x="3206" y="487"/>
                  <a:pt x="3202" y="492"/>
                  <a:pt x="3203" y="497"/>
                </a:cubicBezTo>
                <a:cubicBezTo>
                  <a:pt x="3205" y="503"/>
                  <a:pt x="3212" y="508"/>
                  <a:pt x="3219" y="508"/>
                </a:cubicBezTo>
                <a:cubicBezTo>
                  <a:pt x="3225" y="508"/>
                  <a:pt x="3230" y="503"/>
                  <a:pt x="3228" y="497"/>
                </a:cubicBezTo>
                <a:cubicBezTo>
                  <a:pt x="3227" y="492"/>
                  <a:pt x="3220" y="487"/>
                  <a:pt x="3213" y="487"/>
                </a:cubicBezTo>
                <a:cubicBezTo>
                  <a:pt x="3213" y="487"/>
                  <a:pt x="3213" y="487"/>
                  <a:pt x="3213" y="487"/>
                </a:cubicBezTo>
                <a:moveTo>
                  <a:pt x="3248" y="487"/>
                </a:moveTo>
                <a:cubicBezTo>
                  <a:pt x="3242" y="487"/>
                  <a:pt x="3237" y="492"/>
                  <a:pt x="3239" y="497"/>
                </a:cubicBezTo>
                <a:cubicBezTo>
                  <a:pt x="3240" y="503"/>
                  <a:pt x="3247" y="507"/>
                  <a:pt x="3254" y="507"/>
                </a:cubicBezTo>
                <a:cubicBezTo>
                  <a:pt x="3261" y="507"/>
                  <a:pt x="3265" y="503"/>
                  <a:pt x="3264" y="497"/>
                </a:cubicBezTo>
                <a:cubicBezTo>
                  <a:pt x="3262" y="491"/>
                  <a:pt x="3255" y="487"/>
                  <a:pt x="3248" y="487"/>
                </a:cubicBezTo>
                <a:cubicBezTo>
                  <a:pt x="3248" y="487"/>
                  <a:pt x="3248" y="487"/>
                  <a:pt x="3248" y="487"/>
                </a:cubicBezTo>
                <a:moveTo>
                  <a:pt x="3284" y="487"/>
                </a:moveTo>
                <a:cubicBezTo>
                  <a:pt x="3277" y="487"/>
                  <a:pt x="3273" y="491"/>
                  <a:pt x="3274" y="497"/>
                </a:cubicBezTo>
                <a:cubicBezTo>
                  <a:pt x="3276" y="503"/>
                  <a:pt x="3283" y="507"/>
                  <a:pt x="3290" y="507"/>
                </a:cubicBezTo>
                <a:cubicBezTo>
                  <a:pt x="3296" y="507"/>
                  <a:pt x="3301" y="502"/>
                  <a:pt x="3299" y="497"/>
                </a:cubicBezTo>
                <a:cubicBezTo>
                  <a:pt x="3297" y="491"/>
                  <a:pt x="3291" y="487"/>
                  <a:pt x="3284" y="487"/>
                </a:cubicBezTo>
                <a:cubicBezTo>
                  <a:pt x="3284" y="487"/>
                  <a:pt x="3284" y="487"/>
                  <a:pt x="3284" y="487"/>
                </a:cubicBezTo>
                <a:moveTo>
                  <a:pt x="3319" y="486"/>
                </a:moveTo>
                <a:cubicBezTo>
                  <a:pt x="3312" y="486"/>
                  <a:pt x="3308" y="491"/>
                  <a:pt x="3310" y="497"/>
                </a:cubicBezTo>
                <a:cubicBezTo>
                  <a:pt x="3311" y="502"/>
                  <a:pt x="3318" y="507"/>
                  <a:pt x="3325" y="507"/>
                </a:cubicBezTo>
                <a:cubicBezTo>
                  <a:pt x="3332" y="507"/>
                  <a:pt x="3336" y="502"/>
                  <a:pt x="3334" y="497"/>
                </a:cubicBezTo>
                <a:cubicBezTo>
                  <a:pt x="3333" y="491"/>
                  <a:pt x="3326" y="486"/>
                  <a:pt x="3319" y="486"/>
                </a:cubicBezTo>
                <a:cubicBezTo>
                  <a:pt x="3319" y="486"/>
                  <a:pt x="3319" y="486"/>
                  <a:pt x="3319" y="486"/>
                </a:cubicBezTo>
                <a:moveTo>
                  <a:pt x="3354" y="486"/>
                </a:moveTo>
                <a:cubicBezTo>
                  <a:pt x="3347" y="486"/>
                  <a:pt x="3343" y="491"/>
                  <a:pt x="3345" y="496"/>
                </a:cubicBezTo>
                <a:cubicBezTo>
                  <a:pt x="3347" y="502"/>
                  <a:pt x="3354" y="507"/>
                  <a:pt x="3361" y="507"/>
                </a:cubicBezTo>
                <a:cubicBezTo>
                  <a:pt x="3368" y="507"/>
                  <a:pt x="3372" y="502"/>
                  <a:pt x="3370" y="496"/>
                </a:cubicBezTo>
                <a:cubicBezTo>
                  <a:pt x="3368" y="491"/>
                  <a:pt x="3361" y="486"/>
                  <a:pt x="3354" y="486"/>
                </a:cubicBezTo>
                <a:cubicBezTo>
                  <a:pt x="3354" y="486"/>
                  <a:pt x="3354" y="486"/>
                  <a:pt x="3354" y="486"/>
                </a:cubicBezTo>
                <a:moveTo>
                  <a:pt x="3390" y="486"/>
                </a:moveTo>
                <a:cubicBezTo>
                  <a:pt x="3383" y="486"/>
                  <a:pt x="3379" y="491"/>
                  <a:pt x="3381" y="496"/>
                </a:cubicBezTo>
                <a:cubicBezTo>
                  <a:pt x="3383" y="502"/>
                  <a:pt x="3390" y="506"/>
                  <a:pt x="3397" y="506"/>
                </a:cubicBezTo>
                <a:cubicBezTo>
                  <a:pt x="3404" y="506"/>
                  <a:pt x="3408" y="502"/>
                  <a:pt x="3406" y="496"/>
                </a:cubicBezTo>
                <a:cubicBezTo>
                  <a:pt x="3404" y="490"/>
                  <a:pt x="3397" y="486"/>
                  <a:pt x="3390" y="486"/>
                </a:cubicBezTo>
                <a:cubicBezTo>
                  <a:pt x="3390" y="486"/>
                  <a:pt x="3390" y="486"/>
                  <a:pt x="3390" y="486"/>
                </a:cubicBezTo>
                <a:moveTo>
                  <a:pt x="3425" y="486"/>
                </a:moveTo>
                <a:cubicBezTo>
                  <a:pt x="3418" y="486"/>
                  <a:pt x="3414" y="490"/>
                  <a:pt x="3416" y="496"/>
                </a:cubicBezTo>
                <a:cubicBezTo>
                  <a:pt x="3418" y="502"/>
                  <a:pt x="3425" y="506"/>
                  <a:pt x="3432" y="506"/>
                </a:cubicBezTo>
                <a:cubicBezTo>
                  <a:pt x="3439" y="506"/>
                  <a:pt x="3443" y="502"/>
                  <a:pt x="3441" y="496"/>
                </a:cubicBezTo>
                <a:cubicBezTo>
                  <a:pt x="3439" y="490"/>
                  <a:pt x="3432" y="486"/>
                  <a:pt x="3425" y="486"/>
                </a:cubicBezTo>
                <a:cubicBezTo>
                  <a:pt x="3425" y="486"/>
                  <a:pt x="3425" y="486"/>
                  <a:pt x="3425" y="486"/>
                </a:cubicBezTo>
                <a:moveTo>
                  <a:pt x="3461" y="485"/>
                </a:moveTo>
                <a:cubicBezTo>
                  <a:pt x="3454" y="485"/>
                  <a:pt x="3450" y="490"/>
                  <a:pt x="3452" y="496"/>
                </a:cubicBezTo>
                <a:cubicBezTo>
                  <a:pt x="3454" y="501"/>
                  <a:pt x="3461" y="506"/>
                  <a:pt x="3468" y="506"/>
                </a:cubicBezTo>
                <a:cubicBezTo>
                  <a:pt x="3475" y="506"/>
                  <a:pt x="3478" y="501"/>
                  <a:pt x="3476" y="496"/>
                </a:cubicBezTo>
                <a:cubicBezTo>
                  <a:pt x="3474" y="490"/>
                  <a:pt x="3467" y="485"/>
                  <a:pt x="3461" y="485"/>
                </a:cubicBezTo>
                <a:cubicBezTo>
                  <a:pt x="3461" y="485"/>
                  <a:pt x="3461" y="485"/>
                  <a:pt x="3461" y="485"/>
                </a:cubicBezTo>
                <a:moveTo>
                  <a:pt x="3496" y="485"/>
                </a:moveTo>
                <a:cubicBezTo>
                  <a:pt x="3489" y="485"/>
                  <a:pt x="3485" y="490"/>
                  <a:pt x="3487" y="496"/>
                </a:cubicBezTo>
                <a:cubicBezTo>
                  <a:pt x="3489" y="501"/>
                  <a:pt x="3496" y="506"/>
                  <a:pt x="3503" y="506"/>
                </a:cubicBezTo>
                <a:cubicBezTo>
                  <a:pt x="3510" y="506"/>
                  <a:pt x="3514" y="501"/>
                  <a:pt x="3512" y="495"/>
                </a:cubicBezTo>
                <a:cubicBezTo>
                  <a:pt x="3510" y="490"/>
                  <a:pt x="3503" y="485"/>
                  <a:pt x="3496" y="485"/>
                </a:cubicBezTo>
                <a:cubicBezTo>
                  <a:pt x="3496" y="485"/>
                  <a:pt x="3496" y="485"/>
                  <a:pt x="3496" y="485"/>
                </a:cubicBezTo>
                <a:moveTo>
                  <a:pt x="3531" y="485"/>
                </a:moveTo>
                <a:cubicBezTo>
                  <a:pt x="3524" y="485"/>
                  <a:pt x="3520" y="490"/>
                  <a:pt x="3522" y="495"/>
                </a:cubicBezTo>
                <a:cubicBezTo>
                  <a:pt x="3525" y="501"/>
                  <a:pt x="3532" y="506"/>
                  <a:pt x="3539" y="505"/>
                </a:cubicBezTo>
                <a:cubicBezTo>
                  <a:pt x="3546" y="505"/>
                  <a:pt x="3549" y="501"/>
                  <a:pt x="3547" y="495"/>
                </a:cubicBezTo>
                <a:cubicBezTo>
                  <a:pt x="3545" y="490"/>
                  <a:pt x="3538" y="485"/>
                  <a:pt x="3531" y="485"/>
                </a:cubicBezTo>
                <a:cubicBezTo>
                  <a:pt x="3531" y="485"/>
                  <a:pt x="3531" y="485"/>
                  <a:pt x="3531" y="485"/>
                </a:cubicBezTo>
                <a:moveTo>
                  <a:pt x="3567" y="485"/>
                </a:moveTo>
                <a:cubicBezTo>
                  <a:pt x="3560" y="485"/>
                  <a:pt x="3556" y="489"/>
                  <a:pt x="3558" y="495"/>
                </a:cubicBezTo>
                <a:cubicBezTo>
                  <a:pt x="3560" y="501"/>
                  <a:pt x="3568" y="505"/>
                  <a:pt x="3575" y="505"/>
                </a:cubicBezTo>
                <a:cubicBezTo>
                  <a:pt x="3582" y="505"/>
                  <a:pt x="3585" y="501"/>
                  <a:pt x="3583" y="495"/>
                </a:cubicBezTo>
                <a:cubicBezTo>
                  <a:pt x="3581" y="489"/>
                  <a:pt x="3574" y="485"/>
                  <a:pt x="3567" y="485"/>
                </a:cubicBezTo>
                <a:cubicBezTo>
                  <a:pt x="3567" y="485"/>
                  <a:pt x="3567" y="485"/>
                  <a:pt x="3567" y="485"/>
                </a:cubicBezTo>
                <a:moveTo>
                  <a:pt x="3602" y="484"/>
                </a:moveTo>
                <a:cubicBezTo>
                  <a:pt x="3595" y="484"/>
                  <a:pt x="3591" y="489"/>
                  <a:pt x="3594" y="495"/>
                </a:cubicBezTo>
                <a:cubicBezTo>
                  <a:pt x="3596" y="500"/>
                  <a:pt x="3603" y="505"/>
                  <a:pt x="3610" y="505"/>
                </a:cubicBezTo>
                <a:cubicBezTo>
                  <a:pt x="3617" y="505"/>
                  <a:pt x="3621" y="500"/>
                  <a:pt x="3619" y="495"/>
                </a:cubicBezTo>
                <a:cubicBezTo>
                  <a:pt x="3616" y="489"/>
                  <a:pt x="3609" y="484"/>
                  <a:pt x="3602" y="484"/>
                </a:cubicBezTo>
                <a:cubicBezTo>
                  <a:pt x="3602" y="484"/>
                  <a:pt x="3602" y="484"/>
                  <a:pt x="3602" y="484"/>
                </a:cubicBezTo>
                <a:moveTo>
                  <a:pt x="3637" y="484"/>
                </a:moveTo>
                <a:cubicBezTo>
                  <a:pt x="3630" y="484"/>
                  <a:pt x="3627" y="489"/>
                  <a:pt x="3629" y="494"/>
                </a:cubicBezTo>
                <a:cubicBezTo>
                  <a:pt x="3631" y="500"/>
                  <a:pt x="3639" y="505"/>
                  <a:pt x="3646" y="505"/>
                </a:cubicBezTo>
                <a:cubicBezTo>
                  <a:pt x="3652" y="505"/>
                  <a:pt x="3656" y="500"/>
                  <a:pt x="3654" y="494"/>
                </a:cubicBezTo>
                <a:cubicBezTo>
                  <a:pt x="3651" y="489"/>
                  <a:pt x="3644" y="484"/>
                  <a:pt x="3637" y="484"/>
                </a:cubicBezTo>
                <a:cubicBezTo>
                  <a:pt x="3637" y="484"/>
                  <a:pt x="3637" y="484"/>
                  <a:pt x="3637" y="484"/>
                </a:cubicBezTo>
                <a:moveTo>
                  <a:pt x="3673" y="484"/>
                </a:moveTo>
                <a:cubicBezTo>
                  <a:pt x="3666" y="484"/>
                  <a:pt x="3662" y="489"/>
                  <a:pt x="3664" y="494"/>
                </a:cubicBezTo>
                <a:cubicBezTo>
                  <a:pt x="3667" y="500"/>
                  <a:pt x="3674" y="504"/>
                  <a:pt x="3681" y="504"/>
                </a:cubicBezTo>
                <a:cubicBezTo>
                  <a:pt x="3688" y="504"/>
                  <a:pt x="3692" y="500"/>
                  <a:pt x="3689" y="494"/>
                </a:cubicBezTo>
                <a:cubicBezTo>
                  <a:pt x="3687" y="488"/>
                  <a:pt x="3679" y="484"/>
                  <a:pt x="3673" y="484"/>
                </a:cubicBezTo>
                <a:cubicBezTo>
                  <a:pt x="3673" y="484"/>
                  <a:pt x="3673" y="484"/>
                  <a:pt x="3673" y="484"/>
                </a:cubicBezTo>
                <a:moveTo>
                  <a:pt x="3710" y="484"/>
                </a:moveTo>
                <a:cubicBezTo>
                  <a:pt x="3703" y="484"/>
                  <a:pt x="3700" y="488"/>
                  <a:pt x="3702" y="494"/>
                </a:cubicBezTo>
                <a:cubicBezTo>
                  <a:pt x="3705" y="500"/>
                  <a:pt x="3712" y="504"/>
                  <a:pt x="3719" y="504"/>
                </a:cubicBezTo>
                <a:cubicBezTo>
                  <a:pt x="3726" y="504"/>
                  <a:pt x="3729" y="500"/>
                  <a:pt x="3727" y="494"/>
                </a:cubicBezTo>
                <a:cubicBezTo>
                  <a:pt x="3724" y="488"/>
                  <a:pt x="3717" y="484"/>
                  <a:pt x="3710" y="484"/>
                </a:cubicBezTo>
                <a:cubicBezTo>
                  <a:pt x="3710" y="484"/>
                  <a:pt x="3710" y="484"/>
                  <a:pt x="3710" y="484"/>
                </a:cubicBezTo>
                <a:moveTo>
                  <a:pt x="3745" y="483"/>
                </a:moveTo>
                <a:cubicBezTo>
                  <a:pt x="3738" y="483"/>
                  <a:pt x="3735" y="488"/>
                  <a:pt x="3737" y="494"/>
                </a:cubicBezTo>
                <a:cubicBezTo>
                  <a:pt x="3740" y="499"/>
                  <a:pt x="3747" y="504"/>
                  <a:pt x="3754" y="504"/>
                </a:cubicBezTo>
                <a:cubicBezTo>
                  <a:pt x="3761" y="504"/>
                  <a:pt x="3765" y="499"/>
                  <a:pt x="3762" y="494"/>
                </a:cubicBezTo>
                <a:cubicBezTo>
                  <a:pt x="3759" y="488"/>
                  <a:pt x="3752" y="483"/>
                  <a:pt x="3745" y="483"/>
                </a:cubicBezTo>
                <a:cubicBezTo>
                  <a:pt x="3745" y="483"/>
                  <a:pt x="3745" y="483"/>
                  <a:pt x="3745" y="483"/>
                </a:cubicBezTo>
                <a:moveTo>
                  <a:pt x="3780" y="483"/>
                </a:moveTo>
                <a:cubicBezTo>
                  <a:pt x="3773" y="483"/>
                  <a:pt x="3770" y="488"/>
                  <a:pt x="3772" y="494"/>
                </a:cubicBezTo>
                <a:cubicBezTo>
                  <a:pt x="3775" y="499"/>
                  <a:pt x="3783" y="504"/>
                  <a:pt x="3789" y="504"/>
                </a:cubicBezTo>
                <a:cubicBezTo>
                  <a:pt x="3796" y="504"/>
                  <a:pt x="3800" y="499"/>
                  <a:pt x="3797" y="493"/>
                </a:cubicBezTo>
                <a:cubicBezTo>
                  <a:pt x="3795" y="488"/>
                  <a:pt x="3787" y="483"/>
                  <a:pt x="3780" y="483"/>
                </a:cubicBezTo>
                <a:cubicBezTo>
                  <a:pt x="3780" y="483"/>
                  <a:pt x="3780" y="483"/>
                  <a:pt x="3780" y="483"/>
                </a:cubicBezTo>
                <a:moveTo>
                  <a:pt x="3815" y="483"/>
                </a:moveTo>
                <a:cubicBezTo>
                  <a:pt x="3809" y="483"/>
                  <a:pt x="3805" y="488"/>
                  <a:pt x="3808" y="493"/>
                </a:cubicBezTo>
                <a:cubicBezTo>
                  <a:pt x="3811" y="499"/>
                  <a:pt x="3818" y="504"/>
                  <a:pt x="3825" y="503"/>
                </a:cubicBezTo>
                <a:cubicBezTo>
                  <a:pt x="3832" y="503"/>
                  <a:pt x="3835" y="499"/>
                  <a:pt x="3833" y="493"/>
                </a:cubicBezTo>
                <a:cubicBezTo>
                  <a:pt x="3830" y="487"/>
                  <a:pt x="3822" y="483"/>
                  <a:pt x="3815" y="483"/>
                </a:cubicBezTo>
                <a:cubicBezTo>
                  <a:pt x="3815" y="483"/>
                  <a:pt x="3815" y="483"/>
                  <a:pt x="3815" y="483"/>
                </a:cubicBezTo>
                <a:moveTo>
                  <a:pt x="3851" y="483"/>
                </a:moveTo>
                <a:cubicBezTo>
                  <a:pt x="3844" y="483"/>
                  <a:pt x="3841" y="487"/>
                  <a:pt x="3844" y="493"/>
                </a:cubicBezTo>
                <a:cubicBezTo>
                  <a:pt x="3846" y="499"/>
                  <a:pt x="3854" y="503"/>
                  <a:pt x="3861" y="503"/>
                </a:cubicBezTo>
                <a:cubicBezTo>
                  <a:pt x="3868" y="503"/>
                  <a:pt x="3871" y="499"/>
                  <a:pt x="3869" y="493"/>
                </a:cubicBezTo>
                <a:cubicBezTo>
                  <a:pt x="3866" y="487"/>
                  <a:pt x="3858" y="483"/>
                  <a:pt x="3851" y="483"/>
                </a:cubicBezTo>
                <a:cubicBezTo>
                  <a:pt x="3851" y="483"/>
                  <a:pt x="3851" y="483"/>
                  <a:pt x="3851" y="483"/>
                </a:cubicBezTo>
                <a:moveTo>
                  <a:pt x="3886" y="482"/>
                </a:moveTo>
                <a:cubicBezTo>
                  <a:pt x="3879" y="482"/>
                  <a:pt x="3876" y="487"/>
                  <a:pt x="3879" y="493"/>
                </a:cubicBezTo>
                <a:cubicBezTo>
                  <a:pt x="3882" y="499"/>
                  <a:pt x="3890" y="503"/>
                  <a:pt x="3896" y="503"/>
                </a:cubicBezTo>
                <a:cubicBezTo>
                  <a:pt x="3903" y="503"/>
                  <a:pt x="3907" y="498"/>
                  <a:pt x="3904" y="493"/>
                </a:cubicBezTo>
                <a:cubicBezTo>
                  <a:pt x="3901" y="487"/>
                  <a:pt x="3893" y="482"/>
                  <a:pt x="3886" y="482"/>
                </a:cubicBezTo>
                <a:cubicBezTo>
                  <a:pt x="3886" y="482"/>
                  <a:pt x="3886" y="482"/>
                  <a:pt x="3886" y="482"/>
                </a:cubicBezTo>
                <a:moveTo>
                  <a:pt x="3921" y="482"/>
                </a:moveTo>
                <a:cubicBezTo>
                  <a:pt x="3915" y="482"/>
                  <a:pt x="3911" y="487"/>
                  <a:pt x="3914" y="493"/>
                </a:cubicBezTo>
                <a:cubicBezTo>
                  <a:pt x="3917" y="498"/>
                  <a:pt x="3925" y="503"/>
                  <a:pt x="3932" y="503"/>
                </a:cubicBezTo>
                <a:cubicBezTo>
                  <a:pt x="3939" y="503"/>
                  <a:pt x="3942" y="498"/>
                  <a:pt x="3939" y="492"/>
                </a:cubicBezTo>
                <a:cubicBezTo>
                  <a:pt x="3936" y="487"/>
                  <a:pt x="3928" y="482"/>
                  <a:pt x="3922" y="482"/>
                </a:cubicBezTo>
                <a:cubicBezTo>
                  <a:pt x="3922" y="482"/>
                  <a:pt x="3921" y="482"/>
                  <a:pt x="3921" y="482"/>
                </a:cubicBezTo>
                <a:moveTo>
                  <a:pt x="3957" y="482"/>
                </a:moveTo>
                <a:cubicBezTo>
                  <a:pt x="3950" y="482"/>
                  <a:pt x="3947" y="487"/>
                  <a:pt x="3950" y="492"/>
                </a:cubicBezTo>
                <a:cubicBezTo>
                  <a:pt x="3953" y="498"/>
                  <a:pt x="3960" y="503"/>
                  <a:pt x="3967" y="503"/>
                </a:cubicBezTo>
                <a:cubicBezTo>
                  <a:pt x="3974" y="503"/>
                  <a:pt x="3977" y="498"/>
                  <a:pt x="3974" y="492"/>
                </a:cubicBezTo>
                <a:cubicBezTo>
                  <a:pt x="3971" y="487"/>
                  <a:pt x="3963" y="482"/>
                  <a:pt x="3957" y="482"/>
                </a:cubicBezTo>
                <a:cubicBezTo>
                  <a:pt x="3957" y="482"/>
                  <a:pt x="3957" y="482"/>
                  <a:pt x="3957" y="482"/>
                </a:cubicBezTo>
                <a:moveTo>
                  <a:pt x="3992" y="482"/>
                </a:moveTo>
                <a:cubicBezTo>
                  <a:pt x="3985" y="482"/>
                  <a:pt x="3982" y="486"/>
                  <a:pt x="3985" y="492"/>
                </a:cubicBezTo>
                <a:cubicBezTo>
                  <a:pt x="3988" y="498"/>
                  <a:pt x="3996" y="502"/>
                  <a:pt x="4003" y="502"/>
                </a:cubicBezTo>
                <a:cubicBezTo>
                  <a:pt x="4010" y="502"/>
                  <a:pt x="4013" y="498"/>
                  <a:pt x="4010" y="492"/>
                </a:cubicBezTo>
                <a:cubicBezTo>
                  <a:pt x="4007" y="486"/>
                  <a:pt x="3999" y="482"/>
                  <a:pt x="3992" y="482"/>
                </a:cubicBezTo>
                <a:cubicBezTo>
                  <a:pt x="3992" y="482"/>
                  <a:pt x="3992" y="482"/>
                  <a:pt x="3992" y="482"/>
                </a:cubicBezTo>
                <a:moveTo>
                  <a:pt x="4026" y="482"/>
                </a:moveTo>
                <a:cubicBezTo>
                  <a:pt x="4019" y="482"/>
                  <a:pt x="4016" y="486"/>
                  <a:pt x="4019" y="492"/>
                </a:cubicBezTo>
                <a:cubicBezTo>
                  <a:pt x="4023" y="498"/>
                  <a:pt x="4031" y="502"/>
                  <a:pt x="4038" y="502"/>
                </a:cubicBezTo>
                <a:cubicBezTo>
                  <a:pt x="4044" y="502"/>
                  <a:pt x="4047" y="497"/>
                  <a:pt x="4044" y="492"/>
                </a:cubicBezTo>
                <a:cubicBezTo>
                  <a:pt x="4041" y="486"/>
                  <a:pt x="4033" y="482"/>
                  <a:pt x="4026" y="482"/>
                </a:cubicBezTo>
                <a:cubicBezTo>
                  <a:pt x="4026" y="482"/>
                  <a:pt x="4026" y="482"/>
                  <a:pt x="4026" y="482"/>
                </a:cubicBezTo>
                <a:moveTo>
                  <a:pt x="4134" y="481"/>
                </a:moveTo>
                <a:cubicBezTo>
                  <a:pt x="4128" y="481"/>
                  <a:pt x="4125" y="486"/>
                  <a:pt x="4128" y="491"/>
                </a:cubicBezTo>
                <a:cubicBezTo>
                  <a:pt x="4131" y="497"/>
                  <a:pt x="4140" y="501"/>
                  <a:pt x="4147" y="501"/>
                </a:cubicBezTo>
                <a:cubicBezTo>
                  <a:pt x="4153" y="501"/>
                  <a:pt x="4156" y="497"/>
                  <a:pt x="4153" y="491"/>
                </a:cubicBezTo>
                <a:cubicBezTo>
                  <a:pt x="4149" y="485"/>
                  <a:pt x="4141" y="481"/>
                  <a:pt x="4134" y="481"/>
                </a:cubicBezTo>
                <a:cubicBezTo>
                  <a:pt x="4134" y="481"/>
                  <a:pt x="4134" y="481"/>
                  <a:pt x="4134" y="481"/>
                </a:cubicBezTo>
                <a:moveTo>
                  <a:pt x="4169" y="481"/>
                </a:moveTo>
                <a:cubicBezTo>
                  <a:pt x="4162" y="481"/>
                  <a:pt x="4159" y="485"/>
                  <a:pt x="4162" y="491"/>
                </a:cubicBezTo>
                <a:cubicBezTo>
                  <a:pt x="4166" y="497"/>
                  <a:pt x="4174" y="501"/>
                  <a:pt x="4181" y="501"/>
                </a:cubicBezTo>
                <a:cubicBezTo>
                  <a:pt x="4188" y="501"/>
                  <a:pt x="4191" y="496"/>
                  <a:pt x="4187" y="491"/>
                </a:cubicBezTo>
                <a:cubicBezTo>
                  <a:pt x="4184" y="485"/>
                  <a:pt x="4176" y="481"/>
                  <a:pt x="4169" y="481"/>
                </a:cubicBezTo>
                <a:cubicBezTo>
                  <a:pt x="4169" y="481"/>
                  <a:pt x="4169" y="481"/>
                  <a:pt x="4169" y="481"/>
                </a:cubicBezTo>
                <a:moveTo>
                  <a:pt x="258" y="477"/>
                </a:moveTo>
                <a:cubicBezTo>
                  <a:pt x="252" y="477"/>
                  <a:pt x="242" y="481"/>
                  <a:pt x="238" y="487"/>
                </a:cubicBezTo>
                <a:cubicBezTo>
                  <a:pt x="233" y="493"/>
                  <a:pt x="235" y="497"/>
                  <a:pt x="242" y="497"/>
                </a:cubicBezTo>
                <a:cubicBezTo>
                  <a:pt x="249" y="497"/>
                  <a:pt x="258" y="492"/>
                  <a:pt x="263" y="487"/>
                </a:cubicBezTo>
                <a:cubicBezTo>
                  <a:pt x="267" y="481"/>
                  <a:pt x="265" y="477"/>
                  <a:pt x="258" y="477"/>
                </a:cubicBezTo>
                <a:cubicBezTo>
                  <a:pt x="258" y="477"/>
                  <a:pt x="258" y="477"/>
                  <a:pt x="258" y="477"/>
                </a:cubicBezTo>
                <a:moveTo>
                  <a:pt x="294" y="477"/>
                </a:moveTo>
                <a:cubicBezTo>
                  <a:pt x="287" y="477"/>
                  <a:pt x="278" y="481"/>
                  <a:pt x="273" y="487"/>
                </a:cubicBezTo>
                <a:cubicBezTo>
                  <a:pt x="269" y="492"/>
                  <a:pt x="270" y="497"/>
                  <a:pt x="277" y="497"/>
                </a:cubicBezTo>
                <a:cubicBezTo>
                  <a:pt x="284" y="497"/>
                  <a:pt x="293" y="492"/>
                  <a:pt x="298" y="487"/>
                </a:cubicBezTo>
                <a:cubicBezTo>
                  <a:pt x="302" y="481"/>
                  <a:pt x="300" y="477"/>
                  <a:pt x="294" y="477"/>
                </a:cubicBezTo>
                <a:cubicBezTo>
                  <a:pt x="294" y="477"/>
                  <a:pt x="294" y="477"/>
                  <a:pt x="294" y="477"/>
                </a:cubicBezTo>
                <a:moveTo>
                  <a:pt x="328" y="476"/>
                </a:moveTo>
                <a:cubicBezTo>
                  <a:pt x="322" y="476"/>
                  <a:pt x="313" y="481"/>
                  <a:pt x="308" y="486"/>
                </a:cubicBezTo>
                <a:cubicBezTo>
                  <a:pt x="304" y="492"/>
                  <a:pt x="306" y="497"/>
                  <a:pt x="312" y="497"/>
                </a:cubicBezTo>
                <a:cubicBezTo>
                  <a:pt x="319" y="496"/>
                  <a:pt x="328" y="492"/>
                  <a:pt x="333" y="486"/>
                </a:cubicBezTo>
                <a:cubicBezTo>
                  <a:pt x="337" y="481"/>
                  <a:pt x="335" y="476"/>
                  <a:pt x="329" y="476"/>
                </a:cubicBezTo>
                <a:cubicBezTo>
                  <a:pt x="329" y="476"/>
                  <a:pt x="329" y="476"/>
                  <a:pt x="328" y="476"/>
                </a:cubicBezTo>
                <a:moveTo>
                  <a:pt x="364" y="476"/>
                </a:moveTo>
                <a:cubicBezTo>
                  <a:pt x="357" y="476"/>
                  <a:pt x="348" y="481"/>
                  <a:pt x="343" y="486"/>
                </a:cubicBezTo>
                <a:cubicBezTo>
                  <a:pt x="339" y="492"/>
                  <a:pt x="341" y="496"/>
                  <a:pt x="348" y="496"/>
                </a:cubicBezTo>
                <a:cubicBezTo>
                  <a:pt x="355" y="496"/>
                  <a:pt x="364" y="492"/>
                  <a:pt x="368" y="486"/>
                </a:cubicBezTo>
                <a:cubicBezTo>
                  <a:pt x="372" y="481"/>
                  <a:pt x="371" y="476"/>
                  <a:pt x="364" y="476"/>
                </a:cubicBezTo>
                <a:cubicBezTo>
                  <a:pt x="364" y="476"/>
                  <a:pt x="364" y="476"/>
                  <a:pt x="364" y="476"/>
                </a:cubicBezTo>
                <a:moveTo>
                  <a:pt x="399" y="476"/>
                </a:moveTo>
                <a:cubicBezTo>
                  <a:pt x="392" y="476"/>
                  <a:pt x="383" y="480"/>
                  <a:pt x="379" y="486"/>
                </a:cubicBezTo>
                <a:cubicBezTo>
                  <a:pt x="374" y="492"/>
                  <a:pt x="376" y="496"/>
                  <a:pt x="383" y="496"/>
                </a:cubicBezTo>
                <a:cubicBezTo>
                  <a:pt x="390" y="496"/>
                  <a:pt x="399" y="491"/>
                  <a:pt x="403" y="486"/>
                </a:cubicBezTo>
                <a:cubicBezTo>
                  <a:pt x="408" y="480"/>
                  <a:pt x="406" y="476"/>
                  <a:pt x="399" y="476"/>
                </a:cubicBezTo>
                <a:cubicBezTo>
                  <a:pt x="399" y="476"/>
                  <a:pt x="399" y="476"/>
                  <a:pt x="399" y="476"/>
                </a:cubicBezTo>
                <a:moveTo>
                  <a:pt x="434" y="476"/>
                </a:moveTo>
                <a:cubicBezTo>
                  <a:pt x="427" y="476"/>
                  <a:pt x="418" y="480"/>
                  <a:pt x="414" y="486"/>
                </a:cubicBezTo>
                <a:cubicBezTo>
                  <a:pt x="410" y="491"/>
                  <a:pt x="412" y="496"/>
                  <a:pt x="419" y="496"/>
                </a:cubicBezTo>
                <a:cubicBezTo>
                  <a:pt x="426" y="496"/>
                  <a:pt x="435" y="491"/>
                  <a:pt x="439" y="486"/>
                </a:cubicBezTo>
                <a:cubicBezTo>
                  <a:pt x="443" y="480"/>
                  <a:pt x="441" y="476"/>
                  <a:pt x="434" y="476"/>
                </a:cubicBezTo>
                <a:cubicBezTo>
                  <a:pt x="434" y="476"/>
                  <a:pt x="434" y="476"/>
                  <a:pt x="434" y="476"/>
                </a:cubicBezTo>
                <a:moveTo>
                  <a:pt x="470" y="475"/>
                </a:moveTo>
                <a:cubicBezTo>
                  <a:pt x="463" y="475"/>
                  <a:pt x="455" y="480"/>
                  <a:pt x="450" y="486"/>
                </a:cubicBezTo>
                <a:cubicBezTo>
                  <a:pt x="446" y="491"/>
                  <a:pt x="448" y="496"/>
                  <a:pt x="455" y="496"/>
                </a:cubicBezTo>
                <a:cubicBezTo>
                  <a:pt x="462" y="496"/>
                  <a:pt x="471" y="491"/>
                  <a:pt x="475" y="485"/>
                </a:cubicBezTo>
                <a:cubicBezTo>
                  <a:pt x="479" y="480"/>
                  <a:pt x="477" y="475"/>
                  <a:pt x="470" y="475"/>
                </a:cubicBezTo>
                <a:cubicBezTo>
                  <a:pt x="470" y="475"/>
                  <a:pt x="470" y="475"/>
                  <a:pt x="470" y="475"/>
                </a:cubicBezTo>
                <a:moveTo>
                  <a:pt x="505" y="475"/>
                </a:moveTo>
                <a:cubicBezTo>
                  <a:pt x="498" y="475"/>
                  <a:pt x="490" y="480"/>
                  <a:pt x="486" y="485"/>
                </a:cubicBezTo>
                <a:cubicBezTo>
                  <a:pt x="482" y="491"/>
                  <a:pt x="484" y="495"/>
                  <a:pt x="491" y="495"/>
                </a:cubicBezTo>
                <a:cubicBezTo>
                  <a:pt x="497" y="495"/>
                  <a:pt x="506" y="491"/>
                  <a:pt x="510" y="485"/>
                </a:cubicBezTo>
                <a:cubicBezTo>
                  <a:pt x="514" y="480"/>
                  <a:pt x="512" y="475"/>
                  <a:pt x="505" y="475"/>
                </a:cubicBezTo>
                <a:cubicBezTo>
                  <a:pt x="505" y="475"/>
                  <a:pt x="505" y="475"/>
                  <a:pt x="505" y="475"/>
                </a:cubicBezTo>
                <a:moveTo>
                  <a:pt x="541" y="475"/>
                </a:moveTo>
                <a:cubicBezTo>
                  <a:pt x="534" y="475"/>
                  <a:pt x="525" y="479"/>
                  <a:pt x="521" y="485"/>
                </a:cubicBezTo>
                <a:cubicBezTo>
                  <a:pt x="517" y="491"/>
                  <a:pt x="519" y="495"/>
                  <a:pt x="526" y="495"/>
                </a:cubicBezTo>
                <a:cubicBezTo>
                  <a:pt x="533" y="495"/>
                  <a:pt x="542" y="490"/>
                  <a:pt x="546" y="485"/>
                </a:cubicBezTo>
                <a:cubicBezTo>
                  <a:pt x="550" y="479"/>
                  <a:pt x="547" y="475"/>
                  <a:pt x="541" y="475"/>
                </a:cubicBezTo>
                <a:cubicBezTo>
                  <a:pt x="541" y="475"/>
                  <a:pt x="541" y="475"/>
                  <a:pt x="541" y="475"/>
                </a:cubicBezTo>
                <a:moveTo>
                  <a:pt x="576" y="475"/>
                </a:moveTo>
                <a:cubicBezTo>
                  <a:pt x="569" y="475"/>
                  <a:pt x="561" y="479"/>
                  <a:pt x="557" y="485"/>
                </a:cubicBezTo>
                <a:cubicBezTo>
                  <a:pt x="553" y="490"/>
                  <a:pt x="555" y="495"/>
                  <a:pt x="562" y="495"/>
                </a:cubicBezTo>
                <a:cubicBezTo>
                  <a:pt x="569" y="495"/>
                  <a:pt x="578" y="490"/>
                  <a:pt x="581" y="485"/>
                </a:cubicBezTo>
                <a:cubicBezTo>
                  <a:pt x="585" y="479"/>
                  <a:pt x="583" y="475"/>
                  <a:pt x="576" y="475"/>
                </a:cubicBezTo>
                <a:cubicBezTo>
                  <a:pt x="576" y="475"/>
                  <a:pt x="576" y="475"/>
                  <a:pt x="576" y="475"/>
                </a:cubicBezTo>
                <a:moveTo>
                  <a:pt x="611" y="474"/>
                </a:moveTo>
                <a:cubicBezTo>
                  <a:pt x="604" y="474"/>
                  <a:pt x="596" y="479"/>
                  <a:pt x="592" y="485"/>
                </a:cubicBezTo>
                <a:cubicBezTo>
                  <a:pt x="588" y="490"/>
                  <a:pt x="590" y="495"/>
                  <a:pt x="597" y="495"/>
                </a:cubicBezTo>
                <a:cubicBezTo>
                  <a:pt x="604" y="495"/>
                  <a:pt x="613" y="490"/>
                  <a:pt x="617" y="484"/>
                </a:cubicBezTo>
                <a:cubicBezTo>
                  <a:pt x="620" y="479"/>
                  <a:pt x="618" y="474"/>
                  <a:pt x="611" y="474"/>
                </a:cubicBezTo>
                <a:cubicBezTo>
                  <a:pt x="611" y="474"/>
                  <a:pt x="611" y="474"/>
                  <a:pt x="611" y="474"/>
                </a:cubicBezTo>
                <a:moveTo>
                  <a:pt x="646" y="474"/>
                </a:moveTo>
                <a:cubicBezTo>
                  <a:pt x="640" y="474"/>
                  <a:pt x="631" y="479"/>
                  <a:pt x="627" y="484"/>
                </a:cubicBezTo>
                <a:cubicBezTo>
                  <a:pt x="623" y="490"/>
                  <a:pt x="626" y="494"/>
                  <a:pt x="633" y="494"/>
                </a:cubicBezTo>
                <a:cubicBezTo>
                  <a:pt x="640" y="494"/>
                  <a:pt x="648" y="490"/>
                  <a:pt x="652" y="484"/>
                </a:cubicBezTo>
                <a:cubicBezTo>
                  <a:pt x="656" y="479"/>
                  <a:pt x="653" y="474"/>
                  <a:pt x="646" y="474"/>
                </a:cubicBezTo>
                <a:cubicBezTo>
                  <a:pt x="646" y="474"/>
                  <a:pt x="646" y="474"/>
                  <a:pt x="646" y="474"/>
                </a:cubicBezTo>
                <a:moveTo>
                  <a:pt x="681" y="474"/>
                </a:moveTo>
                <a:cubicBezTo>
                  <a:pt x="674" y="474"/>
                  <a:pt x="666" y="479"/>
                  <a:pt x="662" y="484"/>
                </a:cubicBezTo>
                <a:cubicBezTo>
                  <a:pt x="659" y="490"/>
                  <a:pt x="661" y="494"/>
                  <a:pt x="668" y="494"/>
                </a:cubicBezTo>
                <a:cubicBezTo>
                  <a:pt x="675" y="494"/>
                  <a:pt x="683" y="490"/>
                  <a:pt x="687" y="484"/>
                </a:cubicBezTo>
                <a:cubicBezTo>
                  <a:pt x="691" y="478"/>
                  <a:pt x="688" y="474"/>
                  <a:pt x="681" y="474"/>
                </a:cubicBezTo>
                <a:cubicBezTo>
                  <a:pt x="681" y="474"/>
                  <a:pt x="681" y="474"/>
                  <a:pt x="681" y="474"/>
                </a:cubicBezTo>
                <a:moveTo>
                  <a:pt x="717" y="474"/>
                </a:moveTo>
                <a:cubicBezTo>
                  <a:pt x="710" y="474"/>
                  <a:pt x="701" y="478"/>
                  <a:pt x="698" y="484"/>
                </a:cubicBezTo>
                <a:cubicBezTo>
                  <a:pt x="694" y="489"/>
                  <a:pt x="697" y="494"/>
                  <a:pt x="703" y="494"/>
                </a:cubicBezTo>
                <a:cubicBezTo>
                  <a:pt x="710" y="494"/>
                  <a:pt x="719" y="489"/>
                  <a:pt x="722" y="484"/>
                </a:cubicBezTo>
                <a:cubicBezTo>
                  <a:pt x="726" y="478"/>
                  <a:pt x="723" y="474"/>
                  <a:pt x="717" y="474"/>
                </a:cubicBezTo>
                <a:cubicBezTo>
                  <a:pt x="717" y="474"/>
                  <a:pt x="717" y="474"/>
                  <a:pt x="717" y="474"/>
                </a:cubicBezTo>
                <a:moveTo>
                  <a:pt x="752" y="473"/>
                </a:moveTo>
                <a:cubicBezTo>
                  <a:pt x="745" y="473"/>
                  <a:pt x="737" y="478"/>
                  <a:pt x="733" y="484"/>
                </a:cubicBezTo>
                <a:cubicBezTo>
                  <a:pt x="730" y="489"/>
                  <a:pt x="732" y="494"/>
                  <a:pt x="739" y="494"/>
                </a:cubicBezTo>
                <a:cubicBezTo>
                  <a:pt x="746" y="494"/>
                  <a:pt x="755" y="489"/>
                  <a:pt x="758" y="483"/>
                </a:cubicBezTo>
                <a:cubicBezTo>
                  <a:pt x="762" y="478"/>
                  <a:pt x="759" y="473"/>
                  <a:pt x="752" y="473"/>
                </a:cubicBezTo>
                <a:cubicBezTo>
                  <a:pt x="752" y="473"/>
                  <a:pt x="752" y="473"/>
                  <a:pt x="752" y="473"/>
                </a:cubicBezTo>
                <a:moveTo>
                  <a:pt x="787" y="473"/>
                </a:moveTo>
                <a:cubicBezTo>
                  <a:pt x="780" y="473"/>
                  <a:pt x="772" y="478"/>
                  <a:pt x="768" y="483"/>
                </a:cubicBezTo>
                <a:cubicBezTo>
                  <a:pt x="765" y="489"/>
                  <a:pt x="768" y="493"/>
                  <a:pt x="774" y="493"/>
                </a:cubicBezTo>
                <a:cubicBezTo>
                  <a:pt x="781" y="493"/>
                  <a:pt x="790" y="489"/>
                  <a:pt x="793" y="483"/>
                </a:cubicBezTo>
                <a:cubicBezTo>
                  <a:pt x="797" y="478"/>
                  <a:pt x="794" y="473"/>
                  <a:pt x="787" y="473"/>
                </a:cubicBezTo>
                <a:cubicBezTo>
                  <a:pt x="787" y="473"/>
                  <a:pt x="787" y="473"/>
                  <a:pt x="787" y="473"/>
                </a:cubicBezTo>
                <a:moveTo>
                  <a:pt x="820" y="473"/>
                </a:moveTo>
                <a:cubicBezTo>
                  <a:pt x="814" y="473"/>
                  <a:pt x="805" y="478"/>
                  <a:pt x="802" y="483"/>
                </a:cubicBezTo>
                <a:cubicBezTo>
                  <a:pt x="798" y="489"/>
                  <a:pt x="801" y="493"/>
                  <a:pt x="808" y="493"/>
                </a:cubicBezTo>
                <a:cubicBezTo>
                  <a:pt x="815" y="493"/>
                  <a:pt x="823" y="489"/>
                  <a:pt x="827" y="483"/>
                </a:cubicBezTo>
                <a:cubicBezTo>
                  <a:pt x="830" y="477"/>
                  <a:pt x="827" y="473"/>
                  <a:pt x="820" y="473"/>
                </a:cubicBezTo>
                <a:cubicBezTo>
                  <a:pt x="820" y="473"/>
                  <a:pt x="820" y="473"/>
                  <a:pt x="820" y="473"/>
                </a:cubicBezTo>
                <a:moveTo>
                  <a:pt x="856" y="473"/>
                </a:moveTo>
                <a:cubicBezTo>
                  <a:pt x="849" y="473"/>
                  <a:pt x="841" y="477"/>
                  <a:pt x="838" y="483"/>
                </a:cubicBezTo>
                <a:cubicBezTo>
                  <a:pt x="834" y="489"/>
                  <a:pt x="837" y="493"/>
                  <a:pt x="844" y="493"/>
                </a:cubicBezTo>
                <a:cubicBezTo>
                  <a:pt x="851" y="493"/>
                  <a:pt x="859" y="488"/>
                  <a:pt x="862" y="483"/>
                </a:cubicBezTo>
                <a:cubicBezTo>
                  <a:pt x="866" y="477"/>
                  <a:pt x="863" y="473"/>
                  <a:pt x="856" y="473"/>
                </a:cubicBezTo>
                <a:cubicBezTo>
                  <a:pt x="856" y="473"/>
                  <a:pt x="856" y="473"/>
                  <a:pt x="856" y="473"/>
                </a:cubicBezTo>
                <a:moveTo>
                  <a:pt x="891" y="472"/>
                </a:moveTo>
                <a:cubicBezTo>
                  <a:pt x="884" y="473"/>
                  <a:pt x="876" y="477"/>
                  <a:pt x="873" y="483"/>
                </a:cubicBezTo>
                <a:cubicBezTo>
                  <a:pt x="869" y="488"/>
                  <a:pt x="872" y="493"/>
                  <a:pt x="879" y="493"/>
                </a:cubicBezTo>
                <a:cubicBezTo>
                  <a:pt x="886" y="493"/>
                  <a:pt x="894" y="488"/>
                  <a:pt x="897" y="483"/>
                </a:cubicBezTo>
                <a:cubicBezTo>
                  <a:pt x="901" y="477"/>
                  <a:pt x="898" y="472"/>
                  <a:pt x="891" y="472"/>
                </a:cubicBezTo>
                <a:cubicBezTo>
                  <a:pt x="891" y="472"/>
                  <a:pt x="891" y="472"/>
                  <a:pt x="891" y="472"/>
                </a:cubicBezTo>
                <a:moveTo>
                  <a:pt x="926" y="472"/>
                </a:moveTo>
                <a:cubicBezTo>
                  <a:pt x="919" y="472"/>
                  <a:pt x="911" y="477"/>
                  <a:pt x="908" y="482"/>
                </a:cubicBezTo>
                <a:cubicBezTo>
                  <a:pt x="905" y="488"/>
                  <a:pt x="908" y="493"/>
                  <a:pt x="914" y="493"/>
                </a:cubicBezTo>
                <a:cubicBezTo>
                  <a:pt x="921" y="492"/>
                  <a:pt x="929" y="488"/>
                  <a:pt x="933" y="482"/>
                </a:cubicBezTo>
                <a:cubicBezTo>
                  <a:pt x="936" y="477"/>
                  <a:pt x="933" y="472"/>
                  <a:pt x="926" y="472"/>
                </a:cubicBezTo>
                <a:cubicBezTo>
                  <a:pt x="926" y="472"/>
                  <a:pt x="926" y="472"/>
                  <a:pt x="926" y="472"/>
                </a:cubicBezTo>
                <a:moveTo>
                  <a:pt x="961" y="472"/>
                </a:moveTo>
                <a:cubicBezTo>
                  <a:pt x="954" y="472"/>
                  <a:pt x="946" y="477"/>
                  <a:pt x="943" y="482"/>
                </a:cubicBezTo>
                <a:cubicBezTo>
                  <a:pt x="940" y="488"/>
                  <a:pt x="943" y="492"/>
                  <a:pt x="950" y="492"/>
                </a:cubicBezTo>
                <a:cubicBezTo>
                  <a:pt x="957" y="492"/>
                  <a:pt x="965" y="488"/>
                  <a:pt x="968" y="482"/>
                </a:cubicBezTo>
                <a:cubicBezTo>
                  <a:pt x="971" y="476"/>
                  <a:pt x="968" y="472"/>
                  <a:pt x="961" y="472"/>
                </a:cubicBezTo>
                <a:cubicBezTo>
                  <a:pt x="961" y="472"/>
                  <a:pt x="961" y="472"/>
                  <a:pt x="961" y="472"/>
                </a:cubicBezTo>
                <a:moveTo>
                  <a:pt x="996" y="472"/>
                </a:moveTo>
                <a:cubicBezTo>
                  <a:pt x="989" y="472"/>
                  <a:pt x="981" y="476"/>
                  <a:pt x="978" y="482"/>
                </a:cubicBezTo>
                <a:cubicBezTo>
                  <a:pt x="975" y="488"/>
                  <a:pt x="978" y="492"/>
                  <a:pt x="985" y="492"/>
                </a:cubicBezTo>
                <a:cubicBezTo>
                  <a:pt x="992" y="492"/>
                  <a:pt x="1000" y="487"/>
                  <a:pt x="1003" y="482"/>
                </a:cubicBezTo>
                <a:cubicBezTo>
                  <a:pt x="1006" y="476"/>
                  <a:pt x="1003" y="472"/>
                  <a:pt x="996" y="472"/>
                </a:cubicBezTo>
                <a:cubicBezTo>
                  <a:pt x="996" y="472"/>
                  <a:pt x="996" y="472"/>
                  <a:pt x="996" y="472"/>
                </a:cubicBezTo>
                <a:moveTo>
                  <a:pt x="1032" y="471"/>
                </a:moveTo>
                <a:cubicBezTo>
                  <a:pt x="1025" y="472"/>
                  <a:pt x="1017" y="476"/>
                  <a:pt x="1014" y="482"/>
                </a:cubicBezTo>
                <a:cubicBezTo>
                  <a:pt x="1011" y="487"/>
                  <a:pt x="1014" y="492"/>
                  <a:pt x="1021" y="492"/>
                </a:cubicBezTo>
                <a:cubicBezTo>
                  <a:pt x="1028" y="492"/>
                  <a:pt x="1036" y="487"/>
                  <a:pt x="1039" y="482"/>
                </a:cubicBezTo>
                <a:cubicBezTo>
                  <a:pt x="1042" y="476"/>
                  <a:pt x="1039" y="471"/>
                  <a:pt x="1032" y="471"/>
                </a:cubicBezTo>
                <a:cubicBezTo>
                  <a:pt x="1032" y="471"/>
                  <a:pt x="1032" y="471"/>
                  <a:pt x="1032" y="471"/>
                </a:cubicBezTo>
                <a:moveTo>
                  <a:pt x="1067" y="471"/>
                </a:moveTo>
                <a:cubicBezTo>
                  <a:pt x="1060" y="471"/>
                  <a:pt x="1052" y="476"/>
                  <a:pt x="1049" y="482"/>
                </a:cubicBezTo>
                <a:cubicBezTo>
                  <a:pt x="1046" y="487"/>
                  <a:pt x="1049" y="492"/>
                  <a:pt x="1056" y="492"/>
                </a:cubicBezTo>
                <a:cubicBezTo>
                  <a:pt x="1063" y="492"/>
                  <a:pt x="1071" y="487"/>
                  <a:pt x="1074" y="481"/>
                </a:cubicBezTo>
                <a:cubicBezTo>
                  <a:pt x="1077" y="476"/>
                  <a:pt x="1074" y="471"/>
                  <a:pt x="1067" y="471"/>
                </a:cubicBezTo>
                <a:cubicBezTo>
                  <a:pt x="1067" y="471"/>
                  <a:pt x="1067" y="471"/>
                  <a:pt x="1067" y="471"/>
                </a:cubicBezTo>
                <a:moveTo>
                  <a:pt x="1101" y="471"/>
                </a:moveTo>
                <a:cubicBezTo>
                  <a:pt x="1094" y="471"/>
                  <a:pt x="1087" y="476"/>
                  <a:pt x="1084" y="481"/>
                </a:cubicBezTo>
                <a:cubicBezTo>
                  <a:pt x="1081" y="487"/>
                  <a:pt x="1084" y="491"/>
                  <a:pt x="1091" y="491"/>
                </a:cubicBezTo>
                <a:cubicBezTo>
                  <a:pt x="1098" y="491"/>
                  <a:pt x="1106" y="487"/>
                  <a:pt x="1108" y="481"/>
                </a:cubicBezTo>
                <a:cubicBezTo>
                  <a:pt x="1111" y="476"/>
                  <a:pt x="1108" y="471"/>
                  <a:pt x="1101" y="471"/>
                </a:cubicBezTo>
                <a:cubicBezTo>
                  <a:pt x="1101" y="471"/>
                  <a:pt x="1101" y="471"/>
                  <a:pt x="1101" y="471"/>
                </a:cubicBezTo>
                <a:moveTo>
                  <a:pt x="1137" y="471"/>
                </a:moveTo>
                <a:cubicBezTo>
                  <a:pt x="1130" y="471"/>
                  <a:pt x="1122" y="475"/>
                  <a:pt x="1119" y="481"/>
                </a:cubicBezTo>
                <a:cubicBezTo>
                  <a:pt x="1117" y="487"/>
                  <a:pt x="1120" y="491"/>
                  <a:pt x="1127" y="491"/>
                </a:cubicBezTo>
                <a:cubicBezTo>
                  <a:pt x="1134" y="491"/>
                  <a:pt x="1141" y="486"/>
                  <a:pt x="1144" y="481"/>
                </a:cubicBezTo>
                <a:cubicBezTo>
                  <a:pt x="1147" y="475"/>
                  <a:pt x="1144" y="471"/>
                  <a:pt x="1137" y="471"/>
                </a:cubicBezTo>
                <a:cubicBezTo>
                  <a:pt x="1137" y="471"/>
                  <a:pt x="1137" y="471"/>
                  <a:pt x="1137" y="471"/>
                </a:cubicBezTo>
                <a:moveTo>
                  <a:pt x="2049" y="465"/>
                </a:moveTo>
                <a:cubicBezTo>
                  <a:pt x="2042" y="465"/>
                  <a:pt x="2036" y="470"/>
                  <a:pt x="2035" y="476"/>
                </a:cubicBezTo>
                <a:cubicBezTo>
                  <a:pt x="2034" y="481"/>
                  <a:pt x="2039" y="486"/>
                  <a:pt x="2046" y="486"/>
                </a:cubicBezTo>
                <a:cubicBezTo>
                  <a:pt x="2052" y="486"/>
                  <a:pt x="2059" y="481"/>
                  <a:pt x="2060" y="475"/>
                </a:cubicBezTo>
                <a:cubicBezTo>
                  <a:pt x="2060" y="470"/>
                  <a:pt x="2056" y="465"/>
                  <a:pt x="2049" y="465"/>
                </a:cubicBezTo>
                <a:cubicBezTo>
                  <a:pt x="2049" y="465"/>
                  <a:pt x="2049" y="465"/>
                  <a:pt x="2049" y="465"/>
                </a:cubicBezTo>
                <a:moveTo>
                  <a:pt x="2084" y="465"/>
                </a:moveTo>
                <a:cubicBezTo>
                  <a:pt x="2078" y="465"/>
                  <a:pt x="2071" y="470"/>
                  <a:pt x="2070" y="475"/>
                </a:cubicBezTo>
                <a:cubicBezTo>
                  <a:pt x="2070" y="481"/>
                  <a:pt x="2074" y="485"/>
                  <a:pt x="2081" y="485"/>
                </a:cubicBezTo>
                <a:cubicBezTo>
                  <a:pt x="2088" y="485"/>
                  <a:pt x="2094" y="481"/>
                  <a:pt x="2095" y="475"/>
                </a:cubicBezTo>
                <a:cubicBezTo>
                  <a:pt x="2096" y="470"/>
                  <a:pt x="2091" y="465"/>
                  <a:pt x="2084" y="465"/>
                </a:cubicBezTo>
                <a:cubicBezTo>
                  <a:pt x="2084" y="465"/>
                  <a:pt x="2084" y="465"/>
                  <a:pt x="2084" y="465"/>
                </a:cubicBezTo>
                <a:moveTo>
                  <a:pt x="2118" y="465"/>
                </a:moveTo>
                <a:cubicBezTo>
                  <a:pt x="2111" y="465"/>
                  <a:pt x="2105" y="469"/>
                  <a:pt x="2104" y="475"/>
                </a:cubicBezTo>
                <a:cubicBezTo>
                  <a:pt x="2103" y="481"/>
                  <a:pt x="2108" y="485"/>
                  <a:pt x="2115" y="485"/>
                </a:cubicBezTo>
                <a:cubicBezTo>
                  <a:pt x="2122" y="485"/>
                  <a:pt x="2128" y="481"/>
                  <a:pt x="2129" y="475"/>
                </a:cubicBezTo>
                <a:cubicBezTo>
                  <a:pt x="2129" y="469"/>
                  <a:pt x="2125" y="465"/>
                  <a:pt x="2118" y="465"/>
                </a:cubicBezTo>
                <a:cubicBezTo>
                  <a:pt x="2118" y="465"/>
                  <a:pt x="2118" y="465"/>
                  <a:pt x="2118" y="465"/>
                </a:cubicBezTo>
                <a:moveTo>
                  <a:pt x="2153" y="465"/>
                </a:moveTo>
                <a:cubicBezTo>
                  <a:pt x="2146" y="465"/>
                  <a:pt x="2140" y="469"/>
                  <a:pt x="2140" y="475"/>
                </a:cubicBezTo>
                <a:cubicBezTo>
                  <a:pt x="2139" y="480"/>
                  <a:pt x="2144" y="485"/>
                  <a:pt x="2151" y="485"/>
                </a:cubicBezTo>
                <a:cubicBezTo>
                  <a:pt x="2158" y="485"/>
                  <a:pt x="2164" y="480"/>
                  <a:pt x="2164" y="475"/>
                </a:cubicBezTo>
                <a:cubicBezTo>
                  <a:pt x="2165" y="469"/>
                  <a:pt x="2160" y="465"/>
                  <a:pt x="2153" y="465"/>
                </a:cubicBezTo>
                <a:cubicBezTo>
                  <a:pt x="2153" y="465"/>
                  <a:pt x="2153" y="465"/>
                  <a:pt x="2153" y="465"/>
                </a:cubicBezTo>
                <a:moveTo>
                  <a:pt x="2190" y="463"/>
                </a:moveTo>
                <a:cubicBezTo>
                  <a:pt x="2184" y="463"/>
                  <a:pt x="2178" y="468"/>
                  <a:pt x="2177" y="474"/>
                </a:cubicBezTo>
                <a:cubicBezTo>
                  <a:pt x="2176" y="479"/>
                  <a:pt x="2181" y="484"/>
                  <a:pt x="2188" y="484"/>
                </a:cubicBezTo>
                <a:cubicBezTo>
                  <a:pt x="2195" y="484"/>
                  <a:pt x="2201" y="479"/>
                  <a:pt x="2202" y="474"/>
                </a:cubicBezTo>
                <a:cubicBezTo>
                  <a:pt x="2202" y="468"/>
                  <a:pt x="2197" y="463"/>
                  <a:pt x="2190" y="463"/>
                </a:cubicBezTo>
                <a:cubicBezTo>
                  <a:pt x="2190" y="463"/>
                  <a:pt x="2190" y="463"/>
                  <a:pt x="2190" y="463"/>
                </a:cubicBezTo>
                <a:moveTo>
                  <a:pt x="2226" y="463"/>
                </a:moveTo>
                <a:cubicBezTo>
                  <a:pt x="2219" y="463"/>
                  <a:pt x="2214" y="468"/>
                  <a:pt x="2213" y="473"/>
                </a:cubicBezTo>
                <a:cubicBezTo>
                  <a:pt x="2212" y="479"/>
                  <a:pt x="2217" y="484"/>
                  <a:pt x="2224" y="484"/>
                </a:cubicBezTo>
                <a:cubicBezTo>
                  <a:pt x="2231" y="484"/>
                  <a:pt x="2237" y="479"/>
                  <a:pt x="2238" y="473"/>
                </a:cubicBezTo>
                <a:cubicBezTo>
                  <a:pt x="2238" y="468"/>
                  <a:pt x="2233" y="463"/>
                  <a:pt x="2226" y="463"/>
                </a:cubicBezTo>
                <a:cubicBezTo>
                  <a:pt x="2226" y="463"/>
                  <a:pt x="2226" y="463"/>
                  <a:pt x="2226" y="463"/>
                </a:cubicBezTo>
                <a:moveTo>
                  <a:pt x="2261" y="463"/>
                </a:moveTo>
                <a:cubicBezTo>
                  <a:pt x="2254" y="463"/>
                  <a:pt x="2248" y="468"/>
                  <a:pt x="2248" y="473"/>
                </a:cubicBezTo>
                <a:cubicBezTo>
                  <a:pt x="2247" y="479"/>
                  <a:pt x="2253" y="483"/>
                  <a:pt x="2259" y="483"/>
                </a:cubicBezTo>
                <a:cubicBezTo>
                  <a:pt x="2266" y="483"/>
                  <a:pt x="2272" y="479"/>
                  <a:pt x="2273" y="473"/>
                </a:cubicBezTo>
                <a:cubicBezTo>
                  <a:pt x="2273" y="467"/>
                  <a:pt x="2268" y="463"/>
                  <a:pt x="2261" y="463"/>
                </a:cubicBezTo>
                <a:cubicBezTo>
                  <a:pt x="2261" y="463"/>
                  <a:pt x="2261" y="463"/>
                  <a:pt x="2261" y="463"/>
                </a:cubicBezTo>
                <a:moveTo>
                  <a:pt x="2296" y="463"/>
                </a:moveTo>
                <a:cubicBezTo>
                  <a:pt x="2289" y="463"/>
                  <a:pt x="2283" y="467"/>
                  <a:pt x="2283" y="473"/>
                </a:cubicBezTo>
                <a:cubicBezTo>
                  <a:pt x="2282" y="479"/>
                  <a:pt x="2287" y="483"/>
                  <a:pt x="2294" y="483"/>
                </a:cubicBezTo>
                <a:cubicBezTo>
                  <a:pt x="2301" y="483"/>
                  <a:pt x="2307" y="478"/>
                  <a:pt x="2307" y="473"/>
                </a:cubicBezTo>
                <a:cubicBezTo>
                  <a:pt x="2308" y="467"/>
                  <a:pt x="2303" y="463"/>
                  <a:pt x="2296" y="463"/>
                </a:cubicBezTo>
                <a:cubicBezTo>
                  <a:pt x="2296" y="463"/>
                  <a:pt x="2296" y="463"/>
                  <a:pt x="2296" y="463"/>
                </a:cubicBezTo>
                <a:moveTo>
                  <a:pt x="2331" y="462"/>
                </a:moveTo>
                <a:cubicBezTo>
                  <a:pt x="2324" y="462"/>
                  <a:pt x="2318" y="467"/>
                  <a:pt x="2318" y="473"/>
                </a:cubicBezTo>
                <a:cubicBezTo>
                  <a:pt x="2317" y="478"/>
                  <a:pt x="2322" y="483"/>
                  <a:pt x="2329" y="483"/>
                </a:cubicBezTo>
                <a:cubicBezTo>
                  <a:pt x="2336" y="483"/>
                  <a:pt x="2342" y="478"/>
                  <a:pt x="2342" y="473"/>
                </a:cubicBezTo>
                <a:cubicBezTo>
                  <a:pt x="2343" y="467"/>
                  <a:pt x="2337" y="462"/>
                  <a:pt x="2331" y="462"/>
                </a:cubicBezTo>
                <a:cubicBezTo>
                  <a:pt x="2331" y="462"/>
                  <a:pt x="2331" y="462"/>
                  <a:pt x="2331" y="462"/>
                </a:cubicBezTo>
                <a:moveTo>
                  <a:pt x="2366" y="462"/>
                </a:moveTo>
                <a:cubicBezTo>
                  <a:pt x="2359" y="462"/>
                  <a:pt x="2353" y="467"/>
                  <a:pt x="2353" y="472"/>
                </a:cubicBezTo>
                <a:cubicBezTo>
                  <a:pt x="2353" y="478"/>
                  <a:pt x="2358" y="483"/>
                  <a:pt x="2365" y="483"/>
                </a:cubicBezTo>
                <a:cubicBezTo>
                  <a:pt x="2371" y="483"/>
                  <a:pt x="2377" y="478"/>
                  <a:pt x="2377" y="472"/>
                </a:cubicBezTo>
                <a:cubicBezTo>
                  <a:pt x="2378" y="467"/>
                  <a:pt x="2372" y="462"/>
                  <a:pt x="2366" y="462"/>
                </a:cubicBezTo>
                <a:cubicBezTo>
                  <a:pt x="2366" y="462"/>
                  <a:pt x="2366" y="462"/>
                  <a:pt x="2366" y="462"/>
                </a:cubicBezTo>
                <a:moveTo>
                  <a:pt x="2401" y="462"/>
                </a:moveTo>
                <a:cubicBezTo>
                  <a:pt x="2394" y="462"/>
                  <a:pt x="2389" y="467"/>
                  <a:pt x="2388" y="472"/>
                </a:cubicBezTo>
                <a:cubicBezTo>
                  <a:pt x="2388" y="478"/>
                  <a:pt x="2394" y="482"/>
                  <a:pt x="2400" y="482"/>
                </a:cubicBezTo>
                <a:cubicBezTo>
                  <a:pt x="2407" y="482"/>
                  <a:pt x="2413" y="478"/>
                  <a:pt x="2413" y="472"/>
                </a:cubicBezTo>
                <a:cubicBezTo>
                  <a:pt x="2413" y="466"/>
                  <a:pt x="2408" y="462"/>
                  <a:pt x="2401" y="462"/>
                </a:cubicBezTo>
                <a:cubicBezTo>
                  <a:pt x="2401" y="462"/>
                  <a:pt x="2401" y="462"/>
                  <a:pt x="2401" y="462"/>
                </a:cubicBezTo>
                <a:moveTo>
                  <a:pt x="2436" y="462"/>
                </a:moveTo>
                <a:cubicBezTo>
                  <a:pt x="2429" y="462"/>
                  <a:pt x="2424" y="466"/>
                  <a:pt x="2423" y="472"/>
                </a:cubicBezTo>
                <a:cubicBezTo>
                  <a:pt x="2423" y="478"/>
                  <a:pt x="2429" y="482"/>
                  <a:pt x="2435" y="482"/>
                </a:cubicBezTo>
                <a:cubicBezTo>
                  <a:pt x="2442" y="482"/>
                  <a:pt x="2448" y="477"/>
                  <a:pt x="2448" y="472"/>
                </a:cubicBezTo>
                <a:cubicBezTo>
                  <a:pt x="2448" y="466"/>
                  <a:pt x="2443" y="462"/>
                  <a:pt x="2436" y="462"/>
                </a:cubicBezTo>
                <a:cubicBezTo>
                  <a:pt x="2436" y="462"/>
                  <a:pt x="2436" y="462"/>
                  <a:pt x="2436" y="462"/>
                </a:cubicBezTo>
                <a:moveTo>
                  <a:pt x="2471" y="461"/>
                </a:moveTo>
                <a:cubicBezTo>
                  <a:pt x="2464" y="462"/>
                  <a:pt x="2459" y="466"/>
                  <a:pt x="2459" y="472"/>
                </a:cubicBezTo>
                <a:cubicBezTo>
                  <a:pt x="2458" y="477"/>
                  <a:pt x="2464" y="482"/>
                  <a:pt x="2471" y="482"/>
                </a:cubicBezTo>
                <a:cubicBezTo>
                  <a:pt x="2478" y="482"/>
                  <a:pt x="2483" y="477"/>
                  <a:pt x="2483" y="472"/>
                </a:cubicBezTo>
                <a:cubicBezTo>
                  <a:pt x="2483" y="466"/>
                  <a:pt x="2478" y="461"/>
                  <a:pt x="2471" y="461"/>
                </a:cubicBezTo>
                <a:cubicBezTo>
                  <a:pt x="2471" y="461"/>
                  <a:pt x="2471" y="461"/>
                  <a:pt x="2471" y="461"/>
                </a:cubicBezTo>
                <a:moveTo>
                  <a:pt x="2541" y="461"/>
                </a:moveTo>
                <a:cubicBezTo>
                  <a:pt x="2534" y="461"/>
                  <a:pt x="2529" y="466"/>
                  <a:pt x="2529" y="471"/>
                </a:cubicBezTo>
                <a:cubicBezTo>
                  <a:pt x="2529" y="477"/>
                  <a:pt x="2534" y="481"/>
                  <a:pt x="2541" y="481"/>
                </a:cubicBezTo>
                <a:cubicBezTo>
                  <a:pt x="2548" y="481"/>
                  <a:pt x="2553" y="477"/>
                  <a:pt x="2553" y="471"/>
                </a:cubicBezTo>
                <a:cubicBezTo>
                  <a:pt x="2553" y="466"/>
                  <a:pt x="2548" y="461"/>
                  <a:pt x="2541" y="461"/>
                </a:cubicBezTo>
                <a:cubicBezTo>
                  <a:pt x="2541" y="461"/>
                  <a:pt x="2541" y="461"/>
                  <a:pt x="2541" y="461"/>
                </a:cubicBezTo>
                <a:moveTo>
                  <a:pt x="2612" y="461"/>
                </a:moveTo>
                <a:cubicBezTo>
                  <a:pt x="2605" y="461"/>
                  <a:pt x="2600" y="466"/>
                  <a:pt x="2600" y="471"/>
                </a:cubicBezTo>
                <a:cubicBezTo>
                  <a:pt x="2600" y="477"/>
                  <a:pt x="2606" y="482"/>
                  <a:pt x="2613" y="481"/>
                </a:cubicBezTo>
                <a:cubicBezTo>
                  <a:pt x="2620" y="481"/>
                  <a:pt x="2625" y="477"/>
                  <a:pt x="2625" y="471"/>
                </a:cubicBezTo>
                <a:cubicBezTo>
                  <a:pt x="2625" y="466"/>
                  <a:pt x="2619" y="461"/>
                  <a:pt x="2612" y="461"/>
                </a:cubicBezTo>
                <a:cubicBezTo>
                  <a:pt x="2612" y="461"/>
                  <a:pt x="2612" y="461"/>
                  <a:pt x="2612" y="461"/>
                </a:cubicBezTo>
                <a:moveTo>
                  <a:pt x="2647" y="461"/>
                </a:moveTo>
                <a:cubicBezTo>
                  <a:pt x="2640" y="461"/>
                  <a:pt x="2635" y="465"/>
                  <a:pt x="2635" y="471"/>
                </a:cubicBezTo>
                <a:cubicBezTo>
                  <a:pt x="2635" y="477"/>
                  <a:pt x="2641" y="481"/>
                  <a:pt x="2648" y="481"/>
                </a:cubicBezTo>
                <a:cubicBezTo>
                  <a:pt x="2655" y="481"/>
                  <a:pt x="2660" y="477"/>
                  <a:pt x="2660" y="471"/>
                </a:cubicBezTo>
                <a:cubicBezTo>
                  <a:pt x="2659" y="465"/>
                  <a:pt x="2654" y="461"/>
                  <a:pt x="2647" y="461"/>
                </a:cubicBezTo>
                <a:cubicBezTo>
                  <a:pt x="2647" y="461"/>
                  <a:pt x="2647" y="461"/>
                  <a:pt x="2647" y="461"/>
                </a:cubicBezTo>
                <a:moveTo>
                  <a:pt x="2681" y="461"/>
                </a:moveTo>
                <a:cubicBezTo>
                  <a:pt x="2675" y="461"/>
                  <a:pt x="2669" y="465"/>
                  <a:pt x="2670" y="471"/>
                </a:cubicBezTo>
                <a:cubicBezTo>
                  <a:pt x="2670" y="476"/>
                  <a:pt x="2676" y="481"/>
                  <a:pt x="2683" y="481"/>
                </a:cubicBezTo>
                <a:cubicBezTo>
                  <a:pt x="2690" y="481"/>
                  <a:pt x="2695" y="476"/>
                  <a:pt x="2694" y="471"/>
                </a:cubicBezTo>
                <a:cubicBezTo>
                  <a:pt x="2694" y="465"/>
                  <a:pt x="2688" y="461"/>
                  <a:pt x="2682" y="461"/>
                </a:cubicBezTo>
                <a:cubicBezTo>
                  <a:pt x="2681" y="461"/>
                  <a:pt x="2681" y="461"/>
                  <a:pt x="2681" y="461"/>
                </a:cubicBezTo>
                <a:moveTo>
                  <a:pt x="2716" y="460"/>
                </a:moveTo>
                <a:cubicBezTo>
                  <a:pt x="2709" y="460"/>
                  <a:pt x="2704" y="465"/>
                  <a:pt x="2705" y="471"/>
                </a:cubicBezTo>
                <a:cubicBezTo>
                  <a:pt x="2705" y="476"/>
                  <a:pt x="2711" y="481"/>
                  <a:pt x="2718" y="481"/>
                </a:cubicBezTo>
                <a:cubicBezTo>
                  <a:pt x="2725" y="481"/>
                  <a:pt x="2730" y="476"/>
                  <a:pt x="2729" y="470"/>
                </a:cubicBezTo>
                <a:cubicBezTo>
                  <a:pt x="2729" y="465"/>
                  <a:pt x="2723" y="460"/>
                  <a:pt x="2716" y="460"/>
                </a:cubicBezTo>
                <a:cubicBezTo>
                  <a:pt x="2716" y="460"/>
                  <a:pt x="2716" y="460"/>
                  <a:pt x="2716" y="460"/>
                </a:cubicBezTo>
                <a:moveTo>
                  <a:pt x="2751" y="460"/>
                </a:moveTo>
                <a:cubicBezTo>
                  <a:pt x="2745" y="460"/>
                  <a:pt x="2740" y="465"/>
                  <a:pt x="2740" y="470"/>
                </a:cubicBezTo>
                <a:cubicBezTo>
                  <a:pt x="2740" y="476"/>
                  <a:pt x="2746" y="481"/>
                  <a:pt x="2753" y="481"/>
                </a:cubicBezTo>
                <a:cubicBezTo>
                  <a:pt x="2760" y="480"/>
                  <a:pt x="2765" y="476"/>
                  <a:pt x="2765" y="470"/>
                </a:cubicBezTo>
                <a:cubicBezTo>
                  <a:pt x="2764" y="465"/>
                  <a:pt x="2758" y="460"/>
                  <a:pt x="2751" y="460"/>
                </a:cubicBezTo>
                <a:cubicBezTo>
                  <a:pt x="2751" y="460"/>
                  <a:pt x="2751" y="460"/>
                  <a:pt x="2751" y="460"/>
                </a:cubicBezTo>
                <a:moveTo>
                  <a:pt x="2786" y="459"/>
                </a:moveTo>
                <a:cubicBezTo>
                  <a:pt x="2779" y="459"/>
                  <a:pt x="2774" y="464"/>
                  <a:pt x="2775" y="469"/>
                </a:cubicBezTo>
                <a:cubicBezTo>
                  <a:pt x="2776" y="475"/>
                  <a:pt x="2782" y="480"/>
                  <a:pt x="2788" y="480"/>
                </a:cubicBezTo>
                <a:cubicBezTo>
                  <a:pt x="2795" y="479"/>
                  <a:pt x="2800" y="475"/>
                  <a:pt x="2800" y="469"/>
                </a:cubicBezTo>
                <a:cubicBezTo>
                  <a:pt x="2799" y="464"/>
                  <a:pt x="2793" y="459"/>
                  <a:pt x="2786" y="459"/>
                </a:cubicBezTo>
                <a:cubicBezTo>
                  <a:pt x="2786" y="459"/>
                  <a:pt x="2786" y="459"/>
                  <a:pt x="2786" y="459"/>
                </a:cubicBezTo>
                <a:moveTo>
                  <a:pt x="2819" y="459"/>
                </a:moveTo>
                <a:cubicBezTo>
                  <a:pt x="2812" y="459"/>
                  <a:pt x="2807" y="463"/>
                  <a:pt x="2808" y="469"/>
                </a:cubicBezTo>
                <a:cubicBezTo>
                  <a:pt x="2809" y="475"/>
                  <a:pt x="2815" y="479"/>
                  <a:pt x="2822" y="479"/>
                </a:cubicBezTo>
                <a:cubicBezTo>
                  <a:pt x="2828" y="479"/>
                  <a:pt x="2833" y="475"/>
                  <a:pt x="2833" y="469"/>
                </a:cubicBezTo>
                <a:cubicBezTo>
                  <a:pt x="2832" y="463"/>
                  <a:pt x="2826" y="459"/>
                  <a:pt x="2819" y="459"/>
                </a:cubicBezTo>
                <a:cubicBezTo>
                  <a:pt x="2819" y="459"/>
                  <a:pt x="2819" y="459"/>
                  <a:pt x="2819" y="459"/>
                </a:cubicBezTo>
                <a:moveTo>
                  <a:pt x="2854" y="459"/>
                </a:moveTo>
                <a:cubicBezTo>
                  <a:pt x="2847" y="459"/>
                  <a:pt x="2842" y="463"/>
                  <a:pt x="2843" y="469"/>
                </a:cubicBezTo>
                <a:cubicBezTo>
                  <a:pt x="2844" y="475"/>
                  <a:pt x="2850" y="479"/>
                  <a:pt x="2857" y="479"/>
                </a:cubicBezTo>
                <a:cubicBezTo>
                  <a:pt x="2863" y="479"/>
                  <a:pt x="2868" y="474"/>
                  <a:pt x="2868" y="469"/>
                </a:cubicBezTo>
                <a:cubicBezTo>
                  <a:pt x="2867" y="463"/>
                  <a:pt x="2861" y="459"/>
                  <a:pt x="2854" y="459"/>
                </a:cubicBezTo>
                <a:cubicBezTo>
                  <a:pt x="2854" y="459"/>
                  <a:pt x="2854" y="459"/>
                  <a:pt x="2854" y="459"/>
                </a:cubicBezTo>
                <a:moveTo>
                  <a:pt x="2889" y="458"/>
                </a:moveTo>
                <a:cubicBezTo>
                  <a:pt x="2882" y="458"/>
                  <a:pt x="2877" y="463"/>
                  <a:pt x="2878" y="469"/>
                </a:cubicBezTo>
                <a:cubicBezTo>
                  <a:pt x="2879" y="474"/>
                  <a:pt x="2885" y="479"/>
                  <a:pt x="2892" y="479"/>
                </a:cubicBezTo>
                <a:cubicBezTo>
                  <a:pt x="2899" y="479"/>
                  <a:pt x="2904" y="474"/>
                  <a:pt x="2903" y="469"/>
                </a:cubicBezTo>
                <a:cubicBezTo>
                  <a:pt x="2902" y="463"/>
                  <a:pt x="2896" y="458"/>
                  <a:pt x="2889" y="458"/>
                </a:cubicBezTo>
                <a:cubicBezTo>
                  <a:pt x="2889" y="458"/>
                  <a:pt x="2889" y="458"/>
                  <a:pt x="2889" y="458"/>
                </a:cubicBezTo>
                <a:moveTo>
                  <a:pt x="2924" y="458"/>
                </a:moveTo>
                <a:cubicBezTo>
                  <a:pt x="2918" y="458"/>
                  <a:pt x="2913" y="463"/>
                  <a:pt x="2914" y="468"/>
                </a:cubicBezTo>
                <a:cubicBezTo>
                  <a:pt x="2915" y="474"/>
                  <a:pt x="2921" y="479"/>
                  <a:pt x="2928" y="479"/>
                </a:cubicBezTo>
                <a:cubicBezTo>
                  <a:pt x="2934" y="479"/>
                  <a:pt x="2939" y="474"/>
                  <a:pt x="2938" y="468"/>
                </a:cubicBezTo>
                <a:cubicBezTo>
                  <a:pt x="2937" y="463"/>
                  <a:pt x="2931" y="458"/>
                  <a:pt x="2925" y="458"/>
                </a:cubicBezTo>
                <a:cubicBezTo>
                  <a:pt x="2925" y="458"/>
                  <a:pt x="2924" y="458"/>
                  <a:pt x="2924" y="458"/>
                </a:cubicBezTo>
                <a:moveTo>
                  <a:pt x="2959" y="458"/>
                </a:moveTo>
                <a:cubicBezTo>
                  <a:pt x="2952" y="458"/>
                  <a:pt x="2948" y="463"/>
                  <a:pt x="2949" y="468"/>
                </a:cubicBezTo>
                <a:cubicBezTo>
                  <a:pt x="2950" y="474"/>
                  <a:pt x="2956" y="478"/>
                  <a:pt x="2963" y="478"/>
                </a:cubicBezTo>
                <a:cubicBezTo>
                  <a:pt x="2969" y="478"/>
                  <a:pt x="2974" y="474"/>
                  <a:pt x="2973" y="468"/>
                </a:cubicBezTo>
                <a:cubicBezTo>
                  <a:pt x="2972" y="462"/>
                  <a:pt x="2966" y="458"/>
                  <a:pt x="2959" y="458"/>
                </a:cubicBezTo>
                <a:cubicBezTo>
                  <a:pt x="2959" y="458"/>
                  <a:pt x="2959" y="458"/>
                  <a:pt x="2959" y="458"/>
                </a:cubicBezTo>
                <a:moveTo>
                  <a:pt x="2994" y="458"/>
                </a:moveTo>
                <a:cubicBezTo>
                  <a:pt x="2987" y="458"/>
                  <a:pt x="2983" y="462"/>
                  <a:pt x="2984" y="468"/>
                </a:cubicBezTo>
                <a:cubicBezTo>
                  <a:pt x="2985" y="474"/>
                  <a:pt x="2991" y="478"/>
                  <a:pt x="2998" y="478"/>
                </a:cubicBezTo>
                <a:cubicBezTo>
                  <a:pt x="3005" y="478"/>
                  <a:pt x="3009" y="473"/>
                  <a:pt x="3008" y="468"/>
                </a:cubicBezTo>
                <a:cubicBezTo>
                  <a:pt x="3007" y="462"/>
                  <a:pt x="3001" y="458"/>
                  <a:pt x="2994" y="458"/>
                </a:cubicBezTo>
                <a:cubicBezTo>
                  <a:pt x="2994" y="458"/>
                  <a:pt x="2994" y="458"/>
                  <a:pt x="2994" y="458"/>
                </a:cubicBezTo>
                <a:moveTo>
                  <a:pt x="3029" y="457"/>
                </a:moveTo>
                <a:cubicBezTo>
                  <a:pt x="3022" y="457"/>
                  <a:pt x="3018" y="462"/>
                  <a:pt x="3019" y="468"/>
                </a:cubicBezTo>
                <a:cubicBezTo>
                  <a:pt x="3020" y="473"/>
                  <a:pt x="3026" y="478"/>
                  <a:pt x="3033" y="478"/>
                </a:cubicBezTo>
                <a:cubicBezTo>
                  <a:pt x="3040" y="478"/>
                  <a:pt x="3044" y="473"/>
                  <a:pt x="3043" y="468"/>
                </a:cubicBezTo>
                <a:cubicBezTo>
                  <a:pt x="3042" y="462"/>
                  <a:pt x="3036" y="457"/>
                  <a:pt x="3029" y="457"/>
                </a:cubicBezTo>
                <a:cubicBezTo>
                  <a:pt x="3029" y="457"/>
                  <a:pt x="3029" y="457"/>
                  <a:pt x="3029" y="457"/>
                </a:cubicBezTo>
                <a:moveTo>
                  <a:pt x="3064" y="457"/>
                </a:moveTo>
                <a:cubicBezTo>
                  <a:pt x="3057" y="457"/>
                  <a:pt x="3053" y="462"/>
                  <a:pt x="3054" y="467"/>
                </a:cubicBezTo>
                <a:cubicBezTo>
                  <a:pt x="3055" y="473"/>
                  <a:pt x="3061" y="478"/>
                  <a:pt x="3068" y="478"/>
                </a:cubicBezTo>
                <a:cubicBezTo>
                  <a:pt x="3075" y="478"/>
                  <a:pt x="3080" y="473"/>
                  <a:pt x="3078" y="467"/>
                </a:cubicBezTo>
                <a:cubicBezTo>
                  <a:pt x="3077" y="462"/>
                  <a:pt x="3071" y="457"/>
                  <a:pt x="3064" y="457"/>
                </a:cubicBezTo>
                <a:cubicBezTo>
                  <a:pt x="3064" y="457"/>
                  <a:pt x="3064" y="457"/>
                  <a:pt x="3064" y="457"/>
                </a:cubicBezTo>
                <a:moveTo>
                  <a:pt x="3100" y="457"/>
                </a:moveTo>
                <a:cubicBezTo>
                  <a:pt x="3093" y="457"/>
                  <a:pt x="3089" y="462"/>
                  <a:pt x="3090" y="467"/>
                </a:cubicBezTo>
                <a:cubicBezTo>
                  <a:pt x="3091" y="473"/>
                  <a:pt x="3098" y="477"/>
                  <a:pt x="3105" y="477"/>
                </a:cubicBezTo>
                <a:cubicBezTo>
                  <a:pt x="3111" y="477"/>
                  <a:pt x="3116" y="473"/>
                  <a:pt x="3115" y="467"/>
                </a:cubicBezTo>
                <a:cubicBezTo>
                  <a:pt x="3113" y="461"/>
                  <a:pt x="3107" y="457"/>
                  <a:pt x="3100" y="457"/>
                </a:cubicBezTo>
                <a:cubicBezTo>
                  <a:pt x="3100" y="457"/>
                  <a:pt x="3100" y="457"/>
                  <a:pt x="3100" y="457"/>
                </a:cubicBezTo>
                <a:moveTo>
                  <a:pt x="3135" y="457"/>
                </a:moveTo>
                <a:cubicBezTo>
                  <a:pt x="3128" y="457"/>
                  <a:pt x="3124" y="461"/>
                  <a:pt x="3125" y="467"/>
                </a:cubicBezTo>
                <a:cubicBezTo>
                  <a:pt x="3126" y="473"/>
                  <a:pt x="3133" y="477"/>
                  <a:pt x="3140" y="477"/>
                </a:cubicBezTo>
                <a:cubicBezTo>
                  <a:pt x="3146" y="477"/>
                  <a:pt x="3151" y="472"/>
                  <a:pt x="3150" y="467"/>
                </a:cubicBezTo>
                <a:cubicBezTo>
                  <a:pt x="3148" y="461"/>
                  <a:pt x="3142" y="457"/>
                  <a:pt x="3135" y="457"/>
                </a:cubicBezTo>
                <a:cubicBezTo>
                  <a:pt x="3135" y="457"/>
                  <a:pt x="3135" y="457"/>
                  <a:pt x="3135" y="457"/>
                </a:cubicBezTo>
                <a:moveTo>
                  <a:pt x="3170" y="456"/>
                </a:moveTo>
                <a:cubicBezTo>
                  <a:pt x="3163" y="456"/>
                  <a:pt x="3159" y="461"/>
                  <a:pt x="3160" y="467"/>
                </a:cubicBezTo>
                <a:cubicBezTo>
                  <a:pt x="3162" y="472"/>
                  <a:pt x="3168" y="477"/>
                  <a:pt x="3175" y="477"/>
                </a:cubicBezTo>
                <a:cubicBezTo>
                  <a:pt x="3182" y="477"/>
                  <a:pt x="3186" y="472"/>
                  <a:pt x="3185" y="467"/>
                </a:cubicBezTo>
                <a:cubicBezTo>
                  <a:pt x="3183" y="461"/>
                  <a:pt x="3177" y="456"/>
                  <a:pt x="3170" y="456"/>
                </a:cubicBezTo>
                <a:cubicBezTo>
                  <a:pt x="3170" y="456"/>
                  <a:pt x="3170" y="456"/>
                  <a:pt x="3170" y="456"/>
                </a:cubicBezTo>
                <a:moveTo>
                  <a:pt x="3205" y="456"/>
                </a:moveTo>
                <a:cubicBezTo>
                  <a:pt x="3199" y="456"/>
                  <a:pt x="3194" y="461"/>
                  <a:pt x="3196" y="467"/>
                </a:cubicBezTo>
                <a:cubicBezTo>
                  <a:pt x="3197" y="472"/>
                  <a:pt x="3204" y="477"/>
                  <a:pt x="3211" y="477"/>
                </a:cubicBezTo>
                <a:cubicBezTo>
                  <a:pt x="3217" y="477"/>
                  <a:pt x="3222" y="472"/>
                  <a:pt x="3220" y="466"/>
                </a:cubicBezTo>
                <a:cubicBezTo>
                  <a:pt x="3219" y="461"/>
                  <a:pt x="3212" y="456"/>
                  <a:pt x="3205" y="456"/>
                </a:cubicBezTo>
                <a:cubicBezTo>
                  <a:pt x="3205" y="456"/>
                  <a:pt x="3205" y="456"/>
                  <a:pt x="3205" y="456"/>
                </a:cubicBezTo>
                <a:moveTo>
                  <a:pt x="3240" y="456"/>
                </a:moveTo>
                <a:cubicBezTo>
                  <a:pt x="3233" y="456"/>
                  <a:pt x="3229" y="461"/>
                  <a:pt x="3231" y="466"/>
                </a:cubicBezTo>
                <a:cubicBezTo>
                  <a:pt x="3232" y="472"/>
                  <a:pt x="3239" y="477"/>
                  <a:pt x="3246" y="476"/>
                </a:cubicBezTo>
                <a:cubicBezTo>
                  <a:pt x="3252" y="476"/>
                  <a:pt x="3257" y="472"/>
                  <a:pt x="3255" y="466"/>
                </a:cubicBezTo>
                <a:cubicBezTo>
                  <a:pt x="3254" y="460"/>
                  <a:pt x="3247" y="456"/>
                  <a:pt x="3240" y="456"/>
                </a:cubicBezTo>
                <a:cubicBezTo>
                  <a:pt x="3240" y="456"/>
                  <a:pt x="3240" y="456"/>
                  <a:pt x="3240" y="456"/>
                </a:cubicBezTo>
                <a:moveTo>
                  <a:pt x="3275" y="456"/>
                </a:moveTo>
                <a:cubicBezTo>
                  <a:pt x="3268" y="456"/>
                  <a:pt x="3264" y="460"/>
                  <a:pt x="3266" y="466"/>
                </a:cubicBezTo>
                <a:cubicBezTo>
                  <a:pt x="3267" y="472"/>
                  <a:pt x="3274" y="476"/>
                  <a:pt x="3281" y="476"/>
                </a:cubicBezTo>
                <a:cubicBezTo>
                  <a:pt x="3288" y="476"/>
                  <a:pt x="3292" y="472"/>
                  <a:pt x="3290" y="466"/>
                </a:cubicBezTo>
                <a:cubicBezTo>
                  <a:pt x="3289" y="460"/>
                  <a:pt x="3282" y="456"/>
                  <a:pt x="3275" y="456"/>
                </a:cubicBezTo>
                <a:cubicBezTo>
                  <a:pt x="3275" y="456"/>
                  <a:pt x="3275" y="456"/>
                  <a:pt x="3275" y="456"/>
                </a:cubicBezTo>
                <a:moveTo>
                  <a:pt x="3310" y="455"/>
                </a:moveTo>
                <a:cubicBezTo>
                  <a:pt x="3303" y="456"/>
                  <a:pt x="3299" y="460"/>
                  <a:pt x="3300" y="466"/>
                </a:cubicBezTo>
                <a:cubicBezTo>
                  <a:pt x="3302" y="471"/>
                  <a:pt x="3309" y="476"/>
                  <a:pt x="3316" y="476"/>
                </a:cubicBezTo>
                <a:cubicBezTo>
                  <a:pt x="3323" y="476"/>
                  <a:pt x="3327" y="471"/>
                  <a:pt x="3325" y="466"/>
                </a:cubicBezTo>
                <a:cubicBezTo>
                  <a:pt x="3323" y="460"/>
                  <a:pt x="3317" y="455"/>
                  <a:pt x="3310" y="455"/>
                </a:cubicBezTo>
                <a:cubicBezTo>
                  <a:pt x="3310" y="455"/>
                  <a:pt x="3310" y="455"/>
                  <a:pt x="3310" y="455"/>
                </a:cubicBezTo>
                <a:moveTo>
                  <a:pt x="3345" y="455"/>
                </a:moveTo>
                <a:cubicBezTo>
                  <a:pt x="3338" y="455"/>
                  <a:pt x="3334" y="460"/>
                  <a:pt x="3336" y="466"/>
                </a:cubicBezTo>
                <a:cubicBezTo>
                  <a:pt x="3337" y="471"/>
                  <a:pt x="3344" y="476"/>
                  <a:pt x="3351" y="476"/>
                </a:cubicBezTo>
                <a:cubicBezTo>
                  <a:pt x="3358" y="476"/>
                  <a:pt x="3362" y="471"/>
                  <a:pt x="3360" y="465"/>
                </a:cubicBezTo>
                <a:cubicBezTo>
                  <a:pt x="3358" y="460"/>
                  <a:pt x="3352" y="455"/>
                  <a:pt x="3345" y="455"/>
                </a:cubicBezTo>
                <a:cubicBezTo>
                  <a:pt x="3345" y="455"/>
                  <a:pt x="3345" y="455"/>
                  <a:pt x="3345" y="455"/>
                </a:cubicBezTo>
                <a:moveTo>
                  <a:pt x="3380" y="455"/>
                </a:moveTo>
                <a:cubicBezTo>
                  <a:pt x="3373" y="455"/>
                  <a:pt x="3369" y="460"/>
                  <a:pt x="3371" y="465"/>
                </a:cubicBezTo>
                <a:cubicBezTo>
                  <a:pt x="3373" y="471"/>
                  <a:pt x="3380" y="476"/>
                  <a:pt x="3387" y="476"/>
                </a:cubicBezTo>
                <a:cubicBezTo>
                  <a:pt x="3394" y="475"/>
                  <a:pt x="3398" y="471"/>
                  <a:pt x="3396" y="465"/>
                </a:cubicBezTo>
                <a:cubicBezTo>
                  <a:pt x="3394" y="460"/>
                  <a:pt x="3387" y="455"/>
                  <a:pt x="3380" y="455"/>
                </a:cubicBezTo>
                <a:cubicBezTo>
                  <a:pt x="3380" y="455"/>
                  <a:pt x="3380" y="455"/>
                  <a:pt x="3380" y="455"/>
                </a:cubicBezTo>
                <a:moveTo>
                  <a:pt x="3415" y="455"/>
                </a:moveTo>
                <a:cubicBezTo>
                  <a:pt x="3408" y="455"/>
                  <a:pt x="3404" y="459"/>
                  <a:pt x="3406" y="465"/>
                </a:cubicBezTo>
                <a:cubicBezTo>
                  <a:pt x="3408" y="471"/>
                  <a:pt x="3415" y="475"/>
                  <a:pt x="3422" y="475"/>
                </a:cubicBezTo>
                <a:cubicBezTo>
                  <a:pt x="3429" y="475"/>
                  <a:pt x="3432" y="471"/>
                  <a:pt x="3431" y="465"/>
                </a:cubicBezTo>
                <a:cubicBezTo>
                  <a:pt x="3429" y="459"/>
                  <a:pt x="3422" y="455"/>
                  <a:pt x="3415" y="455"/>
                </a:cubicBezTo>
                <a:cubicBezTo>
                  <a:pt x="3415" y="455"/>
                  <a:pt x="3415" y="455"/>
                  <a:pt x="3415" y="455"/>
                </a:cubicBezTo>
                <a:moveTo>
                  <a:pt x="3450" y="455"/>
                </a:moveTo>
                <a:cubicBezTo>
                  <a:pt x="3443" y="455"/>
                  <a:pt x="3439" y="459"/>
                  <a:pt x="3441" y="465"/>
                </a:cubicBezTo>
                <a:cubicBezTo>
                  <a:pt x="3443" y="471"/>
                  <a:pt x="3450" y="475"/>
                  <a:pt x="3457" y="475"/>
                </a:cubicBezTo>
                <a:cubicBezTo>
                  <a:pt x="3464" y="475"/>
                  <a:pt x="3468" y="470"/>
                  <a:pt x="3466" y="465"/>
                </a:cubicBezTo>
                <a:cubicBezTo>
                  <a:pt x="3464" y="459"/>
                  <a:pt x="3457" y="455"/>
                  <a:pt x="3450" y="455"/>
                </a:cubicBezTo>
                <a:cubicBezTo>
                  <a:pt x="3450" y="455"/>
                  <a:pt x="3450" y="455"/>
                  <a:pt x="3450" y="455"/>
                </a:cubicBezTo>
                <a:moveTo>
                  <a:pt x="3485" y="454"/>
                </a:moveTo>
                <a:cubicBezTo>
                  <a:pt x="3478" y="454"/>
                  <a:pt x="3474" y="459"/>
                  <a:pt x="3476" y="465"/>
                </a:cubicBezTo>
                <a:cubicBezTo>
                  <a:pt x="3478" y="470"/>
                  <a:pt x="3485" y="475"/>
                  <a:pt x="3492" y="475"/>
                </a:cubicBezTo>
                <a:cubicBezTo>
                  <a:pt x="3499" y="475"/>
                  <a:pt x="3503" y="470"/>
                  <a:pt x="3500" y="464"/>
                </a:cubicBezTo>
                <a:cubicBezTo>
                  <a:pt x="3498" y="459"/>
                  <a:pt x="3491" y="454"/>
                  <a:pt x="3485" y="454"/>
                </a:cubicBezTo>
                <a:cubicBezTo>
                  <a:pt x="3485" y="454"/>
                  <a:pt x="3485" y="454"/>
                  <a:pt x="3485" y="454"/>
                </a:cubicBezTo>
                <a:moveTo>
                  <a:pt x="3520" y="454"/>
                </a:moveTo>
                <a:cubicBezTo>
                  <a:pt x="3513" y="454"/>
                  <a:pt x="3509" y="459"/>
                  <a:pt x="3511" y="464"/>
                </a:cubicBezTo>
                <a:cubicBezTo>
                  <a:pt x="3513" y="470"/>
                  <a:pt x="3520" y="475"/>
                  <a:pt x="3527" y="475"/>
                </a:cubicBezTo>
                <a:cubicBezTo>
                  <a:pt x="3534" y="475"/>
                  <a:pt x="3538" y="470"/>
                  <a:pt x="3536" y="464"/>
                </a:cubicBezTo>
                <a:cubicBezTo>
                  <a:pt x="3534" y="459"/>
                  <a:pt x="3526" y="454"/>
                  <a:pt x="3520" y="454"/>
                </a:cubicBezTo>
                <a:cubicBezTo>
                  <a:pt x="3520" y="454"/>
                  <a:pt x="3520" y="454"/>
                  <a:pt x="3520" y="454"/>
                </a:cubicBezTo>
                <a:moveTo>
                  <a:pt x="3555" y="454"/>
                </a:moveTo>
                <a:cubicBezTo>
                  <a:pt x="3548" y="454"/>
                  <a:pt x="3544" y="458"/>
                  <a:pt x="3547" y="464"/>
                </a:cubicBezTo>
                <a:cubicBezTo>
                  <a:pt x="3549" y="470"/>
                  <a:pt x="3556" y="474"/>
                  <a:pt x="3563" y="474"/>
                </a:cubicBezTo>
                <a:cubicBezTo>
                  <a:pt x="3570" y="474"/>
                  <a:pt x="3573" y="470"/>
                  <a:pt x="3571" y="464"/>
                </a:cubicBezTo>
                <a:cubicBezTo>
                  <a:pt x="3569" y="458"/>
                  <a:pt x="3562" y="454"/>
                  <a:pt x="3555" y="454"/>
                </a:cubicBezTo>
                <a:cubicBezTo>
                  <a:pt x="3555" y="454"/>
                  <a:pt x="3555" y="454"/>
                  <a:pt x="3555" y="454"/>
                </a:cubicBezTo>
                <a:moveTo>
                  <a:pt x="3590" y="453"/>
                </a:moveTo>
                <a:cubicBezTo>
                  <a:pt x="3583" y="453"/>
                  <a:pt x="3579" y="458"/>
                  <a:pt x="3581" y="464"/>
                </a:cubicBezTo>
                <a:cubicBezTo>
                  <a:pt x="3584" y="469"/>
                  <a:pt x="3591" y="474"/>
                  <a:pt x="3598" y="474"/>
                </a:cubicBezTo>
                <a:cubicBezTo>
                  <a:pt x="3605" y="474"/>
                  <a:pt x="3608" y="469"/>
                  <a:pt x="3606" y="463"/>
                </a:cubicBezTo>
                <a:cubicBezTo>
                  <a:pt x="3604" y="458"/>
                  <a:pt x="3597" y="453"/>
                  <a:pt x="3590" y="453"/>
                </a:cubicBezTo>
                <a:cubicBezTo>
                  <a:pt x="3590" y="453"/>
                  <a:pt x="3590" y="453"/>
                  <a:pt x="3590" y="453"/>
                </a:cubicBezTo>
                <a:moveTo>
                  <a:pt x="3624" y="453"/>
                </a:moveTo>
                <a:cubicBezTo>
                  <a:pt x="3618" y="453"/>
                  <a:pt x="3614" y="458"/>
                  <a:pt x="3616" y="463"/>
                </a:cubicBezTo>
                <a:cubicBezTo>
                  <a:pt x="3619" y="469"/>
                  <a:pt x="3626" y="474"/>
                  <a:pt x="3633" y="474"/>
                </a:cubicBezTo>
                <a:cubicBezTo>
                  <a:pt x="3640" y="474"/>
                  <a:pt x="3643" y="469"/>
                  <a:pt x="3641" y="463"/>
                </a:cubicBezTo>
                <a:cubicBezTo>
                  <a:pt x="3639" y="458"/>
                  <a:pt x="3631" y="453"/>
                  <a:pt x="3625" y="453"/>
                </a:cubicBezTo>
                <a:cubicBezTo>
                  <a:pt x="3624" y="453"/>
                  <a:pt x="3624" y="453"/>
                  <a:pt x="3624" y="453"/>
                </a:cubicBezTo>
                <a:moveTo>
                  <a:pt x="3659" y="453"/>
                </a:moveTo>
                <a:cubicBezTo>
                  <a:pt x="3653" y="453"/>
                  <a:pt x="3649" y="458"/>
                  <a:pt x="3651" y="463"/>
                </a:cubicBezTo>
                <a:cubicBezTo>
                  <a:pt x="3654" y="469"/>
                  <a:pt x="3661" y="473"/>
                  <a:pt x="3668" y="473"/>
                </a:cubicBezTo>
                <a:cubicBezTo>
                  <a:pt x="3675" y="473"/>
                  <a:pt x="3678" y="469"/>
                  <a:pt x="3676" y="463"/>
                </a:cubicBezTo>
                <a:cubicBezTo>
                  <a:pt x="3674" y="457"/>
                  <a:pt x="3666" y="453"/>
                  <a:pt x="3660" y="453"/>
                </a:cubicBezTo>
                <a:cubicBezTo>
                  <a:pt x="3659" y="453"/>
                  <a:pt x="3659" y="453"/>
                  <a:pt x="3659" y="453"/>
                </a:cubicBezTo>
                <a:moveTo>
                  <a:pt x="3697" y="453"/>
                </a:moveTo>
                <a:cubicBezTo>
                  <a:pt x="3690" y="453"/>
                  <a:pt x="3686" y="457"/>
                  <a:pt x="3689" y="463"/>
                </a:cubicBezTo>
                <a:cubicBezTo>
                  <a:pt x="3691" y="469"/>
                  <a:pt x="3699" y="473"/>
                  <a:pt x="3705" y="473"/>
                </a:cubicBezTo>
                <a:cubicBezTo>
                  <a:pt x="3712" y="473"/>
                  <a:pt x="3716" y="468"/>
                  <a:pt x="3713" y="463"/>
                </a:cubicBezTo>
                <a:cubicBezTo>
                  <a:pt x="3711" y="457"/>
                  <a:pt x="3703" y="453"/>
                  <a:pt x="3697" y="453"/>
                </a:cubicBezTo>
                <a:cubicBezTo>
                  <a:pt x="3697" y="453"/>
                  <a:pt x="3697" y="453"/>
                  <a:pt x="3697" y="453"/>
                </a:cubicBezTo>
                <a:moveTo>
                  <a:pt x="3731" y="452"/>
                </a:moveTo>
                <a:cubicBezTo>
                  <a:pt x="3724" y="452"/>
                  <a:pt x="3721" y="457"/>
                  <a:pt x="3723" y="463"/>
                </a:cubicBezTo>
                <a:cubicBezTo>
                  <a:pt x="3726" y="468"/>
                  <a:pt x="3733" y="473"/>
                  <a:pt x="3740" y="473"/>
                </a:cubicBezTo>
                <a:cubicBezTo>
                  <a:pt x="3747" y="473"/>
                  <a:pt x="3750" y="468"/>
                  <a:pt x="3748" y="463"/>
                </a:cubicBezTo>
                <a:cubicBezTo>
                  <a:pt x="3745" y="457"/>
                  <a:pt x="3738" y="452"/>
                  <a:pt x="3731" y="452"/>
                </a:cubicBezTo>
                <a:cubicBezTo>
                  <a:pt x="3731" y="452"/>
                  <a:pt x="3731" y="452"/>
                  <a:pt x="3731" y="452"/>
                </a:cubicBezTo>
                <a:moveTo>
                  <a:pt x="3766" y="452"/>
                </a:moveTo>
                <a:cubicBezTo>
                  <a:pt x="3759" y="452"/>
                  <a:pt x="3756" y="457"/>
                  <a:pt x="3758" y="462"/>
                </a:cubicBezTo>
                <a:cubicBezTo>
                  <a:pt x="3761" y="468"/>
                  <a:pt x="3768" y="473"/>
                  <a:pt x="3775" y="473"/>
                </a:cubicBezTo>
                <a:cubicBezTo>
                  <a:pt x="3782" y="473"/>
                  <a:pt x="3785" y="468"/>
                  <a:pt x="3783" y="462"/>
                </a:cubicBezTo>
                <a:cubicBezTo>
                  <a:pt x="3780" y="457"/>
                  <a:pt x="3772" y="452"/>
                  <a:pt x="3766" y="452"/>
                </a:cubicBezTo>
                <a:cubicBezTo>
                  <a:pt x="3766" y="452"/>
                  <a:pt x="3766" y="452"/>
                  <a:pt x="3766" y="452"/>
                </a:cubicBezTo>
                <a:moveTo>
                  <a:pt x="3801" y="452"/>
                </a:moveTo>
                <a:cubicBezTo>
                  <a:pt x="3794" y="452"/>
                  <a:pt x="3791" y="457"/>
                  <a:pt x="3793" y="462"/>
                </a:cubicBezTo>
                <a:cubicBezTo>
                  <a:pt x="3796" y="468"/>
                  <a:pt x="3804" y="472"/>
                  <a:pt x="3810" y="472"/>
                </a:cubicBezTo>
                <a:cubicBezTo>
                  <a:pt x="3817" y="472"/>
                  <a:pt x="3820" y="468"/>
                  <a:pt x="3818" y="462"/>
                </a:cubicBezTo>
                <a:cubicBezTo>
                  <a:pt x="3815" y="456"/>
                  <a:pt x="3807" y="452"/>
                  <a:pt x="3801" y="452"/>
                </a:cubicBezTo>
                <a:cubicBezTo>
                  <a:pt x="3801" y="452"/>
                  <a:pt x="3801" y="452"/>
                  <a:pt x="3801" y="452"/>
                </a:cubicBezTo>
                <a:moveTo>
                  <a:pt x="3836" y="452"/>
                </a:moveTo>
                <a:cubicBezTo>
                  <a:pt x="3829" y="452"/>
                  <a:pt x="3826" y="456"/>
                  <a:pt x="3829" y="462"/>
                </a:cubicBezTo>
                <a:cubicBezTo>
                  <a:pt x="3831" y="468"/>
                  <a:pt x="3839" y="472"/>
                  <a:pt x="3846" y="472"/>
                </a:cubicBezTo>
                <a:cubicBezTo>
                  <a:pt x="3853" y="472"/>
                  <a:pt x="3856" y="467"/>
                  <a:pt x="3853" y="462"/>
                </a:cubicBezTo>
                <a:cubicBezTo>
                  <a:pt x="3850" y="456"/>
                  <a:pt x="3843" y="452"/>
                  <a:pt x="3836" y="452"/>
                </a:cubicBezTo>
                <a:cubicBezTo>
                  <a:pt x="3836" y="452"/>
                  <a:pt x="3836" y="452"/>
                  <a:pt x="3836" y="452"/>
                </a:cubicBezTo>
                <a:moveTo>
                  <a:pt x="3871" y="451"/>
                </a:moveTo>
                <a:cubicBezTo>
                  <a:pt x="3864" y="451"/>
                  <a:pt x="3861" y="456"/>
                  <a:pt x="3863" y="462"/>
                </a:cubicBezTo>
                <a:cubicBezTo>
                  <a:pt x="3866" y="467"/>
                  <a:pt x="3874" y="472"/>
                  <a:pt x="3881" y="472"/>
                </a:cubicBezTo>
                <a:cubicBezTo>
                  <a:pt x="3888" y="472"/>
                  <a:pt x="3891" y="467"/>
                  <a:pt x="3888" y="462"/>
                </a:cubicBezTo>
                <a:cubicBezTo>
                  <a:pt x="3885" y="456"/>
                  <a:pt x="3877" y="451"/>
                  <a:pt x="3871" y="451"/>
                </a:cubicBezTo>
                <a:cubicBezTo>
                  <a:pt x="3871" y="451"/>
                  <a:pt x="3871" y="451"/>
                  <a:pt x="3871" y="451"/>
                </a:cubicBezTo>
                <a:moveTo>
                  <a:pt x="3906" y="451"/>
                </a:moveTo>
                <a:cubicBezTo>
                  <a:pt x="3899" y="451"/>
                  <a:pt x="3896" y="456"/>
                  <a:pt x="3899" y="462"/>
                </a:cubicBezTo>
                <a:cubicBezTo>
                  <a:pt x="3901" y="467"/>
                  <a:pt x="3909" y="472"/>
                  <a:pt x="3916" y="472"/>
                </a:cubicBezTo>
                <a:cubicBezTo>
                  <a:pt x="3923" y="472"/>
                  <a:pt x="3926" y="467"/>
                  <a:pt x="3923" y="461"/>
                </a:cubicBezTo>
                <a:cubicBezTo>
                  <a:pt x="3920" y="456"/>
                  <a:pt x="3912" y="451"/>
                  <a:pt x="3906" y="451"/>
                </a:cubicBezTo>
                <a:cubicBezTo>
                  <a:pt x="3906" y="451"/>
                  <a:pt x="3906" y="451"/>
                  <a:pt x="3906" y="451"/>
                </a:cubicBezTo>
                <a:moveTo>
                  <a:pt x="3940" y="451"/>
                </a:moveTo>
                <a:cubicBezTo>
                  <a:pt x="3933" y="451"/>
                  <a:pt x="3930" y="456"/>
                  <a:pt x="3933" y="461"/>
                </a:cubicBezTo>
                <a:cubicBezTo>
                  <a:pt x="3936" y="467"/>
                  <a:pt x="3944" y="472"/>
                  <a:pt x="3951" y="471"/>
                </a:cubicBezTo>
                <a:cubicBezTo>
                  <a:pt x="3958" y="471"/>
                  <a:pt x="3961" y="467"/>
                  <a:pt x="3958" y="461"/>
                </a:cubicBezTo>
                <a:cubicBezTo>
                  <a:pt x="3955" y="455"/>
                  <a:pt x="3947" y="451"/>
                  <a:pt x="3940" y="451"/>
                </a:cubicBezTo>
                <a:cubicBezTo>
                  <a:pt x="3940" y="451"/>
                  <a:pt x="3940" y="451"/>
                  <a:pt x="3940" y="451"/>
                </a:cubicBezTo>
                <a:moveTo>
                  <a:pt x="3975" y="451"/>
                </a:moveTo>
                <a:cubicBezTo>
                  <a:pt x="3968" y="451"/>
                  <a:pt x="3965" y="455"/>
                  <a:pt x="3968" y="461"/>
                </a:cubicBezTo>
                <a:cubicBezTo>
                  <a:pt x="3971" y="467"/>
                  <a:pt x="3979" y="471"/>
                  <a:pt x="3986" y="471"/>
                </a:cubicBezTo>
                <a:cubicBezTo>
                  <a:pt x="3993" y="471"/>
                  <a:pt x="3996" y="467"/>
                  <a:pt x="3993" y="461"/>
                </a:cubicBezTo>
                <a:cubicBezTo>
                  <a:pt x="3990" y="455"/>
                  <a:pt x="3982" y="451"/>
                  <a:pt x="3975" y="451"/>
                </a:cubicBezTo>
                <a:cubicBezTo>
                  <a:pt x="3975" y="451"/>
                  <a:pt x="3975" y="451"/>
                  <a:pt x="3975" y="451"/>
                </a:cubicBezTo>
                <a:moveTo>
                  <a:pt x="4009" y="450"/>
                </a:moveTo>
                <a:cubicBezTo>
                  <a:pt x="4002" y="450"/>
                  <a:pt x="3999" y="455"/>
                  <a:pt x="4003" y="461"/>
                </a:cubicBezTo>
                <a:cubicBezTo>
                  <a:pt x="4006" y="466"/>
                  <a:pt x="4014" y="471"/>
                  <a:pt x="4020" y="471"/>
                </a:cubicBezTo>
                <a:cubicBezTo>
                  <a:pt x="4027" y="471"/>
                  <a:pt x="4030" y="466"/>
                  <a:pt x="4027" y="461"/>
                </a:cubicBezTo>
                <a:cubicBezTo>
                  <a:pt x="4024" y="455"/>
                  <a:pt x="4016" y="450"/>
                  <a:pt x="4009" y="450"/>
                </a:cubicBezTo>
                <a:cubicBezTo>
                  <a:pt x="4009" y="450"/>
                  <a:pt x="4009" y="450"/>
                  <a:pt x="4009" y="450"/>
                </a:cubicBezTo>
                <a:moveTo>
                  <a:pt x="316" y="449"/>
                </a:moveTo>
                <a:cubicBezTo>
                  <a:pt x="309" y="449"/>
                  <a:pt x="300" y="453"/>
                  <a:pt x="295" y="459"/>
                </a:cubicBezTo>
                <a:cubicBezTo>
                  <a:pt x="291" y="465"/>
                  <a:pt x="293" y="469"/>
                  <a:pt x="300" y="469"/>
                </a:cubicBezTo>
                <a:cubicBezTo>
                  <a:pt x="306" y="469"/>
                  <a:pt x="315" y="464"/>
                  <a:pt x="320" y="459"/>
                </a:cubicBezTo>
                <a:cubicBezTo>
                  <a:pt x="324" y="453"/>
                  <a:pt x="322" y="449"/>
                  <a:pt x="316" y="449"/>
                </a:cubicBezTo>
                <a:cubicBezTo>
                  <a:pt x="316" y="449"/>
                  <a:pt x="316" y="449"/>
                  <a:pt x="316" y="449"/>
                </a:cubicBezTo>
                <a:moveTo>
                  <a:pt x="350" y="448"/>
                </a:moveTo>
                <a:cubicBezTo>
                  <a:pt x="344" y="449"/>
                  <a:pt x="335" y="453"/>
                  <a:pt x="330" y="459"/>
                </a:cubicBezTo>
                <a:cubicBezTo>
                  <a:pt x="326" y="464"/>
                  <a:pt x="328" y="469"/>
                  <a:pt x="334" y="469"/>
                </a:cubicBezTo>
                <a:cubicBezTo>
                  <a:pt x="341" y="469"/>
                  <a:pt x="350" y="464"/>
                  <a:pt x="355" y="459"/>
                </a:cubicBezTo>
                <a:cubicBezTo>
                  <a:pt x="359" y="453"/>
                  <a:pt x="357" y="448"/>
                  <a:pt x="350" y="448"/>
                </a:cubicBezTo>
                <a:cubicBezTo>
                  <a:pt x="350" y="448"/>
                  <a:pt x="350" y="448"/>
                  <a:pt x="350" y="448"/>
                </a:cubicBezTo>
                <a:moveTo>
                  <a:pt x="385" y="448"/>
                </a:moveTo>
                <a:cubicBezTo>
                  <a:pt x="378" y="448"/>
                  <a:pt x="370" y="453"/>
                  <a:pt x="365" y="458"/>
                </a:cubicBezTo>
                <a:cubicBezTo>
                  <a:pt x="361" y="464"/>
                  <a:pt x="363" y="469"/>
                  <a:pt x="370" y="468"/>
                </a:cubicBezTo>
                <a:cubicBezTo>
                  <a:pt x="376" y="468"/>
                  <a:pt x="385" y="464"/>
                  <a:pt x="390" y="458"/>
                </a:cubicBezTo>
                <a:cubicBezTo>
                  <a:pt x="394" y="453"/>
                  <a:pt x="392" y="448"/>
                  <a:pt x="385" y="448"/>
                </a:cubicBezTo>
                <a:cubicBezTo>
                  <a:pt x="385" y="448"/>
                  <a:pt x="385" y="448"/>
                  <a:pt x="385" y="448"/>
                </a:cubicBezTo>
                <a:moveTo>
                  <a:pt x="420" y="448"/>
                </a:moveTo>
                <a:cubicBezTo>
                  <a:pt x="413" y="448"/>
                  <a:pt x="404" y="453"/>
                  <a:pt x="400" y="458"/>
                </a:cubicBezTo>
                <a:cubicBezTo>
                  <a:pt x="396" y="464"/>
                  <a:pt x="398" y="468"/>
                  <a:pt x="404" y="468"/>
                </a:cubicBezTo>
                <a:cubicBezTo>
                  <a:pt x="411" y="468"/>
                  <a:pt x="420" y="464"/>
                  <a:pt x="424" y="458"/>
                </a:cubicBezTo>
                <a:cubicBezTo>
                  <a:pt x="429" y="452"/>
                  <a:pt x="427" y="448"/>
                  <a:pt x="420" y="448"/>
                </a:cubicBezTo>
                <a:cubicBezTo>
                  <a:pt x="420" y="448"/>
                  <a:pt x="420" y="448"/>
                  <a:pt x="420" y="448"/>
                </a:cubicBezTo>
                <a:moveTo>
                  <a:pt x="455" y="448"/>
                </a:moveTo>
                <a:cubicBezTo>
                  <a:pt x="448" y="448"/>
                  <a:pt x="439" y="452"/>
                  <a:pt x="435" y="458"/>
                </a:cubicBezTo>
                <a:cubicBezTo>
                  <a:pt x="431" y="464"/>
                  <a:pt x="433" y="468"/>
                  <a:pt x="440" y="468"/>
                </a:cubicBezTo>
                <a:cubicBezTo>
                  <a:pt x="446" y="468"/>
                  <a:pt x="455" y="463"/>
                  <a:pt x="459" y="458"/>
                </a:cubicBezTo>
                <a:cubicBezTo>
                  <a:pt x="464" y="452"/>
                  <a:pt x="462" y="448"/>
                  <a:pt x="455" y="448"/>
                </a:cubicBezTo>
                <a:cubicBezTo>
                  <a:pt x="455" y="448"/>
                  <a:pt x="455" y="448"/>
                  <a:pt x="455" y="448"/>
                </a:cubicBezTo>
                <a:moveTo>
                  <a:pt x="491" y="447"/>
                </a:moveTo>
                <a:cubicBezTo>
                  <a:pt x="484" y="448"/>
                  <a:pt x="475" y="452"/>
                  <a:pt x="471" y="458"/>
                </a:cubicBezTo>
                <a:cubicBezTo>
                  <a:pt x="467" y="463"/>
                  <a:pt x="469" y="468"/>
                  <a:pt x="476" y="468"/>
                </a:cubicBezTo>
                <a:cubicBezTo>
                  <a:pt x="483" y="468"/>
                  <a:pt x="491" y="463"/>
                  <a:pt x="496" y="458"/>
                </a:cubicBezTo>
                <a:cubicBezTo>
                  <a:pt x="500" y="452"/>
                  <a:pt x="498" y="447"/>
                  <a:pt x="491" y="447"/>
                </a:cubicBezTo>
                <a:cubicBezTo>
                  <a:pt x="491" y="447"/>
                  <a:pt x="491" y="447"/>
                  <a:pt x="491" y="447"/>
                </a:cubicBezTo>
                <a:moveTo>
                  <a:pt x="525" y="447"/>
                </a:moveTo>
                <a:cubicBezTo>
                  <a:pt x="519" y="447"/>
                  <a:pt x="510" y="452"/>
                  <a:pt x="506" y="457"/>
                </a:cubicBezTo>
                <a:cubicBezTo>
                  <a:pt x="502" y="463"/>
                  <a:pt x="504" y="468"/>
                  <a:pt x="511" y="468"/>
                </a:cubicBezTo>
                <a:cubicBezTo>
                  <a:pt x="518" y="467"/>
                  <a:pt x="526" y="463"/>
                  <a:pt x="530" y="457"/>
                </a:cubicBezTo>
                <a:cubicBezTo>
                  <a:pt x="534" y="452"/>
                  <a:pt x="532" y="447"/>
                  <a:pt x="526" y="447"/>
                </a:cubicBezTo>
                <a:cubicBezTo>
                  <a:pt x="525" y="447"/>
                  <a:pt x="525" y="447"/>
                  <a:pt x="525" y="447"/>
                </a:cubicBezTo>
                <a:moveTo>
                  <a:pt x="560" y="447"/>
                </a:moveTo>
                <a:cubicBezTo>
                  <a:pt x="554" y="447"/>
                  <a:pt x="545" y="452"/>
                  <a:pt x="541" y="457"/>
                </a:cubicBezTo>
                <a:cubicBezTo>
                  <a:pt x="537" y="463"/>
                  <a:pt x="539" y="467"/>
                  <a:pt x="546" y="467"/>
                </a:cubicBezTo>
                <a:cubicBezTo>
                  <a:pt x="553" y="467"/>
                  <a:pt x="561" y="463"/>
                  <a:pt x="565" y="457"/>
                </a:cubicBezTo>
                <a:cubicBezTo>
                  <a:pt x="569" y="451"/>
                  <a:pt x="567" y="447"/>
                  <a:pt x="560" y="447"/>
                </a:cubicBezTo>
                <a:cubicBezTo>
                  <a:pt x="560" y="447"/>
                  <a:pt x="560" y="447"/>
                  <a:pt x="560" y="447"/>
                </a:cubicBezTo>
                <a:moveTo>
                  <a:pt x="596" y="447"/>
                </a:moveTo>
                <a:cubicBezTo>
                  <a:pt x="589" y="447"/>
                  <a:pt x="580" y="451"/>
                  <a:pt x="576" y="457"/>
                </a:cubicBezTo>
                <a:cubicBezTo>
                  <a:pt x="572" y="463"/>
                  <a:pt x="575" y="467"/>
                  <a:pt x="581" y="467"/>
                </a:cubicBezTo>
                <a:cubicBezTo>
                  <a:pt x="588" y="467"/>
                  <a:pt x="597" y="462"/>
                  <a:pt x="601" y="457"/>
                </a:cubicBezTo>
                <a:cubicBezTo>
                  <a:pt x="605" y="451"/>
                  <a:pt x="602" y="447"/>
                  <a:pt x="596" y="447"/>
                </a:cubicBezTo>
                <a:cubicBezTo>
                  <a:pt x="596" y="447"/>
                  <a:pt x="596" y="447"/>
                  <a:pt x="596" y="447"/>
                </a:cubicBezTo>
                <a:moveTo>
                  <a:pt x="630" y="447"/>
                </a:moveTo>
                <a:cubicBezTo>
                  <a:pt x="623" y="447"/>
                  <a:pt x="615" y="451"/>
                  <a:pt x="611" y="457"/>
                </a:cubicBezTo>
                <a:cubicBezTo>
                  <a:pt x="607" y="462"/>
                  <a:pt x="610" y="467"/>
                  <a:pt x="616" y="467"/>
                </a:cubicBezTo>
                <a:cubicBezTo>
                  <a:pt x="623" y="467"/>
                  <a:pt x="632" y="462"/>
                  <a:pt x="635" y="457"/>
                </a:cubicBezTo>
                <a:cubicBezTo>
                  <a:pt x="639" y="451"/>
                  <a:pt x="637" y="447"/>
                  <a:pt x="630" y="447"/>
                </a:cubicBezTo>
                <a:cubicBezTo>
                  <a:pt x="630" y="447"/>
                  <a:pt x="630" y="447"/>
                  <a:pt x="630" y="447"/>
                </a:cubicBezTo>
                <a:moveTo>
                  <a:pt x="665" y="446"/>
                </a:moveTo>
                <a:cubicBezTo>
                  <a:pt x="658" y="446"/>
                  <a:pt x="650" y="451"/>
                  <a:pt x="646" y="456"/>
                </a:cubicBezTo>
                <a:cubicBezTo>
                  <a:pt x="642" y="462"/>
                  <a:pt x="645" y="467"/>
                  <a:pt x="651" y="467"/>
                </a:cubicBezTo>
                <a:cubicBezTo>
                  <a:pt x="658" y="466"/>
                  <a:pt x="667" y="462"/>
                  <a:pt x="670" y="456"/>
                </a:cubicBezTo>
                <a:cubicBezTo>
                  <a:pt x="674" y="451"/>
                  <a:pt x="672" y="446"/>
                  <a:pt x="665" y="446"/>
                </a:cubicBezTo>
                <a:cubicBezTo>
                  <a:pt x="665" y="446"/>
                  <a:pt x="665" y="446"/>
                  <a:pt x="665" y="446"/>
                </a:cubicBezTo>
                <a:moveTo>
                  <a:pt x="700" y="446"/>
                </a:moveTo>
                <a:cubicBezTo>
                  <a:pt x="693" y="446"/>
                  <a:pt x="684" y="451"/>
                  <a:pt x="681" y="456"/>
                </a:cubicBezTo>
                <a:cubicBezTo>
                  <a:pt x="677" y="462"/>
                  <a:pt x="679" y="466"/>
                  <a:pt x="686" y="466"/>
                </a:cubicBezTo>
                <a:cubicBezTo>
                  <a:pt x="693" y="466"/>
                  <a:pt x="702" y="462"/>
                  <a:pt x="705" y="456"/>
                </a:cubicBezTo>
                <a:cubicBezTo>
                  <a:pt x="709" y="451"/>
                  <a:pt x="706" y="446"/>
                  <a:pt x="700" y="446"/>
                </a:cubicBezTo>
                <a:cubicBezTo>
                  <a:pt x="700" y="446"/>
                  <a:pt x="700" y="446"/>
                  <a:pt x="700" y="446"/>
                </a:cubicBezTo>
                <a:moveTo>
                  <a:pt x="735" y="446"/>
                </a:moveTo>
                <a:cubicBezTo>
                  <a:pt x="728" y="446"/>
                  <a:pt x="719" y="450"/>
                  <a:pt x="716" y="456"/>
                </a:cubicBezTo>
                <a:cubicBezTo>
                  <a:pt x="712" y="462"/>
                  <a:pt x="715" y="466"/>
                  <a:pt x="721" y="466"/>
                </a:cubicBezTo>
                <a:cubicBezTo>
                  <a:pt x="728" y="466"/>
                  <a:pt x="737" y="461"/>
                  <a:pt x="740" y="456"/>
                </a:cubicBezTo>
                <a:cubicBezTo>
                  <a:pt x="744" y="450"/>
                  <a:pt x="741" y="446"/>
                  <a:pt x="735" y="446"/>
                </a:cubicBezTo>
                <a:cubicBezTo>
                  <a:pt x="735" y="446"/>
                  <a:pt x="735" y="446"/>
                  <a:pt x="735" y="446"/>
                </a:cubicBezTo>
                <a:moveTo>
                  <a:pt x="770" y="446"/>
                </a:moveTo>
                <a:cubicBezTo>
                  <a:pt x="763" y="446"/>
                  <a:pt x="755" y="450"/>
                  <a:pt x="751" y="456"/>
                </a:cubicBezTo>
                <a:cubicBezTo>
                  <a:pt x="748" y="461"/>
                  <a:pt x="750" y="466"/>
                  <a:pt x="757" y="466"/>
                </a:cubicBezTo>
                <a:cubicBezTo>
                  <a:pt x="764" y="466"/>
                  <a:pt x="772" y="461"/>
                  <a:pt x="776" y="456"/>
                </a:cubicBezTo>
                <a:cubicBezTo>
                  <a:pt x="779" y="450"/>
                  <a:pt x="777" y="446"/>
                  <a:pt x="770" y="446"/>
                </a:cubicBezTo>
                <a:cubicBezTo>
                  <a:pt x="770" y="446"/>
                  <a:pt x="770" y="446"/>
                  <a:pt x="770" y="446"/>
                </a:cubicBezTo>
                <a:moveTo>
                  <a:pt x="804" y="445"/>
                </a:moveTo>
                <a:cubicBezTo>
                  <a:pt x="798" y="445"/>
                  <a:pt x="789" y="450"/>
                  <a:pt x="786" y="456"/>
                </a:cubicBezTo>
                <a:cubicBezTo>
                  <a:pt x="782" y="461"/>
                  <a:pt x="785" y="466"/>
                  <a:pt x="792" y="466"/>
                </a:cubicBezTo>
                <a:cubicBezTo>
                  <a:pt x="799" y="466"/>
                  <a:pt x="807" y="461"/>
                  <a:pt x="810" y="455"/>
                </a:cubicBezTo>
                <a:cubicBezTo>
                  <a:pt x="814" y="450"/>
                  <a:pt x="811" y="445"/>
                  <a:pt x="804" y="445"/>
                </a:cubicBezTo>
                <a:cubicBezTo>
                  <a:pt x="804" y="445"/>
                  <a:pt x="804" y="445"/>
                  <a:pt x="804" y="445"/>
                </a:cubicBezTo>
                <a:moveTo>
                  <a:pt x="837" y="445"/>
                </a:moveTo>
                <a:cubicBezTo>
                  <a:pt x="831" y="445"/>
                  <a:pt x="822" y="450"/>
                  <a:pt x="819" y="455"/>
                </a:cubicBezTo>
                <a:cubicBezTo>
                  <a:pt x="816" y="461"/>
                  <a:pt x="818" y="465"/>
                  <a:pt x="825" y="465"/>
                </a:cubicBezTo>
                <a:cubicBezTo>
                  <a:pt x="832" y="465"/>
                  <a:pt x="840" y="461"/>
                  <a:pt x="843" y="455"/>
                </a:cubicBezTo>
                <a:cubicBezTo>
                  <a:pt x="847" y="450"/>
                  <a:pt x="844" y="445"/>
                  <a:pt x="837" y="445"/>
                </a:cubicBezTo>
                <a:cubicBezTo>
                  <a:pt x="837" y="445"/>
                  <a:pt x="837" y="445"/>
                  <a:pt x="837" y="445"/>
                </a:cubicBezTo>
                <a:moveTo>
                  <a:pt x="873" y="445"/>
                </a:moveTo>
                <a:cubicBezTo>
                  <a:pt x="866" y="445"/>
                  <a:pt x="858" y="449"/>
                  <a:pt x="854" y="455"/>
                </a:cubicBezTo>
                <a:cubicBezTo>
                  <a:pt x="851" y="461"/>
                  <a:pt x="854" y="465"/>
                  <a:pt x="860" y="465"/>
                </a:cubicBezTo>
                <a:cubicBezTo>
                  <a:pt x="867" y="465"/>
                  <a:pt x="875" y="460"/>
                  <a:pt x="879" y="455"/>
                </a:cubicBezTo>
                <a:cubicBezTo>
                  <a:pt x="882" y="449"/>
                  <a:pt x="879" y="445"/>
                  <a:pt x="873" y="445"/>
                </a:cubicBezTo>
                <a:cubicBezTo>
                  <a:pt x="873" y="445"/>
                  <a:pt x="873" y="445"/>
                  <a:pt x="873" y="445"/>
                </a:cubicBezTo>
                <a:moveTo>
                  <a:pt x="907" y="445"/>
                </a:moveTo>
                <a:cubicBezTo>
                  <a:pt x="900" y="445"/>
                  <a:pt x="892" y="449"/>
                  <a:pt x="889" y="455"/>
                </a:cubicBezTo>
                <a:cubicBezTo>
                  <a:pt x="886" y="460"/>
                  <a:pt x="889" y="465"/>
                  <a:pt x="895" y="465"/>
                </a:cubicBezTo>
                <a:cubicBezTo>
                  <a:pt x="902" y="465"/>
                  <a:pt x="910" y="460"/>
                  <a:pt x="913" y="455"/>
                </a:cubicBezTo>
                <a:cubicBezTo>
                  <a:pt x="917" y="449"/>
                  <a:pt x="914" y="445"/>
                  <a:pt x="907" y="445"/>
                </a:cubicBezTo>
                <a:cubicBezTo>
                  <a:pt x="907" y="445"/>
                  <a:pt x="907" y="445"/>
                  <a:pt x="907" y="445"/>
                </a:cubicBezTo>
                <a:moveTo>
                  <a:pt x="942" y="444"/>
                </a:moveTo>
                <a:cubicBezTo>
                  <a:pt x="935" y="444"/>
                  <a:pt x="927" y="449"/>
                  <a:pt x="924" y="455"/>
                </a:cubicBezTo>
                <a:cubicBezTo>
                  <a:pt x="921" y="460"/>
                  <a:pt x="924" y="465"/>
                  <a:pt x="930" y="465"/>
                </a:cubicBezTo>
                <a:cubicBezTo>
                  <a:pt x="937" y="465"/>
                  <a:pt x="945" y="460"/>
                  <a:pt x="948" y="454"/>
                </a:cubicBezTo>
                <a:cubicBezTo>
                  <a:pt x="952" y="449"/>
                  <a:pt x="949" y="444"/>
                  <a:pt x="942" y="444"/>
                </a:cubicBezTo>
                <a:cubicBezTo>
                  <a:pt x="942" y="444"/>
                  <a:pt x="942" y="444"/>
                  <a:pt x="942" y="444"/>
                </a:cubicBezTo>
                <a:moveTo>
                  <a:pt x="977" y="444"/>
                </a:moveTo>
                <a:cubicBezTo>
                  <a:pt x="970" y="444"/>
                  <a:pt x="962" y="449"/>
                  <a:pt x="959" y="454"/>
                </a:cubicBezTo>
                <a:cubicBezTo>
                  <a:pt x="956" y="460"/>
                  <a:pt x="958" y="464"/>
                  <a:pt x="965" y="464"/>
                </a:cubicBezTo>
                <a:cubicBezTo>
                  <a:pt x="972" y="464"/>
                  <a:pt x="980" y="460"/>
                  <a:pt x="983" y="454"/>
                </a:cubicBezTo>
                <a:cubicBezTo>
                  <a:pt x="986" y="449"/>
                  <a:pt x="983" y="444"/>
                  <a:pt x="977" y="444"/>
                </a:cubicBezTo>
                <a:cubicBezTo>
                  <a:pt x="977" y="444"/>
                  <a:pt x="977" y="444"/>
                  <a:pt x="977" y="444"/>
                </a:cubicBezTo>
                <a:moveTo>
                  <a:pt x="1011" y="444"/>
                </a:moveTo>
                <a:cubicBezTo>
                  <a:pt x="1005" y="444"/>
                  <a:pt x="997" y="448"/>
                  <a:pt x="994" y="454"/>
                </a:cubicBezTo>
                <a:cubicBezTo>
                  <a:pt x="991" y="460"/>
                  <a:pt x="994" y="464"/>
                  <a:pt x="1000" y="464"/>
                </a:cubicBezTo>
                <a:cubicBezTo>
                  <a:pt x="1007" y="464"/>
                  <a:pt x="1015" y="460"/>
                  <a:pt x="1018" y="454"/>
                </a:cubicBezTo>
                <a:cubicBezTo>
                  <a:pt x="1021" y="448"/>
                  <a:pt x="1018" y="444"/>
                  <a:pt x="1012" y="444"/>
                </a:cubicBezTo>
                <a:cubicBezTo>
                  <a:pt x="1012" y="444"/>
                  <a:pt x="1011" y="444"/>
                  <a:pt x="1011" y="444"/>
                </a:cubicBezTo>
                <a:moveTo>
                  <a:pt x="1047" y="444"/>
                </a:moveTo>
                <a:cubicBezTo>
                  <a:pt x="1040" y="444"/>
                  <a:pt x="1032" y="448"/>
                  <a:pt x="1029" y="454"/>
                </a:cubicBezTo>
                <a:cubicBezTo>
                  <a:pt x="1026" y="459"/>
                  <a:pt x="1029" y="464"/>
                  <a:pt x="1036" y="464"/>
                </a:cubicBezTo>
                <a:cubicBezTo>
                  <a:pt x="1043" y="464"/>
                  <a:pt x="1051" y="459"/>
                  <a:pt x="1053" y="454"/>
                </a:cubicBezTo>
                <a:cubicBezTo>
                  <a:pt x="1056" y="448"/>
                  <a:pt x="1053" y="444"/>
                  <a:pt x="1047" y="444"/>
                </a:cubicBezTo>
                <a:cubicBezTo>
                  <a:pt x="1047" y="444"/>
                  <a:pt x="1047" y="444"/>
                  <a:pt x="1047" y="444"/>
                </a:cubicBezTo>
                <a:moveTo>
                  <a:pt x="1081" y="443"/>
                </a:moveTo>
                <a:cubicBezTo>
                  <a:pt x="1074" y="443"/>
                  <a:pt x="1067" y="448"/>
                  <a:pt x="1064" y="454"/>
                </a:cubicBezTo>
                <a:cubicBezTo>
                  <a:pt x="1061" y="459"/>
                  <a:pt x="1064" y="464"/>
                  <a:pt x="1071" y="464"/>
                </a:cubicBezTo>
                <a:cubicBezTo>
                  <a:pt x="1077" y="464"/>
                  <a:pt x="1085" y="459"/>
                  <a:pt x="1088" y="453"/>
                </a:cubicBezTo>
                <a:cubicBezTo>
                  <a:pt x="1091" y="448"/>
                  <a:pt x="1088" y="443"/>
                  <a:pt x="1081" y="443"/>
                </a:cubicBezTo>
                <a:cubicBezTo>
                  <a:pt x="1081" y="443"/>
                  <a:pt x="1081" y="443"/>
                  <a:pt x="1081" y="443"/>
                </a:cubicBezTo>
                <a:moveTo>
                  <a:pt x="1115" y="443"/>
                </a:moveTo>
                <a:cubicBezTo>
                  <a:pt x="1109" y="443"/>
                  <a:pt x="1101" y="448"/>
                  <a:pt x="1098" y="453"/>
                </a:cubicBezTo>
                <a:cubicBezTo>
                  <a:pt x="1095" y="459"/>
                  <a:pt x="1098" y="463"/>
                  <a:pt x="1105" y="463"/>
                </a:cubicBezTo>
                <a:cubicBezTo>
                  <a:pt x="1112" y="463"/>
                  <a:pt x="1120" y="459"/>
                  <a:pt x="1122" y="453"/>
                </a:cubicBezTo>
                <a:cubicBezTo>
                  <a:pt x="1125" y="448"/>
                  <a:pt x="1122" y="443"/>
                  <a:pt x="1115" y="443"/>
                </a:cubicBezTo>
                <a:cubicBezTo>
                  <a:pt x="1115" y="443"/>
                  <a:pt x="1115" y="443"/>
                  <a:pt x="1115" y="443"/>
                </a:cubicBezTo>
                <a:moveTo>
                  <a:pt x="1256" y="442"/>
                </a:moveTo>
                <a:cubicBezTo>
                  <a:pt x="1249" y="442"/>
                  <a:pt x="1242" y="447"/>
                  <a:pt x="1239" y="452"/>
                </a:cubicBezTo>
                <a:cubicBezTo>
                  <a:pt x="1237" y="458"/>
                  <a:pt x="1240" y="463"/>
                  <a:pt x="1247" y="462"/>
                </a:cubicBezTo>
                <a:cubicBezTo>
                  <a:pt x="1253" y="462"/>
                  <a:pt x="1261" y="458"/>
                  <a:pt x="1264" y="452"/>
                </a:cubicBezTo>
                <a:cubicBezTo>
                  <a:pt x="1266" y="447"/>
                  <a:pt x="1263" y="442"/>
                  <a:pt x="1256" y="442"/>
                </a:cubicBezTo>
                <a:cubicBezTo>
                  <a:pt x="1256" y="442"/>
                  <a:pt x="1256" y="442"/>
                  <a:pt x="1256" y="442"/>
                </a:cubicBezTo>
                <a:moveTo>
                  <a:pt x="1291" y="442"/>
                </a:moveTo>
                <a:cubicBezTo>
                  <a:pt x="1284" y="442"/>
                  <a:pt x="1276" y="447"/>
                  <a:pt x="1274" y="452"/>
                </a:cubicBezTo>
                <a:cubicBezTo>
                  <a:pt x="1271" y="458"/>
                  <a:pt x="1275" y="462"/>
                  <a:pt x="1282" y="462"/>
                </a:cubicBezTo>
                <a:cubicBezTo>
                  <a:pt x="1288" y="462"/>
                  <a:pt x="1296" y="458"/>
                  <a:pt x="1298" y="452"/>
                </a:cubicBezTo>
                <a:cubicBezTo>
                  <a:pt x="1301" y="446"/>
                  <a:pt x="1297" y="442"/>
                  <a:pt x="1291" y="442"/>
                </a:cubicBezTo>
                <a:cubicBezTo>
                  <a:pt x="1291" y="442"/>
                  <a:pt x="1291" y="442"/>
                  <a:pt x="1291" y="442"/>
                </a:cubicBezTo>
                <a:moveTo>
                  <a:pt x="2018" y="437"/>
                </a:moveTo>
                <a:cubicBezTo>
                  <a:pt x="2012" y="437"/>
                  <a:pt x="2005" y="442"/>
                  <a:pt x="2004" y="448"/>
                </a:cubicBezTo>
                <a:cubicBezTo>
                  <a:pt x="2003" y="453"/>
                  <a:pt x="2008" y="458"/>
                  <a:pt x="2015" y="458"/>
                </a:cubicBezTo>
                <a:cubicBezTo>
                  <a:pt x="2022" y="458"/>
                  <a:pt x="2028" y="453"/>
                  <a:pt x="2029" y="448"/>
                </a:cubicBezTo>
                <a:cubicBezTo>
                  <a:pt x="2030" y="442"/>
                  <a:pt x="2025" y="437"/>
                  <a:pt x="2018" y="437"/>
                </a:cubicBezTo>
                <a:cubicBezTo>
                  <a:pt x="2018" y="437"/>
                  <a:pt x="2018" y="437"/>
                  <a:pt x="2018" y="437"/>
                </a:cubicBezTo>
                <a:moveTo>
                  <a:pt x="2053" y="437"/>
                </a:moveTo>
                <a:cubicBezTo>
                  <a:pt x="2047" y="437"/>
                  <a:pt x="2041" y="442"/>
                  <a:pt x="2040" y="447"/>
                </a:cubicBezTo>
                <a:cubicBezTo>
                  <a:pt x="2039" y="453"/>
                  <a:pt x="2043" y="458"/>
                  <a:pt x="2050" y="458"/>
                </a:cubicBezTo>
                <a:cubicBezTo>
                  <a:pt x="2057" y="458"/>
                  <a:pt x="2063" y="453"/>
                  <a:pt x="2064" y="447"/>
                </a:cubicBezTo>
                <a:cubicBezTo>
                  <a:pt x="2065" y="442"/>
                  <a:pt x="2060" y="437"/>
                  <a:pt x="2054" y="437"/>
                </a:cubicBezTo>
                <a:cubicBezTo>
                  <a:pt x="2054" y="437"/>
                  <a:pt x="2053" y="437"/>
                  <a:pt x="2053" y="437"/>
                </a:cubicBezTo>
                <a:moveTo>
                  <a:pt x="2088" y="437"/>
                </a:moveTo>
                <a:cubicBezTo>
                  <a:pt x="2082" y="437"/>
                  <a:pt x="2076" y="442"/>
                  <a:pt x="2075" y="447"/>
                </a:cubicBezTo>
                <a:cubicBezTo>
                  <a:pt x="2074" y="453"/>
                  <a:pt x="2079" y="457"/>
                  <a:pt x="2085" y="457"/>
                </a:cubicBezTo>
                <a:cubicBezTo>
                  <a:pt x="2092" y="457"/>
                  <a:pt x="2098" y="453"/>
                  <a:pt x="2099" y="447"/>
                </a:cubicBezTo>
                <a:cubicBezTo>
                  <a:pt x="2100" y="441"/>
                  <a:pt x="2095" y="437"/>
                  <a:pt x="2089" y="437"/>
                </a:cubicBezTo>
                <a:cubicBezTo>
                  <a:pt x="2089" y="437"/>
                  <a:pt x="2089" y="437"/>
                  <a:pt x="2088" y="437"/>
                </a:cubicBezTo>
                <a:moveTo>
                  <a:pt x="2122" y="437"/>
                </a:moveTo>
                <a:cubicBezTo>
                  <a:pt x="2115" y="437"/>
                  <a:pt x="2109" y="441"/>
                  <a:pt x="2108" y="447"/>
                </a:cubicBezTo>
                <a:cubicBezTo>
                  <a:pt x="2107" y="453"/>
                  <a:pt x="2112" y="457"/>
                  <a:pt x="2119" y="457"/>
                </a:cubicBezTo>
                <a:cubicBezTo>
                  <a:pt x="2126" y="457"/>
                  <a:pt x="2132" y="452"/>
                  <a:pt x="2132" y="447"/>
                </a:cubicBezTo>
                <a:cubicBezTo>
                  <a:pt x="2133" y="441"/>
                  <a:pt x="2128" y="437"/>
                  <a:pt x="2122" y="437"/>
                </a:cubicBezTo>
                <a:cubicBezTo>
                  <a:pt x="2122" y="437"/>
                  <a:pt x="2122" y="437"/>
                  <a:pt x="2122" y="437"/>
                </a:cubicBezTo>
                <a:moveTo>
                  <a:pt x="2157" y="436"/>
                </a:moveTo>
                <a:cubicBezTo>
                  <a:pt x="2150" y="436"/>
                  <a:pt x="2144" y="441"/>
                  <a:pt x="2143" y="447"/>
                </a:cubicBezTo>
                <a:cubicBezTo>
                  <a:pt x="2143" y="452"/>
                  <a:pt x="2147" y="457"/>
                  <a:pt x="2154" y="457"/>
                </a:cubicBezTo>
                <a:cubicBezTo>
                  <a:pt x="2161" y="457"/>
                  <a:pt x="2167" y="452"/>
                  <a:pt x="2168" y="447"/>
                </a:cubicBezTo>
                <a:cubicBezTo>
                  <a:pt x="2168" y="441"/>
                  <a:pt x="2163" y="436"/>
                  <a:pt x="2157" y="436"/>
                </a:cubicBezTo>
                <a:cubicBezTo>
                  <a:pt x="2157" y="436"/>
                  <a:pt x="2157" y="436"/>
                  <a:pt x="2157" y="436"/>
                </a:cubicBezTo>
                <a:moveTo>
                  <a:pt x="2576" y="433"/>
                </a:moveTo>
                <a:cubicBezTo>
                  <a:pt x="2569" y="433"/>
                  <a:pt x="2564" y="438"/>
                  <a:pt x="2564" y="444"/>
                </a:cubicBezTo>
                <a:cubicBezTo>
                  <a:pt x="2564" y="449"/>
                  <a:pt x="2569" y="454"/>
                  <a:pt x="2576" y="454"/>
                </a:cubicBezTo>
                <a:cubicBezTo>
                  <a:pt x="2583" y="454"/>
                  <a:pt x="2588" y="449"/>
                  <a:pt x="2588" y="444"/>
                </a:cubicBezTo>
                <a:cubicBezTo>
                  <a:pt x="2588" y="438"/>
                  <a:pt x="2582" y="433"/>
                  <a:pt x="2576" y="433"/>
                </a:cubicBezTo>
                <a:cubicBezTo>
                  <a:pt x="2576" y="433"/>
                  <a:pt x="2576" y="433"/>
                  <a:pt x="2576" y="433"/>
                </a:cubicBezTo>
                <a:moveTo>
                  <a:pt x="2611" y="433"/>
                </a:moveTo>
                <a:cubicBezTo>
                  <a:pt x="2604" y="433"/>
                  <a:pt x="2599" y="438"/>
                  <a:pt x="2599" y="443"/>
                </a:cubicBezTo>
                <a:cubicBezTo>
                  <a:pt x="2599" y="449"/>
                  <a:pt x="2605" y="454"/>
                  <a:pt x="2612" y="454"/>
                </a:cubicBezTo>
                <a:cubicBezTo>
                  <a:pt x="2619" y="454"/>
                  <a:pt x="2624" y="449"/>
                  <a:pt x="2624" y="443"/>
                </a:cubicBezTo>
                <a:cubicBezTo>
                  <a:pt x="2623" y="438"/>
                  <a:pt x="2618" y="433"/>
                  <a:pt x="2611" y="433"/>
                </a:cubicBezTo>
                <a:cubicBezTo>
                  <a:pt x="2611" y="433"/>
                  <a:pt x="2611" y="433"/>
                  <a:pt x="2611" y="433"/>
                </a:cubicBezTo>
                <a:moveTo>
                  <a:pt x="2645" y="433"/>
                </a:moveTo>
                <a:cubicBezTo>
                  <a:pt x="2639" y="433"/>
                  <a:pt x="2633" y="438"/>
                  <a:pt x="2634" y="443"/>
                </a:cubicBezTo>
                <a:cubicBezTo>
                  <a:pt x="2634" y="449"/>
                  <a:pt x="2640" y="453"/>
                  <a:pt x="2646" y="453"/>
                </a:cubicBezTo>
                <a:cubicBezTo>
                  <a:pt x="2653" y="453"/>
                  <a:pt x="2658" y="449"/>
                  <a:pt x="2658" y="443"/>
                </a:cubicBezTo>
                <a:cubicBezTo>
                  <a:pt x="2658" y="437"/>
                  <a:pt x="2652" y="433"/>
                  <a:pt x="2645" y="433"/>
                </a:cubicBezTo>
                <a:cubicBezTo>
                  <a:pt x="2645" y="433"/>
                  <a:pt x="2645" y="433"/>
                  <a:pt x="2645" y="433"/>
                </a:cubicBezTo>
                <a:moveTo>
                  <a:pt x="2680" y="433"/>
                </a:moveTo>
                <a:cubicBezTo>
                  <a:pt x="2673" y="433"/>
                  <a:pt x="2668" y="437"/>
                  <a:pt x="2668" y="443"/>
                </a:cubicBezTo>
                <a:cubicBezTo>
                  <a:pt x="2668" y="449"/>
                  <a:pt x="2674" y="453"/>
                  <a:pt x="2681" y="453"/>
                </a:cubicBezTo>
                <a:cubicBezTo>
                  <a:pt x="2688" y="453"/>
                  <a:pt x="2693" y="448"/>
                  <a:pt x="2692" y="443"/>
                </a:cubicBezTo>
                <a:cubicBezTo>
                  <a:pt x="2692" y="437"/>
                  <a:pt x="2686" y="433"/>
                  <a:pt x="2680" y="433"/>
                </a:cubicBezTo>
                <a:cubicBezTo>
                  <a:pt x="2680" y="433"/>
                  <a:pt x="2680" y="433"/>
                  <a:pt x="2680" y="433"/>
                </a:cubicBezTo>
                <a:moveTo>
                  <a:pt x="2194" y="433"/>
                </a:moveTo>
                <a:cubicBezTo>
                  <a:pt x="2187" y="433"/>
                  <a:pt x="2181" y="437"/>
                  <a:pt x="2180" y="443"/>
                </a:cubicBezTo>
                <a:cubicBezTo>
                  <a:pt x="2180" y="449"/>
                  <a:pt x="2185" y="453"/>
                  <a:pt x="2191" y="453"/>
                </a:cubicBezTo>
                <a:cubicBezTo>
                  <a:pt x="2198" y="453"/>
                  <a:pt x="2204" y="448"/>
                  <a:pt x="2205" y="443"/>
                </a:cubicBezTo>
                <a:cubicBezTo>
                  <a:pt x="2205" y="437"/>
                  <a:pt x="2200" y="433"/>
                  <a:pt x="2194" y="433"/>
                </a:cubicBezTo>
                <a:cubicBezTo>
                  <a:pt x="2194" y="433"/>
                  <a:pt x="2194" y="433"/>
                  <a:pt x="2194" y="433"/>
                </a:cubicBezTo>
                <a:moveTo>
                  <a:pt x="2714" y="432"/>
                </a:moveTo>
                <a:cubicBezTo>
                  <a:pt x="2707" y="433"/>
                  <a:pt x="2702" y="437"/>
                  <a:pt x="2703" y="443"/>
                </a:cubicBezTo>
                <a:cubicBezTo>
                  <a:pt x="2703" y="448"/>
                  <a:pt x="2709" y="453"/>
                  <a:pt x="2716" y="453"/>
                </a:cubicBezTo>
                <a:cubicBezTo>
                  <a:pt x="2722" y="453"/>
                  <a:pt x="2727" y="448"/>
                  <a:pt x="2727" y="443"/>
                </a:cubicBezTo>
                <a:cubicBezTo>
                  <a:pt x="2727" y="437"/>
                  <a:pt x="2721" y="432"/>
                  <a:pt x="2714" y="432"/>
                </a:cubicBezTo>
                <a:cubicBezTo>
                  <a:pt x="2714" y="432"/>
                  <a:pt x="2714" y="432"/>
                  <a:pt x="2714" y="432"/>
                </a:cubicBezTo>
                <a:moveTo>
                  <a:pt x="2229" y="432"/>
                </a:moveTo>
                <a:cubicBezTo>
                  <a:pt x="2223" y="432"/>
                  <a:pt x="2217" y="437"/>
                  <a:pt x="2216" y="443"/>
                </a:cubicBezTo>
                <a:cubicBezTo>
                  <a:pt x="2216" y="448"/>
                  <a:pt x="2221" y="453"/>
                  <a:pt x="2227" y="453"/>
                </a:cubicBezTo>
                <a:cubicBezTo>
                  <a:pt x="2234" y="453"/>
                  <a:pt x="2240" y="448"/>
                  <a:pt x="2240" y="443"/>
                </a:cubicBezTo>
                <a:cubicBezTo>
                  <a:pt x="2241" y="437"/>
                  <a:pt x="2236" y="432"/>
                  <a:pt x="2229" y="432"/>
                </a:cubicBezTo>
                <a:cubicBezTo>
                  <a:pt x="2229" y="432"/>
                  <a:pt x="2229" y="432"/>
                  <a:pt x="2229" y="432"/>
                </a:cubicBezTo>
                <a:moveTo>
                  <a:pt x="2749" y="432"/>
                </a:moveTo>
                <a:cubicBezTo>
                  <a:pt x="2742" y="432"/>
                  <a:pt x="2737" y="437"/>
                  <a:pt x="2738" y="443"/>
                </a:cubicBezTo>
                <a:cubicBezTo>
                  <a:pt x="2738" y="448"/>
                  <a:pt x="2744" y="453"/>
                  <a:pt x="2751" y="453"/>
                </a:cubicBezTo>
                <a:cubicBezTo>
                  <a:pt x="2757" y="453"/>
                  <a:pt x="2762" y="448"/>
                  <a:pt x="2762" y="442"/>
                </a:cubicBezTo>
                <a:cubicBezTo>
                  <a:pt x="2761" y="437"/>
                  <a:pt x="2756" y="432"/>
                  <a:pt x="2749" y="432"/>
                </a:cubicBezTo>
                <a:cubicBezTo>
                  <a:pt x="2749" y="432"/>
                  <a:pt x="2749" y="432"/>
                  <a:pt x="2749" y="432"/>
                </a:cubicBezTo>
                <a:moveTo>
                  <a:pt x="2264" y="432"/>
                </a:moveTo>
                <a:cubicBezTo>
                  <a:pt x="2257" y="432"/>
                  <a:pt x="2251" y="437"/>
                  <a:pt x="2251" y="442"/>
                </a:cubicBezTo>
                <a:cubicBezTo>
                  <a:pt x="2250" y="448"/>
                  <a:pt x="2255" y="453"/>
                  <a:pt x="2262" y="453"/>
                </a:cubicBezTo>
                <a:cubicBezTo>
                  <a:pt x="2269" y="453"/>
                  <a:pt x="2275" y="448"/>
                  <a:pt x="2275" y="442"/>
                </a:cubicBezTo>
                <a:cubicBezTo>
                  <a:pt x="2275" y="437"/>
                  <a:pt x="2270" y="432"/>
                  <a:pt x="2264" y="432"/>
                </a:cubicBezTo>
                <a:cubicBezTo>
                  <a:pt x="2264" y="432"/>
                  <a:pt x="2264" y="432"/>
                  <a:pt x="2264" y="432"/>
                </a:cubicBezTo>
                <a:moveTo>
                  <a:pt x="2298" y="432"/>
                </a:moveTo>
                <a:cubicBezTo>
                  <a:pt x="2291" y="432"/>
                  <a:pt x="2285" y="437"/>
                  <a:pt x="2285" y="442"/>
                </a:cubicBezTo>
                <a:cubicBezTo>
                  <a:pt x="2285" y="448"/>
                  <a:pt x="2290" y="452"/>
                  <a:pt x="2296" y="452"/>
                </a:cubicBezTo>
                <a:cubicBezTo>
                  <a:pt x="2303" y="452"/>
                  <a:pt x="2309" y="448"/>
                  <a:pt x="2309" y="442"/>
                </a:cubicBezTo>
                <a:cubicBezTo>
                  <a:pt x="2310" y="436"/>
                  <a:pt x="2305" y="432"/>
                  <a:pt x="2298" y="432"/>
                </a:cubicBezTo>
                <a:cubicBezTo>
                  <a:pt x="2298" y="432"/>
                  <a:pt x="2298" y="432"/>
                  <a:pt x="2298" y="432"/>
                </a:cubicBezTo>
                <a:moveTo>
                  <a:pt x="2332" y="432"/>
                </a:moveTo>
                <a:cubicBezTo>
                  <a:pt x="2326" y="432"/>
                  <a:pt x="2320" y="436"/>
                  <a:pt x="2320" y="442"/>
                </a:cubicBezTo>
                <a:cubicBezTo>
                  <a:pt x="2319" y="448"/>
                  <a:pt x="2324" y="452"/>
                  <a:pt x="2331" y="452"/>
                </a:cubicBezTo>
                <a:cubicBezTo>
                  <a:pt x="2338" y="452"/>
                  <a:pt x="2344" y="447"/>
                  <a:pt x="2344" y="442"/>
                </a:cubicBezTo>
                <a:cubicBezTo>
                  <a:pt x="2344" y="436"/>
                  <a:pt x="2339" y="432"/>
                  <a:pt x="2332" y="432"/>
                </a:cubicBezTo>
                <a:cubicBezTo>
                  <a:pt x="2332" y="432"/>
                  <a:pt x="2332" y="432"/>
                  <a:pt x="2332" y="432"/>
                </a:cubicBezTo>
                <a:moveTo>
                  <a:pt x="2367" y="431"/>
                </a:moveTo>
                <a:cubicBezTo>
                  <a:pt x="2360" y="431"/>
                  <a:pt x="2355" y="436"/>
                  <a:pt x="2354" y="442"/>
                </a:cubicBezTo>
                <a:cubicBezTo>
                  <a:pt x="2354" y="447"/>
                  <a:pt x="2359" y="452"/>
                  <a:pt x="2366" y="452"/>
                </a:cubicBezTo>
                <a:cubicBezTo>
                  <a:pt x="2373" y="452"/>
                  <a:pt x="2379" y="447"/>
                  <a:pt x="2379" y="442"/>
                </a:cubicBezTo>
                <a:cubicBezTo>
                  <a:pt x="2379" y="436"/>
                  <a:pt x="2374" y="431"/>
                  <a:pt x="2367" y="431"/>
                </a:cubicBezTo>
                <a:cubicBezTo>
                  <a:pt x="2367" y="431"/>
                  <a:pt x="2367" y="431"/>
                  <a:pt x="2367" y="431"/>
                </a:cubicBezTo>
                <a:moveTo>
                  <a:pt x="2402" y="431"/>
                </a:moveTo>
                <a:cubicBezTo>
                  <a:pt x="2395" y="431"/>
                  <a:pt x="2390" y="436"/>
                  <a:pt x="2390" y="441"/>
                </a:cubicBezTo>
                <a:cubicBezTo>
                  <a:pt x="2389" y="447"/>
                  <a:pt x="2395" y="452"/>
                  <a:pt x="2401" y="452"/>
                </a:cubicBezTo>
                <a:cubicBezTo>
                  <a:pt x="2408" y="452"/>
                  <a:pt x="2414" y="447"/>
                  <a:pt x="2414" y="441"/>
                </a:cubicBezTo>
                <a:cubicBezTo>
                  <a:pt x="2414" y="436"/>
                  <a:pt x="2409" y="431"/>
                  <a:pt x="2402" y="431"/>
                </a:cubicBezTo>
                <a:cubicBezTo>
                  <a:pt x="2402" y="431"/>
                  <a:pt x="2402" y="431"/>
                  <a:pt x="2402" y="431"/>
                </a:cubicBezTo>
                <a:moveTo>
                  <a:pt x="2437" y="431"/>
                </a:moveTo>
                <a:cubicBezTo>
                  <a:pt x="2430" y="431"/>
                  <a:pt x="2424" y="436"/>
                  <a:pt x="2424" y="441"/>
                </a:cubicBezTo>
                <a:cubicBezTo>
                  <a:pt x="2424" y="447"/>
                  <a:pt x="2429" y="451"/>
                  <a:pt x="2436" y="451"/>
                </a:cubicBezTo>
                <a:cubicBezTo>
                  <a:pt x="2443" y="451"/>
                  <a:pt x="2448" y="447"/>
                  <a:pt x="2449" y="441"/>
                </a:cubicBezTo>
                <a:cubicBezTo>
                  <a:pt x="2449" y="435"/>
                  <a:pt x="2443" y="431"/>
                  <a:pt x="2437" y="431"/>
                </a:cubicBezTo>
                <a:cubicBezTo>
                  <a:pt x="2437" y="431"/>
                  <a:pt x="2437" y="431"/>
                  <a:pt x="2437" y="431"/>
                </a:cubicBezTo>
                <a:moveTo>
                  <a:pt x="2471" y="431"/>
                </a:moveTo>
                <a:cubicBezTo>
                  <a:pt x="2464" y="431"/>
                  <a:pt x="2459" y="435"/>
                  <a:pt x="2459" y="441"/>
                </a:cubicBezTo>
                <a:cubicBezTo>
                  <a:pt x="2459" y="447"/>
                  <a:pt x="2464" y="451"/>
                  <a:pt x="2471" y="451"/>
                </a:cubicBezTo>
                <a:cubicBezTo>
                  <a:pt x="2478" y="451"/>
                  <a:pt x="2483" y="446"/>
                  <a:pt x="2483" y="441"/>
                </a:cubicBezTo>
                <a:cubicBezTo>
                  <a:pt x="2483" y="435"/>
                  <a:pt x="2478" y="431"/>
                  <a:pt x="2471" y="431"/>
                </a:cubicBezTo>
                <a:cubicBezTo>
                  <a:pt x="2471" y="431"/>
                  <a:pt x="2471" y="431"/>
                  <a:pt x="2471" y="431"/>
                </a:cubicBezTo>
                <a:moveTo>
                  <a:pt x="2506" y="430"/>
                </a:moveTo>
                <a:cubicBezTo>
                  <a:pt x="2499" y="431"/>
                  <a:pt x="2494" y="435"/>
                  <a:pt x="2493" y="441"/>
                </a:cubicBezTo>
                <a:cubicBezTo>
                  <a:pt x="2493" y="446"/>
                  <a:pt x="2499" y="451"/>
                  <a:pt x="2506" y="451"/>
                </a:cubicBezTo>
                <a:cubicBezTo>
                  <a:pt x="2512" y="451"/>
                  <a:pt x="2518" y="446"/>
                  <a:pt x="2518" y="441"/>
                </a:cubicBezTo>
                <a:cubicBezTo>
                  <a:pt x="2518" y="435"/>
                  <a:pt x="2512" y="430"/>
                  <a:pt x="2506" y="430"/>
                </a:cubicBezTo>
                <a:cubicBezTo>
                  <a:pt x="2506" y="430"/>
                  <a:pt x="2506" y="430"/>
                  <a:pt x="2506" y="430"/>
                </a:cubicBezTo>
                <a:moveTo>
                  <a:pt x="2540" y="430"/>
                </a:moveTo>
                <a:cubicBezTo>
                  <a:pt x="2534" y="430"/>
                  <a:pt x="2528" y="435"/>
                  <a:pt x="2528" y="441"/>
                </a:cubicBezTo>
                <a:cubicBezTo>
                  <a:pt x="2528" y="446"/>
                  <a:pt x="2534" y="451"/>
                  <a:pt x="2541" y="451"/>
                </a:cubicBezTo>
                <a:cubicBezTo>
                  <a:pt x="2547" y="451"/>
                  <a:pt x="2553" y="446"/>
                  <a:pt x="2553" y="440"/>
                </a:cubicBezTo>
                <a:cubicBezTo>
                  <a:pt x="2553" y="435"/>
                  <a:pt x="2547" y="430"/>
                  <a:pt x="2540" y="430"/>
                </a:cubicBezTo>
                <a:cubicBezTo>
                  <a:pt x="2540" y="430"/>
                  <a:pt x="2540" y="430"/>
                  <a:pt x="2540" y="430"/>
                </a:cubicBezTo>
                <a:moveTo>
                  <a:pt x="2782" y="429"/>
                </a:moveTo>
                <a:cubicBezTo>
                  <a:pt x="2776" y="430"/>
                  <a:pt x="2771" y="434"/>
                  <a:pt x="2771" y="440"/>
                </a:cubicBezTo>
                <a:cubicBezTo>
                  <a:pt x="2772" y="445"/>
                  <a:pt x="2778" y="450"/>
                  <a:pt x="2784" y="450"/>
                </a:cubicBezTo>
                <a:cubicBezTo>
                  <a:pt x="2791" y="450"/>
                  <a:pt x="2796" y="445"/>
                  <a:pt x="2796" y="440"/>
                </a:cubicBezTo>
                <a:cubicBezTo>
                  <a:pt x="2795" y="434"/>
                  <a:pt x="2789" y="429"/>
                  <a:pt x="2782" y="429"/>
                </a:cubicBezTo>
                <a:cubicBezTo>
                  <a:pt x="2782" y="429"/>
                  <a:pt x="2782" y="429"/>
                  <a:pt x="2782" y="429"/>
                </a:cubicBezTo>
                <a:moveTo>
                  <a:pt x="2816" y="429"/>
                </a:moveTo>
                <a:cubicBezTo>
                  <a:pt x="2809" y="429"/>
                  <a:pt x="2804" y="434"/>
                  <a:pt x="2805" y="440"/>
                </a:cubicBezTo>
                <a:cubicBezTo>
                  <a:pt x="2805" y="445"/>
                  <a:pt x="2811" y="450"/>
                  <a:pt x="2818" y="450"/>
                </a:cubicBezTo>
                <a:cubicBezTo>
                  <a:pt x="2825" y="450"/>
                  <a:pt x="2830" y="445"/>
                  <a:pt x="2829" y="439"/>
                </a:cubicBezTo>
                <a:cubicBezTo>
                  <a:pt x="2828" y="434"/>
                  <a:pt x="2823" y="429"/>
                  <a:pt x="2816" y="429"/>
                </a:cubicBezTo>
                <a:cubicBezTo>
                  <a:pt x="2816" y="429"/>
                  <a:pt x="2816" y="429"/>
                  <a:pt x="2816" y="429"/>
                </a:cubicBezTo>
                <a:moveTo>
                  <a:pt x="2850" y="429"/>
                </a:moveTo>
                <a:cubicBezTo>
                  <a:pt x="2843" y="429"/>
                  <a:pt x="2839" y="434"/>
                  <a:pt x="2839" y="439"/>
                </a:cubicBezTo>
                <a:cubicBezTo>
                  <a:pt x="2840" y="445"/>
                  <a:pt x="2846" y="450"/>
                  <a:pt x="2853" y="449"/>
                </a:cubicBezTo>
                <a:cubicBezTo>
                  <a:pt x="2860" y="449"/>
                  <a:pt x="2864" y="445"/>
                  <a:pt x="2864" y="439"/>
                </a:cubicBezTo>
                <a:cubicBezTo>
                  <a:pt x="2863" y="434"/>
                  <a:pt x="2857" y="429"/>
                  <a:pt x="2850" y="429"/>
                </a:cubicBezTo>
                <a:cubicBezTo>
                  <a:pt x="2850" y="429"/>
                  <a:pt x="2850" y="429"/>
                  <a:pt x="2850" y="429"/>
                </a:cubicBezTo>
                <a:moveTo>
                  <a:pt x="2885" y="429"/>
                </a:moveTo>
                <a:cubicBezTo>
                  <a:pt x="2878" y="429"/>
                  <a:pt x="2873" y="433"/>
                  <a:pt x="2874" y="439"/>
                </a:cubicBezTo>
                <a:cubicBezTo>
                  <a:pt x="2875" y="445"/>
                  <a:pt x="2881" y="449"/>
                  <a:pt x="2888" y="449"/>
                </a:cubicBezTo>
                <a:cubicBezTo>
                  <a:pt x="2894" y="449"/>
                  <a:pt x="2899" y="445"/>
                  <a:pt x="2898" y="439"/>
                </a:cubicBezTo>
                <a:cubicBezTo>
                  <a:pt x="2898" y="433"/>
                  <a:pt x="2892" y="429"/>
                  <a:pt x="2885" y="429"/>
                </a:cubicBezTo>
                <a:cubicBezTo>
                  <a:pt x="2885" y="429"/>
                  <a:pt x="2885" y="429"/>
                  <a:pt x="2885" y="429"/>
                </a:cubicBezTo>
                <a:moveTo>
                  <a:pt x="2920" y="429"/>
                </a:moveTo>
                <a:cubicBezTo>
                  <a:pt x="2913" y="429"/>
                  <a:pt x="2908" y="433"/>
                  <a:pt x="2909" y="439"/>
                </a:cubicBezTo>
                <a:cubicBezTo>
                  <a:pt x="2910" y="444"/>
                  <a:pt x="2916" y="449"/>
                  <a:pt x="2923" y="449"/>
                </a:cubicBezTo>
                <a:cubicBezTo>
                  <a:pt x="2930" y="449"/>
                  <a:pt x="2935" y="444"/>
                  <a:pt x="2934" y="439"/>
                </a:cubicBezTo>
                <a:cubicBezTo>
                  <a:pt x="2933" y="433"/>
                  <a:pt x="2927" y="429"/>
                  <a:pt x="2920" y="429"/>
                </a:cubicBezTo>
                <a:cubicBezTo>
                  <a:pt x="2920" y="429"/>
                  <a:pt x="2920" y="429"/>
                  <a:pt x="2920" y="429"/>
                </a:cubicBezTo>
                <a:moveTo>
                  <a:pt x="2954" y="428"/>
                </a:moveTo>
                <a:cubicBezTo>
                  <a:pt x="2948" y="428"/>
                  <a:pt x="2943" y="433"/>
                  <a:pt x="2944" y="439"/>
                </a:cubicBezTo>
                <a:cubicBezTo>
                  <a:pt x="2945" y="444"/>
                  <a:pt x="2951" y="449"/>
                  <a:pt x="2958" y="449"/>
                </a:cubicBezTo>
                <a:cubicBezTo>
                  <a:pt x="2964" y="449"/>
                  <a:pt x="2969" y="444"/>
                  <a:pt x="2968" y="438"/>
                </a:cubicBezTo>
                <a:cubicBezTo>
                  <a:pt x="2967" y="433"/>
                  <a:pt x="2961" y="428"/>
                  <a:pt x="2954" y="428"/>
                </a:cubicBezTo>
                <a:cubicBezTo>
                  <a:pt x="2954" y="428"/>
                  <a:pt x="2954" y="428"/>
                  <a:pt x="2954" y="428"/>
                </a:cubicBezTo>
                <a:moveTo>
                  <a:pt x="2989" y="428"/>
                </a:moveTo>
                <a:cubicBezTo>
                  <a:pt x="2982" y="428"/>
                  <a:pt x="2978" y="433"/>
                  <a:pt x="2979" y="438"/>
                </a:cubicBezTo>
                <a:cubicBezTo>
                  <a:pt x="2980" y="444"/>
                  <a:pt x="2986" y="449"/>
                  <a:pt x="2993" y="449"/>
                </a:cubicBezTo>
                <a:cubicBezTo>
                  <a:pt x="2999" y="448"/>
                  <a:pt x="3004" y="444"/>
                  <a:pt x="3003" y="438"/>
                </a:cubicBezTo>
                <a:cubicBezTo>
                  <a:pt x="3002" y="433"/>
                  <a:pt x="2996" y="428"/>
                  <a:pt x="2989" y="428"/>
                </a:cubicBezTo>
                <a:cubicBezTo>
                  <a:pt x="2989" y="428"/>
                  <a:pt x="2989" y="428"/>
                  <a:pt x="2989" y="428"/>
                </a:cubicBezTo>
                <a:moveTo>
                  <a:pt x="3023" y="428"/>
                </a:moveTo>
                <a:cubicBezTo>
                  <a:pt x="3017" y="428"/>
                  <a:pt x="3012" y="432"/>
                  <a:pt x="3013" y="438"/>
                </a:cubicBezTo>
                <a:cubicBezTo>
                  <a:pt x="3014" y="444"/>
                  <a:pt x="3020" y="448"/>
                  <a:pt x="3027" y="448"/>
                </a:cubicBezTo>
                <a:cubicBezTo>
                  <a:pt x="3034" y="448"/>
                  <a:pt x="3038" y="444"/>
                  <a:pt x="3037" y="438"/>
                </a:cubicBezTo>
                <a:cubicBezTo>
                  <a:pt x="3036" y="432"/>
                  <a:pt x="3030" y="428"/>
                  <a:pt x="3023" y="428"/>
                </a:cubicBezTo>
                <a:cubicBezTo>
                  <a:pt x="3023" y="428"/>
                  <a:pt x="3023" y="428"/>
                  <a:pt x="3023" y="428"/>
                </a:cubicBezTo>
                <a:moveTo>
                  <a:pt x="3058" y="428"/>
                </a:moveTo>
                <a:cubicBezTo>
                  <a:pt x="3051" y="428"/>
                  <a:pt x="3047" y="432"/>
                  <a:pt x="3048" y="438"/>
                </a:cubicBezTo>
                <a:cubicBezTo>
                  <a:pt x="3049" y="444"/>
                  <a:pt x="3055" y="448"/>
                  <a:pt x="3062" y="448"/>
                </a:cubicBezTo>
                <a:cubicBezTo>
                  <a:pt x="3069" y="448"/>
                  <a:pt x="3073" y="443"/>
                  <a:pt x="3072" y="438"/>
                </a:cubicBezTo>
                <a:cubicBezTo>
                  <a:pt x="3071" y="432"/>
                  <a:pt x="3065" y="428"/>
                  <a:pt x="3058" y="428"/>
                </a:cubicBezTo>
                <a:cubicBezTo>
                  <a:pt x="3058" y="428"/>
                  <a:pt x="3058" y="428"/>
                  <a:pt x="3058" y="428"/>
                </a:cubicBezTo>
                <a:moveTo>
                  <a:pt x="3094" y="427"/>
                </a:moveTo>
                <a:cubicBezTo>
                  <a:pt x="3087" y="427"/>
                  <a:pt x="3083" y="432"/>
                  <a:pt x="3084" y="438"/>
                </a:cubicBezTo>
                <a:cubicBezTo>
                  <a:pt x="3085" y="443"/>
                  <a:pt x="3091" y="448"/>
                  <a:pt x="3098" y="448"/>
                </a:cubicBezTo>
                <a:cubicBezTo>
                  <a:pt x="3105" y="448"/>
                  <a:pt x="3109" y="443"/>
                  <a:pt x="3108" y="437"/>
                </a:cubicBezTo>
                <a:cubicBezTo>
                  <a:pt x="3107" y="432"/>
                  <a:pt x="3100" y="427"/>
                  <a:pt x="3094" y="427"/>
                </a:cubicBezTo>
                <a:cubicBezTo>
                  <a:pt x="3094" y="427"/>
                  <a:pt x="3094" y="427"/>
                  <a:pt x="3094" y="427"/>
                </a:cubicBezTo>
                <a:moveTo>
                  <a:pt x="3128" y="427"/>
                </a:moveTo>
                <a:cubicBezTo>
                  <a:pt x="3121" y="427"/>
                  <a:pt x="3117" y="432"/>
                  <a:pt x="3118" y="437"/>
                </a:cubicBezTo>
                <a:cubicBezTo>
                  <a:pt x="3120" y="443"/>
                  <a:pt x="3126" y="448"/>
                  <a:pt x="3133" y="448"/>
                </a:cubicBezTo>
                <a:cubicBezTo>
                  <a:pt x="3139" y="447"/>
                  <a:pt x="3144" y="443"/>
                  <a:pt x="3143" y="437"/>
                </a:cubicBezTo>
                <a:cubicBezTo>
                  <a:pt x="3141" y="432"/>
                  <a:pt x="3135" y="427"/>
                  <a:pt x="3128" y="427"/>
                </a:cubicBezTo>
                <a:cubicBezTo>
                  <a:pt x="3128" y="427"/>
                  <a:pt x="3128" y="427"/>
                  <a:pt x="3128" y="427"/>
                </a:cubicBezTo>
                <a:moveTo>
                  <a:pt x="3163" y="427"/>
                </a:moveTo>
                <a:cubicBezTo>
                  <a:pt x="3156" y="427"/>
                  <a:pt x="3152" y="431"/>
                  <a:pt x="3153" y="437"/>
                </a:cubicBezTo>
                <a:cubicBezTo>
                  <a:pt x="3154" y="443"/>
                  <a:pt x="3161" y="447"/>
                  <a:pt x="3168" y="447"/>
                </a:cubicBezTo>
                <a:cubicBezTo>
                  <a:pt x="3174" y="447"/>
                  <a:pt x="3179" y="443"/>
                  <a:pt x="3177" y="437"/>
                </a:cubicBezTo>
                <a:cubicBezTo>
                  <a:pt x="3176" y="431"/>
                  <a:pt x="3169" y="427"/>
                  <a:pt x="3163" y="427"/>
                </a:cubicBezTo>
                <a:cubicBezTo>
                  <a:pt x="3163" y="427"/>
                  <a:pt x="3163" y="427"/>
                  <a:pt x="3163" y="427"/>
                </a:cubicBezTo>
                <a:moveTo>
                  <a:pt x="3198" y="427"/>
                </a:moveTo>
                <a:cubicBezTo>
                  <a:pt x="3191" y="427"/>
                  <a:pt x="3187" y="431"/>
                  <a:pt x="3188" y="437"/>
                </a:cubicBezTo>
                <a:cubicBezTo>
                  <a:pt x="3190" y="443"/>
                  <a:pt x="3196" y="447"/>
                  <a:pt x="3203" y="447"/>
                </a:cubicBezTo>
                <a:cubicBezTo>
                  <a:pt x="3210" y="447"/>
                  <a:pt x="3214" y="442"/>
                  <a:pt x="3212" y="437"/>
                </a:cubicBezTo>
                <a:cubicBezTo>
                  <a:pt x="3211" y="431"/>
                  <a:pt x="3204" y="427"/>
                  <a:pt x="3198" y="427"/>
                </a:cubicBezTo>
                <a:cubicBezTo>
                  <a:pt x="3198" y="427"/>
                  <a:pt x="3198" y="427"/>
                  <a:pt x="3198" y="427"/>
                </a:cubicBezTo>
                <a:moveTo>
                  <a:pt x="3232" y="426"/>
                </a:moveTo>
                <a:cubicBezTo>
                  <a:pt x="3225" y="426"/>
                  <a:pt x="3221" y="431"/>
                  <a:pt x="3223" y="437"/>
                </a:cubicBezTo>
                <a:cubicBezTo>
                  <a:pt x="3224" y="442"/>
                  <a:pt x="3231" y="447"/>
                  <a:pt x="3238" y="447"/>
                </a:cubicBezTo>
                <a:cubicBezTo>
                  <a:pt x="3244" y="447"/>
                  <a:pt x="3249" y="442"/>
                  <a:pt x="3247" y="436"/>
                </a:cubicBezTo>
                <a:cubicBezTo>
                  <a:pt x="3245" y="431"/>
                  <a:pt x="3239" y="426"/>
                  <a:pt x="3232" y="426"/>
                </a:cubicBezTo>
                <a:cubicBezTo>
                  <a:pt x="3232" y="426"/>
                  <a:pt x="3232" y="426"/>
                  <a:pt x="3232" y="426"/>
                </a:cubicBezTo>
                <a:moveTo>
                  <a:pt x="3267" y="426"/>
                </a:moveTo>
                <a:cubicBezTo>
                  <a:pt x="3260" y="426"/>
                  <a:pt x="3256" y="431"/>
                  <a:pt x="3257" y="436"/>
                </a:cubicBezTo>
                <a:cubicBezTo>
                  <a:pt x="3259" y="442"/>
                  <a:pt x="3266" y="447"/>
                  <a:pt x="3272" y="447"/>
                </a:cubicBezTo>
                <a:cubicBezTo>
                  <a:pt x="3279" y="447"/>
                  <a:pt x="3283" y="442"/>
                  <a:pt x="3282" y="436"/>
                </a:cubicBezTo>
                <a:cubicBezTo>
                  <a:pt x="3280" y="431"/>
                  <a:pt x="3273" y="426"/>
                  <a:pt x="3267" y="426"/>
                </a:cubicBezTo>
                <a:cubicBezTo>
                  <a:pt x="3267" y="426"/>
                  <a:pt x="3267" y="426"/>
                  <a:pt x="3267" y="426"/>
                </a:cubicBezTo>
                <a:moveTo>
                  <a:pt x="3301" y="426"/>
                </a:moveTo>
                <a:cubicBezTo>
                  <a:pt x="3294" y="426"/>
                  <a:pt x="3290" y="430"/>
                  <a:pt x="3292" y="436"/>
                </a:cubicBezTo>
                <a:cubicBezTo>
                  <a:pt x="3294" y="442"/>
                  <a:pt x="3300" y="446"/>
                  <a:pt x="3307" y="446"/>
                </a:cubicBezTo>
                <a:cubicBezTo>
                  <a:pt x="3314" y="446"/>
                  <a:pt x="3318" y="442"/>
                  <a:pt x="3316" y="436"/>
                </a:cubicBezTo>
                <a:cubicBezTo>
                  <a:pt x="3315" y="430"/>
                  <a:pt x="3308" y="426"/>
                  <a:pt x="3301" y="426"/>
                </a:cubicBezTo>
                <a:cubicBezTo>
                  <a:pt x="3301" y="426"/>
                  <a:pt x="3301" y="426"/>
                  <a:pt x="3301" y="426"/>
                </a:cubicBezTo>
                <a:moveTo>
                  <a:pt x="3336" y="426"/>
                </a:moveTo>
                <a:cubicBezTo>
                  <a:pt x="3329" y="426"/>
                  <a:pt x="3325" y="430"/>
                  <a:pt x="3327" y="436"/>
                </a:cubicBezTo>
                <a:cubicBezTo>
                  <a:pt x="3328" y="442"/>
                  <a:pt x="3335" y="446"/>
                  <a:pt x="3342" y="446"/>
                </a:cubicBezTo>
                <a:cubicBezTo>
                  <a:pt x="3349" y="446"/>
                  <a:pt x="3353" y="441"/>
                  <a:pt x="3351" y="436"/>
                </a:cubicBezTo>
                <a:cubicBezTo>
                  <a:pt x="3349" y="430"/>
                  <a:pt x="3342" y="426"/>
                  <a:pt x="3336" y="426"/>
                </a:cubicBezTo>
                <a:cubicBezTo>
                  <a:pt x="3336" y="426"/>
                  <a:pt x="3336" y="426"/>
                  <a:pt x="3336" y="426"/>
                </a:cubicBezTo>
                <a:moveTo>
                  <a:pt x="3371" y="425"/>
                </a:moveTo>
                <a:cubicBezTo>
                  <a:pt x="3364" y="425"/>
                  <a:pt x="3360" y="430"/>
                  <a:pt x="3362" y="436"/>
                </a:cubicBezTo>
                <a:cubicBezTo>
                  <a:pt x="3364" y="441"/>
                  <a:pt x="3370" y="446"/>
                  <a:pt x="3377" y="446"/>
                </a:cubicBezTo>
                <a:cubicBezTo>
                  <a:pt x="3384" y="446"/>
                  <a:pt x="3388" y="441"/>
                  <a:pt x="3386" y="436"/>
                </a:cubicBezTo>
                <a:cubicBezTo>
                  <a:pt x="3384" y="430"/>
                  <a:pt x="3377" y="425"/>
                  <a:pt x="3371" y="425"/>
                </a:cubicBezTo>
                <a:cubicBezTo>
                  <a:pt x="3371" y="425"/>
                  <a:pt x="3371" y="425"/>
                  <a:pt x="3371" y="425"/>
                </a:cubicBezTo>
                <a:moveTo>
                  <a:pt x="3405" y="425"/>
                </a:moveTo>
                <a:cubicBezTo>
                  <a:pt x="3398" y="425"/>
                  <a:pt x="3394" y="430"/>
                  <a:pt x="3396" y="435"/>
                </a:cubicBezTo>
                <a:cubicBezTo>
                  <a:pt x="3398" y="441"/>
                  <a:pt x="3405" y="446"/>
                  <a:pt x="3412" y="446"/>
                </a:cubicBezTo>
                <a:cubicBezTo>
                  <a:pt x="3419" y="446"/>
                  <a:pt x="3422" y="441"/>
                  <a:pt x="3421" y="435"/>
                </a:cubicBezTo>
                <a:cubicBezTo>
                  <a:pt x="3419" y="430"/>
                  <a:pt x="3412" y="425"/>
                  <a:pt x="3405" y="425"/>
                </a:cubicBezTo>
                <a:cubicBezTo>
                  <a:pt x="3405" y="425"/>
                  <a:pt x="3405" y="425"/>
                  <a:pt x="3405" y="425"/>
                </a:cubicBezTo>
                <a:moveTo>
                  <a:pt x="3440" y="425"/>
                </a:moveTo>
                <a:cubicBezTo>
                  <a:pt x="3433" y="425"/>
                  <a:pt x="3429" y="430"/>
                  <a:pt x="3431" y="435"/>
                </a:cubicBezTo>
                <a:cubicBezTo>
                  <a:pt x="3433" y="441"/>
                  <a:pt x="3440" y="445"/>
                  <a:pt x="3447" y="445"/>
                </a:cubicBezTo>
                <a:cubicBezTo>
                  <a:pt x="3453" y="445"/>
                  <a:pt x="3457" y="441"/>
                  <a:pt x="3455" y="435"/>
                </a:cubicBezTo>
                <a:cubicBezTo>
                  <a:pt x="3453" y="429"/>
                  <a:pt x="3446" y="425"/>
                  <a:pt x="3440" y="425"/>
                </a:cubicBezTo>
                <a:cubicBezTo>
                  <a:pt x="3440" y="425"/>
                  <a:pt x="3440" y="425"/>
                  <a:pt x="3440" y="425"/>
                </a:cubicBezTo>
                <a:moveTo>
                  <a:pt x="3474" y="425"/>
                </a:moveTo>
                <a:cubicBezTo>
                  <a:pt x="3467" y="425"/>
                  <a:pt x="3463" y="429"/>
                  <a:pt x="3465" y="435"/>
                </a:cubicBezTo>
                <a:cubicBezTo>
                  <a:pt x="3467" y="441"/>
                  <a:pt x="3475" y="445"/>
                  <a:pt x="3481" y="445"/>
                </a:cubicBezTo>
                <a:cubicBezTo>
                  <a:pt x="3488" y="445"/>
                  <a:pt x="3492" y="440"/>
                  <a:pt x="3490" y="435"/>
                </a:cubicBezTo>
                <a:cubicBezTo>
                  <a:pt x="3488" y="429"/>
                  <a:pt x="3481" y="425"/>
                  <a:pt x="3474" y="425"/>
                </a:cubicBezTo>
                <a:cubicBezTo>
                  <a:pt x="3474" y="425"/>
                  <a:pt x="3474" y="425"/>
                  <a:pt x="3474" y="425"/>
                </a:cubicBezTo>
                <a:moveTo>
                  <a:pt x="3509" y="424"/>
                </a:moveTo>
                <a:cubicBezTo>
                  <a:pt x="3502" y="424"/>
                  <a:pt x="3498" y="429"/>
                  <a:pt x="3500" y="435"/>
                </a:cubicBezTo>
                <a:cubicBezTo>
                  <a:pt x="3502" y="440"/>
                  <a:pt x="3509" y="445"/>
                  <a:pt x="3516" y="445"/>
                </a:cubicBezTo>
                <a:cubicBezTo>
                  <a:pt x="3523" y="445"/>
                  <a:pt x="3527" y="440"/>
                  <a:pt x="3525" y="435"/>
                </a:cubicBezTo>
                <a:cubicBezTo>
                  <a:pt x="3522" y="429"/>
                  <a:pt x="3515" y="424"/>
                  <a:pt x="3509" y="424"/>
                </a:cubicBezTo>
                <a:cubicBezTo>
                  <a:pt x="3509" y="424"/>
                  <a:pt x="3509" y="424"/>
                  <a:pt x="3509" y="424"/>
                </a:cubicBezTo>
                <a:moveTo>
                  <a:pt x="3544" y="424"/>
                </a:moveTo>
                <a:cubicBezTo>
                  <a:pt x="3537" y="424"/>
                  <a:pt x="3533" y="429"/>
                  <a:pt x="3535" y="434"/>
                </a:cubicBezTo>
                <a:cubicBezTo>
                  <a:pt x="3537" y="440"/>
                  <a:pt x="3545" y="445"/>
                  <a:pt x="3551" y="445"/>
                </a:cubicBezTo>
                <a:cubicBezTo>
                  <a:pt x="3558" y="445"/>
                  <a:pt x="3562" y="440"/>
                  <a:pt x="3560" y="434"/>
                </a:cubicBezTo>
                <a:cubicBezTo>
                  <a:pt x="3557" y="429"/>
                  <a:pt x="3550" y="424"/>
                  <a:pt x="3544" y="424"/>
                </a:cubicBezTo>
                <a:cubicBezTo>
                  <a:pt x="3544" y="424"/>
                  <a:pt x="3544" y="424"/>
                  <a:pt x="3544" y="424"/>
                </a:cubicBezTo>
                <a:moveTo>
                  <a:pt x="3578" y="424"/>
                </a:moveTo>
                <a:cubicBezTo>
                  <a:pt x="3571" y="424"/>
                  <a:pt x="3568" y="428"/>
                  <a:pt x="3570" y="434"/>
                </a:cubicBezTo>
                <a:cubicBezTo>
                  <a:pt x="3572" y="440"/>
                  <a:pt x="3579" y="444"/>
                  <a:pt x="3586" y="444"/>
                </a:cubicBezTo>
                <a:cubicBezTo>
                  <a:pt x="3593" y="444"/>
                  <a:pt x="3596" y="440"/>
                  <a:pt x="3594" y="434"/>
                </a:cubicBezTo>
                <a:cubicBezTo>
                  <a:pt x="3592" y="428"/>
                  <a:pt x="3585" y="424"/>
                  <a:pt x="3578" y="424"/>
                </a:cubicBezTo>
                <a:cubicBezTo>
                  <a:pt x="3578" y="424"/>
                  <a:pt x="3578" y="424"/>
                  <a:pt x="3578" y="424"/>
                </a:cubicBezTo>
                <a:moveTo>
                  <a:pt x="3612" y="423"/>
                </a:moveTo>
                <a:cubicBezTo>
                  <a:pt x="3606" y="423"/>
                  <a:pt x="3602" y="428"/>
                  <a:pt x="3604" y="434"/>
                </a:cubicBezTo>
                <a:cubicBezTo>
                  <a:pt x="3607" y="439"/>
                  <a:pt x="3614" y="444"/>
                  <a:pt x="3621" y="444"/>
                </a:cubicBezTo>
                <a:cubicBezTo>
                  <a:pt x="3627" y="444"/>
                  <a:pt x="3631" y="439"/>
                  <a:pt x="3629" y="434"/>
                </a:cubicBezTo>
                <a:cubicBezTo>
                  <a:pt x="3626" y="428"/>
                  <a:pt x="3619" y="423"/>
                  <a:pt x="3612" y="423"/>
                </a:cubicBezTo>
                <a:cubicBezTo>
                  <a:pt x="3612" y="423"/>
                  <a:pt x="3612" y="423"/>
                  <a:pt x="3612" y="423"/>
                </a:cubicBezTo>
                <a:moveTo>
                  <a:pt x="3647" y="423"/>
                </a:moveTo>
                <a:cubicBezTo>
                  <a:pt x="3640" y="423"/>
                  <a:pt x="3637" y="428"/>
                  <a:pt x="3639" y="434"/>
                </a:cubicBezTo>
                <a:cubicBezTo>
                  <a:pt x="3641" y="439"/>
                  <a:pt x="3649" y="444"/>
                  <a:pt x="3656" y="444"/>
                </a:cubicBezTo>
                <a:cubicBezTo>
                  <a:pt x="3662" y="444"/>
                  <a:pt x="3666" y="439"/>
                  <a:pt x="3663" y="433"/>
                </a:cubicBezTo>
                <a:cubicBezTo>
                  <a:pt x="3661" y="428"/>
                  <a:pt x="3654" y="423"/>
                  <a:pt x="3647" y="423"/>
                </a:cubicBezTo>
                <a:cubicBezTo>
                  <a:pt x="3647" y="423"/>
                  <a:pt x="3647" y="423"/>
                  <a:pt x="3647" y="423"/>
                </a:cubicBezTo>
                <a:moveTo>
                  <a:pt x="3684" y="423"/>
                </a:moveTo>
                <a:cubicBezTo>
                  <a:pt x="3677" y="423"/>
                  <a:pt x="3674" y="428"/>
                  <a:pt x="3676" y="433"/>
                </a:cubicBezTo>
                <a:cubicBezTo>
                  <a:pt x="3678" y="439"/>
                  <a:pt x="3686" y="444"/>
                  <a:pt x="3693" y="443"/>
                </a:cubicBezTo>
                <a:cubicBezTo>
                  <a:pt x="3699" y="443"/>
                  <a:pt x="3703" y="439"/>
                  <a:pt x="3700" y="433"/>
                </a:cubicBezTo>
                <a:cubicBezTo>
                  <a:pt x="3698" y="427"/>
                  <a:pt x="3690" y="423"/>
                  <a:pt x="3684" y="423"/>
                </a:cubicBezTo>
                <a:cubicBezTo>
                  <a:pt x="3684" y="423"/>
                  <a:pt x="3684" y="423"/>
                  <a:pt x="3684" y="423"/>
                </a:cubicBezTo>
                <a:moveTo>
                  <a:pt x="3718" y="423"/>
                </a:moveTo>
                <a:cubicBezTo>
                  <a:pt x="3711" y="423"/>
                  <a:pt x="3708" y="427"/>
                  <a:pt x="3710" y="433"/>
                </a:cubicBezTo>
                <a:cubicBezTo>
                  <a:pt x="3713" y="439"/>
                  <a:pt x="3720" y="443"/>
                  <a:pt x="3727" y="443"/>
                </a:cubicBezTo>
                <a:cubicBezTo>
                  <a:pt x="3734" y="443"/>
                  <a:pt x="3737" y="439"/>
                  <a:pt x="3734" y="433"/>
                </a:cubicBezTo>
                <a:cubicBezTo>
                  <a:pt x="3732" y="427"/>
                  <a:pt x="3725" y="423"/>
                  <a:pt x="3718" y="423"/>
                </a:cubicBezTo>
                <a:cubicBezTo>
                  <a:pt x="3718" y="423"/>
                  <a:pt x="3718" y="423"/>
                  <a:pt x="3718" y="423"/>
                </a:cubicBezTo>
                <a:moveTo>
                  <a:pt x="3752" y="422"/>
                </a:moveTo>
                <a:cubicBezTo>
                  <a:pt x="3745" y="422"/>
                  <a:pt x="3742" y="427"/>
                  <a:pt x="3745" y="433"/>
                </a:cubicBezTo>
                <a:cubicBezTo>
                  <a:pt x="3747" y="438"/>
                  <a:pt x="3755" y="443"/>
                  <a:pt x="3761" y="443"/>
                </a:cubicBezTo>
                <a:cubicBezTo>
                  <a:pt x="3768" y="443"/>
                  <a:pt x="3772" y="438"/>
                  <a:pt x="3769" y="433"/>
                </a:cubicBezTo>
                <a:cubicBezTo>
                  <a:pt x="3766" y="427"/>
                  <a:pt x="3759" y="422"/>
                  <a:pt x="3752" y="422"/>
                </a:cubicBezTo>
                <a:cubicBezTo>
                  <a:pt x="3752" y="422"/>
                  <a:pt x="3752" y="422"/>
                  <a:pt x="3752" y="422"/>
                </a:cubicBezTo>
                <a:moveTo>
                  <a:pt x="3787" y="422"/>
                </a:moveTo>
                <a:cubicBezTo>
                  <a:pt x="3780" y="422"/>
                  <a:pt x="3777" y="427"/>
                  <a:pt x="3779" y="433"/>
                </a:cubicBezTo>
                <a:cubicBezTo>
                  <a:pt x="3782" y="438"/>
                  <a:pt x="3790" y="443"/>
                  <a:pt x="3796" y="443"/>
                </a:cubicBezTo>
                <a:cubicBezTo>
                  <a:pt x="3803" y="443"/>
                  <a:pt x="3806" y="438"/>
                  <a:pt x="3804" y="432"/>
                </a:cubicBezTo>
                <a:cubicBezTo>
                  <a:pt x="3801" y="427"/>
                  <a:pt x="3793" y="422"/>
                  <a:pt x="3787" y="422"/>
                </a:cubicBezTo>
                <a:cubicBezTo>
                  <a:pt x="3787" y="422"/>
                  <a:pt x="3787" y="422"/>
                  <a:pt x="3787" y="422"/>
                </a:cubicBezTo>
                <a:moveTo>
                  <a:pt x="3822" y="422"/>
                </a:moveTo>
                <a:cubicBezTo>
                  <a:pt x="3815" y="422"/>
                  <a:pt x="3812" y="427"/>
                  <a:pt x="3814" y="432"/>
                </a:cubicBezTo>
                <a:cubicBezTo>
                  <a:pt x="3817" y="438"/>
                  <a:pt x="3825" y="443"/>
                  <a:pt x="3832" y="443"/>
                </a:cubicBezTo>
                <a:cubicBezTo>
                  <a:pt x="3838" y="442"/>
                  <a:pt x="3841" y="438"/>
                  <a:pt x="3839" y="432"/>
                </a:cubicBezTo>
                <a:cubicBezTo>
                  <a:pt x="3836" y="426"/>
                  <a:pt x="3828" y="422"/>
                  <a:pt x="3822" y="422"/>
                </a:cubicBezTo>
                <a:cubicBezTo>
                  <a:pt x="3822" y="422"/>
                  <a:pt x="3822" y="422"/>
                  <a:pt x="3822" y="422"/>
                </a:cubicBezTo>
                <a:moveTo>
                  <a:pt x="3856" y="422"/>
                </a:moveTo>
                <a:cubicBezTo>
                  <a:pt x="3849" y="422"/>
                  <a:pt x="3846" y="426"/>
                  <a:pt x="3849" y="432"/>
                </a:cubicBezTo>
                <a:cubicBezTo>
                  <a:pt x="3852" y="438"/>
                  <a:pt x="3859" y="442"/>
                  <a:pt x="3866" y="442"/>
                </a:cubicBezTo>
                <a:cubicBezTo>
                  <a:pt x="3873" y="442"/>
                  <a:pt x="3876" y="438"/>
                  <a:pt x="3873" y="432"/>
                </a:cubicBezTo>
                <a:cubicBezTo>
                  <a:pt x="3870" y="426"/>
                  <a:pt x="3863" y="422"/>
                  <a:pt x="3856" y="422"/>
                </a:cubicBezTo>
                <a:cubicBezTo>
                  <a:pt x="3856" y="422"/>
                  <a:pt x="3856" y="422"/>
                  <a:pt x="3856" y="422"/>
                </a:cubicBezTo>
                <a:moveTo>
                  <a:pt x="3890" y="421"/>
                </a:moveTo>
                <a:cubicBezTo>
                  <a:pt x="3884" y="422"/>
                  <a:pt x="3881" y="426"/>
                  <a:pt x="3884" y="432"/>
                </a:cubicBezTo>
                <a:cubicBezTo>
                  <a:pt x="3886" y="438"/>
                  <a:pt x="3894" y="442"/>
                  <a:pt x="3901" y="442"/>
                </a:cubicBezTo>
                <a:cubicBezTo>
                  <a:pt x="3908" y="442"/>
                  <a:pt x="3911" y="437"/>
                  <a:pt x="3908" y="432"/>
                </a:cubicBezTo>
                <a:cubicBezTo>
                  <a:pt x="3905" y="426"/>
                  <a:pt x="3897" y="421"/>
                  <a:pt x="3891" y="421"/>
                </a:cubicBezTo>
                <a:cubicBezTo>
                  <a:pt x="3891" y="421"/>
                  <a:pt x="3891" y="421"/>
                  <a:pt x="3890" y="421"/>
                </a:cubicBezTo>
                <a:moveTo>
                  <a:pt x="3925" y="421"/>
                </a:moveTo>
                <a:cubicBezTo>
                  <a:pt x="3918" y="421"/>
                  <a:pt x="3915" y="426"/>
                  <a:pt x="3918" y="432"/>
                </a:cubicBezTo>
                <a:cubicBezTo>
                  <a:pt x="3921" y="437"/>
                  <a:pt x="3929" y="442"/>
                  <a:pt x="3935" y="442"/>
                </a:cubicBezTo>
                <a:cubicBezTo>
                  <a:pt x="3942" y="442"/>
                  <a:pt x="3945" y="437"/>
                  <a:pt x="3942" y="431"/>
                </a:cubicBezTo>
                <a:cubicBezTo>
                  <a:pt x="3939" y="426"/>
                  <a:pt x="3932" y="421"/>
                  <a:pt x="3925" y="421"/>
                </a:cubicBezTo>
                <a:cubicBezTo>
                  <a:pt x="3925" y="421"/>
                  <a:pt x="3925" y="421"/>
                  <a:pt x="3925" y="421"/>
                </a:cubicBezTo>
                <a:moveTo>
                  <a:pt x="3959" y="421"/>
                </a:moveTo>
                <a:cubicBezTo>
                  <a:pt x="3953" y="421"/>
                  <a:pt x="3950" y="426"/>
                  <a:pt x="3953" y="431"/>
                </a:cubicBezTo>
                <a:cubicBezTo>
                  <a:pt x="3956" y="437"/>
                  <a:pt x="3964" y="442"/>
                  <a:pt x="3970" y="442"/>
                </a:cubicBezTo>
                <a:cubicBezTo>
                  <a:pt x="3977" y="442"/>
                  <a:pt x="3980" y="437"/>
                  <a:pt x="3977" y="431"/>
                </a:cubicBezTo>
                <a:cubicBezTo>
                  <a:pt x="3974" y="426"/>
                  <a:pt x="3966" y="421"/>
                  <a:pt x="3959" y="421"/>
                </a:cubicBezTo>
                <a:cubicBezTo>
                  <a:pt x="3959" y="421"/>
                  <a:pt x="3959" y="421"/>
                  <a:pt x="3959" y="421"/>
                </a:cubicBezTo>
                <a:moveTo>
                  <a:pt x="3993" y="421"/>
                </a:moveTo>
                <a:cubicBezTo>
                  <a:pt x="3986" y="421"/>
                  <a:pt x="3983" y="425"/>
                  <a:pt x="3986" y="431"/>
                </a:cubicBezTo>
                <a:cubicBezTo>
                  <a:pt x="3989" y="437"/>
                  <a:pt x="3997" y="441"/>
                  <a:pt x="4004" y="441"/>
                </a:cubicBezTo>
                <a:cubicBezTo>
                  <a:pt x="4011" y="441"/>
                  <a:pt x="4014" y="437"/>
                  <a:pt x="4011" y="431"/>
                </a:cubicBezTo>
                <a:cubicBezTo>
                  <a:pt x="4008" y="425"/>
                  <a:pt x="4000" y="421"/>
                  <a:pt x="3993" y="421"/>
                </a:cubicBezTo>
                <a:cubicBezTo>
                  <a:pt x="3993" y="421"/>
                  <a:pt x="3993" y="421"/>
                  <a:pt x="3993" y="421"/>
                </a:cubicBezTo>
                <a:moveTo>
                  <a:pt x="4028" y="420"/>
                </a:moveTo>
                <a:cubicBezTo>
                  <a:pt x="4021" y="421"/>
                  <a:pt x="4018" y="425"/>
                  <a:pt x="4021" y="431"/>
                </a:cubicBezTo>
                <a:cubicBezTo>
                  <a:pt x="4025" y="437"/>
                  <a:pt x="4033" y="441"/>
                  <a:pt x="4039" y="441"/>
                </a:cubicBezTo>
                <a:cubicBezTo>
                  <a:pt x="4046" y="441"/>
                  <a:pt x="4049" y="436"/>
                  <a:pt x="4046" y="431"/>
                </a:cubicBezTo>
                <a:cubicBezTo>
                  <a:pt x="4042" y="425"/>
                  <a:pt x="4035" y="420"/>
                  <a:pt x="4028" y="420"/>
                </a:cubicBezTo>
                <a:cubicBezTo>
                  <a:pt x="4028" y="420"/>
                  <a:pt x="4028" y="420"/>
                  <a:pt x="4028" y="420"/>
                </a:cubicBezTo>
                <a:moveTo>
                  <a:pt x="4063" y="420"/>
                </a:moveTo>
                <a:cubicBezTo>
                  <a:pt x="4056" y="420"/>
                  <a:pt x="4053" y="425"/>
                  <a:pt x="4056" y="431"/>
                </a:cubicBezTo>
                <a:cubicBezTo>
                  <a:pt x="4060" y="436"/>
                  <a:pt x="4068" y="441"/>
                  <a:pt x="4074" y="441"/>
                </a:cubicBezTo>
                <a:cubicBezTo>
                  <a:pt x="4081" y="441"/>
                  <a:pt x="4084" y="436"/>
                  <a:pt x="4081" y="430"/>
                </a:cubicBezTo>
                <a:cubicBezTo>
                  <a:pt x="4077" y="425"/>
                  <a:pt x="4069" y="420"/>
                  <a:pt x="4063" y="420"/>
                </a:cubicBezTo>
                <a:cubicBezTo>
                  <a:pt x="4063" y="420"/>
                  <a:pt x="4063" y="420"/>
                  <a:pt x="4063" y="420"/>
                </a:cubicBezTo>
                <a:moveTo>
                  <a:pt x="339" y="419"/>
                </a:moveTo>
                <a:cubicBezTo>
                  <a:pt x="332" y="420"/>
                  <a:pt x="323" y="424"/>
                  <a:pt x="319" y="430"/>
                </a:cubicBezTo>
                <a:cubicBezTo>
                  <a:pt x="314" y="435"/>
                  <a:pt x="316" y="440"/>
                  <a:pt x="323" y="440"/>
                </a:cubicBezTo>
                <a:cubicBezTo>
                  <a:pt x="330" y="440"/>
                  <a:pt x="339" y="435"/>
                  <a:pt x="343" y="430"/>
                </a:cubicBezTo>
                <a:cubicBezTo>
                  <a:pt x="347" y="424"/>
                  <a:pt x="346" y="419"/>
                  <a:pt x="339" y="419"/>
                </a:cubicBezTo>
                <a:cubicBezTo>
                  <a:pt x="339" y="419"/>
                  <a:pt x="339" y="419"/>
                  <a:pt x="339" y="419"/>
                </a:cubicBezTo>
                <a:moveTo>
                  <a:pt x="373" y="419"/>
                </a:moveTo>
                <a:cubicBezTo>
                  <a:pt x="367" y="419"/>
                  <a:pt x="358" y="424"/>
                  <a:pt x="353" y="429"/>
                </a:cubicBezTo>
                <a:cubicBezTo>
                  <a:pt x="349" y="435"/>
                  <a:pt x="351" y="440"/>
                  <a:pt x="357" y="439"/>
                </a:cubicBezTo>
                <a:cubicBezTo>
                  <a:pt x="364" y="439"/>
                  <a:pt x="373" y="435"/>
                  <a:pt x="377" y="429"/>
                </a:cubicBezTo>
                <a:cubicBezTo>
                  <a:pt x="382" y="424"/>
                  <a:pt x="380" y="419"/>
                  <a:pt x="373" y="419"/>
                </a:cubicBezTo>
                <a:cubicBezTo>
                  <a:pt x="373" y="419"/>
                  <a:pt x="373" y="419"/>
                  <a:pt x="373" y="419"/>
                </a:cubicBezTo>
                <a:moveTo>
                  <a:pt x="408" y="419"/>
                </a:moveTo>
                <a:cubicBezTo>
                  <a:pt x="401" y="419"/>
                  <a:pt x="392" y="424"/>
                  <a:pt x="388" y="429"/>
                </a:cubicBezTo>
                <a:cubicBezTo>
                  <a:pt x="384" y="435"/>
                  <a:pt x="385" y="439"/>
                  <a:pt x="392" y="439"/>
                </a:cubicBezTo>
                <a:cubicBezTo>
                  <a:pt x="399" y="439"/>
                  <a:pt x="408" y="435"/>
                  <a:pt x="412" y="429"/>
                </a:cubicBezTo>
                <a:cubicBezTo>
                  <a:pt x="416" y="423"/>
                  <a:pt x="414" y="419"/>
                  <a:pt x="408" y="419"/>
                </a:cubicBezTo>
                <a:cubicBezTo>
                  <a:pt x="408" y="419"/>
                  <a:pt x="408" y="419"/>
                  <a:pt x="408" y="419"/>
                </a:cubicBezTo>
                <a:moveTo>
                  <a:pt x="442" y="419"/>
                </a:moveTo>
                <a:cubicBezTo>
                  <a:pt x="435" y="419"/>
                  <a:pt x="427" y="423"/>
                  <a:pt x="422" y="429"/>
                </a:cubicBezTo>
                <a:cubicBezTo>
                  <a:pt x="418" y="435"/>
                  <a:pt x="420" y="439"/>
                  <a:pt x="427" y="439"/>
                </a:cubicBezTo>
                <a:cubicBezTo>
                  <a:pt x="433" y="439"/>
                  <a:pt x="442" y="434"/>
                  <a:pt x="447" y="429"/>
                </a:cubicBezTo>
                <a:cubicBezTo>
                  <a:pt x="451" y="423"/>
                  <a:pt x="449" y="419"/>
                  <a:pt x="442" y="419"/>
                </a:cubicBezTo>
                <a:cubicBezTo>
                  <a:pt x="442" y="419"/>
                  <a:pt x="442" y="419"/>
                  <a:pt x="442" y="419"/>
                </a:cubicBezTo>
                <a:moveTo>
                  <a:pt x="477" y="418"/>
                </a:moveTo>
                <a:cubicBezTo>
                  <a:pt x="470" y="419"/>
                  <a:pt x="461" y="423"/>
                  <a:pt x="457" y="429"/>
                </a:cubicBezTo>
                <a:cubicBezTo>
                  <a:pt x="453" y="434"/>
                  <a:pt x="455" y="439"/>
                  <a:pt x="462" y="439"/>
                </a:cubicBezTo>
                <a:cubicBezTo>
                  <a:pt x="468" y="439"/>
                  <a:pt x="477" y="434"/>
                  <a:pt x="481" y="429"/>
                </a:cubicBezTo>
                <a:cubicBezTo>
                  <a:pt x="485" y="423"/>
                  <a:pt x="483" y="418"/>
                  <a:pt x="477" y="418"/>
                </a:cubicBezTo>
                <a:cubicBezTo>
                  <a:pt x="477" y="418"/>
                  <a:pt x="477" y="418"/>
                  <a:pt x="477" y="418"/>
                </a:cubicBezTo>
                <a:moveTo>
                  <a:pt x="512" y="418"/>
                </a:moveTo>
                <a:cubicBezTo>
                  <a:pt x="506" y="418"/>
                  <a:pt x="497" y="423"/>
                  <a:pt x="493" y="428"/>
                </a:cubicBezTo>
                <a:cubicBezTo>
                  <a:pt x="489" y="434"/>
                  <a:pt x="491" y="439"/>
                  <a:pt x="497" y="438"/>
                </a:cubicBezTo>
                <a:cubicBezTo>
                  <a:pt x="504" y="438"/>
                  <a:pt x="513" y="434"/>
                  <a:pt x="517" y="428"/>
                </a:cubicBezTo>
                <a:cubicBezTo>
                  <a:pt x="521" y="423"/>
                  <a:pt x="519" y="418"/>
                  <a:pt x="512" y="418"/>
                </a:cubicBezTo>
                <a:cubicBezTo>
                  <a:pt x="512" y="418"/>
                  <a:pt x="512" y="418"/>
                  <a:pt x="512" y="418"/>
                </a:cubicBezTo>
                <a:moveTo>
                  <a:pt x="546" y="418"/>
                </a:moveTo>
                <a:cubicBezTo>
                  <a:pt x="540" y="418"/>
                  <a:pt x="531" y="423"/>
                  <a:pt x="527" y="428"/>
                </a:cubicBezTo>
                <a:cubicBezTo>
                  <a:pt x="523" y="434"/>
                  <a:pt x="525" y="438"/>
                  <a:pt x="532" y="438"/>
                </a:cubicBezTo>
                <a:cubicBezTo>
                  <a:pt x="539" y="438"/>
                  <a:pt x="547" y="434"/>
                  <a:pt x="551" y="428"/>
                </a:cubicBezTo>
                <a:cubicBezTo>
                  <a:pt x="555" y="422"/>
                  <a:pt x="553" y="418"/>
                  <a:pt x="547" y="418"/>
                </a:cubicBezTo>
                <a:cubicBezTo>
                  <a:pt x="547" y="418"/>
                  <a:pt x="547" y="418"/>
                  <a:pt x="546" y="418"/>
                </a:cubicBezTo>
                <a:moveTo>
                  <a:pt x="581" y="418"/>
                </a:moveTo>
                <a:cubicBezTo>
                  <a:pt x="574" y="418"/>
                  <a:pt x="566" y="422"/>
                  <a:pt x="562" y="428"/>
                </a:cubicBezTo>
                <a:cubicBezTo>
                  <a:pt x="558" y="434"/>
                  <a:pt x="560" y="438"/>
                  <a:pt x="567" y="438"/>
                </a:cubicBezTo>
                <a:cubicBezTo>
                  <a:pt x="573" y="438"/>
                  <a:pt x="582" y="433"/>
                  <a:pt x="586" y="428"/>
                </a:cubicBezTo>
                <a:cubicBezTo>
                  <a:pt x="590" y="422"/>
                  <a:pt x="588" y="418"/>
                  <a:pt x="581" y="418"/>
                </a:cubicBezTo>
                <a:cubicBezTo>
                  <a:pt x="581" y="418"/>
                  <a:pt x="581" y="418"/>
                  <a:pt x="581" y="418"/>
                </a:cubicBezTo>
                <a:moveTo>
                  <a:pt x="616" y="417"/>
                </a:moveTo>
                <a:cubicBezTo>
                  <a:pt x="609" y="418"/>
                  <a:pt x="601" y="422"/>
                  <a:pt x="597" y="428"/>
                </a:cubicBezTo>
                <a:cubicBezTo>
                  <a:pt x="593" y="433"/>
                  <a:pt x="595" y="438"/>
                  <a:pt x="602" y="438"/>
                </a:cubicBezTo>
                <a:cubicBezTo>
                  <a:pt x="609" y="438"/>
                  <a:pt x="617" y="433"/>
                  <a:pt x="621" y="428"/>
                </a:cubicBezTo>
                <a:cubicBezTo>
                  <a:pt x="625" y="422"/>
                  <a:pt x="623" y="417"/>
                  <a:pt x="616" y="417"/>
                </a:cubicBezTo>
                <a:cubicBezTo>
                  <a:pt x="616" y="417"/>
                  <a:pt x="616" y="417"/>
                  <a:pt x="616" y="417"/>
                </a:cubicBezTo>
                <a:moveTo>
                  <a:pt x="650" y="417"/>
                </a:moveTo>
                <a:cubicBezTo>
                  <a:pt x="643" y="417"/>
                  <a:pt x="635" y="422"/>
                  <a:pt x="631" y="427"/>
                </a:cubicBezTo>
                <a:cubicBezTo>
                  <a:pt x="627" y="433"/>
                  <a:pt x="630" y="438"/>
                  <a:pt x="636" y="437"/>
                </a:cubicBezTo>
                <a:cubicBezTo>
                  <a:pt x="643" y="437"/>
                  <a:pt x="652" y="433"/>
                  <a:pt x="655" y="427"/>
                </a:cubicBezTo>
                <a:cubicBezTo>
                  <a:pt x="659" y="422"/>
                  <a:pt x="657" y="417"/>
                  <a:pt x="650" y="417"/>
                </a:cubicBezTo>
                <a:cubicBezTo>
                  <a:pt x="650" y="417"/>
                  <a:pt x="650" y="417"/>
                  <a:pt x="650" y="417"/>
                </a:cubicBezTo>
                <a:moveTo>
                  <a:pt x="685" y="417"/>
                </a:moveTo>
                <a:cubicBezTo>
                  <a:pt x="678" y="417"/>
                  <a:pt x="669" y="422"/>
                  <a:pt x="666" y="427"/>
                </a:cubicBezTo>
                <a:cubicBezTo>
                  <a:pt x="662" y="433"/>
                  <a:pt x="664" y="437"/>
                  <a:pt x="671" y="437"/>
                </a:cubicBezTo>
                <a:cubicBezTo>
                  <a:pt x="678" y="437"/>
                  <a:pt x="686" y="433"/>
                  <a:pt x="690" y="427"/>
                </a:cubicBezTo>
                <a:cubicBezTo>
                  <a:pt x="694" y="421"/>
                  <a:pt x="691" y="417"/>
                  <a:pt x="685" y="417"/>
                </a:cubicBezTo>
                <a:cubicBezTo>
                  <a:pt x="685" y="417"/>
                  <a:pt x="685" y="417"/>
                  <a:pt x="685" y="417"/>
                </a:cubicBezTo>
                <a:moveTo>
                  <a:pt x="719" y="417"/>
                </a:moveTo>
                <a:cubicBezTo>
                  <a:pt x="712" y="417"/>
                  <a:pt x="704" y="421"/>
                  <a:pt x="700" y="427"/>
                </a:cubicBezTo>
                <a:cubicBezTo>
                  <a:pt x="696" y="433"/>
                  <a:pt x="699" y="437"/>
                  <a:pt x="706" y="437"/>
                </a:cubicBezTo>
                <a:cubicBezTo>
                  <a:pt x="712" y="437"/>
                  <a:pt x="721" y="432"/>
                  <a:pt x="724" y="427"/>
                </a:cubicBezTo>
                <a:cubicBezTo>
                  <a:pt x="728" y="421"/>
                  <a:pt x="726" y="417"/>
                  <a:pt x="719" y="417"/>
                </a:cubicBezTo>
                <a:cubicBezTo>
                  <a:pt x="719" y="417"/>
                  <a:pt x="719" y="417"/>
                  <a:pt x="719" y="417"/>
                </a:cubicBezTo>
                <a:moveTo>
                  <a:pt x="753" y="416"/>
                </a:moveTo>
                <a:cubicBezTo>
                  <a:pt x="747" y="417"/>
                  <a:pt x="738" y="421"/>
                  <a:pt x="735" y="427"/>
                </a:cubicBezTo>
                <a:cubicBezTo>
                  <a:pt x="731" y="432"/>
                  <a:pt x="734" y="437"/>
                  <a:pt x="740" y="437"/>
                </a:cubicBezTo>
                <a:cubicBezTo>
                  <a:pt x="747" y="437"/>
                  <a:pt x="755" y="432"/>
                  <a:pt x="759" y="427"/>
                </a:cubicBezTo>
                <a:cubicBezTo>
                  <a:pt x="763" y="421"/>
                  <a:pt x="760" y="416"/>
                  <a:pt x="753" y="416"/>
                </a:cubicBezTo>
                <a:cubicBezTo>
                  <a:pt x="753" y="416"/>
                  <a:pt x="753" y="416"/>
                  <a:pt x="753" y="416"/>
                </a:cubicBezTo>
                <a:moveTo>
                  <a:pt x="788" y="416"/>
                </a:moveTo>
                <a:cubicBezTo>
                  <a:pt x="782" y="416"/>
                  <a:pt x="773" y="421"/>
                  <a:pt x="770" y="426"/>
                </a:cubicBezTo>
                <a:cubicBezTo>
                  <a:pt x="766" y="432"/>
                  <a:pt x="769" y="437"/>
                  <a:pt x="775" y="437"/>
                </a:cubicBezTo>
                <a:cubicBezTo>
                  <a:pt x="782" y="436"/>
                  <a:pt x="790" y="432"/>
                  <a:pt x="794" y="426"/>
                </a:cubicBezTo>
                <a:cubicBezTo>
                  <a:pt x="797" y="421"/>
                  <a:pt x="795" y="416"/>
                  <a:pt x="788" y="416"/>
                </a:cubicBezTo>
                <a:cubicBezTo>
                  <a:pt x="788" y="416"/>
                  <a:pt x="788" y="416"/>
                  <a:pt x="788" y="416"/>
                </a:cubicBezTo>
                <a:moveTo>
                  <a:pt x="822" y="416"/>
                </a:moveTo>
                <a:cubicBezTo>
                  <a:pt x="816" y="416"/>
                  <a:pt x="808" y="421"/>
                  <a:pt x="804" y="426"/>
                </a:cubicBezTo>
                <a:cubicBezTo>
                  <a:pt x="801" y="432"/>
                  <a:pt x="803" y="436"/>
                  <a:pt x="810" y="436"/>
                </a:cubicBezTo>
                <a:cubicBezTo>
                  <a:pt x="817" y="436"/>
                  <a:pt x="825" y="432"/>
                  <a:pt x="828" y="426"/>
                </a:cubicBezTo>
                <a:cubicBezTo>
                  <a:pt x="832" y="420"/>
                  <a:pt x="829" y="416"/>
                  <a:pt x="823" y="416"/>
                </a:cubicBezTo>
                <a:cubicBezTo>
                  <a:pt x="823" y="416"/>
                  <a:pt x="822" y="416"/>
                  <a:pt x="822" y="416"/>
                </a:cubicBezTo>
                <a:moveTo>
                  <a:pt x="855" y="416"/>
                </a:moveTo>
                <a:cubicBezTo>
                  <a:pt x="848" y="416"/>
                  <a:pt x="840" y="420"/>
                  <a:pt x="837" y="426"/>
                </a:cubicBezTo>
                <a:cubicBezTo>
                  <a:pt x="833" y="432"/>
                  <a:pt x="836" y="436"/>
                  <a:pt x="843" y="436"/>
                </a:cubicBezTo>
                <a:cubicBezTo>
                  <a:pt x="850" y="436"/>
                  <a:pt x="858" y="431"/>
                  <a:pt x="861" y="426"/>
                </a:cubicBezTo>
                <a:cubicBezTo>
                  <a:pt x="864" y="420"/>
                  <a:pt x="862" y="416"/>
                  <a:pt x="855" y="416"/>
                </a:cubicBezTo>
                <a:cubicBezTo>
                  <a:pt x="855" y="416"/>
                  <a:pt x="855" y="416"/>
                  <a:pt x="855" y="416"/>
                </a:cubicBezTo>
                <a:moveTo>
                  <a:pt x="890" y="415"/>
                </a:moveTo>
                <a:cubicBezTo>
                  <a:pt x="883" y="416"/>
                  <a:pt x="875" y="420"/>
                  <a:pt x="872" y="426"/>
                </a:cubicBezTo>
                <a:cubicBezTo>
                  <a:pt x="868" y="431"/>
                  <a:pt x="871" y="436"/>
                  <a:pt x="878" y="436"/>
                </a:cubicBezTo>
                <a:cubicBezTo>
                  <a:pt x="885" y="436"/>
                  <a:pt x="893" y="431"/>
                  <a:pt x="896" y="426"/>
                </a:cubicBezTo>
                <a:cubicBezTo>
                  <a:pt x="899" y="420"/>
                  <a:pt x="897" y="415"/>
                  <a:pt x="890" y="415"/>
                </a:cubicBezTo>
                <a:cubicBezTo>
                  <a:pt x="890" y="415"/>
                  <a:pt x="890" y="415"/>
                  <a:pt x="890" y="415"/>
                </a:cubicBezTo>
                <a:moveTo>
                  <a:pt x="924" y="415"/>
                </a:moveTo>
                <a:cubicBezTo>
                  <a:pt x="917" y="415"/>
                  <a:pt x="909" y="420"/>
                  <a:pt x="906" y="425"/>
                </a:cubicBezTo>
                <a:cubicBezTo>
                  <a:pt x="903" y="431"/>
                  <a:pt x="906" y="436"/>
                  <a:pt x="912" y="436"/>
                </a:cubicBezTo>
                <a:cubicBezTo>
                  <a:pt x="919" y="435"/>
                  <a:pt x="927" y="431"/>
                  <a:pt x="930" y="425"/>
                </a:cubicBezTo>
                <a:cubicBezTo>
                  <a:pt x="934" y="420"/>
                  <a:pt x="931" y="415"/>
                  <a:pt x="924" y="415"/>
                </a:cubicBezTo>
                <a:cubicBezTo>
                  <a:pt x="924" y="415"/>
                  <a:pt x="924" y="415"/>
                  <a:pt x="924" y="415"/>
                </a:cubicBezTo>
                <a:moveTo>
                  <a:pt x="959" y="415"/>
                </a:moveTo>
                <a:cubicBezTo>
                  <a:pt x="952" y="415"/>
                  <a:pt x="944" y="420"/>
                  <a:pt x="941" y="425"/>
                </a:cubicBezTo>
                <a:cubicBezTo>
                  <a:pt x="938" y="431"/>
                  <a:pt x="940" y="435"/>
                  <a:pt x="947" y="435"/>
                </a:cubicBezTo>
                <a:cubicBezTo>
                  <a:pt x="954" y="435"/>
                  <a:pt x="962" y="431"/>
                  <a:pt x="965" y="425"/>
                </a:cubicBezTo>
                <a:cubicBezTo>
                  <a:pt x="968" y="419"/>
                  <a:pt x="965" y="415"/>
                  <a:pt x="959" y="415"/>
                </a:cubicBezTo>
                <a:cubicBezTo>
                  <a:pt x="959" y="415"/>
                  <a:pt x="959" y="415"/>
                  <a:pt x="959" y="415"/>
                </a:cubicBezTo>
                <a:moveTo>
                  <a:pt x="993" y="415"/>
                </a:moveTo>
                <a:cubicBezTo>
                  <a:pt x="986" y="415"/>
                  <a:pt x="978" y="419"/>
                  <a:pt x="975" y="425"/>
                </a:cubicBezTo>
                <a:cubicBezTo>
                  <a:pt x="972" y="431"/>
                  <a:pt x="975" y="435"/>
                  <a:pt x="982" y="435"/>
                </a:cubicBezTo>
                <a:cubicBezTo>
                  <a:pt x="988" y="435"/>
                  <a:pt x="996" y="430"/>
                  <a:pt x="999" y="425"/>
                </a:cubicBezTo>
                <a:cubicBezTo>
                  <a:pt x="1002" y="419"/>
                  <a:pt x="999" y="415"/>
                  <a:pt x="993" y="415"/>
                </a:cubicBezTo>
                <a:cubicBezTo>
                  <a:pt x="993" y="415"/>
                  <a:pt x="993" y="415"/>
                  <a:pt x="993" y="415"/>
                </a:cubicBezTo>
                <a:moveTo>
                  <a:pt x="1027" y="415"/>
                </a:moveTo>
                <a:cubicBezTo>
                  <a:pt x="1021" y="415"/>
                  <a:pt x="1013" y="419"/>
                  <a:pt x="1010" y="425"/>
                </a:cubicBezTo>
                <a:cubicBezTo>
                  <a:pt x="1007" y="430"/>
                  <a:pt x="1010" y="435"/>
                  <a:pt x="1016" y="435"/>
                </a:cubicBezTo>
                <a:cubicBezTo>
                  <a:pt x="1023" y="435"/>
                  <a:pt x="1031" y="430"/>
                  <a:pt x="1034" y="425"/>
                </a:cubicBezTo>
                <a:cubicBezTo>
                  <a:pt x="1037" y="419"/>
                  <a:pt x="1034" y="415"/>
                  <a:pt x="1027" y="415"/>
                </a:cubicBezTo>
                <a:cubicBezTo>
                  <a:pt x="1027" y="415"/>
                  <a:pt x="1027" y="415"/>
                  <a:pt x="1027" y="415"/>
                </a:cubicBezTo>
                <a:moveTo>
                  <a:pt x="1062" y="414"/>
                </a:moveTo>
                <a:cubicBezTo>
                  <a:pt x="1055" y="414"/>
                  <a:pt x="1048" y="419"/>
                  <a:pt x="1045" y="424"/>
                </a:cubicBezTo>
                <a:cubicBezTo>
                  <a:pt x="1042" y="430"/>
                  <a:pt x="1045" y="435"/>
                  <a:pt x="1051" y="435"/>
                </a:cubicBezTo>
                <a:cubicBezTo>
                  <a:pt x="1058" y="435"/>
                  <a:pt x="1066" y="430"/>
                  <a:pt x="1069" y="424"/>
                </a:cubicBezTo>
                <a:cubicBezTo>
                  <a:pt x="1072" y="419"/>
                  <a:pt x="1069" y="414"/>
                  <a:pt x="1062" y="414"/>
                </a:cubicBezTo>
                <a:cubicBezTo>
                  <a:pt x="1062" y="414"/>
                  <a:pt x="1062" y="414"/>
                  <a:pt x="1062" y="414"/>
                </a:cubicBezTo>
                <a:moveTo>
                  <a:pt x="1096" y="414"/>
                </a:moveTo>
                <a:cubicBezTo>
                  <a:pt x="1090" y="414"/>
                  <a:pt x="1082" y="419"/>
                  <a:pt x="1079" y="424"/>
                </a:cubicBezTo>
                <a:cubicBezTo>
                  <a:pt x="1076" y="430"/>
                  <a:pt x="1079" y="434"/>
                  <a:pt x="1086" y="434"/>
                </a:cubicBezTo>
                <a:cubicBezTo>
                  <a:pt x="1093" y="434"/>
                  <a:pt x="1100" y="430"/>
                  <a:pt x="1103" y="424"/>
                </a:cubicBezTo>
                <a:cubicBezTo>
                  <a:pt x="1106" y="419"/>
                  <a:pt x="1103" y="414"/>
                  <a:pt x="1096" y="414"/>
                </a:cubicBezTo>
                <a:cubicBezTo>
                  <a:pt x="1096" y="414"/>
                  <a:pt x="1096" y="414"/>
                  <a:pt x="1096" y="414"/>
                </a:cubicBezTo>
                <a:moveTo>
                  <a:pt x="1130" y="414"/>
                </a:moveTo>
                <a:cubicBezTo>
                  <a:pt x="1123" y="414"/>
                  <a:pt x="1116" y="418"/>
                  <a:pt x="1113" y="424"/>
                </a:cubicBezTo>
                <a:cubicBezTo>
                  <a:pt x="1110" y="430"/>
                  <a:pt x="1113" y="434"/>
                  <a:pt x="1120" y="434"/>
                </a:cubicBezTo>
                <a:cubicBezTo>
                  <a:pt x="1127" y="434"/>
                  <a:pt x="1134" y="429"/>
                  <a:pt x="1137" y="424"/>
                </a:cubicBezTo>
                <a:cubicBezTo>
                  <a:pt x="1140" y="418"/>
                  <a:pt x="1137" y="414"/>
                  <a:pt x="1130" y="414"/>
                </a:cubicBezTo>
                <a:cubicBezTo>
                  <a:pt x="1130" y="414"/>
                  <a:pt x="1130" y="414"/>
                  <a:pt x="1130" y="414"/>
                </a:cubicBezTo>
                <a:moveTo>
                  <a:pt x="1269" y="413"/>
                </a:moveTo>
                <a:cubicBezTo>
                  <a:pt x="1263" y="413"/>
                  <a:pt x="1255" y="417"/>
                  <a:pt x="1253" y="423"/>
                </a:cubicBezTo>
                <a:cubicBezTo>
                  <a:pt x="1250" y="429"/>
                  <a:pt x="1253" y="433"/>
                  <a:pt x="1260" y="433"/>
                </a:cubicBezTo>
                <a:cubicBezTo>
                  <a:pt x="1267" y="433"/>
                  <a:pt x="1274" y="428"/>
                  <a:pt x="1277" y="423"/>
                </a:cubicBezTo>
                <a:cubicBezTo>
                  <a:pt x="1279" y="417"/>
                  <a:pt x="1276" y="413"/>
                  <a:pt x="1269" y="413"/>
                </a:cubicBezTo>
                <a:cubicBezTo>
                  <a:pt x="1269" y="413"/>
                  <a:pt x="1269" y="413"/>
                  <a:pt x="1269" y="413"/>
                </a:cubicBezTo>
                <a:moveTo>
                  <a:pt x="2093" y="407"/>
                </a:moveTo>
                <a:cubicBezTo>
                  <a:pt x="2086" y="408"/>
                  <a:pt x="2080" y="412"/>
                  <a:pt x="2079" y="418"/>
                </a:cubicBezTo>
                <a:cubicBezTo>
                  <a:pt x="2078" y="423"/>
                  <a:pt x="2083" y="428"/>
                  <a:pt x="2090" y="428"/>
                </a:cubicBezTo>
                <a:cubicBezTo>
                  <a:pt x="2097" y="428"/>
                  <a:pt x="2103" y="423"/>
                  <a:pt x="2103" y="418"/>
                </a:cubicBezTo>
                <a:cubicBezTo>
                  <a:pt x="2104" y="412"/>
                  <a:pt x="2100" y="407"/>
                  <a:pt x="2093" y="407"/>
                </a:cubicBezTo>
                <a:cubicBezTo>
                  <a:pt x="2093" y="407"/>
                  <a:pt x="2093" y="407"/>
                  <a:pt x="2093" y="407"/>
                </a:cubicBezTo>
                <a:moveTo>
                  <a:pt x="2126" y="407"/>
                </a:moveTo>
                <a:cubicBezTo>
                  <a:pt x="2119" y="407"/>
                  <a:pt x="2113" y="412"/>
                  <a:pt x="2112" y="418"/>
                </a:cubicBezTo>
                <a:cubicBezTo>
                  <a:pt x="2111" y="423"/>
                  <a:pt x="2116" y="428"/>
                  <a:pt x="2123" y="428"/>
                </a:cubicBezTo>
                <a:cubicBezTo>
                  <a:pt x="2130" y="428"/>
                  <a:pt x="2136" y="423"/>
                  <a:pt x="2136" y="417"/>
                </a:cubicBezTo>
                <a:cubicBezTo>
                  <a:pt x="2137" y="412"/>
                  <a:pt x="2132" y="407"/>
                  <a:pt x="2126" y="407"/>
                </a:cubicBezTo>
                <a:cubicBezTo>
                  <a:pt x="2126" y="407"/>
                  <a:pt x="2126" y="407"/>
                  <a:pt x="2126" y="407"/>
                </a:cubicBezTo>
                <a:moveTo>
                  <a:pt x="2160" y="407"/>
                </a:moveTo>
                <a:cubicBezTo>
                  <a:pt x="2154" y="407"/>
                  <a:pt x="2148" y="412"/>
                  <a:pt x="2147" y="417"/>
                </a:cubicBezTo>
                <a:cubicBezTo>
                  <a:pt x="2146" y="423"/>
                  <a:pt x="2151" y="427"/>
                  <a:pt x="2158" y="427"/>
                </a:cubicBezTo>
                <a:cubicBezTo>
                  <a:pt x="2165" y="427"/>
                  <a:pt x="2171" y="423"/>
                  <a:pt x="2171" y="417"/>
                </a:cubicBezTo>
                <a:cubicBezTo>
                  <a:pt x="2172" y="412"/>
                  <a:pt x="2167" y="407"/>
                  <a:pt x="2160" y="407"/>
                </a:cubicBezTo>
                <a:cubicBezTo>
                  <a:pt x="2160" y="407"/>
                  <a:pt x="2160" y="407"/>
                  <a:pt x="2160" y="407"/>
                </a:cubicBezTo>
                <a:moveTo>
                  <a:pt x="2197" y="403"/>
                </a:moveTo>
                <a:cubicBezTo>
                  <a:pt x="2190" y="403"/>
                  <a:pt x="2184" y="408"/>
                  <a:pt x="2184" y="413"/>
                </a:cubicBezTo>
                <a:cubicBezTo>
                  <a:pt x="2183" y="419"/>
                  <a:pt x="2188" y="424"/>
                  <a:pt x="2195" y="424"/>
                </a:cubicBezTo>
                <a:cubicBezTo>
                  <a:pt x="2201" y="424"/>
                  <a:pt x="2207" y="419"/>
                  <a:pt x="2208" y="413"/>
                </a:cubicBezTo>
                <a:cubicBezTo>
                  <a:pt x="2209" y="408"/>
                  <a:pt x="2204" y="403"/>
                  <a:pt x="2197" y="403"/>
                </a:cubicBezTo>
                <a:cubicBezTo>
                  <a:pt x="2197" y="403"/>
                  <a:pt x="2197" y="403"/>
                  <a:pt x="2197" y="403"/>
                </a:cubicBezTo>
                <a:moveTo>
                  <a:pt x="2232" y="403"/>
                </a:moveTo>
                <a:cubicBezTo>
                  <a:pt x="2226" y="403"/>
                  <a:pt x="2220" y="408"/>
                  <a:pt x="2219" y="413"/>
                </a:cubicBezTo>
                <a:cubicBezTo>
                  <a:pt x="2219" y="419"/>
                  <a:pt x="2223" y="423"/>
                  <a:pt x="2230" y="423"/>
                </a:cubicBezTo>
                <a:cubicBezTo>
                  <a:pt x="2237" y="423"/>
                  <a:pt x="2243" y="419"/>
                  <a:pt x="2243" y="413"/>
                </a:cubicBezTo>
                <a:cubicBezTo>
                  <a:pt x="2244" y="407"/>
                  <a:pt x="2239" y="403"/>
                  <a:pt x="2232" y="403"/>
                </a:cubicBezTo>
                <a:cubicBezTo>
                  <a:pt x="2232" y="403"/>
                  <a:pt x="2232" y="403"/>
                  <a:pt x="2232" y="403"/>
                </a:cubicBezTo>
                <a:moveTo>
                  <a:pt x="2266" y="403"/>
                </a:moveTo>
                <a:cubicBezTo>
                  <a:pt x="2260" y="403"/>
                  <a:pt x="2254" y="407"/>
                  <a:pt x="2253" y="413"/>
                </a:cubicBezTo>
                <a:cubicBezTo>
                  <a:pt x="2253" y="419"/>
                  <a:pt x="2258" y="423"/>
                  <a:pt x="2264" y="423"/>
                </a:cubicBezTo>
                <a:cubicBezTo>
                  <a:pt x="2271" y="423"/>
                  <a:pt x="2277" y="418"/>
                  <a:pt x="2277" y="413"/>
                </a:cubicBezTo>
                <a:cubicBezTo>
                  <a:pt x="2278" y="407"/>
                  <a:pt x="2273" y="403"/>
                  <a:pt x="2266" y="403"/>
                </a:cubicBezTo>
                <a:cubicBezTo>
                  <a:pt x="2266" y="403"/>
                  <a:pt x="2266" y="403"/>
                  <a:pt x="2266" y="403"/>
                </a:cubicBezTo>
                <a:moveTo>
                  <a:pt x="2300" y="402"/>
                </a:moveTo>
                <a:cubicBezTo>
                  <a:pt x="2293" y="402"/>
                  <a:pt x="2288" y="407"/>
                  <a:pt x="2287" y="413"/>
                </a:cubicBezTo>
                <a:cubicBezTo>
                  <a:pt x="2287" y="418"/>
                  <a:pt x="2292" y="423"/>
                  <a:pt x="2299" y="423"/>
                </a:cubicBezTo>
                <a:cubicBezTo>
                  <a:pt x="2305" y="423"/>
                  <a:pt x="2311" y="418"/>
                  <a:pt x="2311" y="413"/>
                </a:cubicBezTo>
                <a:cubicBezTo>
                  <a:pt x="2312" y="407"/>
                  <a:pt x="2307" y="402"/>
                  <a:pt x="2300" y="402"/>
                </a:cubicBezTo>
                <a:cubicBezTo>
                  <a:pt x="2300" y="402"/>
                  <a:pt x="2300" y="402"/>
                  <a:pt x="2300" y="402"/>
                </a:cubicBezTo>
                <a:moveTo>
                  <a:pt x="2334" y="402"/>
                </a:moveTo>
                <a:cubicBezTo>
                  <a:pt x="2327" y="402"/>
                  <a:pt x="2322" y="407"/>
                  <a:pt x="2321" y="412"/>
                </a:cubicBezTo>
                <a:cubicBezTo>
                  <a:pt x="2321" y="418"/>
                  <a:pt x="2326" y="423"/>
                  <a:pt x="2333" y="423"/>
                </a:cubicBezTo>
                <a:cubicBezTo>
                  <a:pt x="2340" y="423"/>
                  <a:pt x="2345" y="418"/>
                  <a:pt x="2346" y="412"/>
                </a:cubicBezTo>
                <a:cubicBezTo>
                  <a:pt x="2346" y="407"/>
                  <a:pt x="2341" y="402"/>
                  <a:pt x="2334" y="402"/>
                </a:cubicBezTo>
                <a:cubicBezTo>
                  <a:pt x="2334" y="402"/>
                  <a:pt x="2334" y="402"/>
                  <a:pt x="2334" y="402"/>
                </a:cubicBezTo>
                <a:moveTo>
                  <a:pt x="2369" y="402"/>
                </a:moveTo>
                <a:cubicBezTo>
                  <a:pt x="2362" y="402"/>
                  <a:pt x="2356" y="407"/>
                  <a:pt x="2356" y="412"/>
                </a:cubicBezTo>
                <a:cubicBezTo>
                  <a:pt x="2356" y="418"/>
                  <a:pt x="2361" y="422"/>
                  <a:pt x="2368" y="422"/>
                </a:cubicBezTo>
                <a:cubicBezTo>
                  <a:pt x="2374" y="422"/>
                  <a:pt x="2380" y="418"/>
                  <a:pt x="2380" y="412"/>
                </a:cubicBezTo>
                <a:cubicBezTo>
                  <a:pt x="2380" y="406"/>
                  <a:pt x="2375" y="402"/>
                  <a:pt x="2369" y="402"/>
                </a:cubicBezTo>
                <a:cubicBezTo>
                  <a:pt x="2369" y="402"/>
                  <a:pt x="2369" y="402"/>
                  <a:pt x="2369" y="402"/>
                </a:cubicBezTo>
                <a:moveTo>
                  <a:pt x="2575" y="402"/>
                </a:moveTo>
                <a:cubicBezTo>
                  <a:pt x="2568" y="402"/>
                  <a:pt x="2563" y="406"/>
                  <a:pt x="2563" y="412"/>
                </a:cubicBezTo>
                <a:cubicBezTo>
                  <a:pt x="2563" y="418"/>
                  <a:pt x="2569" y="422"/>
                  <a:pt x="2575" y="422"/>
                </a:cubicBezTo>
                <a:cubicBezTo>
                  <a:pt x="2582" y="422"/>
                  <a:pt x="2587" y="418"/>
                  <a:pt x="2587" y="412"/>
                </a:cubicBezTo>
                <a:cubicBezTo>
                  <a:pt x="2587" y="406"/>
                  <a:pt x="2581" y="402"/>
                  <a:pt x="2575" y="402"/>
                </a:cubicBezTo>
                <a:cubicBezTo>
                  <a:pt x="2575" y="402"/>
                  <a:pt x="2575" y="402"/>
                  <a:pt x="2575" y="402"/>
                </a:cubicBezTo>
                <a:moveTo>
                  <a:pt x="2403" y="402"/>
                </a:moveTo>
                <a:cubicBezTo>
                  <a:pt x="2397" y="402"/>
                  <a:pt x="2391" y="406"/>
                  <a:pt x="2391" y="412"/>
                </a:cubicBezTo>
                <a:cubicBezTo>
                  <a:pt x="2391" y="418"/>
                  <a:pt x="2396" y="422"/>
                  <a:pt x="2402" y="422"/>
                </a:cubicBezTo>
                <a:cubicBezTo>
                  <a:pt x="2409" y="422"/>
                  <a:pt x="2415" y="417"/>
                  <a:pt x="2415" y="412"/>
                </a:cubicBezTo>
                <a:cubicBezTo>
                  <a:pt x="2415" y="406"/>
                  <a:pt x="2410" y="402"/>
                  <a:pt x="2403" y="402"/>
                </a:cubicBezTo>
                <a:cubicBezTo>
                  <a:pt x="2403" y="402"/>
                  <a:pt x="2403" y="402"/>
                  <a:pt x="2403" y="402"/>
                </a:cubicBezTo>
                <a:moveTo>
                  <a:pt x="2610" y="402"/>
                </a:moveTo>
                <a:cubicBezTo>
                  <a:pt x="2603" y="402"/>
                  <a:pt x="2598" y="406"/>
                  <a:pt x="2598" y="412"/>
                </a:cubicBezTo>
                <a:cubicBezTo>
                  <a:pt x="2598" y="417"/>
                  <a:pt x="2604" y="422"/>
                  <a:pt x="2610" y="422"/>
                </a:cubicBezTo>
                <a:cubicBezTo>
                  <a:pt x="2617" y="422"/>
                  <a:pt x="2622" y="417"/>
                  <a:pt x="2622" y="412"/>
                </a:cubicBezTo>
                <a:cubicBezTo>
                  <a:pt x="2622" y="406"/>
                  <a:pt x="2616" y="402"/>
                  <a:pt x="2610" y="402"/>
                </a:cubicBezTo>
                <a:cubicBezTo>
                  <a:pt x="2610" y="402"/>
                  <a:pt x="2610" y="402"/>
                  <a:pt x="2610" y="402"/>
                </a:cubicBezTo>
                <a:moveTo>
                  <a:pt x="2437" y="401"/>
                </a:moveTo>
                <a:cubicBezTo>
                  <a:pt x="2431" y="401"/>
                  <a:pt x="2425" y="406"/>
                  <a:pt x="2425" y="412"/>
                </a:cubicBezTo>
                <a:cubicBezTo>
                  <a:pt x="2425" y="417"/>
                  <a:pt x="2430" y="422"/>
                  <a:pt x="2437" y="422"/>
                </a:cubicBezTo>
                <a:cubicBezTo>
                  <a:pt x="2443" y="422"/>
                  <a:pt x="2449" y="417"/>
                  <a:pt x="2449" y="412"/>
                </a:cubicBezTo>
                <a:cubicBezTo>
                  <a:pt x="2449" y="406"/>
                  <a:pt x="2444" y="401"/>
                  <a:pt x="2437" y="401"/>
                </a:cubicBezTo>
                <a:cubicBezTo>
                  <a:pt x="2437" y="401"/>
                  <a:pt x="2437" y="401"/>
                  <a:pt x="2437" y="401"/>
                </a:cubicBezTo>
                <a:moveTo>
                  <a:pt x="2644" y="401"/>
                </a:moveTo>
                <a:cubicBezTo>
                  <a:pt x="2637" y="401"/>
                  <a:pt x="2632" y="406"/>
                  <a:pt x="2632" y="412"/>
                </a:cubicBezTo>
                <a:cubicBezTo>
                  <a:pt x="2632" y="417"/>
                  <a:pt x="2638" y="422"/>
                  <a:pt x="2645" y="422"/>
                </a:cubicBezTo>
                <a:cubicBezTo>
                  <a:pt x="2651" y="422"/>
                  <a:pt x="2657" y="417"/>
                  <a:pt x="2656" y="411"/>
                </a:cubicBezTo>
                <a:cubicBezTo>
                  <a:pt x="2656" y="406"/>
                  <a:pt x="2650" y="401"/>
                  <a:pt x="2644" y="401"/>
                </a:cubicBezTo>
                <a:cubicBezTo>
                  <a:pt x="2644" y="401"/>
                  <a:pt x="2644" y="401"/>
                  <a:pt x="2644" y="401"/>
                </a:cubicBezTo>
                <a:moveTo>
                  <a:pt x="2471" y="401"/>
                </a:moveTo>
                <a:cubicBezTo>
                  <a:pt x="2465" y="401"/>
                  <a:pt x="2459" y="406"/>
                  <a:pt x="2459" y="411"/>
                </a:cubicBezTo>
                <a:cubicBezTo>
                  <a:pt x="2459" y="417"/>
                  <a:pt x="2465" y="422"/>
                  <a:pt x="2471" y="422"/>
                </a:cubicBezTo>
                <a:cubicBezTo>
                  <a:pt x="2478" y="422"/>
                  <a:pt x="2483" y="417"/>
                  <a:pt x="2483" y="411"/>
                </a:cubicBezTo>
                <a:cubicBezTo>
                  <a:pt x="2483" y="406"/>
                  <a:pt x="2478" y="401"/>
                  <a:pt x="2472" y="401"/>
                </a:cubicBezTo>
                <a:cubicBezTo>
                  <a:pt x="2472" y="401"/>
                  <a:pt x="2472" y="401"/>
                  <a:pt x="2471" y="401"/>
                </a:cubicBezTo>
                <a:moveTo>
                  <a:pt x="2677" y="401"/>
                </a:moveTo>
                <a:cubicBezTo>
                  <a:pt x="2671" y="401"/>
                  <a:pt x="2666" y="406"/>
                  <a:pt x="2666" y="411"/>
                </a:cubicBezTo>
                <a:cubicBezTo>
                  <a:pt x="2666" y="417"/>
                  <a:pt x="2672" y="422"/>
                  <a:pt x="2679" y="421"/>
                </a:cubicBezTo>
                <a:cubicBezTo>
                  <a:pt x="2686" y="421"/>
                  <a:pt x="2691" y="417"/>
                  <a:pt x="2690" y="411"/>
                </a:cubicBezTo>
                <a:cubicBezTo>
                  <a:pt x="2690" y="406"/>
                  <a:pt x="2684" y="401"/>
                  <a:pt x="2678" y="401"/>
                </a:cubicBezTo>
                <a:cubicBezTo>
                  <a:pt x="2678" y="401"/>
                  <a:pt x="2678" y="401"/>
                  <a:pt x="2677" y="401"/>
                </a:cubicBezTo>
                <a:moveTo>
                  <a:pt x="2506" y="401"/>
                </a:moveTo>
                <a:cubicBezTo>
                  <a:pt x="2499" y="401"/>
                  <a:pt x="2494" y="406"/>
                  <a:pt x="2494" y="411"/>
                </a:cubicBezTo>
                <a:cubicBezTo>
                  <a:pt x="2494" y="417"/>
                  <a:pt x="2499" y="421"/>
                  <a:pt x="2506" y="421"/>
                </a:cubicBezTo>
                <a:cubicBezTo>
                  <a:pt x="2512" y="421"/>
                  <a:pt x="2518" y="417"/>
                  <a:pt x="2518" y="411"/>
                </a:cubicBezTo>
                <a:cubicBezTo>
                  <a:pt x="2518" y="405"/>
                  <a:pt x="2512" y="401"/>
                  <a:pt x="2506" y="401"/>
                </a:cubicBezTo>
                <a:cubicBezTo>
                  <a:pt x="2506" y="401"/>
                  <a:pt x="2506" y="401"/>
                  <a:pt x="2506" y="401"/>
                </a:cubicBezTo>
                <a:moveTo>
                  <a:pt x="2712" y="401"/>
                </a:moveTo>
                <a:cubicBezTo>
                  <a:pt x="2705" y="401"/>
                  <a:pt x="2700" y="405"/>
                  <a:pt x="2700" y="411"/>
                </a:cubicBezTo>
                <a:cubicBezTo>
                  <a:pt x="2701" y="417"/>
                  <a:pt x="2706" y="421"/>
                  <a:pt x="2713" y="421"/>
                </a:cubicBezTo>
                <a:cubicBezTo>
                  <a:pt x="2720" y="421"/>
                  <a:pt x="2725" y="417"/>
                  <a:pt x="2724" y="411"/>
                </a:cubicBezTo>
                <a:cubicBezTo>
                  <a:pt x="2724" y="405"/>
                  <a:pt x="2718" y="401"/>
                  <a:pt x="2712" y="401"/>
                </a:cubicBezTo>
                <a:cubicBezTo>
                  <a:pt x="2712" y="401"/>
                  <a:pt x="2712" y="401"/>
                  <a:pt x="2712" y="401"/>
                </a:cubicBezTo>
                <a:moveTo>
                  <a:pt x="2540" y="401"/>
                </a:moveTo>
                <a:cubicBezTo>
                  <a:pt x="2533" y="401"/>
                  <a:pt x="2528" y="405"/>
                  <a:pt x="2528" y="411"/>
                </a:cubicBezTo>
                <a:cubicBezTo>
                  <a:pt x="2528" y="417"/>
                  <a:pt x="2534" y="421"/>
                  <a:pt x="2540" y="421"/>
                </a:cubicBezTo>
                <a:cubicBezTo>
                  <a:pt x="2547" y="421"/>
                  <a:pt x="2552" y="416"/>
                  <a:pt x="2552" y="411"/>
                </a:cubicBezTo>
                <a:cubicBezTo>
                  <a:pt x="2552" y="405"/>
                  <a:pt x="2547" y="401"/>
                  <a:pt x="2540" y="401"/>
                </a:cubicBezTo>
                <a:cubicBezTo>
                  <a:pt x="2540" y="401"/>
                  <a:pt x="2540" y="401"/>
                  <a:pt x="2540" y="401"/>
                </a:cubicBezTo>
                <a:moveTo>
                  <a:pt x="2746" y="401"/>
                </a:moveTo>
                <a:cubicBezTo>
                  <a:pt x="2739" y="401"/>
                  <a:pt x="2734" y="405"/>
                  <a:pt x="2735" y="411"/>
                </a:cubicBezTo>
                <a:cubicBezTo>
                  <a:pt x="2735" y="416"/>
                  <a:pt x="2741" y="421"/>
                  <a:pt x="2748" y="421"/>
                </a:cubicBezTo>
                <a:cubicBezTo>
                  <a:pt x="2754" y="421"/>
                  <a:pt x="2759" y="416"/>
                  <a:pt x="2759" y="411"/>
                </a:cubicBezTo>
                <a:cubicBezTo>
                  <a:pt x="2758" y="405"/>
                  <a:pt x="2753" y="401"/>
                  <a:pt x="2746" y="401"/>
                </a:cubicBezTo>
                <a:cubicBezTo>
                  <a:pt x="2746" y="401"/>
                  <a:pt x="2746" y="401"/>
                  <a:pt x="2746" y="401"/>
                </a:cubicBezTo>
                <a:moveTo>
                  <a:pt x="2781" y="400"/>
                </a:moveTo>
                <a:cubicBezTo>
                  <a:pt x="2774" y="400"/>
                  <a:pt x="2769" y="405"/>
                  <a:pt x="2770" y="411"/>
                </a:cubicBezTo>
                <a:cubicBezTo>
                  <a:pt x="2770" y="416"/>
                  <a:pt x="2776" y="421"/>
                  <a:pt x="2783" y="421"/>
                </a:cubicBezTo>
                <a:cubicBezTo>
                  <a:pt x="2789" y="421"/>
                  <a:pt x="2794" y="416"/>
                  <a:pt x="2794" y="410"/>
                </a:cubicBezTo>
                <a:cubicBezTo>
                  <a:pt x="2793" y="405"/>
                  <a:pt x="2787" y="400"/>
                  <a:pt x="2781" y="400"/>
                </a:cubicBezTo>
                <a:cubicBezTo>
                  <a:pt x="2781" y="400"/>
                  <a:pt x="2781" y="400"/>
                  <a:pt x="2781" y="400"/>
                </a:cubicBezTo>
                <a:moveTo>
                  <a:pt x="2815" y="400"/>
                </a:moveTo>
                <a:cubicBezTo>
                  <a:pt x="2808" y="400"/>
                  <a:pt x="2803" y="405"/>
                  <a:pt x="2804" y="410"/>
                </a:cubicBezTo>
                <a:cubicBezTo>
                  <a:pt x="2804" y="416"/>
                  <a:pt x="2810" y="421"/>
                  <a:pt x="2817" y="421"/>
                </a:cubicBezTo>
                <a:cubicBezTo>
                  <a:pt x="2824" y="420"/>
                  <a:pt x="2828" y="416"/>
                  <a:pt x="2828" y="410"/>
                </a:cubicBezTo>
                <a:cubicBezTo>
                  <a:pt x="2827" y="405"/>
                  <a:pt x="2821" y="400"/>
                  <a:pt x="2815" y="400"/>
                </a:cubicBezTo>
                <a:cubicBezTo>
                  <a:pt x="2815" y="400"/>
                  <a:pt x="2815" y="400"/>
                  <a:pt x="2815" y="400"/>
                </a:cubicBezTo>
                <a:moveTo>
                  <a:pt x="2849" y="400"/>
                </a:moveTo>
                <a:cubicBezTo>
                  <a:pt x="2842" y="400"/>
                  <a:pt x="2837" y="404"/>
                  <a:pt x="2838" y="410"/>
                </a:cubicBezTo>
                <a:cubicBezTo>
                  <a:pt x="2839" y="416"/>
                  <a:pt x="2845" y="420"/>
                  <a:pt x="2851" y="420"/>
                </a:cubicBezTo>
                <a:cubicBezTo>
                  <a:pt x="2858" y="420"/>
                  <a:pt x="2863" y="416"/>
                  <a:pt x="2862" y="410"/>
                </a:cubicBezTo>
                <a:cubicBezTo>
                  <a:pt x="2861" y="404"/>
                  <a:pt x="2856" y="400"/>
                  <a:pt x="2849" y="400"/>
                </a:cubicBezTo>
                <a:cubicBezTo>
                  <a:pt x="2849" y="400"/>
                  <a:pt x="2849" y="400"/>
                  <a:pt x="2849" y="400"/>
                </a:cubicBezTo>
                <a:moveTo>
                  <a:pt x="2883" y="400"/>
                </a:moveTo>
                <a:cubicBezTo>
                  <a:pt x="2876" y="400"/>
                  <a:pt x="2872" y="404"/>
                  <a:pt x="2872" y="410"/>
                </a:cubicBezTo>
                <a:cubicBezTo>
                  <a:pt x="2873" y="416"/>
                  <a:pt x="2879" y="420"/>
                  <a:pt x="2886" y="420"/>
                </a:cubicBezTo>
                <a:cubicBezTo>
                  <a:pt x="2892" y="420"/>
                  <a:pt x="2897" y="415"/>
                  <a:pt x="2896" y="410"/>
                </a:cubicBezTo>
                <a:cubicBezTo>
                  <a:pt x="2896" y="404"/>
                  <a:pt x="2890" y="400"/>
                  <a:pt x="2883" y="400"/>
                </a:cubicBezTo>
                <a:cubicBezTo>
                  <a:pt x="2883" y="400"/>
                  <a:pt x="2883" y="400"/>
                  <a:pt x="2883" y="400"/>
                </a:cubicBezTo>
                <a:moveTo>
                  <a:pt x="2917" y="399"/>
                </a:moveTo>
                <a:cubicBezTo>
                  <a:pt x="2911" y="399"/>
                  <a:pt x="2906" y="404"/>
                  <a:pt x="2907" y="410"/>
                </a:cubicBezTo>
                <a:cubicBezTo>
                  <a:pt x="2908" y="415"/>
                  <a:pt x="2914" y="420"/>
                  <a:pt x="2920" y="420"/>
                </a:cubicBezTo>
                <a:cubicBezTo>
                  <a:pt x="2927" y="420"/>
                  <a:pt x="2932" y="415"/>
                  <a:pt x="2931" y="409"/>
                </a:cubicBezTo>
                <a:cubicBezTo>
                  <a:pt x="2930" y="404"/>
                  <a:pt x="2924" y="399"/>
                  <a:pt x="2917" y="399"/>
                </a:cubicBezTo>
                <a:cubicBezTo>
                  <a:pt x="2917" y="399"/>
                  <a:pt x="2917" y="399"/>
                  <a:pt x="2917" y="399"/>
                </a:cubicBezTo>
                <a:moveTo>
                  <a:pt x="2952" y="399"/>
                </a:moveTo>
                <a:cubicBezTo>
                  <a:pt x="2945" y="399"/>
                  <a:pt x="2941" y="404"/>
                  <a:pt x="2942" y="409"/>
                </a:cubicBezTo>
                <a:cubicBezTo>
                  <a:pt x="2942" y="415"/>
                  <a:pt x="2949" y="420"/>
                  <a:pt x="2955" y="420"/>
                </a:cubicBezTo>
                <a:cubicBezTo>
                  <a:pt x="2962" y="419"/>
                  <a:pt x="2967" y="415"/>
                  <a:pt x="2966" y="409"/>
                </a:cubicBezTo>
                <a:cubicBezTo>
                  <a:pt x="2965" y="404"/>
                  <a:pt x="2959" y="399"/>
                  <a:pt x="2952" y="399"/>
                </a:cubicBezTo>
                <a:cubicBezTo>
                  <a:pt x="2952" y="399"/>
                  <a:pt x="2952" y="399"/>
                  <a:pt x="2952" y="399"/>
                </a:cubicBezTo>
                <a:moveTo>
                  <a:pt x="2985" y="399"/>
                </a:moveTo>
                <a:cubicBezTo>
                  <a:pt x="2978" y="399"/>
                  <a:pt x="2974" y="403"/>
                  <a:pt x="2975" y="409"/>
                </a:cubicBezTo>
                <a:cubicBezTo>
                  <a:pt x="2976" y="415"/>
                  <a:pt x="2982" y="419"/>
                  <a:pt x="2989" y="419"/>
                </a:cubicBezTo>
                <a:cubicBezTo>
                  <a:pt x="2995" y="419"/>
                  <a:pt x="3000" y="415"/>
                  <a:pt x="2999" y="409"/>
                </a:cubicBezTo>
                <a:cubicBezTo>
                  <a:pt x="2998" y="403"/>
                  <a:pt x="2992" y="399"/>
                  <a:pt x="2985" y="399"/>
                </a:cubicBezTo>
                <a:cubicBezTo>
                  <a:pt x="2985" y="399"/>
                  <a:pt x="2985" y="399"/>
                  <a:pt x="2985" y="399"/>
                </a:cubicBezTo>
                <a:moveTo>
                  <a:pt x="3019" y="399"/>
                </a:moveTo>
                <a:cubicBezTo>
                  <a:pt x="3012" y="399"/>
                  <a:pt x="3008" y="403"/>
                  <a:pt x="3009" y="409"/>
                </a:cubicBezTo>
                <a:cubicBezTo>
                  <a:pt x="3010" y="415"/>
                  <a:pt x="3016" y="419"/>
                  <a:pt x="3023" y="419"/>
                </a:cubicBezTo>
                <a:cubicBezTo>
                  <a:pt x="3030" y="419"/>
                  <a:pt x="3034" y="414"/>
                  <a:pt x="3033" y="409"/>
                </a:cubicBezTo>
                <a:cubicBezTo>
                  <a:pt x="3032" y="403"/>
                  <a:pt x="3026" y="399"/>
                  <a:pt x="3019" y="399"/>
                </a:cubicBezTo>
                <a:cubicBezTo>
                  <a:pt x="3019" y="399"/>
                  <a:pt x="3019" y="399"/>
                  <a:pt x="3019" y="399"/>
                </a:cubicBezTo>
                <a:moveTo>
                  <a:pt x="3053" y="398"/>
                </a:moveTo>
                <a:cubicBezTo>
                  <a:pt x="3046" y="398"/>
                  <a:pt x="3042" y="403"/>
                  <a:pt x="3043" y="409"/>
                </a:cubicBezTo>
                <a:cubicBezTo>
                  <a:pt x="3044" y="414"/>
                  <a:pt x="3050" y="419"/>
                  <a:pt x="3057" y="419"/>
                </a:cubicBezTo>
                <a:cubicBezTo>
                  <a:pt x="3064" y="419"/>
                  <a:pt x="3068" y="414"/>
                  <a:pt x="3067" y="408"/>
                </a:cubicBezTo>
                <a:cubicBezTo>
                  <a:pt x="3066" y="403"/>
                  <a:pt x="3059" y="398"/>
                  <a:pt x="3053" y="398"/>
                </a:cubicBezTo>
                <a:cubicBezTo>
                  <a:pt x="3053" y="398"/>
                  <a:pt x="3053" y="398"/>
                  <a:pt x="3053" y="398"/>
                </a:cubicBezTo>
                <a:moveTo>
                  <a:pt x="3087" y="398"/>
                </a:moveTo>
                <a:cubicBezTo>
                  <a:pt x="3080" y="398"/>
                  <a:pt x="3076" y="403"/>
                  <a:pt x="3077" y="408"/>
                </a:cubicBezTo>
                <a:cubicBezTo>
                  <a:pt x="3078" y="414"/>
                  <a:pt x="3085" y="419"/>
                  <a:pt x="3091" y="419"/>
                </a:cubicBezTo>
                <a:cubicBezTo>
                  <a:pt x="3098" y="419"/>
                  <a:pt x="3102" y="414"/>
                  <a:pt x="3101" y="408"/>
                </a:cubicBezTo>
                <a:cubicBezTo>
                  <a:pt x="3100" y="403"/>
                  <a:pt x="3093" y="398"/>
                  <a:pt x="3087" y="398"/>
                </a:cubicBezTo>
                <a:cubicBezTo>
                  <a:pt x="3087" y="398"/>
                  <a:pt x="3087" y="398"/>
                  <a:pt x="3087" y="398"/>
                </a:cubicBezTo>
                <a:moveTo>
                  <a:pt x="3121" y="398"/>
                </a:moveTo>
                <a:cubicBezTo>
                  <a:pt x="3114" y="398"/>
                  <a:pt x="3110" y="402"/>
                  <a:pt x="3111" y="408"/>
                </a:cubicBezTo>
                <a:cubicBezTo>
                  <a:pt x="3113" y="414"/>
                  <a:pt x="3119" y="418"/>
                  <a:pt x="3126" y="418"/>
                </a:cubicBezTo>
                <a:cubicBezTo>
                  <a:pt x="3132" y="418"/>
                  <a:pt x="3137" y="414"/>
                  <a:pt x="3135" y="408"/>
                </a:cubicBezTo>
                <a:cubicBezTo>
                  <a:pt x="3134" y="402"/>
                  <a:pt x="3128" y="398"/>
                  <a:pt x="3121" y="398"/>
                </a:cubicBezTo>
                <a:cubicBezTo>
                  <a:pt x="3121" y="398"/>
                  <a:pt x="3121" y="398"/>
                  <a:pt x="3121" y="398"/>
                </a:cubicBezTo>
                <a:moveTo>
                  <a:pt x="3362" y="398"/>
                </a:moveTo>
                <a:cubicBezTo>
                  <a:pt x="3356" y="398"/>
                  <a:pt x="3352" y="402"/>
                  <a:pt x="3354" y="408"/>
                </a:cubicBezTo>
                <a:cubicBezTo>
                  <a:pt x="3355" y="414"/>
                  <a:pt x="3362" y="418"/>
                  <a:pt x="3369" y="418"/>
                </a:cubicBezTo>
                <a:cubicBezTo>
                  <a:pt x="3376" y="418"/>
                  <a:pt x="3379" y="414"/>
                  <a:pt x="3378" y="408"/>
                </a:cubicBezTo>
                <a:cubicBezTo>
                  <a:pt x="3376" y="402"/>
                  <a:pt x="3369" y="398"/>
                  <a:pt x="3362" y="398"/>
                </a:cubicBezTo>
                <a:cubicBezTo>
                  <a:pt x="3362" y="398"/>
                  <a:pt x="3362" y="398"/>
                  <a:pt x="3362" y="398"/>
                </a:cubicBezTo>
                <a:moveTo>
                  <a:pt x="3156" y="398"/>
                </a:moveTo>
                <a:cubicBezTo>
                  <a:pt x="3149" y="398"/>
                  <a:pt x="3145" y="402"/>
                  <a:pt x="3146" y="408"/>
                </a:cubicBezTo>
                <a:cubicBezTo>
                  <a:pt x="3147" y="414"/>
                  <a:pt x="3154" y="418"/>
                  <a:pt x="3161" y="418"/>
                </a:cubicBezTo>
                <a:cubicBezTo>
                  <a:pt x="3167" y="418"/>
                  <a:pt x="3172" y="413"/>
                  <a:pt x="3170" y="408"/>
                </a:cubicBezTo>
                <a:cubicBezTo>
                  <a:pt x="3169" y="402"/>
                  <a:pt x="3162" y="398"/>
                  <a:pt x="3156" y="398"/>
                </a:cubicBezTo>
                <a:cubicBezTo>
                  <a:pt x="3156" y="398"/>
                  <a:pt x="3156" y="398"/>
                  <a:pt x="3156" y="398"/>
                </a:cubicBezTo>
                <a:moveTo>
                  <a:pt x="3396" y="397"/>
                </a:moveTo>
                <a:cubicBezTo>
                  <a:pt x="3390" y="398"/>
                  <a:pt x="3386" y="402"/>
                  <a:pt x="3387" y="408"/>
                </a:cubicBezTo>
                <a:cubicBezTo>
                  <a:pt x="3389" y="413"/>
                  <a:pt x="3396" y="418"/>
                  <a:pt x="3403" y="418"/>
                </a:cubicBezTo>
                <a:cubicBezTo>
                  <a:pt x="3410" y="418"/>
                  <a:pt x="3413" y="413"/>
                  <a:pt x="3412" y="408"/>
                </a:cubicBezTo>
                <a:cubicBezTo>
                  <a:pt x="3410" y="402"/>
                  <a:pt x="3403" y="397"/>
                  <a:pt x="3396" y="397"/>
                </a:cubicBezTo>
                <a:cubicBezTo>
                  <a:pt x="3396" y="397"/>
                  <a:pt x="3396" y="397"/>
                  <a:pt x="3396" y="397"/>
                </a:cubicBezTo>
                <a:moveTo>
                  <a:pt x="3190" y="397"/>
                </a:moveTo>
                <a:cubicBezTo>
                  <a:pt x="3183" y="397"/>
                  <a:pt x="3179" y="402"/>
                  <a:pt x="3180" y="408"/>
                </a:cubicBezTo>
                <a:cubicBezTo>
                  <a:pt x="3182" y="413"/>
                  <a:pt x="3188" y="418"/>
                  <a:pt x="3195" y="418"/>
                </a:cubicBezTo>
                <a:cubicBezTo>
                  <a:pt x="3202" y="418"/>
                  <a:pt x="3206" y="413"/>
                  <a:pt x="3204" y="407"/>
                </a:cubicBezTo>
                <a:cubicBezTo>
                  <a:pt x="3203" y="402"/>
                  <a:pt x="3196" y="397"/>
                  <a:pt x="3190" y="397"/>
                </a:cubicBezTo>
                <a:cubicBezTo>
                  <a:pt x="3190" y="397"/>
                  <a:pt x="3190" y="397"/>
                  <a:pt x="3190" y="397"/>
                </a:cubicBezTo>
                <a:moveTo>
                  <a:pt x="3430" y="397"/>
                </a:moveTo>
                <a:cubicBezTo>
                  <a:pt x="3424" y="397"/>
                  <a:pt x="3420" y="402"/>
                  <a:pt x="3422" y="408"/>
                </a:cubicBezTo>
                <a:cubicBezTo>
                  <a:pt x="3424" y="413"/>
                  <a:pt x="3430" y="418"/>
                  <a:pt x="3437" y="418"/>
                </a:cubicBezTo>
                <a:cubicBezTo>
                  <a:pt x="3444" y="418"/>
                  <a:pt x="3448" y="413"/>
                  <a:pt x="3446" y="407"/>
                </a:cubicBezTo>
                <a:cubicBezTo>
                  <a:pt x="3444" y="402"/>
                  <a:pt x="3437" y="397"/>
                  <a:pt x="3430" y="397"/>
                </a:cubicBezTo>
                <a:cubicBezTo>
                  <a:pt x="3430" y="397"/>
                  <a:pt x="3430" y="397"/>
                  <a:pt x="3430" y="397"/>
                </a:cubicBezTo>
                <a:moveTo>
                  <a:pt x="3224" y="397"/>
                </a:moveTo>
                <a:cubicBezTo>
                  <a:pt x="3217" y="397"/>
                  <a:pt x="3213" y="402"/>
                  <a:pt x="3215" y="407"/>
                </a:cubicBezTo>
                <a:cubicBezTo>
                  <a:pt x="3216" y="413"/>
                  <a:pt x="3223" y="418"/>
                  <a:pt x="3229" y="418"/>
                </a:cubicBezTo>
                <a:cubicBezTo>
                  <a:pt x="3236" y="418"/>
                  <a:pt x="3240" y="413"/>
                  <a:pt x="3239" y="407"/>
                </a:cubicBezTo>
                <a:cubicBezTo>
                  <a:pt x="3237" y="402"/>
                  <a:pt x="3231" y="397"/>
                  <a:pt x="3224" y="397"/>
                </a:cubicBezTo>
                <a:cubicBezTo>
                  <a:pt x="3224" y="397"/>
                  <a:pt x="3224" y="397"/>
                  <a:pt x="3224" y="397"/>
                </a:cubicBezTo>
                <a:moveTo>
                  <a:pt x="3464" y="397"/>
                </a:moveTo>
                <a:cubicBezTo>
                  <a:pt x="3458" y="397"/>
                  <a:pt x="3454" y="402"/>
                  <a:pt x="3456" y="407"/>
                </a:cubicBezTo>
                <a:cubicBezTo>
                  <a:pt x="3458" y="413"/>
                  <a:pt x="3465" y="418"/>
                  <a:pt x="3472" y="418"/>
                </a:cubicBezTo>
                <a:cubicBezTo>
                  <a:pt x="3478" y="417"/>
                  <a:pt x="3482" y="413"/>
                  <a:pt x="3480" y="407"/>
                </a:cubicBezTo>
                <a:cubicBezTo>
                  <a:pt x="3478" y="402"/>
                  <a:pt x="3471" y="397"/>
                  <a:pt x="3465" y="397"/>
                </a:cubicBezTo>
                <a:cubicBezTo>
                  <a:pt x="3464" y="397"/>
                  <a:pt x="3464" y="397"/>
                  <a:pt x="3464" y="397"/>
                </a:cubicBezTo>
                <a:moveTo>
                  <a:pt x="3258" y="397"/>
                </a:moveTo>
                <a:cubicBezTo>
                  <a:pt x="3251" y="397"/>
                  <a:pt x="3247" y="401"/>
                  <a:pt x="3249" y="407"/>
                </a:cubicBezTo>
                <a:cubicBezTo>
                  <a:pt x="3250" y="413"/>
                  <a:pt x="3257" y="417"/>
                  <a:pt x="3264" y="417"/>
                </a:cubicBezTo>
                <a:cubicBezTo>
                  <a:pt x="3270" y="417"/>
                  <a:pt x="3274" y="413"/>
                  <a:pt x="3273" y="407"/>
                </a:cubicBezTo>
                <a:cubicBezTo>
                  <a:pt x="3271" y="401"/>
                  <a:pt x="3265" y="397"/>
                  <a:pt x="3258" y="397"/>
                </a:cubicBezTo>
                <a:cubicBezTo>
                  <a:pt x="3258" y="397"/>
                  <a:pt x="3258" y="397"/>
                  <a:pt x="3258" y="397"/>
                </a:cubicBezTo>
                <a:moveTo>
                  <a:pt x="3499" y="397"/>
                </a:moveTo>
                <a:cubicBezTo>
                  <a:pt x="3492" y="397"/>
                  <a:pt x="3489" y="401"/>
                  <a:pt x="3491" y="407"/>
                </a:cubicBezTo>
                <a:cubicBezTo>
                  <a:pt x="3493" y="413"/>
                  <a:pt x="3500" y="417"/>
                  <a:pt x="3507" y="417"/>
                </a:cubicBezTo>
                <a:cubicBezTo>
                  <a:pt x="3513" y="417"/>
                  <a:pt x="3517" y="413"/>
                  <a:pt x="3515" y="407"/>
                </a:cubicBezTo>
                <a:cubicBezTo>
                  <a:pt x="3513" y="401"/>
                  <a:pt x="3506" y="397"/>
                  <a:pt x="3499" y="397"/>
                </a:cubicBezTo>
                <a:cubicBezTo>
                  <a:pt x="3499" y="397"/>
                  <a:pt x="3499" y="397"/>
                  <a:pt x="3499" y="397"/>
                </a:cubicBezTo>
                <a:moveTo>
                  <a:pt x="3292" y="397"/>
                </a:moveTo>
                <a:cubicBezTo>
                  <a:pt x="3286" y="397"/>
                  <a:pt x="3282" y="401"/>
                  <a:pt x="3283" y="407"/>
                </a:cubicBezTo>
                <a:cubicBezTo>
                  <a:pt x="3285" y="413"/>
                  <a:pt x="3292" y="417"/>
                  <a:pt x="3298" y="417"/>
                </a:cubicBezTo>
                <a:cubicBezTo>
                  <a:pt x="3305" y="417"/>
                  <a:pt x="3309" y="412"/>
                  <a:pt x="3307" y="407"/>
                </a:cubicBezTo>
                <a:cubicBezTo>
                  <a:pt x="3306" y="401"/>
                  <a:pt x="3299" y="397"/>
                  <a:pt x="3292" y="397"/>
                </a:cubicBezTo>
                <a:cubicBezTo>
                  <a:pt x="3292" y="397"/>
                  <a:pt x="3292" y="397"/>
                  <a:pt x="3292" y="397"/>
                </a:cubicBezTo>
                <a:moveTo>
                  <a:pt x="3533" y="396"/>
                </a:moveTo>
                <a:cubicBezTo>
                  <a:pt x="3526" y="397"/>
                  <a:pt x="3523" y="401"/>
                  <a:pt x="3525" y="407"/>
                </a:cubicBezTo>
                <a:cubicBezTo>
                  <a:pt x="3527" y="413"/>
                  <a:pt x="3534" y="417"/>
                  <a:pt x="3541" y="417"/>
                </a:cubicBezTo>
                <a:cubicBezTo>
                  <a:pt x="3547" y="417"/>
                  <a:pt x="3551" y="412"/>
                  <a:pt x="3549" y="407"/>
                </a:cubicBezTo>
                <a:cubicBezTo>
                  <a:pt x="3547" y="401"/>
                  <a:pt x="3540" y="396"/>
                  <a:pt x="3533" y="396"/>
                </a:cubicBezTo>
                <a:cubicBezTo>
                  <a:pt x="3533" y="396"/>
                  <a:pt x="3533" y="396"/>
                  <a:pt x="3533" y="396"/>
                </a:cubicBezTo>
                <a:moveTo>
                  <a:pt x="3327" y="396"/>
                </a:moveTo>
                <a:cubicBezTo>
                  <a:pt x="3320" y="396"/>
                  <a:pt x="3316" y="401"/>
                  <a:pt x="3318" y="407"/>
                </a:cubicBezTo>
                <a:cubicBezTo>
                  <a:pt x="3320" y="412"/>
                  <a:pt x="3326" y="417"/>
                  <a:pt x="3333" y="417"/>
                </a:cubicBezTo>
                <a:cubicBezTo>
                  <a:pt x="3340" y="417"/>
                  <a:pt x="3344" y="412"/>
                  <a:pt x="3342" y="406"/>
                </a:cubicBezTo>
                <a:cubicBezTo>
                  <a:pt x="3340" y="401"/>
                  <a:pt x="3333" y="396"/>
                  <a:pt x="3327" y="396"/>
                </a:cubicBezTo>
                <a:cubicBezTo>
                  <a:pt x="3327" y="396"/>
                  <a:pt x="3327" y="396"/>
                  <a:pt x="3327" y="396"/>
                </a:cubicBezTo>
                <a:moveTo>
                  <a:pt x="3567" y="395"/>
                </a:moveTo>
                <a:cubicBezTo>
                  <a:pt x="3561" y="395"/>
                  <a:pt x="3557" y="400"/>
                  <a:pt x="3559" y="406"/>
                </a:cubicBezTo>
                <a:cubicBezTo>
                  <a:pt x="3561" y="411"/>
                  <a:pt x="3569" y="416"/>
                  <a:pt x="3575" y="416"/>
                </a:cubicBezTo>
                <a:cubicBezTo>
                  <a:pt x="3582" y="416"/>
                  <a:pt x="3586" y="411"/>
                  <a:pt x="3583" y="406"/>
                </a:cubicBezTo>
                <a:cubicBezTo>
                  <a:pt x="3581" y="400"/>
                  <a:pt x="3574" y="395"/>
                  <a:pt x="3567" y="395"/>
                </a:cubicBezTo>
                <a:cubicBezTo>
                  <a:pt x="3567" y="395"/>
                  <a:pt x="3567" y="395"/>
                  <a:pt x="3567" y="395"/>
                </a:cubicBezTo>
                <a:moveTo>
                  <a:pt x="3601" y="395"/>
                </a:moveTo>
                <a:cubicBezTo>
                  <a:pt x="3595" y="395"/>
                  <a:pt x="3591" y="400"/>
                  <a:pt x="3594" y="406"/>
                </a:cubicBezTo>
                <a:cubicBezTo>
                  <a:pt x="3596" y="411"/>
                  <a:pt x="3603" y="416"/>
                  <a:pt x="3610" y="416"/>
                </a:cubicBezTo>
                <a:cubicBezTo>
                  <a:pt x="3616" y="416"/>
                  <a:pt x="3620" y="411"/>
                  <a:pt x="3618" y="405"/>
                </a:cubicBezTo>
                <a:cubicBezTo>
                  <a:pt x="3615" y="400"/>
                  <a:pt x="3608" y="395"/>
                  <a:pt x="3602" y="395"/>
                </a:cubicBezTo>
                <a:cubicBezTo>
                  <a:pt x="3602" y="395"/>
                  <a:pt x="3601" y="395"/>
                  <a:pt x="3601" y="395"/>
                </a:cubicBezTo>
                <a:moveTo>
                  <a:pt x="3635" y="395"/>
                </a:moveTo>
                <a:cubicBezTo>
                  <a:pt x="3629" y="395"/>
                  <a:pt x="3625" y="400"/>
                  <a:pt x="3628" y="405"/>
                </a:cubicBezTo>
                <a:cubicBezTo>
                  <a:pt x="3630" y="411"/>
                  <a:pt x="3637" y="416"/>
                  <a:pt x="3644" y="415"/>
                </a:cubicBezTo>
                <a:cubicBezTo>
                  <a:pt x="3651" y="415"/>
                  <a:pt x="3654" y="411"/>
                  <a:pt x="3652" y="405"/>
                </a:cubicBezTo>
                <a:cubicBezTo>
                  <a:pt x="3649" y="399"/>
                  <a:pt x="3642" y="395"/>
                  <a:pt x="3636" y="395"/>
                </a:cubicBezTo>
                <a:cubicBezTo>
                  <a:pt x="3636" y="395"/>
                  <a:pt x="3635" y="395"/>
                  <a:pt x="3635" y="395"/>
                </a:cubicBezTo>
                <a:moveTo>
                  <a:pt x="3670" y="395"/>
                </a:moveTo>
                <a:cubicBezTo>
                  <a:pt x="3664" y="395"/>
                  <a:pt x="3660" y="399"/>
                  <a:pt x="3663" y="405"/>
                </a:cubicBezTo>
                <a:cubicBezTo>
                  <a:pt x="3665" y="411"/>
                  <a:pt x="3672" y="415"/>
                  <a:pt x="3679" y="415"/>
                </a:cubicBezTo>
                <a:cubicBezTo>
                  <a:pt x="3686" y="415"/>
                  <a:pt x="3689" y="411"/>
                  <a:pt x="3687" y="405"/>
                </a:cubicBezTo>
                <a:cubicBezTo>
                  <a:pt x="3684" y="399"/>
                  <a:pt x="3677" y="395"/>
                  <a:pt x="3670" y="395"/>
                </a:cubicBezTo>
                <a:cubicBezTo>
                  <a:pt x="3670" y="395"/>
                  <a:pt x="3670" y="395"/>
                  <a:pt x="3670" y="395"/>
                </a:cubicBezTo>
                <a:moveTo>
                  <a:pt x="3704" y="394"/>
                </a:moveTo>
                <a:cubicBezTo>
                  <a:pt x="3698" y="394"/>
                  <a:pt x="3695" y="399"/>
                  <a:pt x="3697" y="405"/>
                </a:cubicBezTo>
                <a:cubicBezTo>
                  <a:pt x="3700" y="410"/>
                  <a:pt x="3707" y="415"/>
                  <a:pt x="3714" y="415"/>
                </a:cubicBezTo>
                <a:cubicBezTo>
                  <a:pt x="3720" y="415"/>
                  <a:pt x="3724" y="410"/>
                  <a:pt x="3721" y="405"/>
                </a:cubicBezTo>
                <a:cubicBezTo>
                  <a:pt x="3719" y="399"/>
                  <a:pt x="3711" y="394"/>
                  <a:pt x="3705" y="394"/>
                </a:cubicBezTo>
                <a:cubicBezTo>
                  <a:pt x="3705" y="394"/>
                  <a:pt x="3705" y="394"/>
                  <a:pt x="3704" y="394"/>
                </a:cubicBezTo>
                <a:moveTo>
                  <a:pt x="3740" y="394"/>
                </a:moveTo>
                <a:cubicBezTo>
                  <a:pt x="3733" y="394"/>
                  <a:pt x="3730" y="399"/>
                  <a:pt x="3732" y="405"/>
                </a:cubicBezTo>
                <a:cubicBezTo>
                  <a:pt x="3735" y="410"/>
                  <a:pt x="3742" y="415"/>
                  <a:pt x="3749" y="415"/>
                </a:cubicBezTo>
                <a:cubicBezTo>
                  <a:pt x="3756" y="415"/>
                  <a:pt x="3759" y="410"/>
                  <a:pt x="3756" y="404"/>
                </a:cubicBezTo>
                <a:cubicBezTo>
                  <a:pt x="3754" y="399"/>
                  <a:pt x="3746" y="394"/>
                  <a:pt x="3740" y="394"/>
                </a:cubicBezTo>
                <a:cubicBezTo>
                  <a:pt x="3740" y="394"/>
                  <a:pt x="3740" y="394"/>
                  <a:pt x="3740" y="394"/>
                </a:cubicBezTo>
                <a:moveTo>
                  <a:pt x="3774" y="394"/>
                </a:moveTo>
                <a:cubicBezTo>
                  <a:pt x="3767" y="394"/>
                  <a:pt x="3764" y="399"/>
                  <a:pt x="3767" y="404"/>
                </a:cubicBezTo>
                <a:cubicBezTo>
                  <a:pt x="3769" y="410"/>
                  <a:pt x="3777" y="415"/>
                  <a:pt x="3783" y="414"/>
                </a:cubicBezTo>
                <a:cubicBezTo>
                  <a:pt x="3790" y="414"/>
                  <a:pt x="3793" y="410"/>
                  <a:pt x="3791" y="404"/>
                </a:cubicBezTo>
                <a:cubicBezTo>
                  <a:pt x="3788" y="398"/>
                  <a:pt x="3780" y="394"/>
                  <a:pt x="3774" y="394"/>
                </a:cubicBezTo>
                <a:cubicBezTo>
                  <a:pt x="3774" y="394"/>
                  <a:pt x="3774" y="394"/>
                  <a:pt x="3774" y="394"/>
                </a:cubicBezTo>
                <a:moveTo>
                  <a:pt x="3808" y="394"/>
                </a:moveTo>
                <a:cubicBezTo>
                  <a:pt x="3801" y="394"/>
                  <a:pt x="3798" y="398"/>
                  <a:pt x="3801" y="404"/>
                </a:cubicBezTo>
                <a:cubicBezTo>
                  <a:pt x="3804" y="410"/>
                  <a:pt x="3811" y="414"/>
                  <a:pt x="3818" y="414"/>
                </a:cubicBezTo>
                <a:cubicBezTo>
                  <a:pt x="3825" y="414"/>
                  <a:pt x="3828" y="410"/>
                  <a:pt x="3825" y="404"/>
                </a:cubicBezTo>
                <a:cubicBezTo>
                  <a:pt x="3822" y="398"/>
                  <a:pt x="3815" y="394"/>
                  <a:pt x="3808" y="394"/>
                </a:cubicBezTo>
                <a:cubicBezTo>
                  <a:pt x="3808" y="394"/>
                  <a:pt x="3808" y="394"/>
                  <a:pt x="3808" y="394"/>
                </a:cubicBezTo>
                <a:moveTo>
                  <a:pt x="3843" y="393"/>
                </a:moveTo>
                <a:cubicBezTo>
                  <a:pt x="3836" y="393"/>
                  <a:pt x="3833" y="398"/>
                  <a:pt x="3836" y="404"/>
                </a:cubicBezTo>
                <a:cubicBezTo>
                  <a:pt x="3838" y="409"/>
                  <a:pt x="3846" y="414"/>
                  <a:pt x="3853" y="414"/>
                </a:cubicBezTo>
                <a:cubicBezTo>
                  <a:pt x="3859" y="414"/>
                  <a:pt x="3862" y="409"/>
                  <a:pt x="3860" y="404"/>
                </a:cubicBezTo>
                <a:cubicBezTo>
                  <a:pt x="3857" y="398"/>
                  <a:pt x="3849" y="393"/>
                  <a:pt x="3843" y="393"/>
                </a:cubicBezTo>
                <a:cubicBezTo>
                  <a:pt x="3843" y="393"/>
                  <a:pt x="3843" y="393"/>
                  <a:pt x="3843" y="393"/>
                </a:cubicBezTo>
                <a:moveTo>
                  <a:pt x="3877" y="393"/>
                </a:moveTo>
                <a:cubicBezTo>
                  <a:pt x="3870" y="393"/>
                  <a:pt x="3867" y="398"/>
                  <a:pt x="3870" y="404"/>
                </a:cubicBezTo>
                <a:cubicBezTo>
                  <a:pt x="3873" y="409"/>
                  <a:pt x="3880" y="414"/>
                  <a:pt x="3887" y="414"/>
                </a:cubicBezTo>
                <a:cubicBezTo>
                  <a:pt x="3894" y="414"/>
                  <a:pt x="3897" y="409"/>
                  <a:pt x="3894" y="403"/>
                </a:cubicBezTo>
                <a:cubicBezTo>
                  <a:pt x="3891" y="398"/>
                  <a:pt x="3883" y="393"/>
                  <a:pt x="3877" y="393"/>
                </a:cubicBezTo>
                <a:cubicBezTo>
                  <a:pt x="3877" y="393"/>
                  <a:pt x="3877" y="393"/>
                  <a:pt x="3877" y="393"/>
                </a:cubicBezTo>
                <a:moveTo>
                  <a:pt x="3909" y="392"/>
                </a:moveTo>
                <a:cubicBezTo>
                  <a:pt x="3903" y="392"/>
                  <a:pt x="3900" y="396"/>
                  <a:pt x="3903" y="402"/>
                </a:cubicBezTo>
                <a:cubicBezTo>
                  <a:pt x="3906" y="408"/>
                  <a:pt x="3913" y="412"/>
                  <a:pt x="3920" y="412"/>
                </a:cubicBezTo>
                <a:cubicBezTo>
                  <a:pt x="3927" y="412"/>
                  <a:pt x="3930" y="407"/>
                  <a:pt x="3927" y="402"/>
                </a:cubicBezTo>
                <a:cubicBezTo>
                  <a:pt x="3924" y="396"/>
                  <a:pt x="3916" y="392"/>
                  <a:pt x="3910" y="392"/>
                </a:cubicBezTo>
                <a:cubicBezTo>
                  <a:pt x="3910" y="392"/>
                  <a:pt x="3909" y="392"/>
                  <a:pt x="3909" y="392"/>
                </a:cubicBezTo>
                <a:moveTo>
                  <a:pt x="3944" y="391"/>
                </a:moveTo>
                <a:cubicBezTo>
                  <a:pt x="3937" y="391"/>
                  <a:pt x="3934" y="396"/>
                  <a:pt x="3937" y="402"/>
                </a:cubicBezTo>
                <a:cubicBezTo>
                  <a:pt x="3940" y="407"/>
                  <a:pt x="3948" y="412"/>
                  <a:pt x="3955" y="412"/>
                </a:cubicBezTo>
                <a:cubicBezTo>
                  <a:pt x="3961" y="412"/>
                  <a:pt x="3964" y="407"/>
                  <a:pt x="3961" y="401"/>
                </a:cubicBezTo>
                <a:cubicBezTo>
                  <a:pt x="3958" y="396"/>
                  <a:pt x="3950" y="391"/>
                  <a:pt x="3944" y="391"/>
                </a:cubicBezTo>
                <a:cubicBezTo>
                  <a:pt x="3944" y="391"/>
                  <a:pt x="3944" y="391"/>
                  <a:pt x="3944" y="391"/>
                </a:cubicBezTo>
                <a:moveTo>
                  <a:pt x="3977" y="391"/>
                </a:moveTo>
                <a:cubicBezTo>
                  <a:pt x="3970" y="391"/>
                  <a:pt x="3967" y="396"/>
                  <a:pt x="3970" y="401"/>
                </a:cubicBezTo>
                <a:cubicBezTo>
                  <a:pt x="3973" y="407"/>
                  <a:pt x="3981" y="412"/>
                  <a:pt x="3988" y="412"/>
                </a:cubicBezTo>
                <a:cubicBezTo>
                  <a:pt x="3995" y="412"/>
                  <a:pt x="3998" y="407"/>
                  <a:pt x="3994" y="401"/>
                </a:cubicBezTo>
                <a:cubicBezTo>
                  <a:pt x="3991" y="396"/>
                  <a:pt x="3984" y="391"/>
                  <a:pt x="3977" y="391"/>
                </a:cubicBezTo>
                <a:cubicBezTo>
                  <a:pt x="3977" y="391"/>
                  <a:pt x="3977" y="391"/>
                  <a:pt x="3977" y="391"/>
                </a:cubicBezTo>
                <a:moveTo>
                  <a:pt x="4046" y="391"/>
                </a:moveTo>
                <a:cubicBezTo>
                  <a:pt x="4039" y="391"/>
                  <a:pt x="4036" y="395"/>
                  <a:pt x="4040" y="401"/>
                </a:cubicBezTo>
                <a:cubicBezTo>
                  <a:pt x="4043" y="407"/>
                  <a:pt x="4051" y="411"/>
                  <a:pt x="4057" y="411"/>
                </a:cubicBezTo>
                <a:cubicBezTo>
                  <a:pt x="4064" y="411"/>
                  <a:pt x="4067" y="406"/>
                  <a:pt x="4064" y="401"/>
                </a:cubicBezTo>
                <a:cubicBezTo>
                  <a:pt x="4060" y="395"/>
                  <a:pt x="4052" y="391"/>
                  <a:pt x="4046" y="391"/>
                </a:cubicBezTo>
                <a:cubicBezTo>
                  <a:pt x="4046" y="391"/>
                  <a:pt x="4046" y="391"/>
                  <a:pt x="4046" y="391"/>
                </a:cubicBezTo>
                <a:moveTo>
                  <a:pt x="363" y="389"/>
                </a:moveTo>
                <a:cubicBezTo>
                  <a:pt x="357" y="389"/>
                  <a:pt x="348" y="394"/>
                  <a:pt x="343" y="399"/>
                </a:cubicBezTo>
                <a:cubicBezTo>
                  <a:pt x="339" y="405"/>
                  <a:pt x="340" y="409"/>
                  <a:pt x="347" y="409"/>
                </a:cubicBezTo>
                <a:cubicBezTo>
                  <a:pt x="354" y="409"/>
                  <a:pt x="363" y="405"/>
                  <a:pt x="367" y="399"/>
                </a:cubicBezTo>
                <a:cubicBezTo>
                  <a:pt x="371" y="393"/>
                  <a:pt x="370" y="389"/>
                  <a:pt x="363" y="389"/>
                </a:cubicBezTo>
                <a:cubicBezTo>
                  <a:pt x="363" y="389"/>
                  <a:pt x="363" y="389"/>
                  <a:pt x="363" y="389"/>
                </a:cubicBezTo>
                <a:moveTo>
                  <a:pt x="397" y="389"/>
                </a:moveTo>
                <a:cubicBezTo>
                  <a:pt x="390" y="389"/>
                  <a:pt x="382" y="393"/>
                  <a:pt x="377" y="399"/>
                </a:cubicBezTo>
                <a:cubicBezTo>
                  <a:pt x="373" y="405"/>
                  <a:pt x="375" y="409"/>
                  <a:pt x="381" y="409"/>
                </a:cubicBezTo>
                <a:cubicBezTo>
                  <a:pt x="388" y="409"/>
                  <a:pt x="397" y="404"/>
                  <a:pt x="401" y="399"/>
                </a:cubicBezTo>
                <a:cubicBezTo>
                  <a:pt x="405" y="393"/>
                  <a:pt x="404" y="389"/>
                  <a:pt x="397" y="389"/>
                </a:cubicBezTo>
                <a:cubicBezTo>
                  <a:pt x="397" y="389"/>
                  <a:pt x="397" y="389"/>
                  <a:pt x="397" y="389"/>
                </a:cubicBezTo>
                <a:moveTo>
                  <a:pt x="431" y="389"/>
                </a:moveTo>
                <a:cubicBezTo>
                  <a:pt x="425" y="389"/>
                  <a:pt x="416" y="393"/>
                  <a:pt x="411" y="399"/>
                </a:cubicBezTo>
                <a:cubicBezTo>
                  <a:pt x="407" y="404"/>
                  <a:pt x="409" y="409"/>
                  <a:pt x="416" y="409"/>
                </a:cubicBezTo>
                <a:cubicBezTo>
                  <a:pt x="422" y="409"/>
                  <a:pt x="431" y="404"/>
                  <a:pt x="435" y="399"/>
                </a:cubicBezTo>
                <a:cubicBezTo>
                  <a:pt x="440" y="393"/>
                  <a:pt x="438" y="389"/>
                  <a:pt x="431" y="389"/>
                </a:cubicBezTo>
                <a:cubicBezTo>
                  <a:pt x="431" y="389"/>
                  <a:pt x="431" y="389"/>
                  <a:pt x="431" y="389"/>
                </a:cubicBezTo>
                <a:moveTo>
                  <a:pt x="465" y="388"/>
                </a:moveTo>
                <a:cubicBezTo>
                  <a:pt x="458" y="388"/>
                  <a:pt x="450" y="393"/>
                  <a:pt x="445" y="398"/>
                </a:cubicBezTo>
                <a:cubicBezTo>
                  <a:pt x="441" y="404"/>
                  <a:pt x="443" y="409"/>
                  <a:pt x="450" y="409"/>
                </a:cubicBezTo>
                <a:cubicBezTo>
                  <a:pt x="456" y="408"/>
                  <a:pt x="465" y="404"/>
                  <a:pt x="469" y="398"/>
                </a:cubicBezTo>
                <a:cubicBezTo>
                  <a:pt x="474" y="393"/>
                  <a:pt x="472" y="388"/>
                  <a:pt x="465" y="388"/>
                </a:cubicBezTo>
                <a:cubicBezTo>
                  <a:pt x="465" y="388"/>
                  <a:pt x="465" y="388"/>
                  <a:pt x="465" y="388"/>
                </a:cubicBezTo>
                <a:moveTo>
                  <a:pt x="499" y="388"/>
                </a:moveTo>
                <a:cubicBezTo>
                  <a:pt x="493" y="388"/>
                  <a:pt x="484" y="393"/>
                  <a:pt x="480" y="398"/>
                </a:cubicBezTo>
                <a:cubicBezTo>
                  <a:pt x="476" y="404"/>
                  <a:pt x="478" y="408"/>
                  <a:pt x="484" y="408"/>
                </a:cubicBezTo>
                <a:cubicBezTo>
                  <a:pt x="491" y="408"/>
                  <a:pt x="500" y="404"/>
                  <a:pt x="504" y="398"/>
                </a:cubicBezTo>
                <a:cubicBezTo>
                  <a:pt x="508" y="392"/>
                  <a:pt x="506" y="388"/>
                  <a:pt x="499" y="388"/>
                </a:cubicBezTo>
                <a:cubicBezTo>
                  <a:pt x="499" y="388"/>
                  <a:pt x="499" y="388"/>
                  <a:pt x="499" y="388"/>
                </a:cubicBezTo>
                <a:moveTo>
                  <a:pt x="534" y="388"/>
                </a:moveTo>
                <a:cubicBezTo>
                  <a:pt x="528" y="388"/>
                  <a:pt x="519" y="392"/>
                  <a:pt x="515" y="398"/>
                </a:cubicBezTo>
                <a:cubicBezTo>
                  <a:pt x="511" y="404"/>
                  <a:pt x="513" y="408"/>
                  <a:pt x="520" y="408"/>
                </a:cubicBezTo>
                <a:cubicBezTo>
                  <a:pt x="526" y="408"/>
                  <a:pt x="535" y="403"/>
                  <a:pt x="539" y="398"/>
                </a:cubicBezTo>
                <a:cubicBezTo>
                  <a:pt x="543" y="392"/>
                  <a:pt x="541" y="388"/>
                  <a:pt x="535" y="388"/>
                </a:cubicBezTo>
                <a:cubicBezTo>
                  <a:pt x="534" y="388"/>
                  <a:pt x="534" y="388"/>
                  <a:pt x="534" y="388"/>
                </a:cubicBezTo>
                <a:moveTo>
                  <a:pt x="568" y="387"/>
                </a:moveTo>
                <a:cubicBezTo>
                  <a:pt x="562" y="388"/>
                  <a:pt x="553" y="392"/>
                  <a:pt x="549" y="398"/>
                </a:cubicBezTo>
                <a:cubicBezTo>
                  <a:pt x="545" y="403"/>
                  <a:pt x="547" y="408"/>
                  <a:pt x="554" y="408"/>
                </a:cubicBezTo>
                <a:cubicBezTo>
                  <a:pt x="560" y="408"/>
                  <a:pt x="569" y="403"/>
                  <a:pt x="573" y="398"/>
                </a:cubicBezTo>
                <a:cubicBezTo>
                  <a:pt x="577" y="392"/>
                  <a:pt x="575" y="387"/>
                  <a:pt x="568" y="387"/>
                </a:cubicBezTo>
                <a:cubicBezTo>
                  <a:pt x="568" y="387"/>
                  <a:pt x="568" y="387"/>
                  <a:pt x="568" y="387"/>
                </a:cubicBezTo>
                <a:moveTo>
                  <a:pt x="602" y="387"/>
                </a:moveTo>
                <a:cubicBezTo>
                  <a:pt x="596" y="387"/>
                  <a:pt x="587" y="392"/>
                  <a:pt x="583" y="397"/>
                </a:cubicBezTo>
                <a:cubicBezTo>
                  <a:pt x="579" y="403"/>
                  <a:pt x="582" y="408"/>
                  <a:pt x="588" y="407"/>
                </a:cubicBezTo>
                <a:cubicBezTo>
                  <a:pt x="595" y="407"/>
                  <a:pt x="603" y="403"/>
                  <a:pt x="607" y="397"/>
                </a:cubicBezTo>
                <a:cubicBezTo>
                  <a:pt x="611" y="392"/>
                  <a:pt x="609" y="387"/>
                  <a:pt x="603" y="387"/>
                </a:cubicBezTo>
                <a:cubicBezTo>
                  <a:pt x="603" y="387"/>
                  <a:pt x="602" y="387"/>
                  <a:pt x="602" y="387"/>
                </a:cubicBezTo>
                <a:moveTo>
                  <a:pt x="637" y="387"/>
                </a:moveTo>
                <a:cubicBezTo>
                  <a:pt x="630" y="387"/>
                  <a:pt x="622" y="392"/>
                  <a:pt x="618" y="397"/>
                </a:cubicBezTo>
                <a:cubicBezTo>
                  <a:pt x="614" y="403"/>
                  <a:pt x="616" y="407"/>
                  <a:pt x="623" y="407"/>
                </a:cubicBezTo>
                <a:cubicBezTo>
                  <a:pt x="630" y="407"/>
                  <a:pt x="638" y="403"/>
                  <a:pt x="642" y="397"/>
                </a:cubicBezTo>
                <a:cubicBezTo>
                  <a:pt x="646" y="391"/>
                  <a:pt x="644" y="387"/>
                  <a:pt x="637" y="387"/>
                </a:cubicBezTo>
                <a:cubicBezTo>
                  <a:pt x="637" y="387"/>
                  <a:pt x="637" y="387"/>
                  <a:pt x="637" y="387"/>
                </a:cubicBezTo>
                <a:moveTo>
                  <a:pt x="671" y="387"/>
                </a:moveTo>
                <a:cubicBezTo>
                  <a:pt x="664" y="387"/>
                  <a:pt x="656" y="391"/>
                  <a:pt x="652" y="397"/>
                </a:cubicBezTo>
                <a:cubicBezTo>
                  <a:pt x="648" y="403"/>
                  <a:pt x="650" y="407"/>
                  <a:pt x="657" y="407"/>
                </a:cubicBezTo>
                <a:cubicBezTo>
                  <a:pt x="664" y="407"/>
                  <a:pt x="672" y="402"/>
                  <a:pt x="676" y="397"/>
                </a:cubicBezTo>
                <a:cubicBezTo>
                  <a:pt x="680" y="391"/>
                  <a:pt x="677" y="387"/>
                  <a:pt x="671" y="387"/>
                </a:cubicBezTo>
                <a:cubicBezTo>
                  <a:pt x="671" y="387"/>
                  <a:pt x="671" y="387"/>
                  <a:pt x="671" y="387"/>
                </a:cubicBezTo>
                <a:moveTo>
                  <a:pt x="705" y="386"/>
                </a:moveTo>
                <a:cubicBezTo>
                  <a:pt x="698" y="387"/>
                  <a:pt x="690" y="391"/>
                  <a:pt x="686" y="397"/>
                </a:cubicBezTo>
                <a:cubicBezTo>
                  <a:pt x="682" y="402"/>
                  <a:pt x="685" y="407"/>
                  <a:pt x="691" y="407"/>
                </a:cubicBezTo>
                <a:cubicBezTo>
                  <a:pt x="698" y="407"/>
                  <a:pt x="706" y="402"/>
                  <a:pt x="710" y="397"/>
                </a:cubicBezTo>
                <a:cubicBezTo>
                  <a:pt x="714" y="391"/>
                  <a:pt x="711" y="386"/>
                  <a:pt x="705" y="386"/>
                </a:cubicBezTo>
                <a:cubicBezTo>
                  <a:pt x="705" y="386"/>
                  <a:pt x="705" y="386"/>
                  <a:pt x="705" y="386"/>
                </a:cubicBezTo>
                <a:moveTo>
                  <a:pt x="739" y="386"/>
                </a:moveTo>
                <a:cubicBezTo>
                  <a:pt x="732" y="386"/>
                  <a:pt x="724" y="391"/>
                  <a:pt x="720" y="396"/>
                </a:cubicBezTo>
                <a:cubicBezTo>
                  <a:pt x="716" y="402"/>
                  <a:pt x="719" y="407"/>
                  <a:pt x="726" y="406"/>
                </a:cubicBezTo>
                <a:cubicBezTo>
                  <a:pt x="732" y="406"/>
                  <a:pt x="740" y="402"/>
                  <a:pt x="744" y="396"/>
                </a:cubicBezTo>
                <a:cubicBezTo>
                  <a:pt x="748" y="391"/>
                  <a:pt x="745" y="386"/>
                  <a:pt x="739" y="386"/>
                </a:cubicBezTo>
                <a:cubicBezTo>
                  <a:pt x="739" y="386"/>
                  <a:pt x="739" y="386"/>
                  <a:pt x="739" y="386"/>
                </a:cubicBezTo>
                <a:moveTo>
                  <a:pt x="773" y="386"/>
                </a:moveTo>
                <a:cubicBezTo>
                  <a:pt x="766" y="386"/>
                  <a:pt x="758" y="391"/>
                  <a:pt x="754" y="396"/>
                </a:cubicBezTo>
                <a:cubicBezTo>
                  <a:pt x="751" y="402"/>
                  <a:pt x="753" y="406"/>
                  <a:pt x="760" y="406"/>
                </a:cubicBezTo>
                <a:cubicBezTo>
                  <a:pt x="767" y="406"/>
                  <a:pt x="775" y="402"/>
                  <a:pt x="778" y="396"/>
                </a:cubicBezTo>
                <a:cubicBezTo>
                  <a:pt x="782" y="390"/>
                  <a:pt x="780" y="386"/>
                  <a:pt x="773" y="386"/>
                </a:cubicBezTo>
                <a:cubicBezTo>
                  <a:pt x="773" y="386"/>
                  <a:pt x="773" y="386"/>
                  <a:pt x="773" y="386"/>
                </a:cubicBezTo>
                <a:moveTo>
                  <a:pt x="807" y="386"/>
                </a:moveTo>
                <a:cubicBezTo>
                  <a:pt x="801" y="386"/>
                  <a:pt x="793" y="390"/>
                  <a:pt x="789" y="396"/>
                </a:cubicBezTo>
                <a:cubicBezTo>
                  <a:pt x="786" y="402"/>
                  <a:pt x="788" y="406"/>
                  <a:pt x="795" y="406"/>
                </a:cubicBezTo>
                <a:cubicBezTo>
                  <a:pt x="801" y="406"/>
                  <a:pt x="809" y="401"/>
                  <a:pt x="813" y="396"/>
                </a:cubicBezTo>
                <a:cubicBezTo>
                  <a:pt x="816" y="390"/>
                  <a:pt x="814" y="386"/>
                  <a:pt x="807" y="386"/>
                </a:cubicBezTo>
                <a:cubicBezTo>
                  <a:pt x="807" y="386"/>
                  <a:pt x="807" y="386"/>
                  <a:pt x="807" y="386"/>
                </a:cubicBezTo>
                <a:moveTo>
                  <a:pt x="841" y="385"/>
                </a:moveTo>
                <a:cubicBezTo>
                  <a:pt x="835" y="386"/>
                  <a:pt x="826" y="390"/>
                  <a:pt x="823" y="396"/>
                </a:cubicBezTo>
                <a:cubicBezTo>
                  <a:pt x="820" y="401"/>
                  <a:pt x="822" y="406"/>
                  <a:pt x="829" y="406"/>
                </a:cubicBezTo>
                <a:cubicBezTo>
                  <a:pt x="835" y="406"/>
                  <a:pt x="844" y="401"/>
                  <a:pt x="847" y="396"/>
                </a:cubicBezTo>
                <a:cubicBezTo>
                  <a:pt x="850" y="390"/>
                  <a:pt x="848" y="385"/>
                  <a:pt x="841" y="385"/>
                </a:cubicBezTo>
                <a:cubicBezTo>
                  <a:pt x="841" y="385"/>
                  <a:pt x="841" y="385"/>
                  <a:pt x="841" y="385"/>
                </a:cubicBezTo>
                <a:moveTo>
                  <a:pt x="873" y="385"/>
                </a:moveTo>
                <a:cubicBezTo>
                  <a:pt x="867" y="385"/>
                  <a:pt x="859" y="390"/>
                  <a:pt x="855" y="395"/>
                </a:cubicBezTo>
                <a:cubicBezTo>
                  <a:pt x="852" y="401"/>
                  <a:pt x="855" y="406"/>
                  <a:pt x="861" y="406"/>
                </a:cubicBezTo>
                <a:cubicBezTo>
                  <a:pt x="868" y="405"/>
                  <a:pt x="876" y="401"/>
                  <a:pt x="879" y="395"/>
                </a:cubicBezTo>
                <a:cubicBezTo>
                  <a:pt x="883" y="390"/>
                  <a:pt x="880" y="385"/>
                  <a:pt x="874" y="385"/>
                </a:cubicBezTo>
                <a:cubicBezTo>
                  <a:pt x="874" y="385"/>
                  <a:pt x="874" y="385"/>
                  <a:pt x="873" y="385"/>
                </a:cubicBezTo>
                <a:moveTo>
                  <a:pt x="908" y="385"/>
                </a:moveTo>
                <a:cubicBezTo>
                  <a:pt x="901" y="385"/>
                  <a:pt x="893" y="390"/>
                  <a:pt x="890" y="395"/>
                </a:cubicBezTo>
                <a:cubicBezTo>
                  <a:pt x="887" y="401"/>
                  <a:pt x="889" y="405"/>
                  <a:pt x="896" y="405"/>
                </a:cubicBezTo>
                <a:cubicBezTo>
                  <a:pt x="903" y="405"/>
                  <a:pt x="911" y="401"/>
                  <a:pt x="914" y="395"/>
                </a:cubicBezTo>
                <a:cubicBezTo>
                  <a:pt x="917" y="389"/>
                  <a:pt x="915" y="385"/>
                  <a:pt x="908" y="385"/>
                </a:cubicBezTo>
                <a:cubicBezTo>
                  <a:pt x="908" y="385"/>
                  <a:pt x="908" y="385"/>
                  <a:pt x="908" y="385"/>
                </a:cubicBezTo>
                <a:moveTo>
                  <a:pt x="942" y="385"/>
                </a:moveTo>
                <a:cubicBezTo>
                  <a:pt x="935" y="385"/>
                  <a:pt x="927" y="389"/>
                  <a:pt x="924" y="395"/>
                </a:cubicBezTo>
                <a:cubicBezTo>
                  <a:pt x="921" y="401"/>
                  <a:pt x="923" y="405"/>
                  <a:pt x="930" y="405"/>
                </a:cubicBezTo>
                <a:cubicBezTo>
                  <a:pt x="937" y="405"/>
                  <a:pt x="945" y="400"/>
                  <a:pt x="948" y="395"/>
                </a:cubicBezTo>
                <a:cubicBezTo>
                  <a:pt x="951" y="389"/>
                  <a:pt x="948" y="385"/>
                  <a:pt x="942" y="385"/>
                </a:cubicBezTo>
                <a:cubicBezTo>
                  <a:pt x="942" y="385"/>
                  <a:pt x="942" y="385"/>
                  <a:pt x="942" y="385"/>
                </a:cubicBezTo>
                <a:moveTo>
                  <a:pt x="1044" y="384"/>
                </a:moveTo>
                <a:cubicBezTo>
                  <a:pt x="1037" y="384"/>
                  <a:pt x="1029" y="389"/>
                  <a:pt x="1026" y="394"/>
                </a:cubicBezTo>
                <a:cubicBezTo>
                  <a:pt x="1023" y="400"/>
                  <a:pt x="1026" y="404"/>
                  <a:pt x="1033" y="404"/>
                </a:cubicBezTo>
                <a:cubicBezTo>
                  <a:pt x="1039" y="404"/>
                  <a:pt x="1047" y="400"/>
                  <a:pt x="1050" y="394"/>
                </a:cubicBezTo>
                <a:cubicBezTo>
                  <a:pt x="1053" y="388"/>
                  <a:pt x="1050" y="384"/>
                  <a:pt x="1044" y="384"/>
                </a:cubicBezTo>
                <a:cubicBezTo>
                  <a:pt x="1044" y="384"/>
                  <a:pt x="1044" y="384"/>
                  <a:pt x="1044" y="384"/>
                </a:cubicBezTo>
                <a:moveTo>
                  <a:pt x="1078" y="384"/>
                </a:moveTo>
                <a:cubicBezTo>
                  <a:pt x="1072" y="384"/>
                  <a:pt x="1064" y="388"/>
                  <a:pt x="1061" y="394"/>
                </a:cubicBezTo>
                <a:cubicBezTo>
                  <a:pt x="1058" y="400"/>
                  <a:pt x="1061" y="404"/>
                  <a:pt x="1068" y="404"/>
                </a:cubicBezTo>
                <a:cubicBezTo>
                  <a:pt x="1074" y="404"/>
                  <a:pt x="1082" y="399"/>
                  <a:pt x="1085" y="394"/>
                </a:cubicBezTo>
                <a:cubicBezTo>
                  <a:pt x="1088" y="388"/>
                  <a:pt x="1085" y="384"/>
                  <a:pt x="1078" y="384"/>
                </a:cubicBezTo>
                <a:cubicBezTo>
                  <a:pt x="1078" y="384"/>
                  <a:pt x="1078" y="384"/>
                  <a:pt x="1078" y="384"/>
                </a:cubicBezTo>
                <a:moveTo>
                  <a:pt x="1112" y="383"/>
                </a:moveTo>
                <a:cubicBezTo>
                  <a:pt x="1105" y="383"/>
                  <a:pt x="1098" y="388"/>
                  <a:pt x="1095" y="394"/>
                </a:cubicBezTo>
                <a:cubicBezTo>
                  <a:pt x="1092" y="399"/>
                  <a:pt x="1095" y="404"/>
                  <a:pt x="1102" y="404"/>
                </a:cubicBezTo>
                <a:cubicBezTo>
                  <a:pt x="1108" y="404"/>
                  <a:pt x="1116" y="399"/>
                  <a:pt x="1119" y="394"/>
                </a:cubicBezTo>
                <a:cubicBezTo>
                  <a:pt x="1122" y="388"/>
                  <a:pt x="1119" y="383"/>
                  <a:pt x="1112" y="383"/>
                </a:cubicBezTo>
                <a:cubicBezTo>
                  <a:pt x="1112" y="383"/>
                  <a:pt x="1112" y="383"/>
                  <a:pt x="1112" y="383"/>
                </a:cubicBezTo>
                <a:moveTo>
                  <a:pt x="1145" y="383"/>
                </a:moveTo>
                <a:cubicBezTo>
                  <a:pt x="1139" y="383"/>
                  <a:pt x="1131" y="388"/>
                  <a:pt x="1128" y="393"/>
                </a:cubicBezTo>
                <a:cubicBezTo>
                  <a:pt x="1126" y="399"/>
                  <a:pt x="1129" y="404"/>
                  <a:pt x="1135" y="404"/>
                </a:cubicBezTo>
                <a:cubicBezTo>
                  <a:pt x="1142" y="403"/>
                  <a:pt x="1150" y="399"/>
                  <a:pt x="1152" y="393"/>
                </a:cubicBezTo>
                <a:cubicBezTo>
                  <a:pt x="1155" y="388"/>
                  <a:pt x="1152" y="383"/>
                  <a:pt x="1146" y="383"/>
                </a:cubicBezTo>
                <a:cubicBezTo>
                  <a:pt x="1146" y="383"/>
                  <a:pt x="1145" y="383"/>
                  <a:pt x="1145" y="383"/>
                </a:cubicBezTo>
                <a:moveTo>
                  <a:pt x="1180" y="383"/>
                </a:moveTo>
                <a:cubicBezTo>
                  <a:pt x="1173" y="383"/>
                  <a:pt x="1166" y="388"/>
                  <a:pt x="1163" y="393"/>
                </a:cubicBezTo>
                <a:cubicBezTo>
                  <a:pt x="1160" y="399"/>
                  <a:pt x="1163" y="403"/>
                  <a:pt x="1170" y="403"/>
                </a:cubicBezTo>
                <a:cubicBezTo>
                  <a:pt x="1177" y="403"/>
                  <a:pt x="1184" y="399"/>
                  <a:pt x="1187" y="393"/>
                </a:cubicBezTo>
                <a:cubicBezTo>
                  <a:pt x="1190" y="387"/>
                  <a:pt x="1186" y="383"/>
                  <a:pt x="1180" y="383"/>
                </a:cubicBezTo>
                <a:cubicBezTo>
                  <a:pt x="1180" y="383"/>
                  <a:pt x="1180" y="383"/>
                  <a:pt x="1180" y="383"/>
                </a:cubicBezTo>
                <a:moveTo>
                  <a:pt x="1214" y="383"/>
                </a:moveTo>
                <a:cubicBezTo>
                  <a:pt x="1207" y="383"/>
                  <a:pt x="1200" y="387"/>
                  <a:pt x="1197" y="393"/>
                </a:cubicBezTo>
                <a:cubicBezTo>
                  <a:pt x="1194" y="399"/>
                  <a:pt x="1197" y="403"/>
                  <a:pt x="1204" y="403"/>
                </a:cubicBezTo>
                <a:cubicBezTo>
                  <a:pt x="1211" y="403"/>
                  <a:pt x="1218" y="398"/>
                  <a:pt x="1221" y="393"/>
                </a:cubicBezTo>
                <a:cubicBezTo>
                  <a:pt x="1223" y="387"/>
                  <a:pt x="1220" y="383"/>
                  <a:pt x="1214" y="383"/>
                </a:cubicBezTo>
                <a:cubicBezTo>
                  <a:pt x="1214" y="383"/>
                  <a:pt x="1214" y="383"/>
                  <a:pt x="1214" y="383"/>
                </a:cubicBezTo>
                <a:moveTo>
                  <a:pt x="1249" y="382"/>
                </a:moveTo>
                <a:cubicBezTo>
                  <a:pt x="1242" y="382"/>
                  <a:pt x="1235" y="387"/>
                  <a:pt x="1232" y="393"/>
                </a:cubicBezTo>
                <a:cubicBezTo>
                  <a:pt x="1229" y="398"/>
                  <a:pt x="1233" y="403"/>
                  <a:pt x="1239" y="403"/>
                </a:cubicBezTo>
                <a:cubicBezTo>
                  <a:pt x="1246" y="403"/>
                  <a:pt x="1253" y="398"/>
                  <a:pt x="1256" y="392"/>
                </a:cubicBezTo>
                <a:cubicBezTo>
                  <a:pt x="1258" y="387"/>
                  <a:pt x="1255" y="382"/>
                  <a:pt x="1249" y="382"/>
                </a:cubicBezTo>
                <a:cubicBezTo>
                  <a:pt x="1249" y="382"/>
                  <a:pt x="1249" y="382"/>
                  <a:pt x="1249" y="382"/>
                </a:cubicBezTo>
                <a:moveTo>
                  <a:pt x="1283" y="382"/>
                </a:moveTo>
                <a:cubicBezTo>
                  <a:pt x="1276" y="382"/>
                  <a:pt x="1269" y="387"/>
                  <a:pt x="1266" y="392"/>
                </a:cubicBezTo>
                <a:cubicBezTo>
                  <a:pt x="1264" y="398"/>
                  <a:pt x="1267" y="403"/>
                  <a:pt x="1274" y="402"/>
                </a:cubicBezTo>
                <a:cubicBezTo>
                  <a:pt x="1280" y="402"/>
                  <a:pt x="1288" y="398"/>
                  <a:pt x="1290" y="392"/>
                </a:cubicBezTo>
                <a:cubicBezTo>
                  <a:pt x="1293" y="387"/>
                  <a:pt x="1290" y="382"/>
                  <a:pt x="1283" y="382"/>
                </a:cubicBezTo>
                <a:cubicBezTo>
                  <a:pt x="1283" y="382"/>
                  <a:pt x="1283" y="382"/>
                  <a:pt x="1283" y="382"/>
                </a:cubicBezTo>
                <a:moveTo>
                  <a:pt x="1317" y="382"/>
                </a:moveTo>
                <a:cubicBezTo>
                  <a:pt x="1310" y="382"/>
                  <a:pt x="1303" y="387"/>
                  <a:pt x="1300" y="392"/>
                </a:cubicBezTo>
                <a:cubicBezTo>
                  <a:pt x="1298" y="398"/>
                  <a:pt x="1301" y="402"/>
                  <a:pt x="1308" y="402"/>
                </a:cubicBezTo>
                <a:cubicBezTo>
                  <a:pt x="1315" y="402"/>
                  <a:pt x="1322" y="398"/>
                  <a:pt x="1324" y="392"/>
                </a:cubicBezTo>
                <a:cubicBezTo>
                  <a:pt x="1327" y="386"/>
                  <a:pt x="1323" y="382"/>
                  <a:pt x="1317" y="382"/>
                </a:cubicBezTo>
                <a:cubicBezTo>
                  <a:pt x="1317" y="382"/>
                  <a:pt x="1317" y="382"/>
                  <a:pt x="1317" y="382"/>
                </a:cubicBezTo>
                <a:moveTo>
                  <a:pt x="1960" y="378"/>
                </a:moveTo>
                <a:cubicBezTo>
                  <a:pt x="1954" y="378"/>
                  <a:pt x="1947" y="382"/>
                  <a:pt x="1946" y="388"/>
                </a:cubicBezTo>
                <a:cubicBezTo>
                  <a:pt x="1945" y="394"/>
                  <a:pt x="1950" y="398"/>
                  <a:pt x="1956" y="398"/>
                </a:cubicBezTo>
                <a:cubicBezTo>
                  <a:pt x="1963" y="398"/>
                  <a:pt x="1969" y="393"/>
                  <a:pt x="1970" y="388"/>
                </a:cubicBezTo>
                <a:cubicBezTo>
                  <a:pt x="1971" y="382"/>
                  <a:pt x="1967" y="378"/>
                  <a:pt x="1960" y="378"/>
                </a:cubicBezTo>
                <a:cubicBezTo>
                  <a:pt x="1960" y="378"/>
                  <a:pt x="1960" y="378"/>
                  <a:pt x="1960" y="378"/>
                </a:cubicBezTo>
                <a:moveTo>
                  <a:pt x="2029" y="377"/>
                </a:moveTo>
                <a:cubicBezTo>
                  <a:pt x="2022" y="377"/>
                  <a:pt x="2016" y="382"/>
                  <a:pt x="2015" y="388"/>
                </a:cubicBezTo>
                <a:cubicBezTo>
                  <a:pt x="2014" y="393"/>
                  <a:pt x="2019" y="398"/>
                  <a:pt x="2025" y="398"/>
                </a:cubicBezTo>
                <a:cubicBezTo>
                  <a:pt x="2032" y="398"/>
                  <a:pt x="2038" y="393"/>
                  <a:pt x="2039" y="387"/>
                </a:cubicBezTo>
                <a:cubicBezTo>
                  <a:pt x="2040" y="382"/>
                  <a:pt x="2035" y="377"/>
                  <a:pt x="2029" y="377"/>
                </a:cubicBezTo>
                <a:cubicBezTo>
                  <a:pt x="2029" y="377"/>
                  <a:pt x="2029" y="377"/>
                  <a:pt x="2029" y="377"/>
                </a:cubicBezTo>
                <a:moveTo>
                  <a:pt x="2063" y="377"/>
                </a:moveTo>
                <a:cubicBezTo>
                  <a:pt x="2057" y="377"/>
                  <a:pt x="2051" y="382"/>
                  <a:pt x="2050" y="387"/>
                </a:cubicBezTo>
                <a:cubicBezTo>
                  <a:pt x="2049" y="393"/>
                  <a:pt x="2053" y="397"/>
                  <a:pt x="2060" y="397"/>
                </a:cubicBezTo>
                <a:cubicBezTo>
                  <a:pt x="2066" y="397"/>
                  <a:pt x="2073" y="393"/>
                  <a:pt x="2073" y="387"/>
                </a:cubicBezTo>
                <a:cubicBezTo>
                  <a:pt x="2074" y="381"/>
                  <a:pt x="2070" y="377"/>
                  <a:pt x="2063" y="377"/>
                </a:cubicBezTo>
                <a:cubicBezTo>
                  <a:pt x="2063" y="377"/>
                  <a:pt x="2063" y="377"/>
                  <a:pt x="2063" y="377"/>
                </a:cubicBezTo>
                <a:moveTo>
                  <a:pt x="2132" y="376"/>
                </a:moveTo>
                <a:cubicBezTo>
                  <a:pt x="2125" y="376"/>
                  <a:pt x="2119" y="381"/>
                  <a:pt x="2118" y="386"/>
                </a:cubicBezTo>
                <a:cubicBezTo>
                  <a:pt x="2117" y="392"/>
                  <a:pt x="2122" y="396"/>
                  <a:pt x="2129" y="396"/>
                </a:cubicBezTo>
                <a:cubicBezTo>
                  <a:pt x="2135" y="396"/>
                  <a:pt x="2141" y="392"/>
                  <a:pt x="2142" y="386"/>
                </a:cubicBezTo>
                <a:cubicBezTo>
                  <a:pt x="2143" y="380"/>
                  <a:pt x="2138" y="376"/>
                  <a:pt x="2132" y="376"/>
                </a:cubicBezTo>
                <a:cubicBezTo>
                  <a:pt x="2132" y="376"/>
                  <a:pt x="2132" y="376"/>
                  <a:pt x="2132" y="376"/>
                </a:cubicBezTo>
                <a:moveTo>
                  <a:pt x="2166" y="376"/>
                </a:moveTo>
                <a:cubicBezTo>
                  <a:pt x="2160" y="376"/>
                  <a:pt x="2154" y="380"/>
                  <a:pt x="2153" y="386"/>
                </a:cubicBezTo>
                <a:cubicBezTo>
                  <a:pt x="2152" y="392"/>
                  <a:pt x="2157" y="396"/>
                  <a:pt x="2164" y="396"/>
                </a:cubicBezTo>
                <a:cubicBezTo>
                  <a:pt x="2170" y="396"/>
                  <a:pt x="2176" y="391"/>
                  <a:pt x="2177" y="386"/>
                </a:cubicBezTo>
                <a:cubicBezTo>
                  <a:pt x="2178" y="380"/>
                  <a:pt x="2173" y="376"/>
                  <a:pt x="2166" y="376"/>
                </a:cubicBezTo>
                <a:cubicBezTo>
                  <a:pt x="2166" y="376"/>
                  <a:pt x="2166" y="376"/>
                  <a:pt x="2166" y="376"/>
                </a:cubicBezTo>
                <a:moveTo>
                  <a:pt x="2200" y="375"/>
                </a:moveTo>
                <a:cubicBezTo>
                  <a:pt x="2194" y="375"/>
                  <a:pt x="2188" y="380"/>
                  <a:pt x="2187" y="386"/>
                </a:cubicBezTo>
                <a:cubicBezTo>
                  <a:pt x="2186" y="391"/>
                  <a:pt x="2191" y="396"/>
                  <a:pt x="2198" y="396"/>
                </a:cubicBezTo>
                <a:cubicBezTo>
                  <a:pt x="2204" y="396"/>
                  <a:pt x="2210" y="391"/>
                  <a:pt x="2211" y="386"/>
                </a:cubicBezTo>
                <a:cubicBezTo>
                  <a:pt x="2211" y="380"/>
                  <a:pt x="2207" y="375"/>
                  <a:pt x="2200" y="375"/>
                </a:cubicBezTo>
                <a:cubicBezTo>
                  <a:pt x="2200" y="375"/>
                  <a:pt x="2200" y="375"/>
                  <a:pt x="2200" y="375"/>
                </a:cubicBezTo>
                <a:moveTo>
                  <a:pt x="2235" y="375"/>
                </a:moveTo>
                <a:cubicBezTo>
                  <a:pt x="2228" y="375"/>
                  <a:pt x="2223" y="380"/>
                  <a:pt x="2222" y="385"/>
                </a:cubicBezTo>
                <a:cubicBezTo>
                  <a:pt x="2221" y="391"/>
                  <a:pt x="2226" y="396"/>
                  <a:pt x="2233" y="396"/>
                </a:cubicBezTo>
                <a:cubicBezTo>
                  <a:pt x="2239" y="396"/>
                  <a:pt x="2245" y="391"/>
                  <a:pt x="2246" y="385"/>
                </a:cubicBezTo>
                <a:cubicBezTo>
                  <a:pt x="2246" y="380"/>
                  <a:pt x="2241" y="375"/>
                  <a:pt x="2235" y="375"/>
                </a:cubicBezTo>
                <a:cubicBezTo>
                  <a:pt x="2235" y="375"/>
                  <a:pt x="2235" y="375"/>
                  <a:pt x="2235" y="375"/>
                </a:cubicBezTo>
                <a:moveTo>
                  <a:pt x="2269" y="375"/>
                </a:moveTo>
                <a:cubicBezTo>
                  <a:pt x="2262" y="375"/>
                  <a:pt x="2256" y="380"/>
                  <a:pt x="2256" y="385"/>
                </a:cubicBezTo>
                <a:cubicBezTo>
                  <a:pt x="2255" y="391"/>
                  <a:pt x="2260" y="395"/>
                  <a:pt x="2267" y="395"/>
                </a:cubicBezTo>
                <a:cubicBezTo>
                  <a:pt x="2273" y="395"/>
                  <a:pt x="2279" y="391"/>
                  <a:pt x="2280" y="385"/>
                </a:cubicBezTo>
                <a:cubicBezTo>
                  <a:pt x="2280" y="379"/>
                  <a:pt x="2275" y="375"/>
                  <a:pt x="2269" y="375"/>
                </a:cubicBezTo>
                <a:cubicBezTo>
                  <a:pt x="2269" y="375"/>
                  <a:pt x="2269" y="375"/>
                  <a:pt x="2269" y="375"/>
                </a:cubicBezTo>
                <a:moveTo>
                  <a:pt x="2574" y="375"/>
                </a:moveTo>
                <a:cubicBezTo>
                  <a:pt x="2567" y="375"/>
                  <a:pt x="2562" y="379"/>
                  <a:pt x="2562" y="385"/>
                </a:cubicBezTo>
                <a:cubicBezTo>
                  <a:pt x="2562" y="391"/>
                  <a:pt x="2568" y="395"/>
                  <a:pt x="2574" y="395"/>
                </a:cubicBezTo>
                <a:cubicBezTo>
                  <a:pt x="2581" y="395"/>
                  <a:pt x="2586" y="391"/>
                  <a:pt x="2586" y="385"/>
                </a:cubicBezTo>
                <a:cubicBezTo>
                  <a:pt x="2586" y="379"/>
                  <a:pt x="2580" y="375"/>
                  <a:pt x="2574" y="375"/>
                </a:cubicBezTo>
                <a:cubicBezTo>
                  <a:pt x="2574" y="375"/>
                  <a:pt x="2574" y="375"/>
                  <a:pt x="2574" y="375"/>
                </a:cubicBezTo>
                <a:moveTo>
                  <a:pt x="2302" y="375"/>
                </a:moveTo>
                <a:cubicBezTo>
                  <a:pt x="2296" y="375"/>
                  <a:pt x="2290" y="379"/>
                  <a:pt x="2289" y="385"/>
                </a:cubicBezTo>
                <a:cubicBezTo>
                  <a:pt x="2289" y="391"/>
                  <a:pt x="2294" y="395"/>
                  <a:pt x="2301" y="395"/>
                </a:cubicBezTo>
                <a:cubicBezTo>
                  <a:pt x="2307" y="395"/>
                  <a:pt x="2313" y="390"/>
                  <a:pt x="2313" y="385"/>
                </a:cubicBezTo>
                <a:cubicBezTo>
                  <a:pt x="2314" y="379"/>
                  <a:pt x="2309" y="375"/>
                  <a:pt x="2302" y="375"/>
                </a:cubicBezTo>
                <a:cubicBezTo>
                  <a:pt x="2302" y="375"/>
                  <a:pt x="2302" y="375"/>
                  <a:pt x="2302" y="375"/>
                </a:cubicBezTo>
                <a:moveTo>
                  <a:pt x="2336" y="374"/>
                </a:moveTo>
                <a:cubicBezTo>
                  <a:pt x="2329" y="374"/>
                  <a:pt x="2324" y="379"/>
                  <a:pt x="2323" y="385"/>
                </a:cubicBezTo>
                <a:cubicBezTo>
                  <a:pt x="2323" y="390"/>
                  <a:pt x="2328" y="395"/>
                  <a:pt x="2335" y="395"/>
                </a:cubicBezTo>
                <a:cubicBezTo>
                  <a:pt x="2341" y="395"/>
                  <a:pt x="2347" y="390"/>
                  <a:pt x="2347" y="385"/>
                </a:cubicBezTo>
                <a:cubicBezTo>
                  <a:pt x="2347" y="379"/>
                  <a:pt x="2342" y="374"/>
                  <a:pt x="2336" y="374"/>
                </a:cubicBezTo>
                <a:cubicBezTo>
                  <a:pt x="2336" y="374"/>
                  <a:pt x="2336" y="374"/>
                  <a:pt x="2336" y="374"/>
                </a:cubicBezTo>
                <a:moveTo>
                  <a:pt x="2370" y="374"/>
                </a:moveTo>
                <a:cubicBezTo>
                  <a:pt x="2363" y="374"/>
                  <a:pt x="2358" y="379"/>
                  <a:pt x="2357" y="384"/>
                </a:cubicBezTo>
                <a:cubicBezTo>
                  <a:pt x="2357" y="390"/>
                  <a:pt x="2362" y="395"/>
                  <a:pt x="2369" y="395"/>
                </a:cubicBezTo>
                <a:cubicBezTo>
                  <a:pt x="2375" y="395"/>
                  <a:pt x="2381" y="390"/>
                  <a:pt x="2381" y="384"/>
                </a:cubicBezTo>
                <a:cubicBezTo>
                  <a:pt x="2381" y="379"/>
                  <a:pt x="2376" y="374"/>
                  <a:pt x="2370" y="374"/>
                </a:cubicBezTo>
                <a:cubicBezTo>
                  <a:pt x="2370" y="374"/>
                  <a:pt x="2370" y="374"/>
                  <a:pt x="2370" y="374"/>
                </a:cubicBezTo>
                <a:moveTo>
                  <a:pt x="2404" y="374"/>
                </a:moveTo>
                <a:cubicBezTo>
                  <a:pt x="2398" y="374"/>
                  <a:pt x="2392" y="379"/>
                  <a:pt x="2392" y="384"/>
                </a:cubicBezTo>
                <a:cubicBezTo>
                  <a:pt x="2392" y="390"/>
                  <a:pt x="2397" y="394"/>
                  <a:pt x="2403" y="394"/>
                </a:cubicBezTo>
                <a:cubicBezTo>
                  <a:pt x="2410" y="394"/>
                  <a:pt x="2416" y="390"/>
                  <a:pt x="2416" y="384"/>
                </a:cubicBezTo>
                <a:cubicBezTo>
                  <a:pt x="2416" y="378"/>
                  <a:pt x="2411" y="374"/>
                  <a:pt x="2404" y="374"/>
                </a:cubicBezTo>
                <a:cubicBezTo>
                  <a:pt x="2404" y="374"/>
                  <a:pt x="2404" y="374"/>
                  <a:pt x="2404" y="374"/>
                </a:cubicBezTo>
                <a:moveTo>
                  <a:pt x="2608" y="374"/>
                </a:moveTo>
                <a:cubicBezTo>
                  <a:pt x="2602" y="374"/>
                  <a:pt x="2597" y="378"/>
                  <a:pt x="2597" y="384"/>
                </a:cubicBezTo>
                <a:cubicBezTo>
                  <a:pt x="2597" y="390"/>
                  <a:pt x="2603" y="394"/>
                  <a:pt x="2609" y="394"/>
                </a:cubicBezTo>
                <a:cubicBezTo>
                  <a:pt x="2616" y="394"/>
                  <a:pt x="2621" y="389"/>
                  <a:pt x="2621" y="384"/>
                </a:cubicBezTo>
                <a:cubicBezTo>
                  <a:pt x="2621" y="378"/>
                  <a:pt x="2615" y="374"/>
                  <a:pt x="2609" y="374"/>
                </a:cubicBezTo>
                <a:cubicBezTo>
                  <a:pt x="2609" y="374"/>
                  <a:pt x="2609" y="374"/>
                  <a:pt x="2608" y="374"/>
                </a:cubicBezTo>
                <a:moveTo>
                  <a:pt x="2438" y="374"/>
                </a:moveTo>
                <a:cubicBezTo>
                  <a:pt x="2431" y="374"/>
                  <a:pt x="2426" y="378"/>
                  <a:pt x="2426" y="384"/>
                </a:cubicBezTo>
                <a:cubicBezTo>
                  <a:pt x="2426" y="390"/>
                  <a:pt x="2431" y="394"/>
                  <a:pt x="2437" y="394"/>
                </a:cubicBezTo>
                <a:cubicBezTo>
                  <a:pt x="2444" y="394"/>
                  <a:pt x="2449" y="389"/>
                  <a:pt x="2450" y="384"/>
                </a:cubicBezTo>
                <a:cubicBezTo>
                  <a:pt x="2450" y="378"/>
                  <a:pt x="2444" y="374"/>
                  <a:pt x="2438" y="374"/>
                </a:cubicBezTo>
                <a:cubicBezTo>
                  <a:pt x="2438" y="374"/>
                  <a:pt x="2438" y="374"/>
                  <a:pt x="2438" y="374"/>
                </a:cubicBezTo>
                <a:moveTo>
                  <a:pt x="2642" y="373"/>
                </a:moveTo>
                <a:cubicBezTo>
                  <a:pt x="2636" y="373"/>
                  <a:pt x="2631" y="378"/>
                  <a:pt x="2631" y="384"/>
                </a:cubicBezTo>
                <a:cubicBezTo>
                  <a:pt x="2631" y="389"/>
                  <a:pt x="2637" y="394"/>
                  <a:pt x="2643" y="394"/>
                </a:cubicBezTo>
                <a:cubicBezTo>
                  <a:pt x="2650" y="394"/>
                  <a:pt x="2655" y="389"/>
                  <a:pt x="2655" y="384"/>
                </a:cubicBezTo>
                <a:cubicBezTo>
                  <a:pt x="2654" y="378"/>
                  <a:pt x="2649" y="373"/>
                  <a:pt x="2642" y="373"/>
                </a:cubicBezTo>
                <a:cubicBezTo>
                  <a:pt x="2642" y="373"/>
                  <a:pt x="2642" y="373"/>
                  <a:pt x="2642" y="373"/>
                </a:cubicBezTo>
                <a:moveTo>
                  <a:pt x="2472" y="373"/>
                </a:moveTo>
                <a:cubicBezTo>
                  <a:pt x="2465" y="373"/>
                  <a:pt x="2460" y="378"/>
                  <a:pt x="2460" y="384"/>
                </a:cubicBezTo>
                <a:cubicBezTo>
                  <a:pt x="2460" y="389"/>
                  <a:pt x="2465" y="394"/>
                  <a:pt x="2472" y="394"/>
                </a:cubicBezTo>
                <a:cubicBezTo>
                  <a:pt x="2478" y="394"/>
                  <a:pt x="2484" y="389"/>
                  <a:pt x="2484" y="384"/>
                </a:cubicBezTo>
                <a:cubicBezTo>
                  <a:pt x="2484" y="378"/>
                  <a:pt x="2478" y="373"/>
                  <a:pt x="2472" y="373"/>
                </a:cubicBezTo>
                <a:cubicBezTo>
                  <a:pt x="2472" y="373"/>
                  <a:pt x="2472" y="373"/>
                  <a:pt x="2472" y="373"/>
                </a:cubicBezTo>
                <a:moveTo>
                  <a:pt x="2676" y="373"/>
                </a:moveTo>
                <a:cubicBezTo>
                  <a:pt x="2669" y="373"/>
                  <a:pt x="2664" y="378"/>
                  <a:pt x="2664" y="384"/>
                </a:cubicBezTo>
                <a:cubicBezTo>
                  <a:pt x="2665" y="389"/>
                  <a:pt x="2670" y="394"/>
                  <a:pt x="2677" y="394"/>
                </a:cubicBezTo>
                <a:cubicBezTo>
                  <a:pt x="2684" y="394"/>
                  <a:pt x="2689" y="389"/>
                  <a:pt x="2688" y="383"/>
                </a:cubicBezTo>
                <a:cubicBezTo>
                  <a:pt x="2688" y="378"/>
                  <a:pt x="2682" y="373"/>
                  <a:pt x="2676" y="373"/>
                </a:cubicBezTo>
                <a:cubicBezTo>
                  <a:pt x="2676" y="373"/>
                  <a:pt x="2676" y="373"/>
                  <a:pt x="2676" y="373"/>
                </a:cubicBezTo>
                <a:moveTo>
                  <a:pt x="2505" y="373"/>
                </a:moveTo>
                <a:cubicBezTo>
                  <a:pt x="2499" y="373"/>
                  <a:pt x="2494" y="378"/>
                  <a:pt x="2494" y="383"/>
                </a:cubicBezTo>
                <a:cubicBezTo>
                  <a:pt x="2494" y="389"/>
                  <a:pt x="2499" y="394"/>
                  <a:pt x="2506" y="394"/>
                </a:cubicBezTo>
                <a:cubicBezTo>
                  <a:pt x="2512" y="394"/>
                  <a:pt x="2517" y="389"/>
                  <a:pt x="2517" y="383"/>
                </a:cubicBezTo>
                <a:cubicBezTo>
                  <a:pt x="2517" y="378"/>
                  <a:pt x="2512" y="373"/>
                  <a:pt x="2506" y="373"/>
                </a:cubicBezTo>
                <a:cubicBezTo>
                  <a:pt x="2506" y="373"/>
                  <a:pt x="2506" y="373"/>
                  <a:pt x="2505" y="373"/>
                </a:cubicBezTo>
                <a:moveTo>
                  <a:pt x="2709" y="373"/>
                </a:moveTo>
                <a:cubicBezTo>
                  <a:pt x="2703" y="373"/>
                  <a:pt x="2698" y="378"/>
                  <a:pt x="2698" y="383"/>
                </a:cubicBezTo>
                <a:cubicBezTo>
                  <a:pt x="2699" y="389"/>
                  <a:pt x="2704" y="393"/>
                  <a:pt x="2711" y="393"/>
                </a:cubicBezTo>
                <a:cubicBezTo>
                  <a:pt x="2718" y="393"/>
                  <a:pt x="2723" y="389"/>
                  <a:pt x="2722" y="383"/>
                </a:cubicBezTo>
                <a:cubicBezTo>
                  <a:pt x="2722" y="377"/>
                  <a:pt x="2716" y="373"/>
                  <a:pt x="2709" y="373"/>
                </a:cubicBezTo>
                <a:cubicBezTo>
                  <a:pt x="2709" y="373"/>
                  <a:pt x="2709" y="373"/>
                  <a:pt x="2709" y="373"/>
                </a:cubicBezTo>
                <a:moveTo>
                  <a:pt x="2539" y="373"/>
                </a:moveTo>
                <a:cubicBezTo>
                  <a:pt x="2533" y="373"/>
                  <a:pt x="2528" y="378"/>
                  <a:pt x="2528" y="383"/>
                </a:cubicBezTo>
                <a:cubicBezTo>
                  <a:pt x="2528" y="389"/>
                  <a:pt x="2533" y="393"/>
                  <a:pt x="2540" y="393"/>
                </a:cubicBezTo>
                <a:cubicBezTo>
                  <a:pt x="2546" y="393"/>
                  <a:pt x="2552" y="389"/>
                  <a:pt x="2552" y="383"/>
                </a:cubicBezTo>
                <a:cubicBezTo>
                  <a:pt x="2551" y="377"/>
                  <a:pt x="2546" y="373"/>
                  <a:pt x="2540" y="373"/>
                </a:cubicBezTo>
                <a:cubicBezTo>
                  <a:pt x="2540" y="373"/>
                  <a:pt x="2539" y="373"/>
                  <a:pt x="2539" y="373"/>
                </a:cubicBezTo>
                <a:moveTo>
                  <a:pt x="2743" y="373"/>
                </a:moveTo>
                <a:cubicBezTo>
                  <a:pt x="2737" y="373"/>
                  <a:pt x="2732" y="377"/>
                  <a:pt x="2732" y="383"/>
                </a:cubicBezTo>
                <a:cubicBezTo>
                  <a:pt x="2733" y="389"/>
                  <a:pt x="2739" y="393"/>
                  <a:pt x="2745" y="393"/>
                </a:cubicBezTo>
                <a:cubicBezTo>
                  <a:pt x="2752" y="393"/>
                  <a:pt x="2757" y="388"/>
                  <a:pt x="2756" y="383"/>
                </a:cubicBezTo>
                <a:cubicBezTo>
                  <a:pt x="2756" y="377"/>
                  <a:pt x="2750" y="373"/>
                  <a:pt x="2743" y="373"/>
                </a:cubicBezTo>
                <a:cubicBezTo>
                  <a:pt x="2743" y="373"/>
                  <a:pt x="2743" y="373"/>
                  <a:pt x="2743" y="373"/>
                </a:cubicBezTo>
                <a:moveTo>
                  <a:pt x="2778" y="372"/>
                </a:moveTo>
                <a:cubicBezTo>
                  <a:pt x="2771" y="372"/>
                  <a:pt x="2766" y="377"/>
                  <a:pt x="2767" y="383"/>
                </a:cubicBezTo>
                <a:cubicBezTo>
                  <a:pt x="2767" y="388"/>
                  <a:pt x="2773" y="393"/>
                  <a:pt x="2780" y="393"/>
                </a:cubicBezTo>
                <a:cubicBezTo>
                  <a:pt x="2786" y="393"/>
                  <a:pt x="2791" y="388"/>
                  <a:pt x="2791" y="383"/>
                </a:cubicBezTo>
                <a:cubicBezTo>
                  <a:pt x="2790" y="377"/>
                  <a:pt x="2784" y="372"/>
                  <a:pt x="2778" y="372"/>
                </a:cubicBezTo>
                <a:cubicBezTo>
                  <a:pt x="2778" y="372"/>
                  <a:pt x="2778" y="372"/>
                  <a:pt x="2778" y="372"/>
                </a:cubicBezTo>
                <a:moveTo>
                  <a:pt x="2811" y="372"/>
                </a:moveTo>
                <a:cubicBezTo>
                  <a:pt x="2805" y="372"/>
                  <a:pt x="2800" y="377"/>
                  <a:pt x="2801" y="382"/>
                </a:cubicBezTo>
                <a:cubicBezTo>
                  <a:pt x="2801" y="388"/>
                  <a:pt x="2807" y="393"/>
                  <a:pt x="2814" y="393"/>
                </a:cubicBezTo>
                <a:cubicBezTo>
                  <a:pt x="2820" y="393"/>
                  <a:pt x="2825" y="388"/>
                  <a:pt x="2824" y="382"/>
                </a:cubicBezTo>
                <a:cubicBezTo>
                  <a:pt x="2824" y="377"/>
                  <a:pt x="2818" y="372"/>
                  <a:pt x="2811" y="372"/>
                </a:cubicBezTo>
                <a:cubicBezTo>
                  <a:pt x="2811" y="372"/>
                  <a:pt x="2811" y="372"/>
                  <a:pt x="2811" y="372"/>
                </a:cubicBezTo>
                <a:moveTo>
                  <a:pt x="2845" y="372"/>
                </a:moveTo>
                <a:cubicBezTo>
                  <a:pt x="2839" y="372"/>
                  <a:pt x="2834" y="377"/>
                  <a:pt x="2835" y="382"/>
                </a:cubicBezTo>
                <a:cubicBezTo>
                  <a:pt x="2835" y="388"/>
                  <a:pt x="2841" y="392"/>
                  <a:pt x="2848" y="392"/>
                </a:cubicBezTo>
                <a:cubicBezTo>
                  <a:pt x="2854" y="392"/>
                  <a:pt x="2859" y="388"/>
                  <a:pt x="2858" y="382"/>
                </a:cubicBezTo>
                <a:cubicBezTo>
                  <a:pt x="2858" y="376"/>
                  <a:pt x="2852" y="372"/>
                  <a:pt x="2845" y="372"/>
                </a:cubicBezTo>
                <a:cubicBezTo>
                  <a:pt x="2845" y="372"/>
                  <a:pt x="2845" y="372"/>
                  <a:pt x="2845" y="372"/>
                </a:cubicBezTo>
                <a:moveTo>
                  <a:pt x="2879" y="372"/>
                </a:moveTo>
                <a:cubicBezTo>
                  <a:pt x="2872" y="372"/>
                  <a:pt x="2868" y="376"/>
                  <a:pt x="2868" y="382"/>
                </a:cubicBezTo>
                <a:cubicBezTo>
                  <a:pt x="2869" y="388"/>
                  <a:pt x="2875" y="392"/>
                  <a:pt x="2882" y="392"/>
                </a:cubicBezTo>
                <a:cubicBezTo>
                  <a:pt x="2888" y="392"/>
                  <a:pt x="2893" y="387"/>
                  <a:pt x="2892" y="382"/>
                </a:cubicBezTo>
                <a:cubicBezTo>
                  <a:pt x="2891" y="376"/>
                  <a:pt x="2886" y="372"/>
                  <a:pt x="2879" y="372"/>
                </a:cubicBezTo>
                <a:cubicBezTo>
                  <a:pt x="2879" y="372"/>
                  <a:pt x="2879" y="372"/>
                  <a:pt x="2879" y="372"/>
                </a:cubicBezTo>
                <a:moveTo>
                  <a:pt x="2913" y="371"/>
                </a:moveTo>
                <a:cubicBezTo>
                  <a:pt x="2906" y="371"/>
                  <a:pt x="2902" y="376"/>
                  <a:pt x="2903" y="382"/>
                </a:cubicBezTo>
                <a:cubicBezTo>
                  <a:pt x="2903" y="387"/>
                  <a:pt x="2909" y="392"/>
                  <a:pt x="2916" y="392"/>
                </a:cubicBezTo>
                <a:cubicBezTo>
                  <a:pt x="2923" y="392"/>
                  <a:pt x="2927" y="387"/>
                  <a:pt x="2926" y="382"/>
                </a:cubicBezTo>
                <a:cubicBezTo>
                  <a:pt x="2926" y="376"/>
                  <a:pt x="2920" y="371"/>
                  <a:pt x="2913" y="371"/>
                </a:cubicBezTo>
                <a:cubicBezTo>
                  <a:pt x="2913" y="371"/>
                  <a:pt x="2913" y="371"/>
                  <a:pt x="2913" y="371"/>
                </a:cubicBezTo>
                <a:moveTo>
                  <a:pt x="2945" y="371"/>
                </a:moveTo>
                <a:cubicBezTo>
                  <a:pt x="2939" y="371"/>
                  <a:pt x="2935" y="375"/>
                  <a:pt x="2935" y="381"/>
                </a:cubicBezTo>
                <a:cubicBezTo>
                  <a:pt x="2936" y="386"/>
                  <a:pt x="2942" y="390"/>
                  <a:pt x="2948" y="390"/>
                </a:cubicBezTo>
                <a:cubicBezTo>
                  <a:pt x="2955" y="390"/>
                  <a:pt x="2959" y="386"/>
                  <a:pt x="2958" y="381"/>
                </a:cubicBezTo>
                <a:cubicBezTo>
                  <a:pt x="2957" y="375"/>
                  <a:pt x="2951" y="371"/>
                  <a:pt x="2945" y="371"/>
                </a:cubicBezTo>
                <a:cubicBezTo>
                  <a:pt x="2945" y="371"/>
                  <a:pt x="2945" y="371"/>
                  <a:pt x="2945" y="371"/>
                </a:cubicBezTo>
                <a:moveTo>
                  <a:pt x="2980" y="371"/>
                </a:moveTo>
                <a:cubicBezTo>
                  <a:pt x="2974" y="371"/>
                  <a:pt x="2969" y="375"/>
                  <a:pt x="2970" y="380"/>
                </a:cubicBezTo>
                <a:cubicBezTo>
                  <a:pt x="2971" y="386"/>
                  <a:pt x="2977" y="390"/>
                  <a:pt x="2983" y="390"/>
                </a:cubicBezTo>
                <a:cubicBezTo>
                  <a:pt x="2990" y="390"/>
                  <a:pt x="2994" y="386"/>
                  <a:pt x="2993" y="380"/>
                </a:cubicBezTo>
                <a:cubicBezTo>
                  <a:pt x="2992" y="375"/>
                  <a:pt x="2986" y="371"/>
                  <a:pt x="2980" y="371"/>
                </a:cubicBezTo>
                <a:cubicBezTo>
                  <a:pt x="2980" y="371"/>
                  <a:pt x="2980" y="371"/>
                  <a:pt x="2980" y="371"/>
                </a:cubicBezTo>
                <a:moveTo>
                  <a:pt x="3014" y="371"/>
                </a:moveTo>
                <a:cubicBezTo>
                  <a:pt x="3007" y="371"/>
                  <a:pt x="3003" y="375"/>
                  <a:pt x="3004" y="381"/>
                </a:cubicBezTo>
                <a:cubicBezTo>
                  <a:pt x="3005" y="387"/>
                  <a:pt x="3011" y="391"/>
                  <a:pt x="3018" y="391"/>
                </a:cubicBezTo>
                <a:cubicBezTo>
                  <a:pt x="3024" y="391"/>
                  <a:pt x="3029" y="386"/>
                  <a:pt x="3028" y="381"/>
                </a:cubicBezTo>
                <a:cubicBezTo>
                  <a:pt x="3026" y="375"/>
                  <a:pt x="3020" y="371"/>
                  <a:pt x="3014" y="371"/>
                </a:cubicBezTo>
                <a:cubicBezTo>
                  <a:pt x="3014" y="371"/>
                  <a:pt x="3014" y="371"/>
                  <a:pt x="3014" y="371"/>
                </a:cubicBezTo>
                <a:moveTo>
                  <a:pt x="3047" y="370"/>
                </a:moveTo>
                <a:cubicBezTo>
                  <a:pt x="3041" y="370"/>
                  <a:pt x="3036" y="375"/>
                  <a:pt x="3037" y="381"/>
                </a:cubicBezTo>
                <a:cubicBezTo>
                  <a:pt x="3038" y="386"/>
                  <a:pt x="3045" y="391"/>
                  <a:pt x="3051" y="391"/>
                </a:cubicBezTo>
                <a:cubicBezTo>
                  <a:pt x="3058" y="391"/>
                  <a:pt x="3062" y="386"/>
                  <a:pt x="3061" y="381"/>
                </a:cubicBezTo>
                <a:cubicBezTo>
                  <a:pt x="3060" y="375"/>
                  <a:pt x="3054" y="370"/>
                  <a:pt x="3047" y="370"/>
                </a:cubicBezTo>
                <a:cubicBezTo>
                  <a:pt x="3047" y="370"/>
                  <a:pt x="3047" y="370"/>
                  <a:pt x="3047" y="370"/>
                </a:cubicBezTo>
                <a:moveTo>
                  <a:pt x="3081" y="370"/>
                </a:moveTo>
                <a:cubicBezTo>
                  <a:pt x="3074" y="370"/>
                  <a:pt x="3070" y="375"/>
                  <a:pt x="3071" y="380"/>
                </a:cubicBezTo>
                <a:cubicBezTo>
                  <a:pt x="3072" y="386"/>
                  <a:pt x="3079" y="391"/>
                  <a:pt x="3085" y="391"/>
                </a:cubicBezTo>
                <a:cubicBezTo>
                  <a:pt x="3092" y="391"/>
                  <a:pt x="3096" y="386"/>
                  <a:pt x="3095" y="380"/>
                </a:cubicBezTo>
                <a:cubicBezTo>
                  <a:pt x="3094" y="375"/>
                  <a:pt x="3087" y="370"/>
                  <a:pt x="3081" y="370"/>
                </a:cubicBezTo>
                <a:cubicBezTo>
                  <a:pt x="3081" y="370"/>
                  <a:pt x="3081" y="370"/>
                  <a:pt x="3081" y="370"/>
                </a:cubicBezTo>
                <a:moveTo>
                  <a:pt x="3115" y="370"/>
                </a:moveTo>
                <a:cubicBezTo>
                  <a:pt x="3108" y="370"/>
                  <a:pt x="3104" y="375"/>
                  <a:pt x="3105" y="380"/>
                </a:cubicBezTo>
                <a:cubicBezTo>
                  <a:pt x="3106" y="386"/>
                  <a:pt x="3113" y="390"/>
                  <a:pt x="3119" y="390"/>
                </a:cubicBezTo>
                <a:cubicBezTo>
                  <a:pt x="3126" y="390"/>
                  <a:pt x="3130" y="386"/>
                  <a:pt x="3129" y="380"/>
                </a:cubicBezTo>
                <a:cubicBezTo>
                  <a:pt x="3128" y="374"/>
                  <a:pt x="3121" y="370"/>
                  <a:pt x="3115" y="370"/>
                </a:cubicBezTo>
                <a:cubicBezTo>
                  <a:pt x="3115" y="370"/>
                  <a:pt x="3115" y="370"/>
                  <a:pt x="3115" y="370"/>
                </a:cubicBezTo>
                <a:moveTo>
                  <a:pt x="3149" y="370"/>
                </a:moveTo>
                <a:cubicBezTo>
                  <a:pt x="3142" y="370"/>
                  <a:pt x="3138" y="374"/>
                  <a:pt x="3140" y="380"/>
                </a:cubicBezTo>
                <a:cubicBezTo>
                  <a:pt x="3141" y="386"/>
                  <a:pt x="3147" y="390"/>
                  <a:pt x="3154" y="390"/>
                </a:cubicBezTo>
                <a:cubicBezTo>
                  <a:pt x="3161" y="390"/>
                  <a:pt x="3165" y="385"/>
                  <a:pt x="3163" y="380"/>
                </a:cubicBezTo>
                <a:cubicBezTo>
                  <a:pt x="3162" y="374"/>
                  <a:pt x="3156" y="370"/>
                  <a:pt x="3149" y="370"/>
                </a:cubicBezTo>
                <a:cubicBezTo>
                  <a:pt x="3149" y="370"/>
                  <a:pt x="3149" y="370"/>
                  <a:pt x="3149" y="370"/>
                </a:cubicBezTo>
                <a:moveTo>
                  <a:pt x="3183" y="369"/>
                </a:moveTo>
                <a:cubicBezTo>
                  <a:pt x="3176" y="369"/>
                  <a:pt x="3172" y="374"/>
                  <a:pt x="3173" y="380"/>
                </a:cubicBezTo>
                <a:cubicBezTo>
                  <a:pt x="3175" y="385"/>
                  <a:pt x="3181" y="390"/>
                  <a:pt x="3188" y="390"/>
                </a:cubicBezTo>
                <a:cubicBezTo>
                  <a:pt x="3194" y="390"/>
                  <a:pt x="3199" y="385"/>
                  <a:pt x="3197" y="380"/>
                </a:cubicBezTo>
                <a:cubicBezTo>
                  <a:pt x="3196" y="374"/>
                  <a:pt x="3189" y="369"/>
                  <a:pt x="3183" y="369"/>
                </a:cubicBezTo>
                <a:cubicBezTo>
                  <a:pt x="3183" y="369"/>
                  <a:pt x="3183" y="369"/>
                  <a:pt x="3183" y="369"/>
                </a:cubicBezTo>
                <a:moveTo>
                  <a:pt x="3217" y="369"/>
                </a:moveTo>
                <a:cubicBezTo>
                  <a:pt x="3210" y="369"/>
                  <a:pt x="3206" y="374"/>
                  <a:pt x="3207" y="379"/>
                </a:cubicBezTo>
                <a:cubicBezTo>
                  <a:pt x="3209" y="385"/>
                  <a:pt x="3215" y="390"/>
                  <a:pt x="3222" y="390"/>
                </a:cubicBezTo>
                <a:cubicBezTo>
                  <a:pt x="3229" y="390"/>
                  <a:pt x="3233" y="385"/>
                  <a:pt x="3231" y="379"/>
                </a:cubicBezTo>
                <a:cubicBezTo>
                  <a:pt x="3230" y="374"/>
                  <a:pt x="3223" y="369"/>
                  <a:pt x="3217" y="369"/>
                </a:cubicBezTo>
                <a:cubicBezTo>
                  <a:pt x="3217" y="369"/>
                  <a:pt x="3217" y="369"/>
                  <a:pt x="3217" y="369"/>
                </a:cubicBezTo>
                <a:moveTo>
                  <a:pt x="3250" y="369"/>
                </a:moveTo>
                <a:cubicBezTo>
                  <a:pt x="3244" y="369"/>
                  <a:pt x="3240" y="374"/>
                  <a:pt x="3241" y="379"/>
                </a:cubicBezTo>
                <a:cubicBezTo>
                  <a:pt x="3243" y="385"/>
                  <a:pt x="3249" y="389"/>
                  <a:pt x="3256" y="389"/>
                </a:cubicBezTo>
                <a:cubicBezTo>
                  <a:pt x="3262" y="389"/>
                  <a:pt x="3267" y="385"/>
                  <a:pt x="3265" y="379"/>
                </a:cubicBezTo>
                <a:cubicBezTo>
                  <a:pt x="3263" y="373"/>
                  <a:pt x="3257" y="369"/>
                  <a:pt x="3250" y="369"/>
                </a:cubicBezTo>
                <a:cubicBezTo>
                  <a:pt x="3250" y="369"/>
                  <a:pt x="3250" y="369"/>
                  <a:pt x="3250" y="369"/>
                </a:cubicBezTo>
                <a:moveTo>
                  <a:pt x="3284" y="369"/>
                </a:moveTo>
                <a:cubicBezTo>
                  <a:pt x="3278" y="369"/>
                  <a:pt x="3274" y="373"/>
                  <a:pt x="3275" y="379"/>
                </a:cubicBezTo>
                <a:cubicBezTo>
                  <a:pt x="3277" y="385"/>
                  <a:pt x="3283" y="389"/>
                  <a:pt x="3290" y="389"/>
                </a:cubicBezTo>
                <a:cubicBezTo>
                  <a:pt x="3297" y="389"/>
                  <a:pt x="3301" y="384"/>
                  <a:pt x="3299" y="379"/>
                </a:cubicBezTo>
                <a:cubicBezTo>
                  <a:pt x="3297" y="373"/>
                  <a:pt x="3291" y="369"/>
                  <a:pt x="3284" y="369"/>
                </a:cubicBezTo>
                <a:cubicBezTo>
                  <a:pt x="3284" y="369"/>
                  <a:pt x="3284" y="369"/>
                  <a:pt x="3284" y="369"/>
                </a:cubicBezTo>
                <a:moveTo>
                  <a:pt x="3319" y="368"/>
                </a:moveTo>
                <a:cubicBezTo>
                  <a:pt x="3313" y="368"/>
                  <a:pt x="3309" y="373"/>
                  <a:pt x="3311" y="379"/>
                </a:cubicBezTo>
                <a:cubicBezTo>
                  <a:pt x="3312" y="384"/>
                  <a:pt x="3319" y="389"/>
                  <a:pt x="3326" y="389"/>
                </a:cubicBezTo>
                <a:cubicBezTo>
                  <a:pt x="3332" y="389"/>
                  <a:pt x="3336" y="384"/>
                  <a:pt x="3334" y="379"/>
                </a:cubicBezTo>
                <a:cubicBezTo>
                  <a:pt x="3333" y="373"/>
                  <a:pt x="3326" y="368"/>
                  <a:pt x="3319" y="368"/>
                </a:cubicBezTo>
                <a:cubicBezTo>
                  <a:pt x="3319" y="368"/>
                  <a:pt x="3319" y="368"/>
                  <a:pt x="3319" y="368"/>
                </a:cubicBezTo>
                <a:moveTo>
                  <a:pt x="3353" y="368"/>
                </a:moveTo>
                <a:cubicBezTo>
                  <a:pt x="3346" y="368"/>
                  <a:pt x="3343" y="373"/>
                  <a:pt x="3344" y="378"/>
                </a:cubicBezTo>
                <a:cubicBezTo>
                  <a:pt x="3346" y="384"/>
                  <a:pt x="3353" y="389"/>
                  <a:pt x="3359" y="389"/>
                </a:cubicBezTo>
                <a:cubicBezTo>
                  <a:pt x="3366" y="389"/>
                  <a:pt x="3370" y="384"/>
                  <a:pt x="3368" y="378"/>
                </a:cubicBezTo>
                <a:cubicBezTo>
                  <a:pt x="3366" y="373"/>
                  <a:pt x="3360" y="368"/>
                  <a:pt x="3353" y="368"/>
                </a:cubicBezTo>
                <a:cubicBezTo>
                  <a:pt x="3353" y="368"/>
                  <a:pt x="3353" y="368"/>
                  <a:pt x="3353" y="368"/>
                </a:cubicBezTo>
                <a:moveTo>
                  <a:pt x="3386" y="368"/>
                </a:moveTo>
                <a:cubicBezTo>
                  <a:pt x="3380" y="368"/>
                  <a:pt x="3376" y="373"/>
                  <a:pt x="3378" y="378"/>
                </a:cubicBezTo>
                <a:cubicBezTo>
                  <a:pt x="3380" y="384"/>
                  <a:pt x="3387" y="388"/>
                  <a:pt x="3393" y="388"/>
                </a:cubicBezTo>
                <a:cubicBezTo>
                  <a:pt x="3400" y="388"/>
                  <a:pt x="3404" y="384"/>
                  <a:pt x="3402" y="378"/>
                </a:cubicBezTo>
                <a:cubicBezTo>
                  <a:pt x="3400" y="372"/>
                  <a:pt x="3393" y="368"/>
                  <a:pt x="3387" y="368"/>
                </a:cubicBezTo>
                <a:cubicBezTo>
                  <a:pt x="3386" y="368"/>
                  <a:pt x="3386" y="368"/>
                  <a:pt x="3386" y="368"/>
                </a:cubicBezTo>
                <a:moveTo>
                  <a:pt x="3420" y="368"/>
                </a:moveTo>
                <a:cubicBezTo>
                  <a:pt x="3414" y="368"/>
                  <a:pt x="3410" y="372"/>
                  <a:pt x="3412" y="378"/>
                </a:cubicBezTo>
                <a:cubicBezTo>
                  <a:pt x="3414" y="384"/>
                  <a:pt x="3420" y="388"/>
                  <a:pt x="3427" y="388"/>
                </a:cubicBezTo>
                <a:cubicBezTo>
                  <a:pt x="3434" y="388"/>
                  <a:pt x="3437" y="383"/>
                  <a:pt x="3435" y="378"/>
                </a:cubicBezTo>
                <a:cubicBezTo>
                  <a:pt x="3433" y="372"/>
                  <a:pt x="3427" y="368"/>
                  <a:pt x="3420" y="368"/>
                </a:cubicBezTo>
                <a:cubicBezTo>
                  <a:pt x="3420" y="368"/>
                  <a:pt x="3420" y="368"/>
                  <a:pt x="3420" y="368"/>
                </a:cubicBezTo>
                <a:moveTo>
                  <a:pt x="3454" y="367"/>
                </a:moveTo>
                <a:cubicBezTo>
                  <a:pt x="3447" y="367"/>
                  <a:pt x="3444" y="372"/>
                  <a:pt x="3446" y="378"/>
                </a:cubicBezTo>
                <a:cubicBezTo>
                  <a:pt x="3448" y="383"/>
                  <a:pt x="3455" y="388"/>
                  <a:pt x="3461" y="388"/>
                </a:cubicBezTo>
                <a:cubicBezTo>
                  <a:pt x="3468" y="388"/>
                  <a:pt x="3472" y="383"/>
                  <a:pt x="3470" y="378"/>
                </a:cubicBezTo>
                <a:cubicBezTo>
                  <a:pt x="3468" y="372"/>
                  <a:pt x="3461" y="367"/>
                  <a:pt x="3454" y="367"/>
                </a:cubicBezTo>
                <a:cubicBezTo>
                  <a:pt x="3454" y="367"/>
                  <a:pt x="3454" y="367"/>
                  <a:pt x="3454" y="367"/>
                </a:cubicBezTo>
                <a:moveTo>
                  <a:pt x="3488" y="367"/>
                </a:moveTo>
                <a:cubicBezTo>
                  <a:pt x="3482" y="367"/>
                  <a:pt x="3478" y="372"/>
                  <a:pt x="3480" y="377"/>
                </a:cubicBezTo>
                <a:cubicBezTo>
                  <a:pt x="3482" y="383"/>
                  <a:pt x="3489" y="388"/>
                  <a:pt x="3496" y="388"/>
                </a:cubicBezTo>
                <a:cubicBezTo>
                  <a:pt x="3502" y="388"/>
                  <a:pt x="3506" y="383"/>
                  <a:pt x="3504" y="377"/>
                </a:cubicBezTo>
                <a:cubicBezTo>
                  <a:pt x="3502" y="372"/>
                  <a:pt x="3495" y="367"/>
                  <a:pt x="3488" y="367"/>
                </a:cubicBezTo>
                <a:cubicBezTo>
                  <a:pt x="3488" y="367"/>
                  <a:pt x="3488" y="367"/>
                  <a:pt x="3488" y="367"/>
                </a:cubicBezTo>
                <a:moveTo>
                  <a:pt x="3522" y="367"/>
                </a:moveTo>
                <a:cubicBezTo>
                  <a:pt x="3515" y="367"/>
                  <a:pt x="3512" y="372"/>
                  <a:pt x="3514" y="377"/>
                </a:cubicBezTo>
                <a:cubicBezTo>
                  <a:pt x="3516" y="383"/>
                  <a:pt x="3523" y="387"/>
                  <a:pt x="3530" y="387"/>
                </a:cubicBezTo>
                <a:cubicBezTo>
                  <a:pt x="3536" y="387"/>
                  <a:pt x="3540" y="383"/>
                  <a:pt x="3538" y="377"/>
                </a:cubicBezTo>
                <a:cubicBezTo>
                  <a:pt x="3535" y="371"/>
                  <a:pt x="3528" y="367"/>
                  <a:pt x="3522" y="367"/>
                </a:cubicBezTo>
                <a:cubicBezTo>
                  <a:pt x="3522" y="367"/>
                  <a:pt x="3522" y="367"/>
                  <a:pt x="3522" y="367"/>
                </a:cubicBezTo>
                <a:moveTo>
                  <a:pt x="3556" y="367"/>
                </a:moveTo>
                <a:cubicBezTo>
                  <a:pt x="3549" y="367"/>
                  <a:pt x="3546" y="371"/>
                  <a:pt x="3548" y="377"/>
                </a:cubicBezTo>
                <a:cubicBezTo>
                  <a:pt x="3550" y="383"/>
                  <a:pt x="3557" y="387"/>
                  <a:pt x="3564" y="387"/>
                </a:cubicBezTo>
                <a:cubicBezTo>
                  <a:pt x="3570" y="387"/>
                  <a:pt x="3574" y="382"/>
                  <a:pt x="3572" y="377"/>
                </a:cubicBezTo>
                <a:cubicBezTo>
                  <a:pt x="3569" y="371"/>
                  <a:pt x="3562" y="367"/>
                  <a:pt x="3556" y="367"/>
                </a:cubicBezTo>
                <a:cubicBezTo>
                  <a:pt x="3556" y="367"/>
                  <a:pt x="3556" y="367"/>
                  <a:pt x="3556" y="367"/>
                </a:cubicBezTo>
                <a:moveTo>
                  <a:pt x="3589" y="366"/>
                </a:moveTo>
                <a:cubicBezTo>
                  <a:pt x="3583" y="366"/>
                  <a:pt x="3579" y="371"/>
                  <a:pt x="3582" y="377"/>
                </a:cubicBezTo>
                <a:cubicBezTo>
                  <a:pt x="3584" y="382"/>
                  <a:pt x="3591" y="387"/>
                  <a:pt x="3598" y="387"/>
                </a:cubicBezTo>
                <a:cubicBezTo>
                  <a:pt x="3604" y="387"/>
                  <a:pt x="3608" y="382"/>
                  <a:pt x="3605" y="377"/>
                </a:cubicBezTo>
                <a:cubicBezTo>
                  <a:pt x="3603" y="371"/>
                  <a:pt x="3596" y="366"/>
                  <a:pt x="3589" y="366"/>
                </a:cubicBezTo>
                <a:cubicBezTo>
                  <a:pt x="3589" y="366"/>
                  <a:pt x="3589" y="366"/>
                  <a:pt x="3589" y="366"/>
                </a:cubicBezTo>
                <a:moveTo>
                  <a:pt x="3623" y="366"/>
                </a:moveTo>
                <a:cubicBezTo>
                  <a:pt x="3617" y="366"/>
                  <a:pt x="3613" y="371"/>
                  <a:pt x="3616" y="376"/>
                </a:cubicBezTo>
                <a:cubicBezTo>
                  <a:pt x="3618" y="382"/>
                  <a:pt x="3625" y="387"/>
                  <a:pt x="3632" y="387"/>
                </a:cubicBezTo>
                <a:cubicBezTo>
                  <a:pt x="3638" y="387"/>
                  <a:pt x="3642" y="382"/>
                  <a:pt x="3639" y="376"/>
                </a:cubicBezTo>
                <a:cubicBezTo>
                  <a:pt x="3637" y="371"/>
                  <a:pt x="3630" y="366"/>
                  <a:pt x="3623" y="366"/>
                </a:cubicBezTo>
                <a:cubicBezTo>
                  <a:pt x="3623" y="366"/>
                  <a:pt x="3623" y="366"/>
                  <a:pt x="3623" y="366"/>
                </a:cubicBezTo>
                <a:moveTo>
                  <a:pt x="3659" y="366"/>
                </a:moveTo>
                <a:cubicBezTo>
                  <a:pt x="3653" y="366"/>
                  <a:pt x="3649" y="371"/>
                  <a:pt x="3652" y="376"/>
                </a:cubicBezTo>
                <a:cubicBezTo>
                  <a:pt x="3654" y="382"/>
                  <a:pt x="3661" y="386"/>
                  <a:pt x="3668" y="386"/>
                </a:cubicBezTo>
                <a:cubicBezTo>
                  <a:pt x="3675" y="386"/>
                  <a:pt x="3678" y="382"/>
                  <a:pt x="3675" y="376"/>
                </a:cubicBezTo>
                <a:cubicBezTo>
                  <a:pt x="3673" y="370"/>
                  <a:pt x="3666" y="366"/>
                  <a:pt x="3659" y="366"/>
                </a:cubicBezTo>
                <a:cubicBezTo>
                  <a:pt x="3659" y="366"/>
                  <a:pt x="3659" y="366"/>
                  <a:pt x="3659" y="366"/>
                </a:cubicBezTo>
                <a:moveTo>
                  <a:pt x="3693" y="366"/>
                </a:moveTo>
                <a:cubicBezTo>
                  <a:pt x="3686" y="366"/>
                  <a:pt x="3683" y="370"/>
                  <a:pt x="3685" y="376"/>
                </a:cubicBezTo>
                <a:cubicBezTo>
                  <a:pt x="3688" y="382"/>
                  <a:pt x="3695" y="386"/>
                  <a:pt x="3702" y="386"/>
                </a:cubicBezTo>
                <a:cubicBezTo>
                  <a:pt x="3708" y="386"/>
                  <a:pt x="3711" y="381"/>
                  <a:pt x="3709" y="376"/>
                </a:cubicBezTo>
                <a:cubicBezTo>
                  <a:pt x="3706" y="370"/>
                  <a:pt x="3699" y="366"/>
                  <a:pt x="3693" y="366"/>
                </a:cubicBezTo>
                <a:cubicBezTo>
                  <a:pt x="3693" y="366"/>
                  <a:pt x="3693" y="366"/>
                  <a:pt x="3693" y="366"/>
                </a:cubicBezTo>
                <a:moveTo>
                  <a:pt x="3726" y="365"/>
                </a:moveTo>
                <a:cubicBezTo>
                  <a:pt x="3720" y="365"/>
                  <a:pt x="3716" y="370"/>
                  <a:pt x="3719" y="376"/>
                </a:cubicBezTo>
                <a:cubicBezTo>
                  <a:pt x="3721" y="381"/>
                  <a:pt x="3729" y="386"/>
                  <a:pt x="3735" y="386"/>
                </a:cubicBezTo>
                <a:cubicBezTo>
                  <a:pt x="3742" y="386"/>
                  <a:pt x="3745" y="381"/>
                  <a:pt x="3743" y="376"/>
                </a:cubicBezTo>
                <a:cubicBezTo>
                  <a:pt x="3740" y="370"/>
                  <a:pt x="3733" y="365"/>
                  <a:pt x="3726" y="365"/>
                </a:cubicBezTo>
                <a:cubicBezTo>
                  <a:pt x="3726" y="365"/>
                  <a:pt x="3726" y="365"/>
                  <a:pt x="3726" y="365"/>
                </a:cubicBezTo>
                <a:moveTo>
                  <a:pt x="3760" y="365"/>
                </a:moveTo>
                <a:cubicBezTo>
                  <a:pt x="3754" y="365"/>
                  <a:pt x="3750" y="370"/>
                  <a:pt x="3753" y="375"/>
                </a:cubicBezTo>
                <a:cubicBezTo>
                  <a:pt x="3756" y="381"/>
                  <a:pt x="3763" y="386"/>
                  <a:pt x="3770" y="386"/>
                </a:cubicBezTo>
                <a:cubicBezTo>
                  <a:pt x="3776" y="386"/>
                  <a:pt x="3779" y="381"/>
                  <a:pt x="3777" y="375"/>
                </a:cubicBezTo>
                <a:cubicBezTo>
                  <a:pt x="3774" y="370"/>
                  <a:pt x="3767" y="365"/>
                  <a:pt x="3760" y="365"/>
                </a:cubicBezTo>
                <a:cubicBezTo>
                  <a:pt x="3760" y="365"/>
                  <a:pt x="3760" y="365"/>
                  <a:pt x="3760" y="365"/>
                </a:cubicBezTo>
                <a:moveTo>
                  <a:pt x="3794" y="365"/>
                </a:moveTo>
                <a:cubicBezTo>
                  <a:pt x="3788" y="365"/>
                  <a:pt x="3785" y="370"/>
                  <a:pt x="3787" y="375"/>
                </a:cubicBezTo>
                <a:cubicBezTo>
                  <a:pt x="3790" y="381"/>
                  <a:pt x="3798" y="385"/>
                  <a:pt x="3804" y="385"/>
                </a:cubicBezTo>
                <a:cubicBezTo>
                  <a:pt x="3811" y="385"/>
                  <a:pt x="3814" y="381"/>
                  <a:pt x="3811" y="375"/>
                </a:cubicBezTo>
                <a:cubicBezTo>
                  <a:pt x="3808" y="369"/>
                  <a:pt x="3801" y="365"/>
                  <a:pt x="3794" y="365"/>
                </a:cubicBezTo>
                <a:cubicBezTo>
                  <a:pt x="3794" y="365"/>
                  <a:pt x="3794" y="365"/>
                  <a:pt x="3794" y="365"/>
                </a:cubicBezTo>
                <a:moveTo>
                  <a:pt x="3828" y="365"/>
                </a:moveTo>
                <a:cubicBezTo>
                  <a:pt x="3821" y="365"/>
                  <a:pt x="3818" y="369"/>
                  <a:pt x="3821" y="375"/>
                </a:cubicBezTo>
                <a:cubicBezTo>
                  <a:pt x="3824" y="381"/>
                  <a:pt x="3831" y="385"/>
                  <a:pt x="3838" y="385"/>
                </a:cubicBezTo>
                <a:cubicBezTo>
                  <a:pt x="3845" y="385"/>
                  <a:pt x="3848" y="380"/>
                  <a:pt x="3845" y="375"/>
                </a:cubicBezTo>
                <a:cubicBezTo>
                  <a:pt x="3842" y="369"/>
                  <a:pt x="3834" y="365"/>
                  <a:pt x="3828" y="365"/>
                </a:cubicBezTo>
                <a:cubicBezTo>
                  <a:pt x="3828" y="365"/>
                  <a:pt x="3828" y="365"/>
                  <a:pt x="3828" y="365"/>
                </a:cubicBezTo>
                <a:moveTo>
                  <a:pt x="3862" y="364"/>
                </a:moveTo>
                <a:cubicBezTo>
                  <a:pt x="3855" y="364"/>
                  <a:pt x="3852" y="369"/>
                  <a:pt x="3855" y="375"/>
                </a:cubicBezTo>
                <a:cubicBezTo>
                  <a:pt x="3858" y="380"/>
                  <a:pt x="3865" y="385"/>
                  <a:pt x="3872" y="385"/>
                </a:cubicBezTo>
                <a:cubicBezTo>
                  <a:pt x="3879" y="385"/>
                  <a:pt x="3882" y="380"/>
                  <a:pt x="3879" y="375"/>
                </a:cubicBezTo>
                <a:cubicBezTo>
                  <a:pt x="3876" y="369"/>
                  <a:pt x="3868" y="364"/>
                  <a:pt x="3862" y="364"/>
                </a:cubicBezTo>
                <a:cubicBezTo>
                  <a:pt x="3862" y="364"/>
                  <a:pt x="3862" y="364"/>
                  <a:pt x="3862" y="364"/>
                </a:cubicBezTo>
                <a:moveTo>
                  <a:pt x="3895" y="364"/>
                </a:moveTo>
                <a:cubicBezTo>
                  <a:pt x="3889" y="364"/>
                  <a:pt x="3886" y="369"/>
                  <a:pt x="3889" y="374"/>
                </a:cubicBezTo>
                <a:cubicBezTo>
                  <a:pt x="3892" y="380"/>
                  <a:pt x="3899" y="385"/>
                  <a:pt x="3906" y="385"/>
                </a:cubicBezTo>
                <a:cubicBezTo>
                  <a:pt x="3912" y="385"/>
                  <a:pt x="3915" y="380"/>
                  <a:pt x="3912" y="374"/>
                </a:cubicBezTo>
                <a:cubicBezTo>
                  <a:pt x="3910" y="369"/>
                  <a:pt x="3902" y="364"/>
                  <a:pt x="3895" y="364"/>
                </a:cubicBezTo>
                <a:cubicBezTo>
                  <a:pt x="3895" y="364"/>
                  <a:pt x="3895" y="364"/>
                  <a:pt x="3895" y="364"/>
                </a:cubicBezTo>
                <a:moveTo>
                  <a:pt x="3995" y="364"/>
                </a:moveTo>
                <a:cubicBezTo>
                  <a:pt x="3988" y="364"/>
                  <a:pt x="3986" y="369"/>
                  <a:pt x="3989" y="374"/>
                </a:cubicBezTo>
                <a:cubicBezTo>
                  <a:pt x="3992" y="380"/>
                  <a:pt x="4000" y="385"/>
                  <a:pt x="4006" y="385"/>
                </a:cubicBezTo>
                <a:cubicBezTo>
                  <a:pt x="4013" y="385"/>
                  <a:pt x="4016" y="380"/>
                  <a:pt x="4013" y="374"/>
                </a:cubicBezTo>
                <a:cubicBezTo>
                  <a:pt x="4009" y="369"/>
                  <a:pt x="4002" y="364"/>
                  <a:pt x="3995" y="364"/>
                </a:cubicBezTo>
                <a:cubicBezTo>
                  <a:pt x="3995" y="364"/>
                  <a:pt x="3995" y="364"/>
                  <a:pt x="3995" y="364"/>
                </a:cubicBezTo>
                <a:moveTo>
                  <a:pt x="3929" y="364"/>
                </a:moveTo>
                <a:cubicBezTo>
                  <a:pt x="3923" y="364"/>
                  <a:pt x="3920" y="369"/>
                  <a:pt x="3923" y="374"/>
                </a:cubicBezTo>
                <a:cubicBezTo>
                  <a:pt x="3926" y="380"/>
                  <a:pt x="3933" y="384"/>
                  <a:pt x="3940" y="384"/>
                </a:cubicBezTo>
                <a:cubicBezTo>
                  <a:pt x="3947" y="384"/>
                  <a:pt x="3949" y="380"/>
                  <a:pt x="3946" y="374"/>
                </a:cubicBezTo>
                <a:cubicBezTo>
                  <a:pt x="3943" y="368"/>
                  <a:pt x="3936" y="364"/>
                  <a:pt x="3929" y="364"/>
                </a:cubicBezTo>
                <a:cubicBezTo>
                  <a:pt x="3929" y="364"/>
                  <a:pt x="3929" y="364"/>
                  <a:pt x="3929" y="364"/>
                </a:cubicBezTo>
                <a:moveTo>
                  <a:pt x="3962" y="364"/>
                </a:moveTo>
                <a:cubicBezTo>
                  <a:pt x="3956" y="364"/>
                  <a:pt x="3953" y="368"/>
                  <a:pt x="3956" y="374"/>
                </a:cubicBezTo>
                <a:cubicBezTo>
                  <a:pt x="3959" y="380"/>
                  <a:pt x="3967" y="384"/>
                  <a:pt x="3973" y="384"/>
                </a:cubicBezTo>
                <a:cubicBezTo>
                  <a:pt x="3980" y="384"/>
                  <a:pt x="3983" y="379"/>
                  <a:pt x="3979" y="374"/>
                </a:cubicBezTo>
                <a:cubicBezTo>
                  <a:pt x="3976" y="368"/>
                  <a:pt x="3969" y="364"/>
                  <a:pt x="3962" y="364"/>
                </a:cubicBezTo>
                <a:cubicBezTo>
                  <a:pt x="3962" y="364"/>
                  <a:pt x="3962" y="364"/>
                  <a:pt x="3962" y="364"/>
                </a:cubicBezTo>
                <a:moveTo>
                  <a:pt x="386" y="360"/>
                </a:moveTo>
                <a:cubicBezTo>
                  <a:pt x="380" y="360"/>
                  <a:pt x="371" y="364"/>
                  <a:pt x="366" y="370"/>
                </a:cubicBezTo>
                <a:cubicBezTo>
                  <a:pt x="362" y="376"/>
                  <a:pt x="364" y="380"/>
                  <a:pt x="370" y="380"/>
                </a:cubicBezTo>
                <a:cubicBezTo>
                  <a:pt x="377" y="380"/>
                  <a:pt x="386" y="375"/>
                  <a:pt x="390" y="370"/>
                </a:cubicBezTo>
                <a:cubicBezTo>
                  <a:pt x="394" y="364"/>
                  <a:pt x="393" y="360"/>
                  <a:pt x="386" y="360"/>
                </a:cubicBezTo>
                <a:cubicBezTo>
                  <a:pt x="386" y="360"/>
                  <a:pt x="386" y="360"/>
                  <a:pt x="386" y="360"/>
                </a:cubicBezTo>
                <a:moveTo>
                  <a:pt x="420" y="360"/>
                </a:moveTo>
                <a:cubicBezTo>
                  <a:pt x="413" y="360"/>
                  <a:pt x="404" y="364"/>
                  <a:pt x="400" y="370"/>
                </a:cubicBezTo>
                <a:cubicBezTo>
                  <a:pt x="396" y="375"/>
                  <a:pt x="397" y="380"/>
                  <a:pt x="404" y="380"/>
                </a:cubicBezTo>
                <a:cubicBezTo>
                  <a:pt x="411" y="380"/>
                  <a:pt x="419" y="375"/>
                  <a:pt x="424" y="370"/>
                </a:cubicBezTo>
                <a:cubicBezTo>
                  <a:pt x="428" y="364"/>
                  <a:pt x="426" y="360"/>
                  <a:pt x="420" y="360"/>
                </a:cubicBezTo>
                <a:cubicBezTo>
                  <a:pt x="420" y="360"/>
                  <a:pt x="420" y="360"/>
                  <a:pt x="420" y="360"/>
                </a:cubicBezTo>
                <a:moveTo>
                  <a:pt x="453" y="359"/>
                </a:moveTo>
                <a:cubicBezTo>
                  <a:pt x="447" y="359"/>
                  <a:pt x="438" y="364"/>
                  <a:pt x="434" y="369"/>
                </a:cubicBezTo>
                <a:cubicBezTo>
                  <a:pt x="430" y="375"/>
                  <a:pt x="431" y="380"/>
                  <a:pt x="438" y="380"/>
                </a:cubicBezTo>
                <a:cubicBezTo>
                  <a:pt x="445" y="379"/>
                  <a:pt x="453" y="375"/>
                  <a:pt x="458" y="369"/>
                </a:cubicBezTo>
                <a:cubicBezTo>
                  <a:pt x="462" y="364"/>
                  <a:pt x="460" y="359"/>
                  <a:pt x="454" y="359"/>
                </a:cubicBezTo>
                <a:cubicBezTo>
                  <a:pt x="454" y="359"/>
                  <a:pt x="453" y="359"/>
                  <a:pt x="453" y="359"/>
                </a:cubicBezTo>
                <a:moveTo>
                  <a:pt x="487" y="359"/>
                </a:moveTo>
                <a:cubicBezTo>
                  <a:pt x="480" y="359"/>
                  <a:pt x="472" y="364"/>
                  <a:pt x="468" y="369"/>
                </a:cubicBezTo>
                <a:cubicBezTo>
                  <a:pt x="463" y="375"/>
                  <a:pt x="465" y="379"/>
                  <a:pt x="472" y="379"/>
                </a:cubicBezTo>
                <a:cubicBezTo>
                  <a:pt x="478" y="379"/>
                  <a:pt x="487" y="375"/>
                  <a:pt x="491" y="369"/>
                </a:cubicBezTo>
                <a:cubicBezTo>
                  <a:pt x="495" y="363"/>
                  <a:pt x="494" y="359"/>
                  <a:pt x="487" y="359"/>
                </a:cubicBezTo>
                <a:cubicBezTo>
                  <a:pt x="487" y="359"/>
                  <a:pt x="487" y="359"/>
                  <a:pt x="487" y="359"/>
                </a:cubicBezTo>
                <a:moveTo>
                  <a:pt x="521" y="359"/>
                </a:moveTo>
                <a:cubicBezTo>
                  <a:pt x="514" y="359"/>
                  <a:pt x="506" y="363"/>
                  <a:pt x="501" y="369"/>
                </a:cubicBezTo>
                <a:cubicBezTo>
                  <a:pt x="497" y="375"/>
                  <a:pt x="499" y="379"/>
                  <a:pt x="506" y="379"/>
                </a:cubicBezTo>
                <a:cubicBezTo>
                  <a:pt x="512" y="379"/>
                  <a:pt x="521" y="374"/>
                  <a:pt x="525" y="369"/>
                </a:cubicBezTo>
                <a:cubicBezTo>
                  <a:pt x="529" y="363"/>
                  <a:pt x="527" y="359"/>
                  <a:pt x="521" y="359"/>
                </a:cubicBezTo>
                <a:cubicBezTo>
                  <a:pt x="521" y="359"/>
                  <a:pt x="521" y="359"/>
                  <a:pt x="521" y="359"/>
                </a:cubicBezTo>
                <a:moveTo>
                  <a:pt x="556" y="358"/>
                </a:moveTo>
                <a:cubicBezTo>
                  <a:pt x="549" y="359"/>
                  <a:pt x="541" y="363"/>
                  <a:pt x="536" y="369"/>
                </a:cubicBezTo>
                <a:cubicBezTo>
                  <a:pt x="532" y="374"/>
                  <a:pt x="534" y="379"/>
                  <a:pt x="541" y="379"/>
                </a:cubicBezTo>
                <a:cubicBezTo>
                  <a:pt x="548" y="379"/>
                  <a:pt x="556" y="374"/>
                  <a:pt x="560" y="369"/>
                </a:cubicBezTo>
                <a:cubicBezTo>
                  <a:pt x="564" y="363"/>
                  <a:pt x="562" y="358"/>
                  <a:pt x="556" y="358"/>
                </a:cubicBezTo>
                <a:cubicBezTo>
                  <a:pt x="556" y="358"/>
                  <a:pt x="556" y="358"/>
                  <a:pt x="556" y="358"/>
                </a:cubicBezTo>
                <a:moveTo>
                  <a:pt x="589" y="358"/>
                </a:moveTo>
                <a:cubicBezTo>
                  <a:pt x="583" y="358"/>
                  <a:pt x="574" y="363"/>
                  <a:pt x="570" y="368"/>
                </a:cubicBezTo>
                <a:cubicBezTo>
                  <a:pt x="566" y="374"/>
                  <a:pt x="568" y="379"/>
                  <a:pt x="575" y="378"/>
                </a:cubicBezTo>
                <a:cubicBezTo>
                  <a:pt x="581" y="378"/>
                  <a:pt x="590" y="374"/>
                  <a:pt x="594" y="368"/>
                </a:cubicBezTo>
                <a:cubicBezTo>
                  <a:pt x="598" y="363"/>
                  <a:pt x="596" y="358"/>
                  <a:pt x="589" y="358"/>
                </a:cubicBezTo>
                <a:cubicBezTo>
                  <a:pt x="589" y="358"/>
                  <a:pt x="589" y="358"/>
                  <a:pt x="589" y="358"/>
                </a:cubicBezTo>
                <a:moveTo>
                  <a:pt x="623" y="358"/>
                </a:moveTo>
                <a:cubicBezTo>
                  <a:pt x="616" y="358"/>
                  <a:pt x="608" y="363"/>
                  <a:pt x="604" y="368"/>
                </a:cubicBezTo>
                <a:cubicBezTo>
                  <a:pt x="600" y="374"/>
                  <a:pt x="602" y="378"/>
                  <a:pt x="609" y="378"/>
                </a:cubicBezTo>
                <a:cubicBezTo>
                  <a:pt x="615" y="378"/>
                  <a:pt x="624" y="374"/>
                  <a:pt x="628" y="368"/>
                </a:cubicBezTo>
                <a:cubicBezTo>
                  <a:pt x="632" y="362"/>
                  <a:pt x="629" y="358"/>
                  <a:pt x="623" y="358"/>
                </a:cubicBezTo>
                <a:cubicBezTo>
                  <a:pt x="623" y="358"/>
                  <a:pt x="623" y="358"/>
                  <a:pt x="623" y="358"/>
                </a:cubicBezTo>
                <a:moveTo>
                  <a:pt x="657" y="358"/>
                </a:moveTo>
                <a:cubicBezTo>
                  <a:pt x="651" y="358"/>
                  <a:pt x="642" y="362"/>
                  <a:pt x="638" y="368"/>
                </a:cubicBezTo>
                <a:cubicBezTo>
                  <a:pt x="634" y="374"/>
                  <a:pt x="637" y="378"/>
                  <a:pt x="643" y="378"/>
                </a:cubicBezTo>
                <a:cubicBezTo>
                  <a:pt x="650" y="378"/>
                  <a:pt x="658" y="373"/>
                  <a:pt x="662" y="368"/>
                </a:cubicBezTo>
                <a:cubicBezTo>
                  <a:pt x="666" y="362"/>
                  <a:pt x="664" y="358"/>
                  <a:pt x="657" y="358"/>
                </a:cubicBezTo>
                <a:cubicBezTo>
                  <a:pt x="657" y="358"/>
                  <a:pt x="657" y="358"/>
                  <a:pt x="657" y="358"/>
                </a:cubicBezTo>
                <a:moveTo>
                  <a:pt x="691" y="357"/>
                </a:moveTo>
                <a:cubicBezTo>
                  <a:pt x="684" y="357"/>
                  <a:pt x="676" y="362"/>
                  <a:pt x="672" y="368"/>
                </a:cubicBezTo>
                <a:cubicBezTo>
                  <a:pt x="668" y="373"/>
                  <a:pt x="670" y="378"/>
                  <a:pt x="677" y="378"/>
                </a:cubicBezTo>
                <a:cubicBezTo>
                  <a:pt x="683" y="378"/>
                  <a:pt x="692" y="373"/>
                  <a:pt x="696" y="367"/>
                </a:cubicBezTo>
                <a:cubicBezTo>
                  <a:pt x="699" y="362"/>
                  <a:pt x="697" y="357"/>
                  <a:pt x="691" y="357"/>
                </a:cubicBezTo>
                <a:cubicBezTo>
                  <a:pt x="691" y="357"/>
                  <a:pt x="691" y="357"/>
                  <a:pt x="691" y="357"/>
                </a:cubicBezTo>
                <a:moveTo>
                  <a:pt x="724" y="357"/>
                </a:moveTo>
                <a:cubicBezTo>
                  <a:pt x="718" y="357"/>
                  <a:pt x="709" y="362"/>
                  <a:pt x="706" y="367"/>
                </a:cubicBezTo>
                <a:cubicBezTo>
                  <a:pt x="702" y="373"/>
                  <a:pt x="704" y="378"/>
                  <a:pt x="711" y="377"/>
                </a:cubicBezTo>
                <a:cubicBezTo>
                  <a:pt x="717" y="377"/>
                  <a:pt x="726" y="373"/>
                  <a:pt x="729" y="367"/>
                </a:cubicBezTo>
                <a:cubicBezTo>
                  <a:pt x="733" y="362"/>
                  <a:pt x="731" y="357"/>
                  <a:pt x="724" y="357"/>
                </a:cubicBezTo>
                <a:cubicBezTo>
                  <a:pt x="724" y="357"/>
                  <a:pt x="724" y="357"/>
                  <a:pt x="724" y="357"/>
                </a:cubicBezTo>
                <a:moveTo>
                  <a:pt x="758" y="357"/>
                </a:moveTo>
                <a:cubicBezTo>
                  <a:pt x="751" y="357"/>
                  <a:pt x="743" y="362"/>
                  <a:pt x="739" y="367"/>
                </a:cubicBezTo>
                <a:cubicBezTo>
                  <a:pt x="736" y="373"/>
                  <a:pt x="738" y="377"/>
                  <a:pt x="745" y="377"/>
                </a:cubicBezTo>
                <a:cubicBezTo>
                  <a:pt x="751" y="377"/>
                  <a:pt x="759" y="373"/>
                  <a:pt x="763" y="367"/>
                </a:cubicBezTo>
                <a:cubicBezTo>
                  <a:pt x="767" y="361"/>
                  <a:pt x="764" y="357"/>
                  <a:pt x="758" y="357"/>
                </a:cubicBezTo>
                <a:cubicBezTo>
                  <a:pt x="758" y="357"/>
                  <a:pt x="758" y="357"/>
                  <a:pt x="758" y="357"/>
                </a:cubicBezTo>
                <a:moveTo>
                  <a:pt x="792" y="357"/>
                </a:moveTo>
                <a:cubicBezTo>
                  <a:pt x="785" y="357"/>
                  <a:pt x="777" y="361"/>
                  <a:pt x="773" y="367"/>
                </a:cubicBezTo>
                <a:cubicBezTo>
                  <a:pt x="770" y="372"/>
                  <a:pt x="772" y="377"/>
                  <a:pt x="779" y="377"/>
                </a:cubicBezTo>
                <a:cubicBezTo>
                  <a:pt x="785" y="377"/>
                  <a:pt x="793" y="372"/>
                  <a:pt x="797" y="367"/>
                </a:cubicBezTo>
                <a:cubicBezTo>
                  <a:pt x="800" y="361"/>
                  <a:pt x="798" y="357"/>
                  <a:pt x="792" y="357"/>
                </a:cubicBezTo>
                <a:cubicBezTo>
                  <a:pt x="792" y="357"/>
                  <a:pt x="792" y="357"/>
                  <a:pt x="792" y="357"/>
                </a:cubicBezTo>
                <a:moveTo>
                  <a:pt x="826" y="356"/>
                </a:moveTo>
                <a:cubicBezTo>
                  <a:pt x="819" y="356"/>
                  <a:pt x="811" y="361"/>
                  <a:pt x="807" y="367"/>
                </a:cubicBezTo>
                <a:cubicBezTo>
                  <a:pt x="804" y="372"/>
                  <a:pt x="806" y="377"/>
                  <a:pt x="813" y="377"/>
                </a:cubicBezTo>
                <a:cubicBezTo>
                  <a:pt x="820" y="377"/>
                  <a:pt x="828" y="372"/>
                  <a:pt x="831" y="366"/>
                </a:cubicBezTo>
                <a:cubicBezTo>
                  <a:pt x="835" y="361"/>
                  <a:pt x="832" y="356"/>
                  <a:pt x="826" y="356"/>
                </a:cubicBezTo>
                <a:cubicBezTo>
                  <a:pt x="826" y="356"/>
                  <a:pt x="826" y="356"/>
                  <a:pt x="826" y="356"/>
                </a:cubicBezTo>
                <a:moveTo>
                  <a:pt x="859" y="356"/>
                </a:moveTo>
                <a:cubicBezTo>
                  <a:pt x="853" y="356"/>
                  <a:pt x="845" y="361"/>
                  <a:pt x="841" y="366"/>
                </a:cubicBezTo>
                <a:cubicBezTo>
                  <a:pt x="838" y="372"/>
                  <a:pt x="840" y="376"/>
                  <a:pt x="847" y="376"/>
                </a:cubicBezTo>
                <a:cubicBezTo>
                  <a:pt x="853" y="376"/>
                  <a:pt x="861" y="372"/>
                  <a:pt x="865" y="366"/>
                </a:cubicBezTo>
                <a:cubicBezTo>
                  <a:pt x="868" y="361"/>
                  <a:pt x="866" y="356"/>
                  <a:pt x="859" y="356"/>
                </a:cubicBezTo>
                <a:cubicBezTo>
                  <a:pt x="859" y="356"/>
                  <a:pt x="859" y="356"/>
                  <a:pt x="859" y="356"/>
                </a:cubicBezTo>
                <a:moveTo>
                  <a:pt x="891" y="356"/>
                </a:moveTo>
                <a:cubicBezTo>
                  <a:pt x="885" y="356"/>
                  <a:pt x="877" y="361"/>
                  <a:pt x="873" y="366"/>
                </a:cubicBezTo>
                <a:cubicBezTo>
                  <a:pt x="870" y="372"/>
                  <a:pt x="872" y="376"/>
                  <a:pt x="879" y="376"/>
                </a:cubicBezTo>
                <a:cubicBezTo>
                  <a:pt x="885" y="376"/>
                  <a:pt x="893" y="372"/>
                  <a:pt x="897" y="366"/>
                </a:cubicBezTo>
                <a:cubicBezTo>
                  <a:pt x="900" y="360"/>
                  <a:pt x="898" y="356"/>
                  <a:pt x="891" y="356"/>
                </a:cubicBezTo>
                <a:cubicBezTo>
                  <a:pt x="891" y="356"/>
                  <a:pt x="891" y="356"/>
                  <a:pt x="891" y="356"/>
                </a:cubicBezTo>
                <a:moveTo>
                  <a:pt x="925" y="356"/>
                </a:moveTo>
                <a:cubicBezTo>
                  <a:pt x="919" y="356"/>
                  <a:pt x="911" y="360"/>
                  <a:pt x="907" y="366"/>
                </a:cubicBezTo>
                <a:cubicBezTo>
                  <a:pt x="904" y="371"/>
                  <a:pt x="907" y="376"/>
                  <a:pt x="913" y="376"/>
                </a:cubicBezTo>
                <a:cubicBezTo>
                  <a:pt x="920" y="376"/>
                  <a:pt x="928" y="371"/>
                  <a:pt x="931" y="366"/>
                </a:cubicBezTo>
                <a:cubicBezTo>
                  <a:pt x="934" y="360"/>
                  <a:pt x="932" y="356"/>
                  <a:pt x="925" y="356"/>
                </a:cubicBezTo>
                <a:cubicBezTo>
                  <a:pt x="925" y="356"/>
                  <a:pt x="925" y="356"/>
                  <a:pt x="925" y="356"/>
                </a:cubicBezTo>
                <a:moveTo>
                  <a:pt x="959" y="355"/>
                </a:moveTo>
                <a:cubicBezTo>
                  <a:pt x="952" y="355"/>
                  <a:pt x="944" y="360"/>
                  <a:pt x="941" y="366"/>
                </a:cubicBezTo>
                <a:cubicBezTo>
                  <a:pt x="938" y="371"/>
                  <a:pt x="940" y="376"/>
                  <a:pt x="947" y="376"/>
                </a:cubicBezTo>
                <a:cubicBezTo>
                  <a:pt x="954" y="376"/>
                  <a:pt x="961" y="371"/>
                  <a:pt x="965" y="365"/>
                </a:cubicBezTo>
                <a:cubicBezTo>
                  <a:pt x="968" y="360"/>
                  <a:pt x="965" y="355"/>
                  <a:pt x="959" y="355"/>
                </a:cubicBezTo>
                <a:cubicBezTo>
                  <a:pt x="959" y="355"/>
                  <a:pt x="959" y="355"/>
                  <a:pt x="959" y="355"/>
                </a:cubicBezTo>
                <a:moveTo>
                  <a:pt x="1060" y="355"/>
                </a:moveTo>
                <a:cubicBezTo>
                  <a:pt x="1053" y="355"/>
                  <a:pt x="1045" y="359"/>
                  <a:pt x="1042" y="365"/>
                </a:cubicBezTo>
                <a:cubicBezTo>
                  <a:pt x="1039" y="370"/>
                  <a:pt x="1042" y="375"/>
                  <a:pt x="1049" y="375"/>
                </a:cubicBezTo>
                <a:cubicBezTo>
                  <a:pt x="1055" y="375"/>
                  <a:pt x="1063" y="370"/>
                  <a:pt x="1066" y="365"/>
                </a:cubicBezTo>
                <a:cubicBezTo>
                  <a:pt x="1069" y="359"/>
                  <a:pt x="1066" y="355"/>
                  <a:pt x="1060" y="355"/>
                </a:cubicBezTo>
                <a:cubicBezTo>
                  <a:pt x="1060" y="355"/>
                  <a:pt x="1060" y="355"/>
                  <a:pt x="1060" y="355"/>
                </a:cubicBezTo>
                <a:moveTo>
                  <a:pt x="1094" y="354"/>
                </a:moveTo>
                <a:cubicBezTo>
                  <a:pt x="1087" y="354"/>
                  <a:pt x="1079" y="359"/>
                  <a:pt x="1076" y="365"/>
                </a:cubicBezTo>
                <a:cubicBezTo>
                  <a:pt x="1073" y="370"/>
                  <a:pt x="1076" y="375"/>
                  <a:pt x="1083" y="375"/>
                </a:cubicBezTo>
                <a:cubicBezTo>
                  <a:pt x="1090" y="375"/>
                  <a:pt x="1097" y="370"/>
                  <a:pt x="1100" y="364"/>
                </a:cubicBezTo>
                <a:cubicBezTo>
                  <a:pt x="1103" y="359"/>
                  <a:pt x="1100" y="354"/>
                  <a:pt x="1094" y="354"/>
                </a:cubicBezTo>
                <a:cubicBezTo>
                  <a:pt x="1094" y="354"/>
                  <a:pt x="1094" y="354"/>
                  <a:pt x="1094" y="354"/>
                </a:cubicBezTo>
                <a:moveTo>
                  <a:pt x="1127" y="354"/>
                </a:moveTo>
                <a:cubicBezTo>
                  <a:pt x="1121" y="354"/>
                  <a:pt x="1113" y="359"/>
                  <a:pt x="1110" y="364"/>
                </a:cubicBezTo>
                <a:cubicBezTo>
                  <a:pt x="1107" y="370"/>
                  <a:pt x="1110" y="374"/>
                  <a:pt x="1117" y="374"/>
                </a:cubicBezTo>
                <a:cubicBezTo>
                  <a:pt x="1123" y="374"/>
                  <a:pt x="1131" y="370"/>
                  <a:pt x="1134" y="364"/>
                </a:cubicBezTo>
                <a:cubicBezTo>
                  <a:pt x="1137" y="359"/>
                  <a:pt x="1134" y="354"/>
                  <a:pt x="1127" y="354"/>
                </a:cubicBezTo>
                <a:cubicBezTo>
                  <a:pt x="1127" y="354"/>
                  <a:pt x="1127" y="354"/>
                  <a:pt x="1127" y="354"/>
                </a:cubicBezTo>
                <a:moveTo>
                  <a:pt x="1160" y="354"/>
                </a:moveTo>
                <a:cubicBezTo>
                  <a:pt x="1154" y="354"/>
                  <a:pt x="1146" y="358"/>
                  <a:pt x="1143" y="364"/>
                </a:cubicBezTo>
                <a:cubicBezTo>
                  <a:pt x="1140" y="370"/>
                  <a:pt x="1143" y="374"/>
                  <a:pt x="1150" y="374"/>
                </a:cubicBezTo>
                <a:cubicBezTo>
                  <a:pt x="1157" y="374"/>
                  <a:pt x="1164" y="370"/>
                  <a:pt x="1167" y="364"/>
                </a:cubicBezTo>
                <a:cubicBezTo>
                  <a:pt x="1170" y="358"/>
                  <a:pt x="1167" y="354"/>
                  <a:pt x="1160" y="354"/>
                </a:cubicBezTo>
                <a:cubicBezTo>
                  <a:pt x="1160" y="354"/>
                  <a:pt x="1160" y="354"/>
                  <a:pt x="1160" y="354"/>
                </a:cubicBezTo>
                <a:moveTo>
                  <a:pt x="1194" y="354"/>
                </a:moveTo>
                <a:cubicBezTo>
                  <a:pt x="1188" y="354"/>
                  <a:pt x="1180" y="358"/>
                  <a:pt x="1177" y="364"/>
                </a:cubicBezTo>
                <a:cubicBezTo>
                  <a:pt x="1175" y="369"/>
                  <a:pt x="1178" y="374"/>
                  <a:pt x="1184" y="374"/>
                </a:cubicBezTo>
                <a:cubicBezTo>
                  <a:pt x="1191" y="374"/>
                  <a:pt x="1198" y="369"/>
                  <a:pt x="1201" y="364"/>
                </a:cubicBezTo>
                <a:cubicBezTo>
                  <a:pt x="1204" y="358"/>
                  <a:pt x="1201" y="354"/>
                  <a:pt x="1194" y="354"/>
                </a:cubicBezTo>
                <a:cubicBezTo>
                  <a:pt x="1194" y="354"/>
                  <a:pt x="1194" y="354"/>
                  <a:pt x="1194" y="354"/>
                </a:cubicBezTo>
                <a:moveTo>
                  <a:pt x="1228" y="353"/>
                </a:moveTo>
                <a:cubicBezTo>
                  <a:pt x="1221" y="353"/>
                  <a:pt x="1214" y="358"/>
                  <a:pt x="1211" y="364"/>
                </a:cubicBezTo>
                <a:cubicBezTo>
                  <a:pt x="1208" y="369"/>
                  <a:pt x="1211" y="374"/>
                  <a:pt x="1218" y="374"/>
                </a:cubicBezTo>
                <a:cubicBezTo>
                  <a:pt x="1225" y="374"/>
                  <a:pt x="1232" y="369"/>
                  <a:pt x="1235" y="363"/>
                </a:cubicBezTo>
                <a:cubicBezTo>
                  <a:pt x="1237" y="358"/>
                  <a:pt x="1234" y="353"/>
                  <a:pt x="1228" y="353"/>
                </a:cubicBezTo>
                <a:cubicBezTo>
                  <a:pt x="1228" y="353"/>
                  <a:pt x="1228" y="353"/>
                  <a:pt x="1228" y="353"/>
                </a:cubicBezTo>
                <a:moveTo>
                  <a:pt x="1262" y="353"/>
                </a:moveTo>
                <a:cubicBezTo>
                  <a:pt x="1256" y="353"/>
                  <a:pt x="1248" y="358"/>
                  <a:pt x="1246" y="363"/>
                </a:cubicBezTo>
                <a:cubicBezTo>
                  <a:pt x="1243" y="369"/>
                  <a:pt x="1246" y="373"/>
                  <a:pt x="1253" y="373"/>
                </a:cubicBezTo>
                <a:cubicBezTo>
                  <a:pt x="1259" y="373"/>
                  <a:pt x="1267" y="369"/>
                  <a:pt x="1269" y="363"/>
                </a:cubicBezTo>
                <a:cubicBezTo>
                  <a:pt x="1272" y="358"/>
                  <a:pt x="1269" y="353"/>
                  <a:pt x="1262" y="353"/>
                </a:cubicBezTo>
                <a:cubicBezTo>
                  <a:pt x="1262" y="353"/>
                  <a:pt x="1262" y="353"/>
                  <a:pt x="1262" y="353"/>
                </a:cubicBezTo>
                <a:moveTo>
                  <a:pt x="1296" y="353"/>
                </a:moveTo>
                <a:cubicBezTo>
                  <a:pt x="1290" y="353"/>
                  <a:pt x="1282" y="357"/>
                  <a:pt x="1280" y="363"/>
                </a:cubicBezTo>
                <a:cubicBezTo>
                  <a:pt x="1277" y="369"/>
                  <a:pt x="1281" y="373"/>
                  <a:pt x="1287" y="373"/>
                </a:cubicBezTo>
                <a:cubicBezTo>
                  <a:pt x="1294" y="373"/>
                  <a:pt x="1301" y="368"/>
                  <a:pt x="1303" y="363"/>
                </a:cubicBezTo>
                <a:cubicBezTo>
                  <a:pt x="1306" y="357"/>
                  <a:pt x="1303" y="353"/>
                  <a:pt x="1296" y="353"/>
                </a:cubicBezTo>
                <a:cubicBezTo>
                  <a:pt x="1296" y="353"/>
                  <a:pt x="1296" y="353"/>
                  <a:pt x="1296" y="353"/>
                </a:cubicBezTo>
                <a:moveTo>
                  <a:pt x="1330" y="353"/>
                </a:moveTo>
                <a:cubicBezTo>
                  <a:pt x="1323" y="353"/>
                  <a:pt x="1316" y="357"/>
                  <a:pt x="1313" y="363"/>
                </a:cubicBezTo>
                <a:cubicBezTo>
                  <a:pt x="1311" y="368"/>
                  <a:pt x="1314" y="373"/>
                  <a:pt x="1321" y="373"/>
                </a:cubicBezTo>
                <a:cubicBezTo>
                  <a:pt x="1327" y="373"/>
                  <a:pt x="1335" y="368"/>
                  <a:pt x="1337" y="363"/>
                </a:cubicBezTo>
                <a:cubicBezTo>
                  <a:pt x="1339" y="357"/>
                  <a:pt x="1336" y="353"/>
                  <a:pt x="1330" y="353"/>
                </a:cubicBezTo>
                <a:cubicBezTo>
                  <a:pt x="1330" y="353"/>
                  <a:pt x="1330" y="353"/>
                  <a:pt x="1330" y="353"/>
                </a:cubicBezTo>
                <a:moveTo>
                  <a:pt x="1967" y="350"/>
                </a:moveTo>
                <a:cubicBezTo>
                  <a:pt x="1961" y="350"/>
                  <a:pt x="1954" y="354"/>
                  <a:pt x="1953" y="360"/>
                </a:cubicBezTo>
                <a:cubicBezTo>
                  <a:pt x="1952" y="366"/>
                  <a:pt x="1957" y="370"/>
                  <a:pt x="1963" y="370"/>
                </a:cubicBezTo>
                <a:cubicBezTo>
                  <a:pt x="1970" y="370"/>
                  <a:pt x="1976" y="365"/>
                  <a:pt x="1977" y="360"/>
                </a:cubicBezTo>
                <a:cubicBezTo>
                  <a:pt x="1978" y="354"/>
                  <a:pt x="1974" y="350"/>
                  <a:pt x="1967" y="350"/>
                </a:cubicBezTo>
                <a:cubicBezTo>
                  <a:pt x="1967" y="350"/>
                  <a:pt x="1967" y="350"/>
                  <a:pt x="1967" y="350"/>
                </a:cubicBezTo>
                <a:moveTo>
                  <a:pt x="2001" y="349"/>
                </a:moveTo>
                <a:cubicBezTo>
                  <a:pt x="1995" y="349"/>
                  <a:pt x="1988" y="354"/>
                  <a:pt x="1987" y="360"/>
                </a:cubicBezTo>
                <a:cubicBezTo>
                  <a:pt x="1986" y="365"/>
                  <a:pt x="1991" y="370"/>
                  <a:pt x="1997" y="370"/>
                </a:cubicBezTo>
                <a:cubicBezTo>
                  <a:pt x="2004" y="370"/>
                  <a:pt x="2010" y="365"/>
                  <a:pt x="2011" y="360"/>
                </a:cubicBezTo>
                <a:cubicBezTo>
                  <a:pt x="2012" y="354"/>
                  <a:pt x="2008" y="349"/>
                  <a:pt x="2001" y="349"/>
                </a:cubicBezTo>
                <a:cubicBezTo>
                  <a:pt x="2001" y="349"/>
                  <a:pt x="2001" y="349"/>
                  <a:pt x="2001" y="349"/>
                </a:cubicBezTo>
                <a:moveTo>
                  <a:pt x="2067" y="349"/>
                </a:moveTo>
                <a:cubicBezTo>
                  <a:pt x="2061" y="349"/>
                  <a:pt x="2055" y="354"/>
                  <a:pt x="2054" y="359"/>
                </a:cubicBezTo>
                <a:cubicBezTo>
                  <a:pt x="2053" y="365"/>
                  <a:pt x="2058" y="369"/>
                  <a:pt x="2064" y="369"/>
                </a:cubicBezTo>
                <a:cubicBezTo>
                  <a:pt x="2071" y="369"/>
                  <a:pt x="2077" y="365"/>
                  <a:pt x="2078" y="359"/>
                </a:cubicBezTo>
                <a:cubicBezTo>
                  <a:pt x="2078" y="353"/>
                  <a:pt x="2074" y="349"/>
                  <a:pt x="2068" y="349"/>
                </a:cubicBezTo>
                <a:cubicBezTo>
                  <a:pt x="2067" y="349"/>
                  <a:pt x="2067" y="349"/>
                  <a:pt x="2067" y="349"/>
                </a:cubicBezTo>
                <a:moveTo>
                  <a:pt x="2203" y="346"/>
                </a:moveTo>
                <a:cubicBezTo>
                  <a:pt x="2197" y="346"/>
                  <a:pt x="2191" y="351"/>
                  <a:pt x="2190" y="356"/>
                </a:cubicBezTo>
                <a:cubicBezTo>
                  <a:pt x="2190" y="362"/>
                  <a:pt x="2195" y="366"/>
                  <a:pt x="2201" y="366"/>
                </a:cubicBezTo>
                <a:cubicBezTo>
                  <a:pt x="2208" y="366"/>
                  <a:pt x="2213" y="362"/>
                  <a:pt x="2214" y="356"/>
                </a:cubicBezTo>
                <a:cubicBezTo>
                  <a:pt x="2215" y="350"/>
                  <a:pt x="2210" y="346"/>
                  <a:pt x="2203" y="346"/>
                </a:cubicBezTo>
                <a:cubicBezTo>
                  <a:pt x="2203" y="346"/>
                  <a:pt x="2203" y="346"/>
                  <a:pt x="2203" y="346"/>
                </a:cubicBezTo>
                <a:moveTo>
                  <a:pt x="2238" y="346"/>
                </a:moveTo>
                <a:cubicBezTo>
                  <a:pt x="2231" y="346"/>
                  <a:pt x="2226" y="350"/>
                  <a:pt x="2225" y="356"/>
                </a:cubicBezTo>
                <a:cubicBezTo>
                  <a:pt x="2224" y="362"/>
                  <a:pt x="2229" y="366"/>
                  <a:pt x="2236" y="366"/>
                </a:cubicBezTo>
                <a:cubicBezTo>
                  <a:pt x="2242" y="366"/>
                  <a:pt x="2248" y="361"/>
                  <a:pt x="2249" y="356"/>
                </a:cubicBezTo>
                <a:cubicBezTo>
                  <a:pt x="2249" y="350"/>
                  <a:pt x="2244" y="346"/>
                  <a:pt x="2238" y="346"/>
                </a:cubicBezTo>
                <a:cubicBezTo>
                  <a:pt x="2238" y="346"/>
                  <a:pt x="2238" y="346"/>
                  <a:pt x="2238" y="346"/>
                </a:cubicBezTo>
                <a:moveTo>
                  <a:pt x="2271" y="345"/>
                </a:moveTo>
                <a:cubicBezTo>
                  <a:pt x="2265" y="345"/>
                  <a:pt x="2259" y="350"/>
                  <a:pt x="2258" y="356"/>
                </a:cubicBezTo>
                <a:cubicBezTo>
                  <a:pt x="2258" y="361"/>
                  <a:pt x="2263" y="366"/>
                  <a:pt x="2269" y="366"/>
                </a:cubicBezTo>
                <a:cubicBezTo>
                  <a:pt x="2276" y="366"/>
                  <a:pt x="2282" y="361"/>
                  <a:pt x="2282" y="356"/>
                </a:cubicBezTo>
                <a:cubicBezTo>
                  <a:pt x="2282" y="350"/>
                  <a:pt x="2278" y="345"/>
                  <a:pt x="2271" y="345"/>
                </a:cubicBezTo>
                <a:cubicBezTo>
                  <a:pt x="2271" y="345"/>
                  <a:pt x="2271" y="345"/>
                  <a:pt x="2271" y="345"/>
                </a:cubicBezTo>
                <a:moveTo>
                  <a:pt x="2573" y="345"/>
                </a:moveTo>
                <a:cubicBezTo>
                  <a:pt x="2567" y="345"/>
                  <a:pt x="2561" y="350"/>
                  <a:pt x="2561" y="356"/>
                </a:cubicBezTo>
                <a:cubicBezTo>
                  <a:pt x="2562" y="361"/>
                  <a:pt x="2567" y="366"/>
                  <a:pt x="2574" y="366"/>
                </a:cubicBezTo>
                <a:cubicBezTo>
                  <a:pt x="2580" y="366"/>
                  <a:pt x="2585" y="361"/>
                  <a:pt x="2585" y="355"/>
                </a:cubicBezTo>
                <a:cubicBezTo>
                  <a:pt x="2585" y="350"/>
                  <a:pt x="2580" y="345"/>
                  <a:pt x="2573" y="345"/>
                </a:cubicBezTo>
                <a:cubicBezTo>
                  <a:pt x="2573" y="345"/>
                  <a:pt x="2573" y="345"/>
                  <a:pt x="2573" y="345"/>
                </a:cubicBezTo>
                <a:moveTo>
                  <a:pt x="2304" y="345"/>
                </a:moveTo>
                <a:cubicBezTo>
                  <a:pt x="2298" y="345"/>
                  <a:pt x="2292" y="350"/>
                  <a:pt x="2292" y="355"/>
                </a:cubicBezTo>
                <a:cubicBezTo>
                  <a:pt x="2291" y="361"/>
                  <a:pt x="2296" y="366"/>
                  <a:pt x="2303" y="366"/>
                </a:cubicBezTo>
                <a:cubicBezTo>
                  <a:pt x="2309" y="366"/>
                  <a:pt x="2315" y="361"/>
                  <a:pt x="2315" y="355"/>
                </a:cubicBezTo>
                <a:cubicBezTo>
                  <a:pt x="2316" y="350"/>
                  <a:pt x="2311" y="345"/>
                  <a:pt x="2304" y="345"/>
                </a:cubicBezTo>
                <a:cubicBezTo>
                  <a:pt x="2304" y="345"/>
                  <a:pt x="2304" y="345"/>
                  <a:pt x="2304" y="345"/>
                </a:cubicBezTo>
                <a:moveTo>
                  <a:pt x="2338" y="345"/>
                </a:moveTo>
                <a:cubicBezTo>
                  <a:pt x="2331" y="345"/>
                  <a:pt x="2326" y="350"/>
                  <a:pt x="2325" y="355"/>
                </a:cubicBezTo>
                <a:cubicBezTo>
                  <a:pt x="2325" y="361"/>
                  <a:pt x="2330" y="365"/>
                  <a:pt x="2336" y="365"/>
                </a:cubicBezTo>
                <a:cubicBezTo>
                  <a:pt x="2343" y="365"/>
                  <a:pt x="2348" y="361"/>
                  <a:pt x="2349" y="355"/>
                </a:cubicBezTo>
                <a:cubicBezTo>
                  <a:pt x="2349" y="349"/>
                  <a:pt x="2344" y="345"/>
                  <a:pt x="2338" y="345"/>
                </a:cubicBezTo>
                <a:cubicBezTo>
                  <a:pt x="2338" y="345"/>
                  <a:pt x="2338" y="345"/>
                  <a:pt x="2338" y="345"/>
                </a:cubicBezTo>
                <a:moveTo>
                  <a:pt x="2371" y="345"/>
                </a:moveTo>
                <a:cubicBezTo>
                  <a:pt x="2365" y="345"/>
                  <a:pt x="2359" y="349"/>
                  <a:pt x="2359" y="355"/>
                </a:cubicBezTo>
                <a:cubicBezTo>
                  <a:pt x="2359" y="361"/>
                  <a:pt x="2364" y="365"/>
                  <a:pt x="2370" y="365"/>
                </a:cubicBezTo>
                <a:cubicBezTo>
                  <a:pt x="2377" y="365"/>
                  <a:pt x="2382" y="360"/>
                  <a:pt x="2383" y="355"/>
                </a:cubicBezTo>
                <a:cubicBezTo>
                  <a:pt x="2383" y="349"/>
                  <a:pt x="2378" y="345"/>
                  <a:pt x="2371" y="345"/>
                </a:cubicBezTo>
                <a:cubicBezTo>
                  <a:pt x="2371" y="345"/>
                  <a:pt x="2371" y="345"/>
                  <a:pt x="2371" y="345"/>
                </a:cubicBezTo>
                <a:moveTo>
                  <a:pt x="2405" y="344"/>
                </a:moveTo>
                <a:cubicBezTo>
                  <a:pt x="2399" y="344"/>
                  <a:pt x="2393" y="349"/>
                  <a:pt x="2393" y="355"/>
                </a:cubicBezTo>
                <a:cubicBezTo>
                  <a:pt x="2393" y="360"/>
                  <a:pt x="2398" y="365"/>
                  <a:pt x="2404" y="365"/>
                </a:cubicBezTo>
                <a:cubicBezTo>
                  <a:pt x="2411" y="365"/>
                  <a:pt x="2416" y="360"/>
                  <a:pt x="2417" y="355"/>
                </a:cubicBezTo>
                <a:cubicBezTo>
                  <a:pt x="2417" y="349"/>
                  <a:pt x="2412" y="344"/>
                  <a:pt x="2405" y="344"/>
                </a:cubicBezTo>
                <a:cubicBezTo>
                  <a:pt x="2405" y="344"/>
                  <a:pt x="2405" y="344"/>
                  <a:pt x="2405" y="344"/>
                </a:cubicBezTo>
                <a:moveTo>
                  <a:pt x="2607" y="344"/>
                </a:moveTo>
                <a:cubicBezTo>
                  <a:pt x="2601" y="344"/>
                  <a:pt x="2596" y="349"/>
                  <a:pt x="2596" y="355"/>
                </a:cubicBezTo>
                <a:cubicBezTo>
                  <a:pt x="2596" y="360"/>
                  <a:pt x="2602" y="365"/>
                  <a:pt x="2608" y="365"/>
                </a:cubicBezTo>
                <a:cubicBezTo>
                  <a:pt x="2615" y="365"/>
                  <a:pt x="2620" y="360"/>
                  <a:pt x="2620" y="354"/>
                </a:cubicBezTo>
                <a:cubicBezTo>
                  <a:pt x="2619" y="349"/>
                  <a:pt x="2614" y="344"/>
                  <a:pt x="2607" y="344"/>
                </a:cubicBezTo>
                <a:cubicBezTo>
                  <a:pt x="2607" y="344"/>
                  <a:pt x="2607" y="344"/>
                  <a:pt x="2607" y="344"/>
                </a:cubicBezTo>
                <a:moveTo>
                  <a:pt x="2439" y="344"/>
                </a:moveTo>
                <a:cubicBezTo>
                  <a:pt x="2432" y="344"/>
                  <a:pt x="2427" y="349"/>
                  <a:pt x="2427" y="354"/>
                </a:cubicBezTo>
                <a:cubicBezTo>
                  <a:pt x="2426" y="360"/>
                  <a:pt x="2432" y="365"/>
                  <a:pt x="2438" y="365"/>
                </a:cubicBezTo>
                <a:cubicBezTo>
                  <a:pt x="2445" y="365"/>
                  <a:pt x="2450" y="360"/>
                  <a:pt x="2450" y="354"/>
                </a:cubicBezTo>
                <a:cubicBezTo>
                  <a:pt x="2450" y="349"/>
                  <a:pt x="2445" y="344"/>
                  <a:pt x="2439" y="344"/>
                </a:cubicBezTo>
                <a:cubicBezTo>
                  <a:pt x="2439" y="344"/>
                  <a:pt x="2439" y="344"/>
                  <a:pt x="2439" y="344"/>
                </a:cubicBezTo>
                <a:moveTo>
                  <a:pt x="2641" y="344"/>
                </a:moveTo>
                <a:cubicBezTo>
                  <a:pt x="2634" y="344"/>
                  <a:pt x="2629" y="349"/>
                  <a:pt x="2629" y="354"/>
                </a:cubicBezTo>
                <a:cubicBezTo>
                  <a:pt x="2630" y="360"/>
                  <a:pt x="2635" y="364"/>
                  <a:pt x="2642" y="364"/>
                </a:cubicBezTo>
                <a:cubicBezTo>
                  <a:pt x="2648" y="364"/>
                  <a:pt x="2653" y="360"/>
                  <a:pt x="2653" y="354"/>
                </a:cubicBezTo>
                <a:cubicBezTo>
                  <a:pt x="2653" y="348"/>
                  <a:pt x="2647" y="344"/>
                  <a:pt x="2641" y="344"/>
                </a:cubicBezTo>
                <a:cubicBezTo>
                  <a:pt x="2641" y="344"/>
                  <a:pt x="2641" y="344"/>
                  <a:pt x="2641" y="344"/>
                </a:cubicBezTo>
                <a:moveTo>
                  <a:pt x="2472" y="344"/>
                </a:moveTo>
                <a:cubicBezTo>
                  <a:pt x="2466" y="344"/>
                  <a:pt x="2460" y="349"/>
                  <a:pt x="2460" y="354"/>
                </a:cubicBezTo>
                <a:cubicBezTo>
                  <a:pt x="2460" y="360"/>
                  <a:pt x="2465" y="364"/>
                  <a:pt x="2472" y="364"/>
                </a:cubicBezTo>
                <a:cubicBezTo>
                  <a:pt x="2478" y="364"/>
                  <a:pt x="2484" y="360"/>
                  <a:pt x="2484" y="354"/>
                </a:cubicBezTo>
                <a:cubicBezTo>
                  <a:pt x="2484" y="348"/>
                  <a:pt x="2479" y="344"/>
                  <a:pt x="2472" y="344"/>
                </a:cubicBezTo>
                <a:cubicBezTo>
                  <a:pt x="2472" y="344"/>
                  <a:pt x="2472" y="344"/>
                  <a:pt x="2472" y="344"/>
                </a:cubicBezTo>
                <a:moveTo>
                  <a:pt x="2674" y="344"/>
                </a:moveTo>
                <a:cubicBezTo>
                  <a:pt x="2667" y="344"/>
                  <a:pt x="2662" y="348"/>
                  <a:pt x="2663" y="354"/>
                </a:cubicBezTo>
                <a:cubicBezTo>
                  <a:pt x="2663" y="360"/>
                  <a:pt x="2669" y="364"/>
                  <a:pt x="2675" y="364"/>
                </a:cubicBezTo>
                <a:cubicBezTo>
                  <a:pt x="2682" y="364"/>
                  <a:pt x="2687" y="359"/>
                  <a:pt x="2686" y="354"/>
                </a:cubicBezTo>
                <a:cubicBezTo>
                  <a:pt x="2686" y="348"/>
                  <a:pt x="2680" y="344"/>
                  <a:pt x="2674" y="344"/>
                </a:cubicBezTo>
                <a:cubicBezTo>
                  <a:pt x="2674" y="344"/>
                  <a:pt x="2674" y="344"/>
                  <a:pt x="2674" y="344"/>
                </a:cubicBezTo>
                <a:moveTo>
                  <a:pt x="2505" y="344"/>
                </a:moveTo>
                <a:cubicBezTo>
                  <a:pt x="2499" y="344"/>
                  <a:pt x="2494" y="348"/>
                  <a:pt x="2494" y="354"/>
                </a:cubicBezTo>
                <a:cubicBezTo>
                  <a:pt x="2494" y="360"/>
                  <a:pt x="2499" y="364"/>
                  <a:pt x="2505" y="364"/>
                </a:cubicBezTo>
                <a:cubicBezTo>
                  <a:pt x="2512" y="364"/>
                  <a:pt x="2517" y="359"/>
                  <a:pt x="2517" y="354"/>
                </a:cubicBezTo>
                <a:cubicBezTo>
                  <a:pt x="2517" y="348"/>
                  <a:pt x="2512" y="344"/>
                  <a:pt x="2506" y="344"/>
                </a:cubicBezTo>
                <a:cubicBezTo>
                  <a:pt x="2505" y="344"/>
                  <a:pt x="2505" y="344"/>
                  <a:pt x="2505" y="344"/>
                </a:cubicBezTo>
                <a:moveTo>
                  <a:pt x="2707" y="343"/>
                </a:moveTo>
                <a:cubicBezTo>
                  <a:pt x="2701" y="343"/>
                  <a:pt x="2696" y="348"/>
                  <a:pt x="2696" y="354"/>
                </a:cubicBezTo>
                <a:cubicBezTo>
                  <a:pt x="2697" y="359"/>
                  <a:pt x="2702" y="364"/>
                  <a:pt x="2709" y="364"/>
                </a:cubicBezTo>
                <a:cubicBezTo>
                  <a:pt x="2715" y="364"/>
                  <a:pt x="2720" y="359"/>
                  <a:pt x="2720" y="354"/>
                </a:cubicBezTo>
                <a:cubicBezTo>
                  <a:pt x="2719" y="348"/>
                  <a:pt x="2714" y="343"/>
                  <a:pt x="2707" y="343"/>
                </a:cubicBezTo>
                <a:cubicBezTo>
                  <a:pt x="2707" y="343"/>
                  <a:pt x="2707" y="343"/>
                  <a:pt x="2707" y="343"/>
                </a:cubicBezTo>
                <a:moveTo>
                  <a:pt x="2539" y="343"/>
                </a:moveTo>
                <a:cubicBezTo>
                  <a:pt x="2533" y="343"/>
                  <a:pt x="2527" y="348"/>
                  <a:pt x="2527" y="354"/>
                </a:cubicBezTo>
                <a:cubicBezTo>
                  <a:pt x="2527" y="359"/>
                  <a:pt x="2533" y="364"/>
                  <a:pt x="2539" y="364"/>
                </a:cubicBezTo>
                <a:cubicBezTo>
                  <a:pt x="2546" y="364"/>
                  <a:pt x="2551" y="359"/>
                  <a:pt x="2551" y="354"/>
                </a:cubicBezTo>
                <a:cubicBezTo>
                  <a:pt x="2551" y="348"/>
                  <a:pt x="2546" y="343"/>
                  <a:pt x="2539" y="343"/>
                </a:cubicBezTo>
                <a:cubicBezTo>
                  <a:pt x="2539" y="343"/>
                  <a:pt x="2539" y="343"/>
                  <a:pt x="2539" y="343"/>
                </a:cubicBezTo>
                <a:moveTo>
                  <a:pt x="2741" y="343"/>
                </a:moveTo>
                <a:cubicBezTo>
                  <a:pt x="2734" y="343"/>
                  <a:pt x="2729" y="348"/>
                  <a:pt x="2730" y="353"/>
                </a:cubicBezTo>
                <a:cubicBezTo>
                  <a:pt x="2730" y="359"/>
                  <a:pt x="2736" y="364"/>
                  <a:pt x="2743" y="364"/>
                </a:cubicBezTo>
                <a:cubicBezTo>
                  <a:pt x="2749" y="364"/>
                  <a:pt x="2754" y="359"/>
                  <a:pt x="2753" y="353"/>
                </a:cubicBezTo>
                <a:cubicBezTo>
                  <a:pt x="2753" y="348"/>
                  <a:pt x="2747" y="343"/>
                  <a:pt x="2741" y="343"/>
                </a:cubicBezTo>
                <a:cubicBezTo>
                  <a:pt x="2741" y="343"/>
                  <a:pt x="2741" y="343"/>
                  <a:pt x="2741" y="343"/>
                </a:cubicBezTo>
                <a:moveTo>
                  <a:pt x="2941" y="343"/>
                </a:moveTo>
                <a:cubicBezTo>
                  <a:pt x="2934" y="343"/>
                  <a:pt x="2930" y="347"/>
                  <a:pt x="2931" y="353"/>
                </a:cubicBezTo>
                <a:cubicBezTo>
                  <a:pt x="2932" y="358"/>
                  <a:pt x="2938" y="362"/>
                  <a:pt x="2944" y="362"/>
                </a:cubicBezTo>
                <a:cubicBezTo>
                  <a:pt x="2950" y="362"/>
                  <a:pt x="2954" y="358"/>
                  <a:pt x="2953" y="353"/>
                </a:cubicBezTo>
                <a:cubicBezTo>
                  <a:pt x="2952" y="347"/>
                  <a:pt x="2947" y="343"/>
                  <a:pt x="2941" y="343"/>
                </a:cubicBezTo>
                <a:cubicBezTo>
                  <a:pt x="2941" y="343"/>
                  <a:pt x="2941" y="343"/>
                  <a:pt x="2941" y="343"/>
                </a:cubicBezTo>
                <a:moveTo>
                  <a:pt x="2775" y="343"/>
                </a:moveTo>
                <a:cubicBezTo>
                  <a:pt x="2768" y="343"/>
                  <a:pt x="2763" y="348"/>
                  <a:pt x="2764" y="353"/>
                </a:cubicBezTo>
                <a:cubicBezTo>
                  <a:pt x="2764" y="359"/>
                  <a:pt x="2770" y="363"/>
                  <a:pt x="2777" y="363"/>
                </a:cubicBezTo>
                <a:cubicBezTo>
                  <a:pt x="2783" y="363"/>
                  <a:pt x="2788" y="359"/>
                  <a:pt x="2787" y="353"/>
                </a:cubicBezTo>
                <a:cubicBezTo>
                  <a:pt x="2787" y="347"/>
                  <a:pt x="2781" y="343"/>
                  <a:pt x="2775" y="343"/>
                </a:cubicBezTo>
                <a:cubicBezTo>
                  <a:pt x="2775" y="343"/>
                  <a:pt x="2775" y="343"/>
                  <a:pt x="2775" y="343"/>
                </a:cubicBezTo>
                <a:moveTo>
                  <a:pt x="2975" y="343"/>
                </a:moveTo>
                <a:cubicBezTo>
                  <a:pt x="2969" y="343"/>
                  <a:pt x="2965" y="347"/>
                  <a:pt x="2966" y="352"/>
                </a:cubicBezTo>
                <a:cubicBezTo>
                  <a:pt x="2966" y="358"/>
                  <a:pt x="2972" y="362"/>
                  <a:pt x="2978" y="362"/>
                </a:cubicBezTo>
                <a:cubicBezTo>
                  <a:pt x="2985" y="362"/>
                  <a:pt x="2989" y="358"/>
                  <a:pt x="2988" y="352"/>
                </a:cubicBezTo>
                <a:cubicBezTo>
                  <a:pt x="2987" y="347"/>
                  <a:pt x="2981" y="343"/>
                  <a:pt x="2975" y="343"/>
                </a:cubicBezTo>
                <a:cubicBezTo>
                  <a:pt x="2975" y="343"/>
                  <a:pt x="2975" y="343"/>
                  <a:pt x="2975" y="343"/>
                </a:cubicBezTo>
                <a:moveTo>
                  <a:pt x="2808" y="343"/>
                </a:moveTo>
                <a:cubicBezTo>
                  <a:pt x="2802" y="343"/>
                  <a:pt x="2797" y="347"/>
                  <a:pt x="2797" y="353"/>
                </a:cubicBezTo>
                <a:cubicBezTo>
                  <a:pt x="2798" y="359"/>
                  <a:pt x="2804" y="363"/>
                  <a:pt x="2810" y="363"/>
                </a:cubicBezTo>
                <a:cubicBezTo>
                  <a:pt x="2817" y="363"/>
                  <a:pt x="2822" y="358"/>
                  <a:pt x="2821" y="353"/>
                </a:cubicBezTo>
                <a:cubicBezTo>
                  <a:pt x="2820" y="347"/>
                  <a:pt x="2815" y="343"/>
                  <a:pt x="2808" y="343"/>
                </a:cubicBezTo>
                <a:cubicBezTo>
                  <a:pt x="2808" y="343"/>
                  <a:pt x="2808" y="343"/>
                  <a:pt x="2808" y="343"/>
                </a:cubicBezTo>
                <a:moveTo>
                  <a:pt x="2842" y="342"/>
                </a:moveTo>
                <a:cubicBezTo>
                  <a:pt x="2835" y="342"/>
                  <a:pt x="2830" y="347"/>
                  <a:pt x="2831" y="353"/>
                </a:cubicBezTo>
                <a:cubicBezTo>
                  <a:pt x="2832" y="358"/>
                  <a:pt x="2838" y="363"/>
                  <a:pt x="2844" y="363"/>
                </a:cubicBezTo>
                <a:cubicBezTo>
                  <a:pt x="2851" y="363"/>
                  <a:pt x="2855" y="358"/>
                  <a:pt x="2855" y="353"/>
                </a:cubicBezTo>
                <a:cubicBezTo>
                  <a:pt x="2854" y="347"/>
                  <a:pt x="2848" y="342"/>
                  <a:pt x="2842" y="342"/>
                </a:cubicBezTo>
                <a:cubicBezTo>
                  <a:pt x="2842" y="342"/>
                  <a:pt x="2842" y="342"/>
                  <a:pt x="2842" y="342"/>
                </a:cubicBezTo>
                <a:moveTo>
                  <a:pt x="2875" y="342"/>
                </a:moveTo>
                <a:cubicBezTo>
                  <a:pt x="2868" y="342"/>
                  <a:pt x="2864" y="347"/>
                  <a:pt x="2865" y="352"/>
                </a:cubicBezTo>
                <a:cubicBezTo>
                  <a:pt x="2865" y="358"/>
                  <a:pt x="2871" y="363"/>
                  <a:pt x="2878" y="363"/>
                </a:cubicBezTo>
                <a:cubicBezTo>
                  <a:pt x="2884" y="363"/>
                  <a:pt x="2889" y="358"/>
                  <a:pt x="2888" y="352"/>
                </a:cubicBezTo>
                <a:cubicBezTo>
                  <a:pt x="2887" y="347"/>
                  <a:pt x="2881" y="342"/>
                  <a:pt x="2875" y="342"/>
                </a:cubicBezTo>
                <a:cubicBezTo>
                  <a:pt x="2875" y="342"/>
                  <a:pt x="2875" y="342"/>
                  <a:pt x="2875" y="342"/>
                </a:cubicBezTo>
                <a:moveTo>
                  <a:pt x="2908" y="342"/>
                </a:moveTo>
                <a:cubicBezTo>
                  <a:pt x="2902" y="342"/>
                  <a:pt x="2897" y="347"/>
                  <a:pt x="2898" y="352"/>
                </a:cubicBezTo>
                <a:cubicBezTo>
                  <a:pt x="2899" y="358"/>
                  <a:pt x="2905" y="362"/>
                  <a:pt x="2912" y="362"/>
                </a:cubicBezTo>
                <a:cubicBezTo>
                  <a:pt x="2918" y="362"/>
                  <a:pt x="2923" y="358"/>
                  <a:pt x="2922" y="352"/>
                </a:cubicBezTo>
                <a:cubicBezTo>
                  <a:pt x="2921" y="346"/>
                  <a:pt x="2915" y="342"/>
                  <a:pt x="2909" y="342"/>
                </a:cubicBezTo>
                <a:cubicBezTo>
                  <a:pt x="2909" y="342"/>
                  <a:pt x="2908" y="342"/>
                  <a:pt x="2908" y="342"/>
                </a:cubicBezTo>
                <a:moveTo>
                  <a:pt x="3008" y="341"/>
                </a:moveTo>
                <a:cubicBezTo>
                  <a:pt x="3002" y="341"/>
                  <a:pt x="2997" y="346"/>
                  <a:pt x="2998" y="351"/>
                </a:cubicBezTo>
                <a:cubicBezTo>
                  <a:pt x="2999" y="357"/>
                  <a:pt x="3005" y="362"/>
                  <a:pt x="3012" y="362"/>
                </a:cubicBezTo>
                <a:cubicBezTo>
                  <a:pt x="3018" y="362"/>
                  <a:pt x="3023" y="357"/>
                  <a:pt x="3022" y="351"/>
                </a:cubicBezTo>
                <a:cubicBezTo>
                  <a:pt x="3021" y="346"/>
                  <a:pt x="3015" y="341"/>
                  <a:pt x="3008" y="341"/>
                </a:cubicBezTo>
                <a:cubicBezTo>
                  <a:pt x="3008" y="341"/>
                  <a:pt x="3008" y="341"/>
                  <a:pt x="3008" y="341"/>
                </a:cubicBezTo>
                <a:moveTo>
                  <a:pt x="3041" y="341"/>
                </a:moveTo>
                <a:cubicBezTo>
                  <a:pt x="3035" y="341"/>
                  <a:pt x="3030" y="346"/>
                  <a:pt x="3031" y="351"/>
                </a:cubicBezTo>
                <a:cubicBezTo>
                  <a:pt x="3033" y="357"/>
                  <a:pt x="3039" y="361"/>
                  <a:pt x="3045" y="361"/>
                </a:cubicBezTo>
                <a:cubicBezTo>
                  <a:pt x="3052" y="361"/>
                  <a:pt x="3056" y="357"/>
                  <a:pt x="3055" y="351"/>
                </a:cubicBezTo>
                <a:cubicBezTo>
                  <a:pt x="3054" y="345"/>
                  <a:pt x="3048" y="341"/>
                  <a:pt x="3041" y="341"/>
                </a:cubicBezTo>
                <a:cubicBezTo>
                  <a:pt x="3041" y="341"/>
                  <a:pt x="3041" y="341"/>
                  <a:pt x="3041" y="341"/>
                </a:cubicBezTo>
                <a:moveTo>
                  <a:pt x="3074" y="341"/>
                </a:moveTo>
                <a:cubicBezTo>
                  <a:pt x="3068" y="341"/>
                  <a:pt x="3064" y="345"/>
                  <a:pt x="3065" y="351"/>
                </a:cubicBezTo>
                <a:cubicBezTo>
                  <a:pt x="3066" y="357"/>
                  <a:pt x="3072" y="361"/>
                  <a:pt x="3079" y="361"/>
                </a:cubicBezTo>
                <a:cubicBezTo>
                  <a:pt x="3085" y="361"/>
                  <a:pt x="3090" y="356"/>
                  <a:pt x="3088" y="351"/>
                </a:cubicBezTo>
                <a:cubicBezTo>
                  <a:pt x="3087" y="345"/>
                  <a:pt x="3081" y="341"/>
                  <a:pt x="3075" y="341"/>
                </a:cubicBezTo>
                <a:cubicBezTo>
                  <a:pt x="3075" y="341"/>
                  <a:pt x="3075" y="341"/>
                  <a:pt x="3074" y="341"/>
                </a:cubicBezTo>
                <a:moveTo>
                  <a:pt x="3108" y="340"/>
                </a:moveTo>
                <a:cubicBezTo>
                  <a:pt x="3102" y="340"/>
                  <a:pt x="3097" y="345"/>
                  <a:pt x="3099" y="351"/>
                </a:cubicBezTo>
                <a:cubicBezTo>
                  <a:pt x="3100" y="356"/>
                  <a:pt x="3106" y="361"/>
                  <a:pt x="3113" y="361"/>
                </a:cubicBezTo>
                <a:cubicBezTo>
                  <a:pt x="3119" y="361"/>
                  <a:pt x="3123" y="356"/>
                  <a:pt x="3122" y="351"/>
                </a:cubicBezTo>
                <a:cubicBezTo>
                  <a:pt x="3121" y="345"/>
                  <a:pt x="3115" y="340"/>
                  <a:pt x="3108" y="340"/>
                </a:cubicBezTo>
                <a:cubicBezTo>
                  <a:pt x="3108" y="340"/>
                  <a:pt x="3108" y="340"/>
                  <a:pt x="3108" y="340"/>
                </a:cubicBezTo>
                <a:moveTo>
                  <a:pt x="3142" y="340"/>
                </a:moveTo>
                <a:cubicBezTo>
                  <a:pt x="3135" y="340"/>
                  <a:pt x="3131" y="345"/>
                  <a:pt x="3133" y="350"/>
                </a:cubicBezTo>
                <a:cubicBezTo>
                  <a:pt x="3134" y="356"/>
                  <a:pt x="3140" y="361"/>
                  <a:pt x="3147" y="361"/>
                </a:cubicBezTo>
                <a:cubicBezTo>
                  <a:pt x="3153" y="361"/>
                  <a:pt x="3158" y="356"/>
                  <a:pt x="3156" y="350"/>
                </a:cubicBezTo>
                <a:cubicBezTo>
                  <a:pt x="3155" y="345"/>
                  <a:pt x="3148" y="340"/>
                  <a:pt x="3142" y="340"/>
                </a:cubicBezTo>
                <a:cubicBezTo>
                  <a:pt x="3142" y="340"/>
                  <a:pt x="3142" y="340"/>
                  <a:pt x="3142" y="340"/>
                </a:cubicBezTo>
                <a:moveTo>
                  <a:pt x="3175" y="340"/>
                </a:moveTo>
                <a:cubicBezTo>
                  <a:pt x="3169" y="340"/>
                  <a:pt x="3165" y="344"/>
                  <a:pt x="3166" y="350"/>
                </a:cubicBezTo>
                <a:cubicBezTo>
                  <a:pt x="3167" y="356"/>
                  <a:pt x="3174" y="360"/>
                  <a:pt x="3180" y="360"/>
                </a:cubicBezTo>
                <a:cubicBezTo>
                  <a:pt x="3187" y="360"/>
                  <a:pt x="3191" y="356"/>
                  <a:pt x="3190" y="350"/>
                </a:cubicBezTo>
                <a:cubicBezTo>
                  <a:pt x="3188" y="344"/>
                  <a:pt x="3182" y="340"/>
                  <a:pt x="3175" y="340"/>
                </a:cubicBezTo>
                <a:cubicBezTo>
                  <a:pt x="3175" y="340"/>
                  <a:pt x="3175" y="340"/>
                  <a:pt x="3175" y="340"/>
                </a:cubicBezTo>
                <a:moveTo>
                  <a:pt x="3209" y="340"/>
                </a:moveTo>
                <a:cubicBezTo>
                  <a:pt x="3202" y="340"/>
                  <a:pt x="3198" y="344"/>
                  <a:pt x="3200" y="350"/>
                </a:cubicBezTo>
                <a:cubicBezTo>
                  <a:pt x="3201" y="356"/>
                  <a:pt x="3208" y="360"/>
                  <a:pt x="3214" y="360"/>
                </a:cubicBezTo>
                <a:cubicBezTo>
                  <a:pt x="3221" y="360"/>
                  <a:pt x="3225" y="355"/>
                  <a:pt x="3223" y="350"/>
                </a:cubicBezTo>
                <a:cubicBezTo>
                  <a:pt x="3222" y="344"/>
                  <a:pt x="3215" y="340"/>
                  <a:pt x="3209" y="340"/>
                </a:cubicBezTo>
                <a:cubicBezTo>
                  <a:pt x="3209" y="340"/>
                  <a:pt x="3209" y="340"/>
                  <a:pt x="3209" y="340"/>
                </a:cubicBezTo>
                <a:moveTo>
                  <a:pt x="3242" y="339"/>
                </a:moveTo>
                <a:cubicBezTo>
                  <a:pt x="3236" y="339"/>
                  <a:pt x="3232" y="344"/>
                  <a:pt x="3233" y="350"/>
                </a:cubicBezTo>
                <a:cubicBezTo>
                  <a:pt x="3235" y="355"/>
                  <a:pt x="3241" y="360"/>
                  <a:pt x="3248" y="360"/>
                </a:cubicBezTo>
                <a:cubicBezTo>
                  <a:pt x="3254" y="360"/>
                  <a:pt x="3258" y="355"/>
                  <a:pt x="3257" y="349"/>
                </a:cubicBezTo>
                <a:cubicBezTo>
                  <a:pt x="3255" y="344"/>
                  <a:pt x="3249" y="339"/>
                  <a:pt x="3242" y="339"/>
                </a:cubicBezTo>
                <a:cubicBezTo>
                  <a:pt x="3242" y="339"/>
                  <a:pt x="3242" y="339"/>
                  <a:pt x="3242" y="339"/>
                </a:cubicBezTo>
                <a:moveTo>
                  <a:pt x="3276" y="339"/>
                </a:moveTo>
                <a:cubicBezTo>
                  <a:pt x="3269" y="339"/>
                  <a:pt x="3265" y="344"/>
                  <a:pt x="3267" y="349"/>
                </a:cubicBezTo>
                <a:cubicBezTo>
                  <a:pt x="3268" y="355"/>
                  <a:pt x="3275" y="360"/>
                  <a:pt x="3282" y="360"/>
                </a:cubicBezTo>
                <a:cubicBezTo>
                  <a:pt x="3288" y="360"/>
                  <a:pt x="3292" y="355"/>
                  <a:pt x="3290" y="349"/>
                </a:cubicBezTo>
                <a:cubicBezTo>
                  <a:pt x="3289" y="344"/>
                  <a:pt x="3282" y="339"/>
                  <a:pt x="3276" y="339"/>
                </a:cubicBezTo>
                <a:cubicBezTo>
                  <a:pt x="3276" y="339"/>
                  <a:pt x="3276" y="339"/>
                  <a:pt x="3276" y="339"/>
                </a:cubicBezTo>
                <a:moveTo>
                  <a:pt x="3310" y="339"/>
                </a:moveTo>
                <a:cubicBezTo>
                  <a:pt x="3304" y="339"/>
                  <a:pt x="3300" y="343"/>
                  <a:pt x="3302" y="349"/>
                </a:cubicBezTo>
                <a:cubicBezTo>
                  <a:pt x="3303" y="355"/>
                  <a:pt x="3310" y="359"/>
                  <a:pt x="3317" y="359"/>
                </a:cubicBezTo>
                <a:cubicBezTo>
                  <a:pt x="3323" y="359"/>
                  <a:pt x="3327" y="355"/>
                  <a:pt x="3325" y="349"/>
                </a:cubicBezTo>
                <a:cubicBezTo>
                  <a:pt x="3324" y="343"/>
                  <a:pt x="3317" y="339"/>
                  <a:pt x="3311" y="339"/>
                </a:cubicBezTo>
                <a:cubicBezTo>
                  <a:pt x="3311" y="339"/>
                  <a:pt x="3310" y="339"/>
                  <a:pt x="3310" y="339"/>
                </a:cubicBezTo>
                <a:moveTo>
                  <a:pt x="3344" y="339"/>
                </a:moveTo>
                <a:cubicBezTo>
                  <a:pt x="3337" y="339"/>
                  <a:pt x="3333" y="343"/>
                  <a:pt x="3335" y="349"/>
                </a:cubicBezTo>
                <a:cubicBezTo>
                  <a:pt x="3337" y="355"/>
                  <a:pt x="3344" y="359"/>
                  <a:pt x="3350" y="359"/>
                </a:cubicBezTo>
                <a:cubicBezTo>
                  <a:pt x="3357" y="359"/>
                  <a:pt x="3361" y="354"/>
                  <a:pt x="3359" y="349"/>
                </a:cubicBezTo>
                <a:cubicBezTo>
                  <a:pt x="3357" y="343"/>
                  <a:pt x="3350" y="339"/>
                  <a:pt x="3344" y="339"/>
                </a:cubicBezTo>
                <a:cubicBezTo>
                  <a:pt x="3344" y="339"/>
                  <a:pt x="3344" y="339"/>
                  <a:pt x="3344" y="339"/>
                </a:cubicBezTo>
                <a:moveTo>
                  <a:pt x="3377" y="338"/>
                </a:moveTo>
                <a:cubicBezTo>
                  <a:pt x="3370" y="338"/>
                  <a:pt x="3367" y="343"/>
                  <a:pt x="3368" y="349"/>
                </a:cubicBezTo>
                <a:cubicBezTo>
                  <a:pt x="3370" y="354"/>
                  <a:pt x="3377" y="359"/>
                  <a:pt x="3383" y="359"/>
                </a:cubicBezTo>
                <a:cubicBezTo>
                  <a:pt x="3390" y="359"/>
                  <a:pt x="3394" y="354"/>
                  <a:pt x="3392" y="348"/>
                </a:cubicBezTo>
                <a:cubicBezTo>
                  <a:pt x="3390" y="343"/>
                  <a:pt x="3383" y="338"/>
                  <a:pt x="3377" y="338"/>
                </a:cubicBezTo>
                <a:cubicBezTo>
                  <a:pt x="3377" y="338"/>
                  <a:pt x="3377" y="338"/>
                  <a:pt x="3377" y="338"/>
                </a:cubicBezTo>
                <a:moveTo>
                  <a:pt x="3410" y="338"/>
                </a:moveTo>
                <a:cubicBezTo>
                  <a:pt x="3404" y="338"/>
                  <a:pt x="3400" y="343"/>
                  <a:pt x="3402" y="348"/>
                </a:cubicBezTo>
                <a:cubicBezTo>
                  <a:pt x="3404" y="354"/>
                  <a:pt x="3410" y="359"/>
                  <a:pt x="3417" y="359"/>
                </a:cubicBezTo>
                <a:cubicBezTo>
                  <a:pt x="3424" y="358"/>
                  <a:pt x="3427" y="354"/>
                  <a:pt x="3425" y="348"/>
                </a:cubicBezTo>
                <a:cubicBezTo>
                  <a:pt x="3423" y="343"/>
                  <a:pt x="3417" y="338"/>
                  <a:pt x="3410" y="338"/>
                </a:cubicBezTo>
                <a:cubicBezTo>
                  <a:pt x="3410" y="338"/>
                  <a:pt x="3410" y="338"/>
                  <a:pt x="3410" y="338"/>
                </a:cubicBezTo>
                <a:moveTo>
                  <a:pt x="3444" y="338"/>
                </a:moveTo>
                <a:cubicBezTo>
                  <a:pt x="3437" y="338"/>
                  <a:pt x="3433" y="342"/>
                  <a:pt x="3435" y="348"/>
                </a:cubicBezTo>
                <a:cubicBezTo>
                  <a:pt x="3437" y="354"/>
                  <a:pt x="3444" y="358"/>
                  <a:pt x="3451" y="358"/>
                </a:cubicBezTo>
                <a:cubicBezTo>
                  <a:pt x="3457" y="358"/>
                  <a:pt x="3461" y="354"/>
                  <a:pt x="3459" y="348"/>
                </a:cubicBezTo>
                <a:cubicBezTo>
                  <a:pt x="3457" y="342"/>
                  <a:pt x="3450" y="338"/>
                  <a:pt x="3444" y="338"/>
                </a:cubicBezTo>
                <a:cubicBezTo>
                  <a:pt x="3444" y="338"/>
                  <a:pt x="3444" y="338"/>
                  <a:pt x="3444" y="338"/>
                </a:cubicBezTo>
                <a:moveTo>
                  <a:pt x="3477" y="337"/>
                </a:moveTo>
                <a:cubicBezTo>
                  <a:pt x="3471" y="338"/>
                  <a:pt x="3467" y="342"/>
                  <a:pt x="3469" y="348"/>
                </a:cubicBezTo>
                <a:cubicBezTo>
                  <a:pt x="3471" y="354"/>
                  <a:pt x="3478" y="358"/>
                  <a:pt x="3485" y="358"/>
                </a:cubicBezTo>
                <a:cubicBezTo>
                  <a:pt x="3491" y="358"/>
                  <a:pt x="3495" y="353"/>
                  <a:pt x="3493" y="348"/>
                </a:cubicBezTo>
                <a:cubicBezTo>
                  <a:pt x="3491" y="342"/>
                  <a:pt x="3484" y="337"/>
                  <a:pt x="3478" y="337"/>
                </a:cubicBezTo>
                <a:cubicBezTo>
                  <a:pt x="3478" y="337"/>
                  <a:pt x="3478" y="337"/>
                  <a:pt x="3477" y="337"/>
                </a:cubicBezTo>
                <a:moveTo>
                  <a:pt x="3511" y="337"/>
                </a:moveTo>
                <a:cubicBezTo>
                  <a:pt x="3504" y="337"/>
                  <a:pt x="3501" y="342"/>
                  <a:pt x="3503" y="348"/>
                </a:cubicBezTo>
                <a:cubicBezTo>
                  <a:pt x="3505" y="353"/>
                  <a:pt x="3512" y="358"/>
                  <a:pt x="3518" y="358"/>
                </a:cubicBezTo>
                <a:cubicBezTo>
                  <a:pt x="3525" y="358"/>
                  <a:pt x="3528" y="353"/>
                  <a:pt x="3526" y="347"/>
                </a:cubicBezTo>
                <a:cubicBezTo>
                  <a:pt x="3524" y="342"/>
                  <a:pt x="3517" y="337"/>
                  <a:pt x="3511" y="337"/>
                </a:cubicBezTo>
                <a:cubicBezTo>
                  <a:pt x="3511" y="337"/>
                  <a:pt x="3511" y="337"/>
                  <a:pt x="3511" y="337"/>
                </a:cubicBezTo>
                <a:moveTo>
                  <a:pt x="3544" y="337"/>
                </a:moveTo>
                <a:cubicBezTo>
                  <a:pt x="3538" y="337"/>
                  <a:pt x="3534" y="342"/>
                  <a:pt x="3536" y="347"/>
                </a:cubicBezTo>
                <a:cubicBezTo>
                  <a:pt x="3539" y="353"/>
                  <a:pt x="3546" y="358"/>
                  <a:pt x="3552" y="358"/>
                </a:cubicBezTo>
                <a:cubicBezTo>
                  <a:pt x="3559" y="357"/>
                  <a:pt x="3562" y="353"/>
                  <a:pt x="3560" y="347"/>
                </a:cubicBezTo>
                <a:cubicBezTo>
                  <a:pt x="3558" y="342"/>
                  <a:pt x="3551" y="337"/>
                  <a:pt x="3544" y="337"/>
                </a:cubicBezTo>
                <a:cubicBezTo>
                  <a:pt x="3544" y="337"/>
                  <a:pt x="3544" y="337"/>
                  <a:pt x="3544" y="337"/>
                </a:cubicBezTo>
                <a:moveTo>
                  <a:pt x="3577" y="337"/>
                </a:moveTo>
                <a:cubicBezTo>
                  <a:pt x="3571" y="337"/>
                  <a:pt x="3568" y="341"/>
                  <a:pt x="3570" y="347"/>
                </a:cubicBezTo>
                <a:cubicBezTo>
                  <a:pt x="3572" y="353"/>
                  <a:pt x="3579" y="357"/>
                  <a:pt x="3586" y="357"/>
                </a:cubicBezTo>
                <a:cubicBezTo>
                  <a:pt x="3592" y="357"/>
                  <a:pt x="3596" y="353"/>
                  <a:pt x="3593" y="347"/>
                </a:cubicBezTo>
                <a:cubicBezTo>
                  <a:pt x="3591" y="341"/>
                  <a:pt x="3584" y="337"/>
                  <a:pt x="3578" y="337"/>
                </a:cubicBezTo>
                <a:cubicBezTo>
                  <a:pt x="3578" y="337"/>
                  <a:pt x="3578" y="337"/>
                  <a:pt x="3577" y="337"/>
                </a:cubicBezTo>
                <a:moveTo>
                  <a:pt x="3611" y="336"/>
                </a:moveTo>
                <a:cubicBezTo>
                  <a:pt x="3605" y="337"/>
                  <a:pt x="3601" y="341"/>
                  <a:pt x="3604" y="347"/>
                </a:cubicBezTo>
                <a:cubicBezTo>
                  <a:pt x="3606" y="352"/>
                  <a:pt x="3613" y="357"/>
                  <a:pt x="3619" y="357"/>
                </a:cubicBezTo>
                <a:cubicBezTo>
                  <a:pt x="3626" y="357"/>
                  <a:pt x="3629" y="352"/>
                  <a:pt x="3627" y="347"/>
                </a:cubicBezTo>
                <a:cubicBezTo>
                  <a:pt x="3625" y="341"/>
                  <a:pt x="3618" y="336"/>
                  <a:pt x="3611" y="336"/>
                </a:cubicBezTo>
                <a:cubicBezTo>
                  <a:pt x="3611" y="336"/>
                  <a:pt x="3611" y="336"/>
                  <a:pt x="3611" y="336"/>
                </a:cubicBezTo>
                <a:moveTo>
                  <a:pt x="3647" y="336"/>
                </a:moveTo>
                <a:cubicBezTo>
                  <a:pt x="3640" y="336"/>
                  <a:pt x="3637" y="341"/>
                  <a:pt x="3639" y="347"/>
                </a:cubicBezTo>
                <a:cubicBezTo>
                  <a:pt x="3642" y="352"/>
                  <a:pt x="3649" y="357"/>
                  <a:pt x="3655" y="357"/>
                </a:cubicBezTo>
                <a:cubicBezTo>
                  <a:pt x="3662" y="357"/>
                  <a:pt x="3665" y="352"/>
                  <a:pt x="3663" y="346"/>
                </a:cubicBezTo>
                <a:cubicBezTo>
                  <a:pt x="3660" y="341"/>
                  <a:pt x="3653" y="336"/>
                  <a:pt x="3647" y="336"/>
                </a:cubicBezTo>
                <a:cubicBezTo>
                  <a:pt x="3647" y="336"/>
                  <a:pt x="3647" y="336"/>
                  <a:pt x="3647" y="336"/>
                </a:cubicBezTo>
                <a:moveTo>
                  <a:pt x="3680" y="336"/>
                </a:moveTo>
                <a:cubicBezTo>
                  <a:pt x="3673" y="336"/>
                  <a:pt x="3670" y="341"/>
                  <a:pt x="3672" y="346"/>
                </a:cubicBezTo>
                <a:cubicBezTo>
                  <a:pt x="3675" y="352"/>
                  <a:pt x="3682" y="357"/>
                  <a:pt x="3689" y="356"/>
                </a:cubicBezTo>
                <a:cubicBezTo>
                  <a:pt x="3695" y="356"/>
                  <a:pt x="3698" y="352"/>
                  <a:pt x="3696" y="346"/>
                </a:cubicBezTo>
                <a:cubicBezTo>
                  <a:pt x="3693" y="340"/>
                  <a:pt x="3686" y="336"/>
                  <a:pt x="3680" y="336"/>
                </a:cubicBezTo>
                <a:cubicBezTo>
                  <a:pt x="3680" y="336"/>
                  <a:pt x="3680" y="336"/>
                  <a:pt x="3680" y="336"/>
                </a:cubicBezTo>
                <a:moveTo>
                  <a:pt x="3713" y="336"/>
                </a:moveTo>
                <a:cubicBezTo>
                  <a:pt x="3706" y="336"/>
                  <a:pt x="3703" y="340"/>
                  <a:pt x="3706" y="346"/>
                </a:cubicBezTo>
                <a:cubicBezTo>
                  <a:pt x="3708" y="352"/>
                  <a:pt x="3716" y="356"/>
                  <a:pt x="3722" y="356"/>
                </a:cubicBezTo>
                <a:cubicBezTo>
                  <a:pt x="3729" y="356"/>
                  <a:pt x="3732" y="352"/>
                  <a:pt x="3729" y="346"/>
                </a:cubicBezTo>
                <a:cubicBezTo>
                  <a:pt x="3727" y="340"/>
                  <a:pt x="3719" y="336"/>
                  <a:pt x="3713" y="336"/>
                </a:cubicBezTo>
                <a:cubicBezTo>
                  <a:pt x="3713" y="336"/>
                  <a:pt x="3713" y="336"/>
                  <a:pt x="3713" y="336"/>
                </a:cubicBezTo>
                <a:moveTo>
                  <a:pt x="3746" y="335"/>
                </a:moveTo>
                <a:cubicBezTo>
                  <a:pt x="3740" y="335"/>
                  <a:pt x="3737" y="340"/>
                  <a:pt x="3739" y="346"/>
                </a:cubicBezTo>
                <a:cubicBezTo>
                  <a:pt x="3742" y="351"/>
                  <a:pt x="3749" y="356"/>
                  <a:pt x="3756" y="356"/>
                </a:cubicBezTo>
                <a:cubicBezTo>
                  <a:pt x="3762" y="356"/>
                  <a:pt x="3766" y="351"/>
                  <a:pt x="3763" y="346"/>
                </a:cubicBezTo>
                <a:cubicBezTo>
                  <a:pt x="3760" y="340"/>
                  <a:pt x="3753" y="335"/>
                  <a:pt x="3746" y="335"/>
                </a:cubicBezTo>
                <a:cubicBezTo>
                  <a:pt x="3746" y="335"/>
                  <a:pt x="3746" y="335"/>
                  <a:pt x="3746" y="335"/>
                </a:cubicBezTo>
                <a:moveTo>
                  <a:pt x="3780" y="335"/>
                </a:moveTo>
                <a:cubicBezTo>
                  <a:pt x="3774" y="335"/>
                  <a:pt x="3771" y="340"/>
                  <a:pt x="3773" y="346"/>
                </a:cubicBezTo>
                <a:cubicBezTo>
                  <a:pt x="3776" y="351"/>
                  <a:pt x="3783" y="356"/>
                  <a:pt x="3790" y="356"/>
                </a:cubicBezTo>
                <a:cubicBezTo>
                  <a:pt x="3796" y="356"/>
                  <a:pt x="3800" y="351"/>
                  <a:pt x="3797" y="345"/>
                </a:cubicBezTo>
                <a:cubicBezTo>
                  <a:pt x="3794" y="340"/>
                  <a:pt x="3787" y="335"/>
                  <a:pt x="3780" y="335"/>
                </a:cubicBezTo>
                <a:cubicBezTo>
                  <a:pt x="3780" y="335"/>
                  <a:pt x="3780" y="335"/>
                  <a:pt x="3780" y="335"/>
                </a:cubicBezTo>
                <a:moveTo>
                  <a:pt x="4149" y="335"/>
                </a:moveTo>
                <a:cubicBezTo>
                  <a:pt x="4143" y="335"/>
                  <a:pt x="4140" y="340"/>
                  <a:pt x="4144" y="345"/>
                </a:cubicBezTo>
                <a:cubicBezTo>
                  <a:pt x="4147" y="351"/>
                  <a:pt x="4155" y="356"/>
                  <a:pt x="4162" y="356"/>
                </a:cubicBezTo>
                <a:cubicBezTo>
                  <a:pt x="4168" y="356"/>
                  <a:pt x="4171" y="351"/>
                  <a:pt x="4167" y="345"/>
                </a:cubicBezTo>
                <a:cubicBezTo>
                  <a:pt x="4164" y="340"/>
                  <a:pt x="4156" y="335"/>
                  <a:pt x="4149" y="335"/>
                </a:cubicBezTo>
                <a:cubicBezTo>
                  <a:pt x="4149" y="335"/>
                  <a:pt x="4149" y="335"/>
                  <a:pt x="4149" y="335"/>
                </a:cubicBezTo>
                <a:moveTo>
                  <a:pt x="3813" y="335"/>
                </a:moveTo>
                <a:cubicBezTo>
                  <a:pt x="3807" y="335"/>
                  <a:pt x="3804" y="340"/>
                  <a:pt x="3807" y="345"/>
                </a:cubicBezTo>
                <a:cubicBezTo>
                  <a:pt x="3809" y="351"/>
                  <a:pt x="3817" y="356"/>
                  <a:pt x="3823" y="355"/>
                </a:cubicBezTo>
                <a:cubicBezTo>
                  <a:pt x="3830" y="355"/>
                  <a:pt x="3833" y="351"/>
                  <a:pt x="3830" y="345"/>
                </a:cubicBezTo>
                <a:cubicBezTo>
                  <a:pt x="3827" y="339"/>
                  <a:pt x="3820" y="335"/>
                  <a:pt x="3814" y="335"/>
                </a:cubicBezTo>
                <a:cubicBezTo>
                  <a:pt x="3814" y="335"/>
                  <a:pt x="3813" y="335"/>
                  <a:pt x="3813" y="335"/>
                </a:cubicBezTo>
                <a:moveTo>
                  <a:pt x="3847" y="335"/>
                </a:moveTo>
                <a:cubicBezTo>
                  <a:pt x="3840" y="335"/>
                  <a:pt x="3837" y="339"/>
                  <a:pt x="3840" y="345"/>
                </a:cubicBezTo>
                <a:cubicBezTo>
                  <a:pt x="3843" y="351"/>
                  <a:pt x="3851" y="355"/>
                  <a:pt x="3857" y="355"/>
                </a:cubicBezTo>
                <a:cubicBezTo>
                  <a:pt x="3864" y="355"/>
                  <a:pt x="3867" y="351"/>
                  <a:pt x="3864" y="345"/>
                </a:cubicBezTo>
                <a:cubicBezTo>
                  <a:pt x="3861" y="339"/>
                  <a:pt x="3853" y="335"/>
                  <a:pt x="3847" y="335"/>
                </a:cubicBezTo>
                <a:cubicBezTo>
                  <a:pt x="3847" y="335"/>
                  <a:pt x="3847" y="335"/>
                  <a:pt x="3847" y="335"/>
                </a:cubicBezTo>
                <a:moveTo>
                  <a:pt x="3880" y="334"/>
                </a:moveTo>
                <a:cubicBezTo>
                  <a:pt x="3874" y="334"/>
                  <a:pt x="3871" y="339"/>
                  <a:pt x="3874" y="345"/>
                </a:cubicBezTo>
                <a:cubicBezTo>
                  <a:pt x="3877" y="350"/>
                  <a:pt x="3884" y="355"/>
                  <a:pt x="3891" y="355"/>
                </a:cubicBezTo>
                <a:cubicBezTo>
                  <a:pt x="3897" y="355"/>
                  <a:pt x="3900" y="350"/>
                  <a:pt x="3897" y="345"/>
                </a:cubicBezTo>
                <a:cubicBezTo>
                  <a:pt x="3894" y="339"/>
                  <a:pt x="3887" y="334"/>
                  <a:pt x="3880" y="334"/>
                </a:cubicBezTo>
                <a:cubicBezTo>
                  <a:pt x="3880" y="334"/>
                  <a:pt x="3880" y="334"/>
                  <a:pt x="3880" y="334"/>
                </a:cubicBezTo>
                <a:moveTo>
                  <a:pt x="3914" y="334"/>
                </a:moveTo>
                <a:cubicBezTo>
                  <a:pt x="3907" y="334"/>
                  <a:pt x="3904" y="339"/>
                  <a:pt x="3907" y="345"/>
                </a:cubicBezTo>
                <a:cubicBezTo>
                  <a:pt x="3910" y="350"/>
                  <a:pt x="3918" y="355"/>
                  <a:pt x="3924" y="355"/>
                </a:cubicBezTo>
                <a:cubicBezTo>
                  <a:pt x="3931" y="355"/>
                  <a:pt x="3934" y="350"/>
                  <a:pt x="3931" y="344"/>
                </a:cubicBezTo>
                <a:cubicBezTo>
                  <a:pt x="3928" y="339"/>
                  <a:pt x="3920" y="334"/>
                  <a:pt x="3914" y="334"/>
                </a:cubicBezTo>
                <a:cubicBezTo>
                  <a:pt x="3914" y="334"/>
                  <a:pt x="3914" y="334"/>
                  <a:pt x="3914" y="334"/>
                </a:cubicBezTo>
                <a:moveTo>
                  <a:pt x="407" y="333"/>
                </a:moveTo>
                <a:cubicBezTo>
                  <a:pt x="401" y="333"/>
                  <a:pt x="392" y="338"/>
                  <a:pt x="388" y="343"/>
                </a:cubicBezTo>
                <a:cubicBezTo>
                  <a:pt x="383" y="349"/>
                  <a:pt x="385" y="353"/>
                  <a:pt x="391" y="353"/>
                </a:cubicBezTo>
                <a:cubicBezTo>
                  <a:pt x="398" y="353"/>
                  <a:pt x="407" y="349"/>
                  <a:pt x="411" y="343"/>
                </a:cubicBezTo>
                <a:cubicBezTo>
                  <a:pt x="415" y="338"/>
                  <a:pt x="414" y="333"/>
                  <a:pt x="407" y="333"/>
                </a:cubicBezTo>
                <a:cubicBezTo>
                  <a:pt x="407" y="333"/>
                  <a:pt x="407" y="333"/>
                  <a:pt x="407" y="333"/>
                </a:cubicBezTo>
                <a:moveTo>
                  <a:pt x="4115" y="333"/>
                </a:moveTo>
                <a:cubicBezTo>
                  <a:pt x="4109" y="333"/>
                  <a:pt x="4106" y="338"/>
                  <a:pt x="4110" y="343"/>
                </a:cubicBezTo>
                <a:cubicBezTo>
                  <a:pt x="4113" y="349"/>
                  <a:pt x="4121" y="354"/>
                  <a:pt x="4128" y="354"/>
                </a:cubicBezTo>
                <a:cubicBezTo>
                  <a:pt x="4134" y="354"/>
                  <a:pt x="4137" y="349"/>
                  <a:pt x="4133" y="343"/>
                </a:cubicBezTo>
                <a:cubicBezTo>
                  <a:pt x="4130" y="338"/>
                  <a:pt x="4122" y="333"/>
                  <a:pt x="4115" y="333"/>
                </a:cubicBezTo>
                <a:cubicBezTo>
                  <a:pt x="4115" y="333"/>
                  <a:pt x="4115" y="333"/>
                  <a:pt x="4115" y="333"/>
                </a:cubicBezTo>
                <a:moveTo>
                  <a:pt x="440" y="333"/>
                </a:moveTo>
                <a:cubicBezTo>
                  <a:pt x="434" y="333"/>
                  <a:pt x="425" y="337"/>
                  <a:pt x="421" y="343"/>
                </a:cubicBezTo>
                <a:cubicBezTo>
                  <a:pt x="416" y="349"/>
                  <a:pt x="418" y="353"/>
                  <a:pt x="425" y="353"/>
                </a:cubicBezTo>
                <a:cubicBezTo>
                  <a:pt x="431" y="353"/>
                  <a:pt x="440" y="348"/>
                  <a:pt x="444" y="343"/>
                </a:cubicBezTo>
                <a:cubicBezTo>
                  <a:pt x="449" y="337"/>
                  <a:pt x="447" y="333"/>
                  <a:pt x="440" y="333"/>
                </a:cubicBezTo>
                <a:cubicBezTo>
                  <a:pt x="440" y="333"/>
                  <a:pt x="440" y="333"/>
                  <a:pt x="440" y="333"/>
                </a:cubicBezTo>
                <a:moveTo>
                  <a:pt x="474" y="333"/>
                </a:moveTo>
                <a:cubicBezTo>
                  <a:pt x="467" y="333"/>
                  <a:pt x="459" y="337"/>
                  <a:pt x="454" y="343"/>
                </a:cubicBezTo>
                <a:cubicBezTo>
                  <a:pt x="450" y="348"/>
                  <a:pt x="452" y="353"/>
                  <a:pt x="458" y="353"/>
                </a:cubicBezTo>
                <a:cubicBezTo>
                  <a:pt x="465" y="353"/>
                  <a:pt x="474" y="348"/>
                  <a:pt x="478" y="343"/>
                </a:cubicBezTo>
                <a:cubicBezTo>
                  <a:pt x="482" y="337"/>
                  <a:pt x="480" y="333"/>
                  <a:pt x="474" y="333"/>
                </a:cubicBezTo>
                <a:cubicBezTo>
                  <a:pt x="474" y="333"/>
                  <a:pt x="474" y="333"/>
                  <a:pt x="474" y="333"/>
                </a:cubicBezTo>
                <a:moveTo>
                  <a:pt x="507" y="332"/>
                </a:moveTo>
                <a:cubicBezTo>
                  <a:pt x="500" y="332"/>
                  <a:pt x="492" y="337"/>
                  <a:pt x="488" y="343"/>
                </a:cubicBezTo>
                <a:cubicBezTo>
                  <a:pt x="483" y="348"/>
                  <a:pt x="485" y="353"/>
                  <a:pt x="492" y="353"/>
                </a:cubicBezTo>
                <a:cubicBezTo>
                  <a:pt x="498" y="353"/>
                  <a:pt x="507" y="348"/>
                  <a:pt x="511" y="342"/>
                </a:cubicBezTo>
                <a:cubicBezTo>
                  <a:pt x="515" y="337"/>
                  <a:pt x="513" y="332"/>
                  <a:pt x="507" y="332"/>
                </a:cubicBezTo>
                <a:cubicBezTo>
                  <a:pt x="507" y="332"/>
                  <a:pt x="507" y="332"/>
                  <a:pt x="507" y="332"/>
                </a:cubicBezTo>
                <a:moveTo>
                  <a:pt x="540" y="332"/>
                </a:moveTo>
                <a:cubicBezTo>
                  <a:pt x="534" y="332"/>
                  <a:pt x="525" y="337"/>
                  <a:pt x="521" y="342"/>
                </a:cubicBezTo>
                <a:cubicBezTo>
                  <a:pt x="517" y="348"/>
                  <a:pt x="519" y="352"/>
                  <a:pt x="526" y="352"/>
                </a:cubicBezTo>
                <a:cubicBezTo>
                  <a:pt x="532" y="352"/>
                  <a:pt x="541" y="348"/>
                  <a:pt x="545" y="342"/>
                </a:cubicBezTo>
                <a:cubicBezTo>
                  <a:pt x="549" y="337"/>
                  <a:pt x="547" y="332"/>
                  <a:pt x="541" y="332"/>
                </a:cubicBezTo>
                <a:cubicBezTo>
                  <a:pt x="540" y="332"/>
                  <a:pt x="540" y="332"/>
                  <a:pt x="540" y="332"/>
                </a:cubicBezTo>
                <a:moveTo>
                  <a:pt x="575" y="332"/>
                </a:moveTo>
                <a:cubicBezTo>
                  <a:pt x="568" y="332"/>
                  <a:pt x="560" y="336"/>
                  <a:pt x="556" y="342"/>
                </a:cubicBezTo>
                <a:cubicBezTo>
                  <a:pt x="552" y="348"/>
                  <a:pt x="554" y="352"/>
                  <a:pt x="560" y="352"/>
                </a:cubicBezTo>
                <a:cubicBezTo>
                  <a:pt x="567" y="352"/>
                  <a:pt x="575" y="347"/>
                  <a:pt x="579" y="342"/>
                </a:cubicBezTo>
                <a:cubicBezTo>
                  <a:pt x="583" y="336"/>
                  <a:pt x="581" y="332"/>
                  <a:pt x="575" y="332"/>
                </a:cubicBezTo>
                <a:cubicBezTo>
                  <a:pt x="575" y="332"/>
                  <a:pt x="575" y="332"/>
                  <a:pt x="575" y="332"/>
                </a:cubicBezTo>
                <a:moveTo>
                  <a:pt x="608" y="332"/>
                </a:moveTo>
                <a:cubicBezTo>
                  <a:pt x="602" y="332"/>
                  <a:pt x="593" y="336"/>
                  <a:pt x="589" y="342"/>
                </a:cubicBezTo>
                <a:cubicBezTo>
                  <a:pt x="585" y="347"/>
                  <a:pt x="587" y="352"/>
                  <a:pt x="594" y="352"/>
                </a:cubicBezTo>
                <a:cubicBezTo>
                  <a:pt x="600" y="352"/>
                  <a:pt x="609" y="347"/>
                  <a:pt x="613" y="342"/>
                </a:cubicBezTo>
                <a:cubicBezTo>
                  <a:pt x="617" y="336"/>
                  <a:pt x="615" y="332"/>
                  <a:pt x="608" y="332"/>
                </a:cubicBezTo>
                <a:cubicBezTo>
                  <a:pt x="608" y="332"/>
                  <a:pt x="608" y="332"/>
                  <a:pt x="608" y="332"/>
                </a:cubicBezTo>
                <a:moveTo>
                  <a:pt x="642" y="331"/>
                </a:moveTo>
                <a:cubicBezTo>
                  <a:pt x="635" y="331"/>
                  <a:pt x="627" y="336"/>
                  <a:pt x="623" y="341"/>
                </a:cubicBezTo>
                <a:cubicBezTo>
                  <a:pt x="619" y="347"/>
                  <a:pt x="621" y="352"/>
                  <a:pt x="627" y="352"/>
                </a:cubicBezTo>
                <a:cubicBezTo>
                  <a:pt x="634" y="351"/>
                  <a:pt x="642" y="347"/>
                  <a:pt x="646" y="341"/>
                </a:cubicBezTo>
                <a:cubicBezTo>
                  <a:pt x="650" y="336"/>
                  <a:pt x="648" y="331"/>
                  <a:pt x="642" y="331"/>
                </a:cubicBezTo>
                <a:cubicBezTo>
                  <a:pt x="642" y="331"/>
                  <a:pt x="642" y="331"/>
                  <a:pt x="642" y="331"/>
                </a:cubicBezTo>
                <a:moveTo>
                  <a:pt x="675" y="331"/>
                </a:moveTo>
                <a:cubicBezTo>
                  <a:pt x="669" y="331"/>
                  <a:pt x="660" y="336"/>
                  <a:pt x="657" y="341"/>
                </a:cubicBezTo>
                <a:cubicBezTo>
                  <a:pt x="653" y="347"/>
                  <a:pt x="655" y="351"/>
                  <a:pt x="661" y="351"/>
                </a:cubicBezTo>
                <a:cubicBezTo>
                  <a:pt x="668" y="351"/>
                  <a:pt x="676" y="347"/>
                  <a:pt x="680" y="341"/>
                </a:cubicBezTo>
                <a:cubicBezTo>
                  <a:pt x="684" y="335"/>
                  <a:pt x="682" y="331"/>
                  <a:pt x="675" y="331"/>
                </a:cubicBezTo>
                <a:cubicBezTo>
                  <a:pt x="675" y="331"/>
                  <a:pt x="675" y="331"/>
                  <a:pt x="675" y="331"/>
                </a:cubicBezTo>
                <a:moveTo>
                  <a:pt x="708" y="331"/>
                </a:moveTo>
                <a:cubicBezTo>
                  <a:pt x="702" y="331"/>
                  <a:pt x="694" y="335"/>
                  <a:pt x="690" y="341"/>
                </a:cubicBezTo>
                <a:cubicBezTo>
                  <a:pt x="686" y="347"/>
                  <a:pt x="688" y="351"/>
                  <a:pt x="695" y="351"/>
                </a:cubicBezTo>
                <a:cubicBezTo>
                  <a:pt x="701" y="351"/>
                  <a:pt x="710" y="346"/>
                  <a:pt x="713" y="341"/>
                </a:cubicBezTo>
                <a:cubicBezTo>
                  <a:pt x="717" y="335"/>
                  <a:pt x="715" y="331"/>
                  <a:pt x="709" y="331"/>
                </a:cubicBezTo>
                <a:cubicBezTo>
                  <a:pt x="709" y="331"/>
                  <a:pt x="709" y="331"/>
                  <a:pt x="708" y="331"/>
                </a:cubicBezTo>
                <a:moveTo>
                  <a:pt x="742" y="330"/>
                </a:moveTo>
                <a:cubicBezTo>
                  <a:pt x="735" y="331"/>
                  <a:pt x="727" y="335"/>
                  <a:pt x="723" y="341"/>
                </a:cubicBezTo>
                <a:cubicBezTo>
                  <a:pt x="720" y="346"/>
                  <a:pt x="722" y="351"/>
                  <a:pt x="729" y="351"/>
                </a:cubicBezTo>
                <a:cubicBezTo>
                  <a:pt x="735" y="351"/>
                  <a:pt x="743" y="346"/>
                  <a:pt x="747" y="341"/>
                </a:cubicBezTo>
                <a:cubicBezTo>
                  <a:pt x="751" y="335"/>
                  <a:pt x="748" y="330"/>
                  <a:pt x="742" y="330"/>
                </a:cubicBezTo>
                <a:cubicBezTo>
                  <a:pt x="742" y="330"/>
                  <a:pt x="742" y="330"/>
                  <a:pt x="742" y="330"/>
                </a:cubicBezTo>
                <a:moveTo>
                  <a:pt x="775" y="330"/>
                </a:moveTo>
                <a:cubicBezTo>
                  <a:pt x="769" y="330"/>
                  <a:pt x="760" y="335"/>
                  <a:pt x="757" y="340"/>
                </a:cubicBezTo>
                <a:cubicBezTo>
                  <a:pt x="753" y="346"/>
                  <a:pt x="755" y="351"/>
                  <a:pt x="762" y="350"/>
                </a:cubicBezTo>
                <a:cubicBezTo>
                  <a:pt x="768" y="350"/>
                  <a:pt x="777" y="346"/>
                  <a:pt x="780" y="340"/>
                </a:cubicBezTo>
                <a:cubicBezTo>
                  <a:pt x="784" y="335"/>
                  <a:pt x="782" y="330"/>
                  <a:pt x="775" y="330"/>
                </a:cubicBezTo>
                <a:cubicBezTo>
                  <a:pt x="775" y="330"/>
                  <a:pt x="775" y="330"/>
                  <a:pt x="775" y="330"/>
                </a:cubicBezTo>
                <a:moveTo>
                  <a:pt x="808" y="330"/>
                </a:moveTo>
                <a:cubicBezTo>
                  <a:pt x="802" y="330"/>
                  <a:pt x="794" y="335"/>
                  <a:pt x="790" y="340"/>
                </a:cubicBezTo>
                <a:cubicBezTo>
                  <a:pt x="787" y="346"/>
                  <a:pt x="789" y="350"/>
                  <a:pt x="796" y="350"/>
                </a:cubicBezTo>
                <a:cubicBezTo>
                  <a:pt x="802" y="350"/>
                  <a:pt x="810" y="346"/>
                  <a:pt x="814" y="340"/>
                </a:cubicBezTo>
                <a:cubicBezTo>
                  <a:pt x="817" y="334"/>
                  <a:pt x="815" y="330"/>
                  <a:pt x="809" y="330"/>
                </a:cubicBezTo>
                <a:cubicBezTo>
                  <a:pt x="809" y="330"/>
                  <a:pt x="809" y="330"/>
                  <a:pt x="808" y="330"/>
                </a:cubicBezTo>
                <a:moveTo>
                  <a:pt x="842" y="330"/>
                </a:moveTo>
                <a:cubicBezTo>
                  <a:pt x="836" y="330"/>
                  <a:pt x="828" y="334"/>
                  <a:pt x="824" y="340"/>
                </a:cubicBezTo>
                <a:cubicBezTo>
                  <a:pt x="821" y="346"/>
                  <a:pt x="823" y="350"/>
                  <a:pt x="830" y="350"/>
                </a:cubicBezTo>
                <a:cubicBezTo>
                  <a:pt x="836" y="350"/>
                  <a:pt x="844" y="345"/>
                  <a:pt x="848" y="340"/>
                </a:cubicBezTo>
                <a:cubicBezTo>
                  <a:pt x="851" y="334"/>
                  <a:pt x="849" y="330"/>
                  <a:pt x="842" y="330"/>
                </a:cubicBezTo>
                <a:cubicBezTo>
                  <a:pt x="842" y="330"/>
                  <a:pt x="842" y="330"/>
                  <a:pt x="842" y="330"/>
                </a:cubicBezTo>
                <a:moveTo>
                  <a:pt x="875" y="329"/>
                </a:moveTo>
                <a:cubicBezTo>
                  <a:pt x="869" y="329"/>
                  <a:pt x="861" y="334"/>
                  <a:pt x="858" y="340"/>
                </a:cubicBezTo>
                <a:cubicBezTo>
                  <a:pt x="854" y="345"/>
                  <a:pt x="857" y="350"/>
                  <a:pt x="863" y="350"/>
                </a:cubicBezTo>
                <a:cubicBezTo>
                  <a:pt x="870" y="350"/>
                  <a:pt x="878" y="345"/>
                  <a:pt x="881" y="339"/>
                </a:cubicBezTo>
                <a:cubicBezTo>
                  <a:pt x="884" y="334"/>
                  <a:pt x="882" y="329"/>
                  <a:pt x="876" y="329"/>
                </a:cubicBezTo>
                <a:cubicBezTo>
                  <a:pt x="875" y="329"/>
                  <a:pt x="875" y="329"/>
                  <a:pt x="875" y="329"/>
                </a:cubicBezTo>
                <a:moveTo>
                  <a:pt x="907" y="329"/>
                </a:moveTo>
                <a:cubicBezTo>
                  <a:pt x="901" y="329"/>
                  <a:pt x="893" y="334"/>
                  <a:pt x="889" y="339"/>
                </a:cubicBezTo>
                <a:cubicBezTo>
                  <a:pt x="886" y="345"/>
                  <a:pt x="888" y="350"/>
                  <a:pt x="895" y="349"/>
                </a:cubicBezTo>
                <a:cubicBezTo>
                  <a:pt x="901" y="349"/>
                  <a:pt x="909" y="345"/>
                  <a:pt x="913" y="339"/>
                </a:cubicBezTo>
                <a:cubicBezTo>
                  <a:pt x="916" y="334"/>
                  <a:pt x="913" y="329"/>
                  <a:pt x="907" y="329"/>
                </a:cubicBezTo>
                <a:cubicBezTo>
                  <a:pt x="907" y="329"/>
                  <a:pt x="907" y="329"/>
                  <a:pt x="907" y="329"/>
                </a:cubicBezTo>
                <a:moveTo>
                  <a:pt x="941" y="329"/>
                </a:moveTo>
                <a:cubicBezTo>
                  <a:pt x="934" y="329"/>
                  <a:pt x="926" y="334"/>
                  <a:pt x="923" y="339"/>
                </a:cubicBezTo>
                <a:cubicBezTo>
                  <a:pt x="920" y="345"/>
                  <a:pt x="922" y="349"/>
                  <a:pt x="929" y="349"/>
                </a:cubicBezTo>
                <a:cubicBezTo>
                  <a:pt x="935" y="349"/>
                  <a:pt x="943" y="345"/>
                  <a:pt x="947" y="339"/>
                </a:cubicBezTo>
                <a:cubicBezTo>
                  <a:pt x="950" y="333"/>
                  <a:pt x="947" y="329"/>
                  <a:pt x="941" y="329"/>
                </a:cubicBezTo>
                <a:cubicBezTo>
                  <a:pt x="941" y="329"/>
                  <a:pt x="941" y="329"/>
                  <a:pt x="941" y="329"/>
                </a:cubicBezTo>
                <a:moveTo>
                  <a:pt x="1141" y="327"/>
                </a:moveTo>
                <a:cubicBezTo>
                  <a:pt x="1134" y="327"/>
                  <a:pt x="1127" y="332"/>
                  <a:pt x="1124" y="338"/>
                </a:cubicBezTo>
                <a:cubicBezTo>
                  <a:pt x="1121" y="343"/>
                  <a:pt x="1124" y="348"/>
                  <a:pt x="1130" y="348"/>
                </a:cubicBezTo>
                <a:cubicBezTo>
                  <a:pt x="1137" y="348"/>
                  <a:pt x="1144" y="343"/>
                  <a:pt x="1147" y="337"/>
                </a:cubicBezTo>
                <a:cubicBezTo>
                  <a:pt x="1150" y="332"/>
                  <a:pt x="1147" y="327"/>
                  <a:pt x="1141" y="327"/>
                </a:cubicBezTo>
                <a:cubicBezTo>
                  <a:pt x="1141" y="327"/>
                  <a:pt x="1141" y="327"/>
                  <a:pt x="1141" y="327"/>
                </a:cubicBezTo>
                <a:moveTo>
                  <a:pt x="1174" y="326"/>
                </a:moveTo>
                <a:cubicBezTo>
                  <a:pt x="1168" y="326"/>
                  <a:pt x="1160" y="331"/>
                  <a:pt x="1157" y="336"/>
                </a:cubicBezTo>
                <a:cubicBezTo>
                  <a:pt x="1154" y="342"/>
                  <a:pt x="1157" y="346"/>
                  <a:pt x="1164" y="346"/>
                </a:cubicBezTo>
                <a:cubicBezTo>
                  <a:pt x="1170" y="346"/>
                  <a:pt x="1178" y="342"/>
                  <a:pt x="1181" y="336"/>
                </a:cubicBezTo>
                <a:cubicBezTo>
                  <a:pt x="1183" y="330"/>
                  <a:pt x="1180" y="326"/>
                  <a:pt x="1174" y="326"/>
                </a:cubicBezTo>
                <a:cubicBezTo>
                  <a:pt x="1174" y="326"/>
                  <a:pt x="1174" y="326"/>
                  <a:pt x="1174" y="326"/>
                </a:cubicBezTo>
                <a:moveTo>
                  <a:pt x="1208" y="326"/>
                </a:moveTo>
                <a:cubicBezTo>
                  <a:pt x="1201" y="326"/>
                  <a:pt x="1194" y="330"/>
                  <a:pt x="1191" y="336"/>
                </a:cubicBezTo>
                <a:cubicBezTo>
                  <a:pt x="1188" y="342"/>
                  <a:pt x="1191" y="346"/>
                  <a:pt x="1198" y="346"/>
                </a:cubicBezTo>
                <a:cubicBezTo>
                  <a:pt x="1204" y="346"/>
                  <a:pt x="1212" y="341"/>
                  <a:pt x="1214" y="336"/>
                </a:cubicBezTo>
                <a:cubicBezTo>
                  <a:pt x="1217" y="330"/>
                  <a:pt x="1214" y="326"/>
                  <a:pt x="1208" y="326"/>
                </a:cubicBezTo>
                <a:cubicBezTo>
                  <a:pt x="1208" y="326"/>
                  <a:pt x="1208" y="326"/>
                  <a:pt x="1208" y="326"/>
                </a:cubicBezTo>
                <a:moveTo>
                  <a:pt x="1241" y="325"/>
                </a:moveTo>
                <a:cubicBezTo>
                  <a:pt x="1234" y="325"/>
                  <a:pt x="1227" y="330"/>
                  <a:pt x="1224" y="336"/>
                </a:cubicBezTo>
                <a:cubicBezTo>
                  <a:pt x="1222" y="341"/>
                  <a:pt x="1225" y="346"/>
                  <a:pt x="1231" y="346"/>
                </a:cubicBezTo>
                <a:cubicBezTo>
                  <a:pt x="1238" y="346"/>
                  <a:pt x="1245" y="341"/>
                  <a:pt x="1248" y="335"/>
                </a:cubicBezTo>
                <a:cubicBezTo>
                  <a:pt x="1250" y="330"/>
                  <a:pt x="1247" y="325"/>
                  <a:pt x="1241" y="325"/>
                </a:cubicBezTo>
                <a:cubicBezTo>
                  <a:pt x="1241" y="325"/>
                  <a:pt x="1241" y="325"/>
                  <a:pt x="1241" y="325"/>
                </a:cubicBezTo>
                <a:moveTo>
                  <a:pt x="1275" y="325"/>
                </a:moveTo>
                <a:cubicBezTo>
                  <a:pt x="1269" y="325"/>
                  <a:pt x="1261" y="330"/>
                  <a:pt x="1259" y="335"/>
                </a:cubicBezTo>
                <a:cubicBezTo>
                  <a:pt x="1256" y="341"/>
                  <a:pt x="1259" y="346"/>
                  <a:pt x="1266" y="345"/>
                </a:cubicBezTo>
                <a:cubicBezTo>
                  <a:pt x="1272" y="345"/>
                  <a:pt x="1279" y="341"/>
                  <a:pt x="1282" y="335"/>
                </a:cubicBezTo>
                <a:cubicBezTo>
                  <a:pt x="1285" y="330"/>
                  <a:pt x="1281" y="325"/>
                  <a:pt x="1275" y="325"/>
                </a:cubicBezTo>
                <a:cubicBezTo>
                  <a:pt x="1275" y="325"/>
                  <a:pt x="1275" y="325"/>
                  <a:pt x="1275" y="325"/>
                </a:cubicBezTo>
                <a:moveTo>
                  <a:pt x="2042" y="320"/>
                </a:moveTo>
                <a:cubicBezTo>
                  <a:pt x="2035" y="320"/>
                  <a:pt x="2029" y="324"/>
                  <a:pt x="2028" y="330"/>
                </a:cubicBezTo>
                <a:cubicBezTo>
                  <a:pt x="2027" y="336"/>
                  <a:pt x="2032" y="340"/>
                  <a:pt x="2038" y="340"/>
                </a:cubicBezTo>
                <a:cubicBezTo>
                  <a:pt x="2045" y="340"/>
                  <a:pt x="2051" y="335"/>
                  <a:pt x="2052" y="330"/>
                </a:cubicBezTo>
                <a:cubicBezTo>
                  <a:pt x="2052" y="324"/>
                  <a:pt x="2048" y="320"/>
                  <a:pt x="2042" y="320"/>
                </a:cubicBezTo>
                <a:cubicBezTo>
                  <a:pt x="2042" y="320"/>
                  <a:pt x="2042" y="320"/>
                  <a:pt x="2042" y="320"/>
                </a:cubicBezTo>
                <a:moveTo>
                  <a:pt x="2207" y="318"/>
                </a:moveTo>
                <a:cubicBezTo>
                  <a:pt x="2201" y="318"/>
                  <a:pt x="2195" y="323"/>
                  <a:pt x="2194" y="328"/>
                </a:cubicBezTo>
                <a:cubicBezTo>
                  <a:pt x="2193" y="334"/>
                  <a:pt x="2198" y="338"/>
                  <a:pt x="2205" y="338"/>
                </a:cubicBezTo>
                <a:cubicBezTo>
                  <a:pt x="2211" y="338"/>
                  <a:pt x="2217" y="334"/>
                  <a:pt x="2217" y="328"/>
                </a:cubicBezTo>
                <a:cubicBezTo>
                  <a:pt x="2218" y="322"/>
                  <a:pt x="2213" y="318"/>
                  <a:pt x="2207" y="318"/>
                </a:cubicBezTo>
                <a:cubicBezTo>
                  <a:pt x="2207" y="318"/>
                  <a:pt x="2207" y="318"/>
                  <a:pt x="2207" y="318"/>
                </a:cubicBezTo>
                <a:moveTo>
                  <a:pt x="2240" y="317"/>
                </a:moveTo>
                <a:cubicBezTo>
                  <a:pt x="2234" y="318"/>
                  <a:pt x="2228" y="322"/>
                  <a:pt x="2228" y="328"/>
                </a:cubicBezTo>
                <a:cubicBezTo>
                  <a:pt x="2227" y="333"/>
                  <a:pt x="2232" y="338"/>
                  <a:pt x="2238" y="338"/>
                </a:cubicBezTo>
                <a:cubicBezTo>
                  <a:pt x="2245" y="338"/>
                  <a:pt x="2251" y="333"/>
                  <a:pt x="2251" y="328"/>
                </a:cubicBezTo>
                <a:cubicBezTo>
                  <a:pt x="2252" y="322"/>
                  <a:pt x="2247" y="317"/>
                  <a:pt x="2241" y="317"/>
                </a:cubicBezTo>
                <a:cubicBezTo>
                  <a:pt x="2241" y="317"/>
                  <a:pt x="2241" y="317"/>
                  <a:pt x="2240" y="317"/>
                </a:cubicBezTo>
                <a:moveTo>
                  <a:pt x="2274" y="317"/>
                </a:moveTo>
                <a:cubicBezTo>
                  <a:pt x="2267" y="317"/>
                  <a:pt x="2261" y="322"/>
                  <a:pt x="2261" y="328"/>
                </a:cubicBezTo>
                <a:cubicBezTo>
                  <a:pt x="2260" y="333"/>
                  <a:pt x="2265" y="338"/>
                  <a:pt x="2272" y="338"/>
                </a:cubicBezTo>
                <a:cubicBezTo>
                  <a:pt x="2278" y="338"/>
                  <a:pt x="2284" y="333"/>
                  <a:pt x="2284" y="327"/>
                </a:cubicBezTo>
                <a:cubicBezTo>
                  <a:pt x="2285" y="322"/>
                  <a:pt x="2280" y="317"/>
                  <a:pt x="2274" y="317"/>
                </a:cubicBezTo>
                <a:cubicBezTo>
                  <a:pt x="2274" y="317"/>
                  <a:pt x="2274" y="317"/>
                  <a:pt x="2274" y="317"/>
                </a:cubicBezTo>
                <a:moveTo>
                  <a:pt x="2373" y="316"/>
                </a:moveTo>
                <a:cubicBezTo>
                  <a:pt x="2366" y="316"/>
                  <a:pt x="2361" y="321"/>
                  <a:pt x="2360" y="327"/>
                </a:cubicBezTo>
                <a:cubicBezTo>
                  <a:pt x="2360" y="332"/>
                  <a:pt x="2365" y="337"/>
                  <a:pt x="2372" y="337"/>
                </a:cubicBezTo>
                <a:cubicBezTo>
                  <a:pt x="2378" y="337"/>
                  <a:pt x="2384" y="332"/>
                  <a:pt x="2384" y="327"/>
                </a:cubicBezTo>
                <a:cubicBezTo>
                  <a:pt x="2384" y="321"/>
                  <a:pt x="2379" y="316"/>
                  <a:pt x="2373" y="316"/>
                </a:cubicBezTo>
                <a:cubicBezTo>
                  <a:pt x="2373" y="316"/>
                  <a:pt x="2373" y="316"/>
                  <a:pt x="2373" y="316"/>
                </a:cubicBezTo>
                <a:moveTo>
                  <a:pt x="2406" y="316"/>
                </a:moveTo>
                <a:cubicBezTo>
                  <a:pt x="2400" y="316"/>
                  <a:pt x="2394" y="321"/>
                  <a:pt x="2394" y="326"/>
                </a:cubicBezTo>
                <a:cubicBezTo>
                  <a:pt x="2394" y="332"/>
                  <a:pt x="2399" y="337"/>
                  <a:pt x="2405" y="337"/>
                </a:cubicBezTo>
                <a:cubicBezTo>
                  <a:pt x="2412" y="337"/>
                  <a:pt x="2417" y="332"/>
                  <a:pt x="2417" y="326"/>
                </a:cubicBezTo>
                <a:cubicBezTo>
                  <a:pt x="2418" y="321"/>
                  <a:pt x="2413" y="316"/>
                  <a:pt x="2406" y="316"/>
                </a:cubicBezTo>
                <a:cubicBezTo>
                  <a:pt x="2406" y="316"/>
                  <a:pt x="2406" y="316"/>
                  <a:pt x="2406" y="316"/>
                </a:cubicBezTo>
                <a:moveTo>
                  <a:pt x="2606" y="316"/>
                </a:moveTo>
                <a:cubicBezTo>
                  <a:pt x="2600" y="316"/>
                  <a:pt x="2595" y="321"/>
                  <a:pt x="2595" y="326"/>
                </a:cubicBezTo>
                <a:cubicBezTo>
                  <a:pt x="2595" y="332"/>
                  <a:pt x="2601" y="336"/>
                  <a:pt x="2607" y="336"/>
                </a:cubicBezTo>
                <a:cubicBezTo>
                  <a:pt x="2613" y="336"/>
                  <a:pt x="2619" y="332"/>
                  <a:pt x="2618" y="326"/>
                </a:cubicBezTo>
                <a:cubicBezTo>
                  <a:pt x="2618" y="320"/>
                  <a:pt x="2613" y="316"/>
                  <a:pt x="2606" y="316"/>
                </a:cubicBezTo>
                <a:cubicBezTo>
                  <a:pt x="2606" y="316"/>
                  <a:pt x="2606" y="316"/>
                  <a:pt x="2606" y="316"/>
                </a:cubicBezTo>
                <a:moveTo>
                  <a:pt x="2439" y="316"/>
                </a:moveTo>
                <a:cubicBezTo>
                  <a:pt x="2433" y="316"/>
                  <a:pt x="2427" y="321"/>
                  <a:pt x="2427" y="326"/>
                </a:cubicBezTo>
                <a:cubicBezTo>
                  <a:pt x="2427" y="332"/>
                  <a:pt x="2432" y="336"/>
                  <a:pt x="2439" y="336"/>
                </a:cubicBezTo>
                <a:cubicBezTo>
                  <a:pt x="2445" y="336"/>
                  <a:pt x="2451" y="332"/>
                  <a:pt x="2451" y="326"/>
                </a:cubicBezTo>
                <a:cubicBezTo>
                  <a:pt x="2451" y="320"/>
                  <a:pt x="2446" y="316"/>
                  <a:pt x="2439" y="316"/>
                </a:cubicBezTo>
                <a:cubicBezTo>
                  <a:pt x="2439" y="316"/>
                  <a:pt x="2439" y="316"/>
                  <a:pt x="2439" y="316"/>
                </a:cubicBezTo>
                <a:moveTo>
                  <a:pt x="2639" y="316"/>
                </a:moveTo>
                <a:cubicBezTo>
                  <a:pt x="2633" y="316"/>
                  <a:pt x="2628" y="320"/>
                  <a:pt x="2628" y="326"/>
                </a:cubicBezTo>
                <a:cubicBezTo>
                  <a:pt x="2628" y="332"/>
                  <a:pt x="2634" y="336"/>
                  <a:pt x="2640" y="336"/>
                </a:cubicBezTo>
                <a:cubicBezTo>
                  <a:pt x="2647" y="336"/>
                  <a:pt x="2652" y="331"/>
                  <a:pt x="2651" y="326"/>
                </a:cubicBezTo>
                <a:cubicBezTo>
                  <a:pt x="2651" y="320"/>
                  <a:pt x="2646" y="316"/>
                  <a:pt x="2639" y="316"/>
                </a:cubicBezTo>
                <a:cubicBezTo>
                  <a:pt x="2639" y="316"/>
                  <a:pt x="2639" y="316"/>
                  <a:pt x="2639" y="316"/>
                </a:cubicBezTo>
                <a:moveTo>
                  <a:pt x="2472" y="316"/>
                </a:moveTo>
                <a:cubicBezTo>
                  <a:pt x="2466" y="316"/>
                  <a:pt x="2461" y="320"/>
                  <a:pt x="2461" y="326"/>
                </a:cubicBezTo>
                <a:cubicBezTo>
                  <a:pt x="2461" y="332"/>
                  <a:pt x="2466" y="336"/>
                  <a:pt x="2472" y="336"/>
                </a:cubicBezTo>
                <a:cubicBezTo>
                  <a:pt x="2479" y="336"/>
                  <a:pt x="2484" y="331"/>
                  <a:pt x="2484" y="326"/>
                </a:cubicBezTo>
                <a:cubicBezTo>
                  <a:pt x="2484" y="320"/>
                  <a:pt x="2479" y="316"/>
                  <a:pt x="2472" y="316"/>
                </a:cubicBezTo>
                <a:cubicBezTo>
                  <a:pt x="2472" y="316"/>
                  <a:pt x="2472" y="316"/>
                  <a:pt x="2472" y="316"/>
                </a:cubicBezTo>
                <a:moveTo>
                  <a:pt x="2672" y="315"/>
                </a:moveTo>
                <a:cubicBezTo>
                  <a:pt x="2666" y="315"/>
                  <a:pt x="2661" y="320"/>
                  <a:pt x="2661" y="326"/>
                </a:cubicBezTo>
                <a:cubicBezTo>
                  <a:pt x="2661" y="331"/>
                  <a:pt x="2667" y="336"/>
                  <a:pt x="2673" y="336"/>
                </a:cubicBezTo>
                <a:cubicBezTo>
                  <a:pt x="2680" y="336"/>
                  <a:pt x="2685" y="331"/>
                  <a:pt x="2684" y="326"/>
                </a:cubicBezTo>
                <a:cubicBezTo>
                  <a:pt x="2684" y="320"/>
                  <a:pt x="2678" y="315"/>
                  <a:pt x="2672" y="315"/>
                </a:cubicBezTo>
                <a:cubicBezTo>
                  <a:pt x="2672" y="315"/>
                  <a:pt x="2672" y="315"/>
                  <a:pt x="2672" y="315"/>
                </a:cubicBezTo>
                <a:moveTo>
                  <a:pt x="2505" y="315"/>
                </a:moveTo>
                <a:cubicBezTo>
                  <a:pt x="2499" y="315"/>
                  <a:pt x="2494" y="320"/>
                  <a:pt x="2494" y="326"/>
                </a:cubicBezTo>
                <a:cubicBezTo>
                  <a:pt x="2494" y="331"/>
                  <a:pt x="2499" y="336"/>
                  <a:pt x="2505" y="336"/>
                </a:cubicBezTo>
                <a:cubicBezTo>
                  <a:pt x="2512" y="336"/>
                  <a:pt x="2517" y="331"/>
                  <a:pt x="2517" y="326"/>
                </a:cubicBezTo>
                <a:cubicBezTo>
                  <a:pt x="2517" y="320"/>
                  <a:pt x="2512" y="315"/>
                  <a:pt x="2505" y="315"/>
                </a:cubicBezTo>
                <a:cubicBezTo>
                  <a:pt x="2505" y="315"/>
                  <a:pt x="2505" y="315"/>
                  <a:pt x="2505" y="315"/>
                </a:cubicBezTo>
                <a:moveTo>
                  <a:pt x="2705" y="315"/>
                </a:moveTo>
                <a:cubicBezTo>
                  <a:pt x="2699" y="315"/>
                  <a:pt x="2694" y="320"/>
                  <a:pt x="2694" y="325"/>
                </a:cubicBezTo>
                <a:cubicBezTo>
                  <a:pt x="2694" y="331"/>
                  <a:pt x="2700" y="336"/>
                  <a:pt x="2707" y="336"/>
                </a:cubicBezTo>
                <a:cubicBezTo>
                  <a:pt x="2713" y="336"/>
                  <a:pt x="2718" y="331"/>
                  <a:pt x="2717" y="325"/>
                </a:cubicBezTo>
                <a:cubicBezTo>
                  <a:pt x="2717" y="320"/>
                  <a:pt x="2711" y="315"/>
                  <a:pt x="2705" y="315"/>
                </a:cubicBezTo>
                <a:cubicBezTo>
                  <a:pt x="2705" y="315"/>
                  <a:pt x="2705" y="315"/>
                  <a:pt x="2705" y="315"/>
                </a:cubicBezTo>
                <a:moveTo>
                  <a:pt x="2539" y="315"/>
                </a:moveTo>
                <a:cubicBezTo>
                  <a:pt x="2532" y="315"/>
                  <a:pt x="2527" y="320"/>
                  <a:pt x="2527" y="325"/>
                </a:cubicBezTo>
                <a:cubicBezTo>
                  <a:pt x="2527" y="331"/>
                  <a:pt x="2532" y="336"/>
                  <a:pt x="2539" y="336"/>
                </a:cubicBezTo>
                <a:cubicBezTo>
                  <a:pt x="2545" y="336"/>
                  <a:pt x="2551" y="331"/>
                  <a:pt x="2550" y="325"/>
                </a:cubicBezTo>
                <a:cubicBezTo>
                  <a:pt x="2550" y="320"/>
                  <a:pt x="2545" y="315"/>
                  <a:pt x="2539" y="315"/>
                </a:cubicBezTo>
                <a:cubicBezTo>
                  <a:pt x="2539" y="315"/>
                  <a:pt x="2539" y="315"/>
                  <a:pt x="2539" y="315"/>
                </a:cubicBezTo>
                <a:moveTo>
                  <a:pt x="2738" y="315"/>
                </a:moveTo>
                <a:cubicBezTo>
                  <a:pt x="2732" y="315"/>
                  <a:pt x="2727" y="320"/>
                  <a:pt x="2727" y="325"/>
                </a:cubicBezTo>
                <a:cubicBezTo>
                  <a:pt x="2728" y="331"/>
                  <a:pt x="2734" y="335"/>
                  <a:pt x="2740" y="335"/>
                </a:cubicBezTo>
                <a:cubicBezTo>
                  <a:pt x="2747" y="335"/>
                  <a:pt x="2751" y="331"/>
                  <a:pt x="2751" y="325"/>
                </a:cubicBezTo>
                <a:cubicBezTo>
                  <a:pt x="2750" y="319"/>
                  <a:pt x="2745" y="315"/>
                  <a:pt x="2738" y="315"/>
                </a:cubicBezTo>
                <a:cubicBezTo>
                  <a:pt x="2738" y="315"/>
                  <a:pt x="2738" y="315"/>
                  <a:pt x="2738" y="315"/>
                </a:cubicBezTo>
                <a:moveTo>
                  <a:pt x="2572" y="315"/>
                </a:moveTo>
                <a:cubicBezTo>
                  <a:pt x="2566" y="315"/>
                  <a:pt x="2561" y="320"/>
                  <a:pt x="2561" y="325"/>
                </a:cubicBezTo>
                <a:cubicBezTo>
                  <a:pt x="2561" y="331"/>
                  <a:pt x="2566" y="335"/>
                  <a:pt x="2573" y="335"/>
                </a:cubicBezTo>
                <a:cubicBezTo>
                  <a:pt x="2579" y="335"/>
                  <a:pt x="2584" y="331"/>
                  <a:pt x="2584" y="325"/>
                </a:cubicBezTo>
                <a:cubicBezTo>
                  <a:pt x="2584" y="319"/>
                  <a:pt x="2579" y="315"/>
                  <a:pt x="2572" y="315"/>
                </a:cubicBezTo>
                <a:cubicBezTo>
                  <a:pt x="2572" y="315"/>
                  <a:pt x="2572" y="315"/>
                  <a:pt x="2572" y="315"/>
                </a:cubicBezTo>
                <a:moveTo>
                  <a:pt x="2772" y="315"/>
                </a:moveTo>
                <a:cubicBezTo>
                  <a:pt x="2765" y="315"/>
                  <a:pt x="2761" y="319"/>
                  <a:pt x="2761" y="325"/>
                </a:cubicBezTo>
                <a:cubicBezTo>
                  <a:pt x="2762" y="331"/>
                  <a:pt x="2767" y="335"/>
                  <a:pt x="2774" y="335"/>
                </a:cubicBezTo>
                <a:cubicBezTo>
                  <a:pt x="2780" y="335"/>
                  <a:pt x="2785" y="330"/>
                  <a:pt x="2785" y="325"/>
                </a:cubicBezTo>
                <a:cubicBezTo>
                  <a:pt x="2784" y="319"/>
                  <a:pt x="2778" y="315"/>
                  <a:pt x="2772" y="315"/>
                </a:cubicBezTo>
                <a:cubicBezTo>
                  <a:pt x="2772" y="315"/>
                  <a:pt x="2772" y="315"/>
                  <a:pt x="2772" y="315"/>
                </a:cubicBezTo>
                <a:moveTo>
                  <a:pt x="2805" y="314"/>
                </a:moveTo>
                <a:cubicBezTo>
                  <a:pt x="2798" y="314"/>
                  <a:pt x="2794" y="319"/>
                  <a:pt x="2794" y="325"/>
                </a:cubicBezTo>
                <a:cubicBezTo>
                  <a:pt x="2795" y="330"/>
                  <a:pt x="2801" y="335"/>
                  <a:pt x="2807" y="335"/>
                </a:cubicBezTo>
                <a:cubicBezTo>
                  <a:pt x="2814" y="335"/>
                  <a:pt x="2818" y="330"/>
                  <a:pt x="2818" y="325"/>
                </a:cubicBezTo>
                <a:cubicBezTo>
                  <a:pt x="2817" y="319"/>
                  <a:pt x="2811" y="314"/>
                  <a:pt x="2805" y="314"/>
                </a:cubicBezTo>
                <a:cubicBezTo>
                  <a:pt x="2805" y="314"/>
                  <a:pt x="2805" y="314"/>
                  <a:pt x="2805" y="314"/>
                </a:cubicBezTo>
                <a:moveTo>
                  <a:pt x="2838" y="314"/>
                </a:moveTo>
                <a:cubicBezTo>
                  <a:pt x="2832" y="314"/>
                  <a:pt x="2827" y="319"/>
                  <a:pt x="2828" y="324"/>
                </a:cubicBezTo>
                <a:cubicBezTo>
                  <a:pt x="2828" y="330"/>
                  <a:pt x="2834" y="335"/>
                  <a:pt x="2841" y="335"/>
                </a:cubicBezTo>
                <a:cubicBezTo>
                  <a:pt x="2847" y="335"/>
                  <a:pt x="2852" y="330"/>
                  <a:pt x="2851" y="324"/>
                </a:cubicBezTo>
                <a:cubicBezTo>
                  <a:pt x="2850" y="319"/>
                  <a:pt x="2844" y="314"/>
                  <a:pt x="2838" y="314"/>
                </a:cubicBezTo>
                <a:cubicBezTo>
                  <a:pt x="2838" y="314"/>
                  <a:pt x="2838" y="314"/>
                  <a:pt x="2838" y="314"/>
                </a:cubicBezTo>
                <a:moveTo>
                  <a:pt x="2871" y="314"/>
                </a:moveTo>
                <a:cubicBezTo>
                  <a:pt x="2865" y="314"/>
                  <a:pt x="2860" y="319"/>
                  <a:pt x="2861" y="324"/>
                </a:cubicBezTo>
                <a:cubicBezTo>
                  <a:pt x="2861" y="330"/>
                  <a:pt x="2867" y="334"/>
                  <a:pt x="2874" y="334"/>
                </a:cubicBezTo>
                <a:cubicBezTo>
                  <a:pt x="2880" y="334"/>
                  <a:pt x="2885" y="330"/>
                  <a:pt x="2884" y="324"/>
                </a:cubicBezTo>
                <a:cubicBezTo>
                  <a:pt x="2883" y="318"/>
                  <a:pt x="2877" y="314"/>
                  <a:pt x="2871" y="314"/>
                </a:cubicBezTo>
                <a:cubicBezTo>
                  <a:pt x="2871" y="314"/>
                  <a:pt x="2871" y="314"/>
                  <a:pt x="2871" y="314"/>
                </a:cubicBezTo>
                <a:moveTo>
                  <a:pt x="2904" y="314"/>
                </a:moveTo>
                <a:cubicBezTo>
                  <a:pt x="2898" y="314"/>
                  <a:pt x="2893" y="318"/>
                  <a:pt x="2894" y="324"/>
                </a:cubicBezTo>
                <a:cubicBezTo>
                  <a:pt x="2895" y="330"/>
                  <a:pt x="2901" y="334"/>
                  <a:pt x="2907" y="334"/>
                </a:cubicBezTo>
                <a:cubicBezTo>
                  <a:pt x="2914" y="334"/>
                  <a:pt x="2918" y="329"/>
                  <a:pt x="2917" y="324"/>
                </a:cubicBezTo>
                <a:cubicBezTo>
                  <a:pt x="2917" y="318"/>
                  <a:pt x="2911" y="314"/>
                  <a:pt x="2904" y="314"/>
                </a:cubicBezTo>
                <a:cubicBezTo>
                  <a:pt x="2904" y="314"/>
                  <a:pt x="2904" y="314"/>
                  <a:pt x="2904" y="314"/>
                </a:cubicBezTo>
                <a:moveTo>
                  <a:pt x="2938" y="313"/>
                </a:moveTo>
                <a:cubicBezTo>
                  <a:pt x="2931" y="313"/>
                  <a:pt x="2927" y="318"/>
                  <a:pt x="2928" y="324"/>
                </a:cubicBezTo>
                <a:cubicBezTo>
                  <a:pt x="2929" y="329"/>
                  <a:pt x="2935" y="334"/>
                  <a:pt x="2941" y="334"/>
                </a:cubicBezTo>
                <a:cubicBezTo>
                  <a:pt x="2948" y="334"/>
                  <a:pt x="2952" y="329"/>
                  <a:pt x="2951" y="323"/>
                </a:cubicBezTo>
                <a:cubicBezTo>
                  <a:pt x="2950" y="318"/>
                  <a:pt x="2944" y="313"/>
                  <a:pt x="2938" y="313"/>
                </a:cubicBezTo>
                <a:cubicBezTo>
                  <a:pt x="2938" y="313"/>
                  <a:pt x="2938" y="313"/>
                  <a:pt x="2938" y="313"/>
                </a:cubicBezTo>
                <a:moveTo>
                  <a:pt x="2969" y="313"/>
                </a:moveTo>
                <a:cubicBezTo>
                  <a:pt x="2962" y="313"/>
                  <a:pt x="2958" y="318"/>
                  <a:pt x="2959" y="324"/>
                </a:cubicBezTo>
                <a:cubicBezTo>
                  <a:pt x="2960" y="329"/>
                  <a:pt x="2966" y="334"/>
                  <a:pt x="2972" y="334"/>
                </a:cubicBezTo>
                <a:cubicBezTo>
                  <a:pt x="2979" y="334"/>
                  <a:pt x="2983" y="329"/>
                  <a:pt x="2982" y="323"/>
                </a:cubicBezTo>
                <a:cubicBezTo>
                  <a:pt x="2981" y="318"/>
                  <a:pt x="2975" y="313"/>
                  <a:pt x="2969" y="313"/>
                </a:cubicBezTo>
                <a:cubicBezTo>
                  <a:pt x="2969" y="313"/>
                  <a:pt x="2969" y="313"/>
                  <a:pt x="2969" y="313"/>
                </a:cubicBezTo>
                <a:moveTo>
                  <a:pt x="3002" y="313"/>
                </a:moveTo>
                <a:cubicBezTo>
                  <a:pt x="2995" y="313"/>
                  <a:pt x="2991" y="318"/>
                  <a:pt x="2992" y="323"/>
                </a:cubicBezTo>
                <a:cubicBezTo>
                  <a:pt x="2993" y="329"/>
                  <a:pt x="2999" y="333"/>
                  <a:pt x="3005" y="333"/>
                </a:cubicBezTo>
                <a:cubicBezTo>
                  <a:pt x="3012" y="333"/>
                  <a:pt x="3016" y="329"/>
                  <a:pt x="3015" y="323"/>
                </a:cubicBezTo>
                <a:cubicBezTo>
                  <a:pt x="3014" y="317"/>
                  <a:pt x="3008" y="313"/>
                  <a:pt x="3002" y="313"/>
                </a:cubicBezTo>
                <a:cubicBezTo>
                  <a:pt x="3002" y="313"/>
                  <a:pt x="3002" y="313"/>
                  <a:pt x="3002" y="313"/>
                </a:cubicBezTo>
                <a:moveTo>
                  <a:pt x="3035" y="313"/>
                </a:moveTo>
                <a:cubicBezTo>
                  <a:pt x="3028" y="313"/>
                  <a:pt x="3024" y="317"/>
                  <a:pt x="3025" y="323"/>
                </a:cubicBezTo>
                <a:cubicBezTo>
                  <a:pt x="3026" y="329"/>
                  <a:pt x="3032" y="333"/>
                  <a:pt x="3039" y="333"/>
                </a:cubicBezTo>
                <a:cubicBezTo>
                  <a:pt x="3045" y="333"/>
                  <a:pt x="3050" y="328"/>
                  <a:pt x="3049" y="323"/>
                </a:cubicBezTo>
                <a:cubicBezTo>
                  <a:pt x="3047" y="317"/>
                  <a:pt x="3041" y="313"/>
                  <a:pt x="3035" y="313"/>
                </a:cubicBezTo>
                <a:cubicBezTo>
                  <a:pt x="3035" y="313"/>
                  <a:pt x="3035" y="313"/>
                  <a:pt x="3035" y="313"/>
                </a:cubicBezTo>
                <a:moveTo>
                  <a:pt x="3069" y="312"/>
                </a:moveTo>
                <a:cubicBezTo>
                  <a:pt x="3063" y="312"/>
                  <a:pt x="3058" y="317"/>
                  <a:pt x="3060" y="323"/>
                </a:cubicBezTo>
                <a:cubicBezTo>
                  <a:pt x="3061" y="328"/>
                  <a:pt x="3067" y="333"/>
                  <a:pt x="3073" y="333"/>
                </a:cubicBezTo>
                <a:cubicBezTo>
                  <a:pt x="3080" y="333"/>
                  <a:pt x="3084" y="328"/>
                  <a:pt x="3083" y="323"/>
                </a:cubicBezTo>
                <a:cubicBezTo>
                  <a:pt x="3082" y="317"/>
                  <a:pt x="3076" y="312"/>
                  <a:pt x="3069" y="312"/>
                </a:cubicBezTo>
                <a:cubicBezTo>
                  <a:pt x="3069" y="312"/>
                  <a:pt x="3069" y="312"/>
                  <a:pt x="3069" y="312"/>
                </a:cubicBezTo>
                <a:moveTo>
                  <a:pt x="3102" y="312"/>
                </a:moveTo>
                <a:cubicBezTo>
                  <a:pt x="3096" y="312"/>
                  <a:pt x="3091" y="317"/>
                  <a:pt x="3093" y="322"/>
                </a:cubicBezTo>
                <a:cubicBezTo>
                  <a:pt x="3094" y="328"/>
                  <a:pt x="3100" y="333"/>
                  <a:pt x="3107" y="333"/>
                </a:cubicBezTo>
                <a:cubicBezTo>
                  <a:pt x="3113" y="333"/>
                  <a:pt x="3117" y="328"/>
                  <a:pt x="3116" y="322"/>
                </a:cubicBezTo>
                <a:cubicBezTo>
                  <a:pt x="3115" y="317"/>
                  <a:pt x="3108" y="312"/>
                  <a:pt x="3102" y="312"/>
                </a:cubicBezTo>
                <a:cubicBezTo>
                  <a:pt x="3102" y="312"/>
                  <a:pt x="3102" y="312"/>
                  <a:pt x="3102" y="312"/>
                </a:cubicBezTo>
                <a:moveTo>
                  <a:pt x="3135" y="312"/>
                </a:moveTo>
                <a:cubicBezTo>
                  <a:pt x="3129" y="312"/>
                  <a:pt x="3125" y="317"/>
                  <a:pt x="3126" y="322"/>
                </a:cubicBezTo>
                <a:cubicBezTo>
                  <a:pt x="3127" y="328"/>
                  <a:pt x="3134" y="332"/>
                  <a:pt x="3140" y="332"/>
                </a:cubicBezTo>
                <a:cubicBezTo>
                  <a:pt x="3147" y="332"/>
                  <a:pt x="3151" y="328"/>
                  <a:pt x="3149" y="322"/>
                </a:cubicBezTo>
                <a:cubicBezTo>
                  <a:pt x="3148" y="316"/>
                  <a:pt x="3142" y="312"/>
                  <a:pt x="3135" y="312"/>
                </a:cubicBezTo>
                <a:cubicBezTo>
                  <a:pt x="3135" y="312"/>
                  <a:pt x="3135" y="312"/>
                  <a:pt x="3135" y="312"/>
                </a:cubicBezTo>
                <a:moveTo>
                  <a:pt x="3169" y="312"/>
                </a:moveTo>
                <a:cubicBezTo>
                  <a:pt x="3162" y="312"/>
                  <a:pt x="3158" y="316"/>
                  <a:pt x="3160" y="322"/>
                </a:cubicBezTo>
                <a:cubicBezTo>
                  <a:pt x="3161" y="328"/>
                  <a:pt x="3167" y="332"/>
                  <a:pt x="3174" y="332"/>
                </a:cubicBezTo>
                <a:cubicBezTo>
                  <a:pt x="3180" y="332"/>
                  <a:pt x="3184" y="327"/>
                  <a:pt x="3183" y="322"/>
                </a:cubicBezTo>
                <a:cubicBezTo>
                  <a:pt x="3182" y="316"/>
                  <a:pt x="3175" y="312"/>
                  <a:pt x="3169" y="312"/>
                </a:cubicBezTo>
                <a:cubicBezTo>
                  <a:pt x="3169" y="312"/>
                  <a:pt x="3169" y="312"/>
                  <a:pt x="3169" y="312"/>
                </a:cubicBezTo>
                <a:moveTo>
                  <a:pt x="3202" y="311"/>
                </a:moveTo>
                <a:cubicBezTo>
                  <a:pt x="3195" y="311"/>
                  <a:pt x="3191" y="316"/>
                  <a:pt x="3193" y="322"/>
                </a:cubicBezTo>
                <a:cubicBezTo>
                  <a:pt x="3194" y="327"/>
                  <a:pt x="3201" y="332"/>
                  <a:pt x="3207" y="332"/>
                </a:cubicBezTo>
                <a:cubicBezTo>
                  <a:pt x="3214" y="332"/>
                  <a:pt x="3218" y="327"/>
                  <a:pt x="3216" y="321"/>
                </a:cubicBezTo>
                <a:cubicBezTo>
                  <a:pt x="3215" y="316"/>
                  <a:pt x="3208" y="311"/>
                  <a:pt x="3202" y="311"/>
                </a:cubicBezTo>
                <a:cubicBezTo>
                  <a:pt x="3202" y="311"/>
                  <a:pt x="3202" y="311"/>
                  <a:pt x="3202" y="311"/>
                </a:cubicBezTo>
                <a:moveTo>
                  <a:pt x="3235" y="311"/>
                </a:moveTo>
                <a:cubicBezTo>
                  <a:pt x="3228" y="311"/>
                  <a:pt x="3224" y="316"/>
                  <a:pt x="3226" y="321"/>
                </a:cubicBezTo>
                <a:cubicBezTo>
                  <a:pt x="3228" y="327"/>
                  <a:pt x="3234" y="332"/>
                  <a:pt x="3240" y="332"/>
                </a:cubicBezTo>
                <a:cubicBezTo>
                  <a:pt x="3247" y="332"/>
                  <a:pt x="3251" y="327"/>
                  <a:pt x="3249" y="321"/>
                </a:cubicBezTo>
                <a:cubicBezTo>
                  <a:pt x="3248" y="316"/>
                  <a:pt x="3241" y="311"/>
                  <a:pt x="3235" y="311"/>
                </a:cubicBezTo>
                <a:cubicBezTo>
                  <a:pt x="3235" y="311"/>
                  <a:pt x="3235" y="311"/>
                  <a:pt x="3235" y="311"/>
                </a:cubicBezTo>
                <a:moveTo>
                  <a:pt x="3268" y="311"/>
                </a:moveTo>
                <a:cubicBezTo>
                  <a:pt x="3261" y="311"/>
                  <a:pt x="3258" y="315"/>
                  <a:pt x="3259" y="321"/>
                </a:cubicBezTo>
                <a:cubicBezTo>
                  <a:pt x="3261" y="327"/>
                  <a:pt x="3267" y="331"/>
                  <a:pt x="3274" y="331"/>
                </a:cubicBezTo>
                <a:cubicBezTo>
                  <a:pt x="3280" y="331"/>
                  <a:pt x="3284" y="327"/>
                  <a:pt x="3282" y="321"/>
                </a:cubicBezTo>
                <a:cubicBezTo>
                  <a:pt x="3281" y="315"/>
                  <a:pt x="3274" y="311"/>
                  <a:pt x="3268" y="311"/>
                </a:cubicBezTo>
                <a:cubicBezTo>
                  <a:pt x="3268" y="311"/>
                  <a:pt x="3268" y="311"/>
                  <a:pt x="3268" y="311"/>
                </a:cubicBezTo>
                <a:moveTo>
                  <a:pt x="3301" y="311"/>
                </a:moveTo>
                <a:cubicBezTo>
                  <a:pt x="3294" y="311"/>
                  <a:pt x="3291" y="315"/>
                  <a:pt x="3292" y="321"/>
                </a:cubicBezTo>
                <a:cubicBezTo>
                  <a:pt x="3294" y="327"/>
                  <a:pt x="3300" y="331"/>
                  <a:pt x="3307" y="331"/>
                </a:cubicBezTo>
                <a:cubicBezTo>
                  <a:pt x="3313" y="331"/>
                  <a:pt x="3317" y="326"/>
                  <a:pt x="3315" y="321"/>
                </a:cubicBezTo>
                <a:cubicBezTo>
                  <a:pt x="3314" y="315"/>
                  <a:pt x="3307" y="311"/>
                  <a:pt x="3301" y="311"/>
                </a:cubicBezTo>
                <a:cubicBezTo>
                  <a:pt x="3301" y="311"/>
                  <a:pt x="3301" y="311"/>
                  <a:pt x="3301" y="311"/>
                </a:cubicBezTo>
                <a:moveTo>
                  <a:pt x="3334" y="310"/>
                </a:moveTo>
                <a:cubicBezTo>
                  <a:pt x="3327" y="310"/>
                  <a:pt x="3324" y="315"/>
                  <a:pt x="3325" y="321"/>
                </a:cubicBezTo>
                <a:cubicBezTo>
                  <a:pt x="3327" y="326"/>
                  <a:pt x="3334" y="331"/>
                  <a:pt x="3340" y="331"/>
                </a:cubicBezTo>
                <a:cubicBezTo>
                  <a:pt x="3347" y="331"/>
                  <a:pt x="3350" y="326"/>
                  <a:pt x="3349" y="320"/>
                </a:cubicBezTo>
                <a:cubicBezTo>
                  <a:pt x="3347" y="315"/>
                  <a:pt x="3340" y="310"/>
                  <a:pt x="3334" y="310"/>
                </a:cubicBezTo>
                <a:cubicBezTo>
                  <a:pt x="3334" y="310"/>
                  <a:pt x="3334" y="310"/>
                  <a:pt x="3334" y="310"/>
                </a:cubicBezTo>
                <a:moveTo>
                  <a:pt x="3367" y="310"/>
                </a:moveTo>
                <a:cubicBezTo>
                  <a:pt x="3361" y="310"/>
                  <a:pt x="3357" y="315"/>
                  <a:pt x="3359" y="320"/>
                </a:cubicBezTo>
                <a:cubicBezTo>
                  <a:pt x="3360" y="326"/>
                  <a:pt x="3367" y="331"/>
                  <a:pt x="3374" y="331"/>
                </a:cubicBezTo>
                <a:cubicBezTo>
                  <a:pt x="3380" y="331"/>
                  <a:pt x="3384" y="326"/>
                  <a:pt x="3382" y="320"/>
                </a:cubicBezTo>
                <a:cubicBezTo>
                  <a:pt x="3380" y="315"/>
                  <a:pt x="3373" y="310"/>
                  <a:pt x="3367" y="310"/>
                </a:cubicBezTo>
                <a:cubicBezTo>
                  <a:pt x="3367" y="310"/>
                  <a:pt x="3367" y="310"/>
                  <a:pt x="3367" y="310"/>
                </a:cubicBezTo>
                <a:moveTo>
                  <a:pt x="3401" y="310"/>
                </a:moveTo>
                <a:cubicBezTo>
                  <a:pt x="3395" y="310"/>
                  <a:pt x="3391" y="314"/>
                  <a:pt x="3393" y="320"/>
                </a:cubicBezTo>
                <a:cubicBezTo>
                  <a:pt x="3395" y="326"/>
                  <a:pt x="3402" y="330"/>
                  <a:pt x="3408" y="330"/>
                </a:cubicBezTo>
                <a:cubicBezTo>
                  <a:pt x="3414" y="330"/>
                  <a:pt x="3418" y="326"/>
                  <a:pt x="3416" y="320"/>
                </a:cubicBezTo>
                <a:cubicBezTo>
                  <a:pt x="3414" y="314"/>
                  <a:pt x="3408" y="310"/>
                  <a:pt x="3401" y="310"/>
                </a:cubicBezTo>
                <a:cubicBezTo>
                  <a:pt x="3401" y="310"/>
                  <a:pt x="3401" y="310"/>
                  <a:pt x="3401" y="310"/>
                </a:cubicBezTo>
                <a:moveTo>
                  <a:pt x="3434" y="309"/>
                </a:moveTo>
                <a:cubicBezTo>
                  <a:pt x="3428" y="310"/>
                  <a:pt x="3424" y="314"/>
                  <a:pt x="3426" y="320"/>
                </a:cubicBezTo>
                <a:cubicBezTo>
                  <a:pt x="3428" y="326"/>
                  <a:pt x="3435" y="330"/>
                  <a:pt x="3441" y="330"/>
                </a:cubicBezTo>
                <a:cubicBezTo>
                  <a:pt x="3448" y="330"/>
                  <a:pt x="3451" y="325"/>
                  <a:pt x="3449" y="320"/>
                </a:cubicBezTo>
                <a:cubicBezTo>
                  <a:pt x="3447" y="314"/>
                  <a:pt x="3441" y="309"/>
                  <a:pt x="3434" y="309"/>
                </a:cubicBezTo>
                <a:cubicBezTo>
                  <a:pt x="3434" y="309"/>
                  <a:pt x="3434" y="309"/>
                  <a:pt x="3434" y="309"/>
                </a:cubicBezTo>
                <a:moveTo>
                  <a:pt x="3467" y="309"/>
                </a:moveTo>
                <a:cubicBezTo>
                  <a:pt x="3461" y="309"/>
                  <a:pt x="3457" y="314"/>
                  <a:pt x="3459" y="320"/>
                </a:cubicBezTo>
                <a:cubicBezTo>
                  <a:pt x="3461" y="325"/>
                  <a:pt x="3468" y="330"/>
                  <a:pt x="3475" y="330"/>
                </a:cubicBezTo>
                <a:cubicBezTo>
                  <a:pt x="3481" y="330"/>
                  <a:pt x="3485" y="325"/>
                  <a:pt x="3483" y="319"/>
                </a:cubicBezTo>
                <a:cubicBezTo>
                  <a:pt x="3481" y="314"/>
                  <a:pt x="3474" y="309"/>
                  <a:pt x="3467" y="309"/>
                </a:cubicBezTo>
                <a:cubicBezTo>
                  <a:pt x="3467" y="309"/>
                  <a:pt x="3467" y="309"/>
                  <a:pt x="3467" y="309"/>
                </a:cubicBezTo>
                <a:moveTo>
                  <a:pt x="3501" y="309"/>
                </a:moveTo>
                <a:cubicBezTo>
                  <a:pt x="3494" y="309"/>
                  <a:pt x="3491" y="314"/>
                  <a:pt x="3493" y="319"/>
                </a:cubicBezTo>
                <a:cubicBezTo>
                  <a:pt x="3495" y="325"/>
                  <a:pt x="3502" y="330"/>
                  <a:pt x="3508" y="330"/>
                </a:cubicBezTo>
                <a:cubicBezTo>
                  <a:pt x="3515" y="329"/>
                  <a:pt x="3518" y="325"/>
                  <a:pt x="3516" y="319"/>
                </a:cubicBezTo>
                <a:cubicBezTo>
                  <a:pt x="3514" y="313"/>
                  <a:pt x="3507" y="309"/>
                  <a:pt x="3501" y="309"/>
                </a:cubicBezTo>
                <a:cubicBezTo>
                  <a:pt x="3501" y="309"/>
                  <a:pt x="3501" y="309"/>
                  <a:pt x="3501" y="309"/>
                </a:cubicBezTo>
                <a:moveTo>
                  <a:pt x="3534" y="309"/>
                </a:moveTo>
                <a:cubicBezTo>
                  <a:pt x="3527" y="309"/>
                  <a:pt x="3524" y="313"/>
                  <a:pt x="3526" y="319"/>
                </a:cubicBezTo>
                <a:cubicBezTo>
                  <a:pt x="3528" y="325"/>
                  <a:pt x="3535" y="329"/>
                  <a:pt x="3542" y="329"/>
                </a:cubicBezTo>
                <a:cubicBezTo>
                  <a:pt x="3548" y="329"/>
                  <a:pt x="3551" y="325"/>
                  <a:pt x="3549" y="319"/>
                </a:cubicBezTo>
                <a:cubicBezTo>
                  <a:pt x="3547" y="313"/>
                  <a:pt x="3540" y="309"/>
                  <a:pt x="3534" y="309"/>
                </a:cubicBezTo>
                <a:cubicBezTo>
                  <a:pt x="3534" y="309"/>
                  <a:pt x="3534" y="309"/>
                  <a:pt x="3534" y="309"/>
                </a:cubicBezTo>
                <a:moveTo>
                  <a:pt x="3567" y="308"/>
                </a:moveTo>
                <a:cubicBezTo>
                  <a:pt x="3560" y="308"/>
                  <a:pt x="3557" y="313"/>
                  <a:pt x="3559" y="319"/>
                </a:cubicBezTo>
                <a:cubicBezTo>
                  <a:pt x="3561" y="324"/>
                  <a:pt x="3569" y="329"/>
                  <a:pt x="3575" y="329"/>
                </a:cubicBezTo>
                <a:cubicBezTo>
                  <a:pt x="3581" y="329"/>
                  <a:pt x="3585" y="324"/>
                  <a:pt x="3583" y="319"/>
                </a:cubicBezTo>
                <a:cubicBezTo>
                  <a:pt x="3580" y="313"/>
                  <a:pt x="3573" y="308"/>
                  <a:pt x="3567" y="308"/>
                </a:cubicBezTo>
                <a:cubicBezTo>
                  <a:pt x="3567" y="308"/>
                  <a:pt x="3567" y="308"/>
                  <a:pt x="3567" y="308"/>
                </a:cubicBezTo>
                <a:moveTo>
                  <a:pt x="3600" y="308"/>
                </a:moveTo>
                <a:cubicBezTo>
                  <a:pt x="3593" y="308"/>
                  <a:pt x="3590" y="313"/>
                  <a:pt x="3592" y="319"/>
                </a:cubicBezTo>
                <a:cubicBezTo>
                  <a:pt x="3595" y="324"/>
                  <a:pt x="3602" y="329"/>
                  <a:pt x="3608" y="329"/>
                </a:cubicBezTo>
                <a:cubicBezTo>
                  <a:pt x="3615" y="329"/>
                  <a:pt x="3618" y="324"/>
                  <a:pt x="3616" y="318"/>
                </a:cubicBezTo>
                <a:cubicBezTo>
                  <a:pt x="3613" y="313"/>
                  <a:pt x="3606" y="308"/>
                  <a:pt x="3600" y="308"/>
                </a:cubicBezTo>
                <a:cubicBezTo>
                  <a:pt x="3600" y="308"/>
                  <a:pt x="3600" y="308"/>
                  <a:pt x="3600" y="308"/>
                </a:cubicBezTo>
                <a:moveTo>
                  <a:pt x="129" y="308"/>
                </a:moveTo>
                <a:cubicBezTo>
                  <a:pt x="123" y="308"/>
                  <a:pt x="113" y="313"/>
                  <a:pt x="108" y="318"/>
                </a:cubicBezTo>
                <a:cubicBezTo>
                  <a:pt x="103" y="324"/>
                  <a:pt x="105" y="328"/>
                  <a:pt x="111" y="328"/>
                </a:cubicBezTo>
                <a:cubicBezTo>
                  <a:pt x="117" y="328"/>
                  <a:pt x="127" y="324"/>
                  <a:pt x="132" y="318"/>
                </a:cubicBezTo>
                <a:cubicBezTo>
                  <a:pt x="137" y="313"/>
                  <a:pt x="135" y="308"/>
                  <a:pt x="129" y="308"/>
                </a:cubicBezTo>
                <a:cubicBezTo>
                  <a:pt x="129" y="308"/>
                  <a:pt x="129" y="308"/>
                  <a:pt x="129" y="308"/>
                </a:cubicBezTo>
                <a:moveTo>
                  <a:pt x="3633" y="308"/>
                </a:moveTo>
                <a:cubicBezTo>
                  <a:pt x="3627" y="308"/>
                  <a:pt x="3624" y="313"/>
                  <a:pt x="3626" y="318"/>
                </a:cubicBezTo>
                <a:cubicBezTo>
                  <a:pt x="3628" y="324"/>
                  <a:pt x="3636" y="329"/>
                  <a:pt x="3642" y="328"/>
                </a:cubicBezTo>
                <a:cubicBezTo>
                  <a:pt x="3649" y="328"/>
                  <a:pt x="3652" y="324"/>
                  <a:pt x="3649" y="318"/>
                </a:cubicBezTo>
                <a:cubicBezTo>
                  <a:pt x="3647" y="312"/>
                  <a:pt x="3640" y="308"/>
                  <a:pt x="3633" y="308"/>
                </a:cubicBezTo>
                <a:cubicBezTo>
                  <a:pt x="3633" y="308"/>
                  <a:pt x="3633" y="308"/>
                  <a:pt x="3633" y="308"/>
                </a:cubicBezTo>
                <a:moveTo>
                  <a:pt x="162" y="308"/>
                </a:moveTo>
                <a:cubicBezTo>
                  <a:pt x="156" y="308"/>
                  <a:pt x="146" y="312"/>
                  <a:pt x="141" y="318"/>
                </a:cubicBezTo>
                <a:cubicBezTo>
                  <a:pt x="136" y="324"/>
                  <a:pt x="138" y="328"/>
                  <a:pt x="144" y="328"/>
                </a:cubicBezTo>
                <a:cubicBezTo>
                  <a:pt x="151" y="328"/>
                  <a:pt x="160" y="323"/>
                  <a:pt x="165" y="318"/>
                </a:cubicBezTo>
                <a:cubicBezTo>
                  <a:pt x="170" y="312"/>
                  <a:pt x="168" y="308"/>
                  <a:pt x="162" y="308"/>
                </a:cubicBezTo>
                <a:cubicBezTo>
                  <a:pt x="162" y="308"/>
                  <a:pt x="162" y="308"/>
                  <a:pt x="162" y="308"/>
                </a:cubicBezTo>
                <a:moveTo>
                  <a:pt x="3667" y="308"/>
                </a:moveTo>
                <a:cubicBezTo>
                  <a:pt x="3660" y="308"/>
                  <a:pt x="3657" y="312"/>
                  <a:pt x="3659" y="318"/>
                </a:cubicBezTo>
                <a:cubicBezTo>
                  <a:pt x="3662" y="324"/>
                  <a:pt x="3669" y="328"/>
                  <a:pt x="3675" y="328"/>
                </a:cubicBezTo>
                <a:cubicBezTo>
                  <a:pt x="3682" y="328"/>
                  <a:pt x="3685" y="324"/>
                  <a:pt x="3683" y="318"/>
                </a:cubicBezTo>
                <a:cubicBezTo>
                  <a:pt x="3680" y="312"/>
                  <a:pt x="3673" y="308"/>
                  <a:pt x="3667" y="308"/>
                </a:cubicBezTo>
                <a:cubicBezTo>
                  <a:pt x="3667" y="308"/>
                  <a:pt x="3667" y="308"/>
                  <a:pt x="3667" y="308"/>
                </a:cubicBezTo>
                <a:moveTo>
                  <a:pt x="3701" y="307"/>
                </a:moveTo>
                <a:cubicBezTo>
                  <a:pt x="3694" y="307"/>
                  <a:pt x="3691" y="312"/>
                  <a:pt x="3694" y="318"/>
                </a:cubicBezTo>
                <a:cubicBezTo>
                  <a:pt x="3696" y="323"/>
                  <a:pt x="3704" y="328"/>
                  <a:pt x="3710" y="328"/>
                </a:cubicBezTo>
                <a:cubicBezTo>
                  <a:pt x="3716" y="328"/>
                  <a:pt x="3720" y="323"/>
                  <a:pt x="3717" y="318"/>
                </a:cubicBezTo>
                <a:cubicBezTo>
                  <a:pt x="3714" y="312"/>
                  <a:pt x="3707" y="307"/>
                  <a:pt x="3701" y="307"/>
                </a:cubicBezTo>
                <a:cubicBezTo>
                  <a:pt x="3701" y="307"/>
                  <a:pt x="3701" y="307"/>
                  <a:pt x="3701" y="307"/>
                </a:cubicBezTo>
                <a:moveTo>
                  <a:pt x="3734" y="307"/>
                </a:moveTo>
                <a:cubicBezTo>
                  <a:pt x="3727" y="307"/>
                  <a:pt x="3724" y="312"/>
                  <a:pt x="3727" y="317"/>
                </a:cubicBezTo>
                <a:cubicBezTo>
                  <a:pt x="3729" y="323"/>
                  <a:pt x="3737" y="328"/>
                  <a:pt x="3743" y="328"/>
                </a:cubicBezTo>
                <a:cubicBezTo>
                  <a:pt x="3750" y="328"/>
                  <a:pt x="3753" y="323"/>
                  <a:pt x="3750" y="317"/>
                </a:cubicBezTo>
                <a:cubicBezTo>
                  <a:pt x="3747" y="312"/>
                  <a:pt x="3740" y="307"/>
                  <a:pt x="3734" y="307"/>
                </a:cubicBezTo>
                <a:cubicBezTo>
                  <a:pt x="3734" y="307"/>
                  <a:pt x="3734" y="307"/>
                  <a:pt x="3734" y="307"/>
                </a:cubicBezTo>
                <a:moveTo>
                  <a:pt x="3767" y="307"/>
                </a:moveTo>
                <a:cubicBezTo>
                  <a:pt x="3760" y="307"/>
                  <a:pt x="3757" y="312"/>
                  <a:pt x="3760" y="317"/>
                </a:cubicBezTo>
                <a:cubicBezTo>
                  <a:pt x="3763" y="323"/>
                  <a:pt x="3770" y="327"/>
                  <a:pt x="3777" y="327"/>
                </a:cubicBezTo>
                <a:cubicBezTo>
                  <a:pt x="3783" y="327"/>
                  <a:pt x="3786" y="323"/>
                  <a:pt x="3783" y="317"/>
                </a:cubicBezTo>
                <a:cubicBezTo>
                  <a:pt x="3781" y="311"/>
                  <a:pt x="3773" y="307"/>
                  <a:pt x="3767" y="307"/>
                </a:cubicBezTo>
                <a:cubicBezTo>
                  <a:pt x="3767" y="307"/>
                  <a:pt x="3767" y="307"/>
                  <a:pt x="3767" y="307"/>
                </a:cubicBezTo>
                <a:moveTo>
                  <a:pt x="3800" y="307"/>
                </a:moveTo>
                <a:cubicBezTo>
                  <a:pt x="3794" y="307"/>
                  <a:pt x="3791" y="311"/>
                  <a:pt x="3794" y="317"/>
                </a:cubicBezTo>
                <a:cubicBezTo>
                  <a:pt x="3796" y="323"/>
                  <a:pt x="3804" y="327"/>
                  <a:pt x="3810" y="327"/>
                </a:cubicBezTo>
                <a:cubicBezTo>
                  <a:pt x="3817" y="327"/>
                  <a:pt x="3820" y="322"/>
                  <a:pt x="3817" y="317"/>
                </a:cubicBezTo>
                <a:cubicBezTo>
                  <a:pt x="3814" y="311"/>
                  <a:pt x="3807" y="307"/>
                  <a:pt x="3800" y="307"/>
                </a:cubicBezTo>
                <a:cubicBezTo>
                  <a:pt x="3800" y="307"/>
                  <a:pt x="3800" y="307"/>
                  <a:pt x="3800" y="307"/>
                </a:cubicBezTo>
                <a:moveTo>
                  <a:pt x="3833" y="306"/>
                </a:moveTo>
                <a:cubicBezTo>
                  <a:pt x="3827" y="306"/>
                  <a:pt x="3824" y="311"/>
                  <a:pt x="3827" y="317"/>
                </a:cubicBezTo>
                <a:cubicBezTo>
                  <a:pt x="3829" y="322"/>
                  <a:pt x="3837" y="327"/>
                  <a:pt x="3843" y="327"/>
                </a:cubicBezTo>
                <a:cubicBezTo>
                  <a:pt x="3850" y="327"/>
                  <a:pt x="3853" y="322"/>
                  <a:pt x="3850" y="317"/>
                </a:cubicBezTo>
                <a:cubicBezTo>
                  <a:pt x="3847" y="311"/>
                  <a:pt x="3840" y="306"/>
                  <a:pt x="3833" y="306"/>
                </a:cubicBezTo>
                <a:cubicBezTo>
                  <a:pt x="3833" y="306"/>
                  <a:pt x="3833" y="306"/>
                  <a:pt x="3833" y="306"/>
                </a:cubicBezTo>
                <a:moveTo>
                  <a:pt x="4131" y="305"/>
                </a:moveTo>
                <a:cubicBezTo>
                  <a:pt x="4125" y="305"/>
                  <a:pt x="4122" y="310"/>
                  <a:pt x="4126" y="316"/>
                </a:cubicBezTo>
                <a:cubicBezTo>
                  <a:pt x="4129" y="321"/>
                  <a:pt x="4137" y="326"/>
                  <a:pt x="4144" y="326"/>
                </a:cubicBezTo>
                <a:cubicBezTo>
                  <a:pt x="4150" y="326"/>
                  <a:pt x="4152" y="321"/>
                  <a:pt x="4149" y="315"/>
                </a:cubicBezTo>
                <a:cubicBezTo>
                  <a:pt x="4146" y="310"/>
                  <a:pt x="4138" y="305"/>
                  <a:pt x="4131" y="305"/>
                </a:cubicBezTo>
                <a:cubicBezTo>
                  <a:pt x="4131" y="305"/>
                  <a:pt x="4131" y="305"/>
                  <a:pt x="4131" y="305"/>
                </a:cubicBezTo>
                <a:moveTo>
                  <a:pt x="4098" y="304"/>
                </a:moveTo>
                <a:cubicBezTo>
                  <a:pt x="4091" y="305"/>
                  <a:pt x="4089" y="309"/>
                  <a:pt x="4092" y="315"/>
                </a:cubicBezTo>
                <a:cubicBezTo>
                  <a:pt x="4095" y="321"/>
                  <a:pt x="4103" y="325"/>
                  <a:pt x="4110" y="325"/>
                </a:cubicBezTo>
                <a:cubicBezTo>
                  <a:pt x="4116" y="325"/>
                  <a:pt x="4119" y="320"/>
                  <a:pt x="4115" y="315"/>
                </a:cubicBezTo>
                <a:cubicBezTo>
                  <a:pt x="4112" y="309"/>
                  <a:pt x="4104" y="304"/>
                  <a:pt x="4098" y="304"/>
                </a:cubicBezTo>
                <a:cubicBezTo>
                  <a:pt x="4098" y="304"/>
                  <a:pt x="4098" y="304"/>
                  <a:pt x="4098" y="304"/>
                </a:cubicBezTo>
                <a:moveTo>
                  <a:pt x="430" y="304"/>
                </a:moveTo>
                <a:cubicBezTo>
                  <a:pt x="424" y="304"/>
                  <a:pt x="415" y="308"/>
                  <a:pt x="411" y="314"/>
                </a:cubicBezTo>
                <a:cubicBezTo>
                  <a:pt x="406" y="320"/>
                  <a:pt x="408" y="324"/>
                  <a:pt x="414" y="324"/>
                </a:cubicBezTo>
                <a:cubicBezTo>
                  <a:pt x="421" y="324"/>
                  <a:pt x="429" y="319"/>
                  <a:pt x="434" y="314"/>
                </a:cubicBezTo>
                <a:cubicBezTo>
                  <a:pt x="438" y="308"/>
                  <a:pt x="436" y="304"/>
                  <a:pt x="430" y="304"/>
                </a:cubicBezTo>
                <a:cubicBezTo>
                  <a:pt x="430" y="304"/>
                  <a:pt x="430" y="304"/>
                  <a:pt x="430" y="304"/>
                </a:cubicBezTo>
                <a:moveTo>
                  <a:pt x="463" y="304"/>
                </a:moveTo>
                <a:cubicBezTo>
                  <a:pt x="456" y="304"/>
                  <a:pt x="448" y="308"/>
                  <a:pt x="443" y="314"/>
                </a:cubicBezTo>
                <a:cubicBezTo>
                  <a:pt x="439" y="319"/>
                  <a:pt x="441" y="324"/>
                  <a:pt x="447" y="324"/>
                </a:cubicBezTo>
                <a:cubicBezTo>
                  <a:pt x="454" y="324"/>
                  <a:pt x="462" y="319"/>
                  <a:pt x="467" y="314"/>
                </a:cubicBezTo>
                <a:cubicBezTo>
                  <a:pt x="471" y="308"/>
                  <a:pt x="469" y="304"/>
                  <a:pt x="463" y="304"/>
                </a:cubicBezTo>
                <a:cubicBezTo>
                  <a:pt x="463" y="304"/>
                  <a:pt x="463" y="304"/>
                  <a:pt x="463" y="304"/>
                </a:cubicBezTo>
                <a:moveTo>
                  <a:pt x="496" y="303"/>
                </a:moveTo>
                <a:cubicBezTo>
                  <a:pt x="489" y="303"/>
                  <a:pt x="481" y="308"/>
                  <a:pt x="477" y="314"/>
                </a:cubicBezTo>
                <a:cubicBezTo>
                  <a:pt x="472" y="319"/>
                  <a:pt x="474" y="324"/>
                  <a:pt x="481" y="324"/>
                </a:cubicBezTo>
                <a:cubicBezTo>
                  <a:pt x="487" y="324"/>
                  <a:pt x="496" y="319"/>
                  <a:pt x="500" y="313"/>
                </a:cubicBezTo>
                <a:cubicBezTo>
                  <a:pt x="504" y="308"/>
                  <a:pt x="502" y="303"/>
                  <a:pt x="496" y="303"/>
                </a:cubicBezTo>
                <a:cubicBezTo>
                  <a:pt x="496" y="303"/>
                  <a:pt x="496" y="303"/>
                  <a:pt x="496" y="303"/>
                </a:cubicBezTo>
                <a:moveTo>
                  <a:pt x="529" y="303"/>
                </a:moveTo>
                <a:cubicBezTo>
                  <a:pt x="522" y="303"/>
                  <a:pt x="514" y="308"/>
                  <a:pt x="510" y="313"/>
                </a:cubicBezTo>
                <a:cubicBezTo>
                  <a:pt x="505" y="319"/>
                  <a:pt x="507" y="323"/>
                  <a:pt x="514" y="323"/>
                </a:cubicBezTo>
                <a:cubicBezTo>
                  <a:pt x="520" y="323"/>
                  <a:pt x="529" y="319"/>
                  <a:pt x="533" y="313"/>
                </a:cubicBezTo>
                <a:cubicBezTo>
                  <a:pt x="537" y="308"/>
                  <a:pt x="535" y="303"/>
                  <a:pt x="529" y="303"/>
                </a:cubicBezTo>
                <a:cubicBezTo>
                  <a:pt x="529" y="303"/>
                  <a:pt x="529" y="303"/>
                  <a:pt x="529" y="303"/>
                </a:cubicBezTo>
                <a:moveTo>
                  <a:pt x="562" y="303"/>
                </a:moveTo>
                <a:cubicBezTo>
                  <a:pt x="555" y="303"/>
                  <a:pt x="547" y="307"/>
                  <a:pt x="543" y="313"/>
                </a:cubicBezTo>
                <a:cubicBezTo>
                  <a:pt x="539" y="319"/>
                  <a:pt x="541" y="323"/>
                  <a:pt x="547" y="323"/>
                </a:cubicBezTo>
                <a:cubicBezTo>
                  <a:pt x="553" y="323"/>
                  <a:pt x="562" y="318"/>
                  <a:pt x="566" y="313"/>
                </a:cubicBezTo>
                <a:cubicBezTo>
                  <a:pt x="570" y="307"/>
                  <a:pt x="568" y="303"/>
                  <a:pt x="562" y="303"/>
                </a:cubicBezTo>
                <a:cubicBezTo>
                  <a:pt x="562" y="303"/>
                  <a:pt x="562" y="303"/>
                  <a:pt x="562" y="303"/>
                </a:cubicBezTo>
                <a:moveTo>
                  <a:pt x="596" y="303"/>
                </a:moveTo>
                <a:cubicBezTo>
                  <a:pt x="590" y="303"/>
                  <a:pt x="581" y="307"/>
                  <a:pt x="577" y="313"/>
                </a:cubicBezTo>
                <a:cubicBezTo>
                  <a:pt x="573" y="318"/>
                  <a:pt x="575" y="323"/>
                  <a:pt x="581" y="323"/>
                </a:cubicBezTo>
                <a:cubicBezTo>
                  <a:pt x="588" y="323"/>
                  <a:pt x="596" y="318"/>
                  <a:pt x="600" y="313"/>
                </a:cubicBezTo>
                <a:cubicBezTo>
                  <a:pt x="604" y="307"/>
                  <a:pt x="602" y="303"/>
                  <a:pt x="596" y="303"/>
                </a:cubicBezTo>
                <a:cubicBezTo>
                  <a:pt x="596" y="303"/>
                  <a:pt x="596" y="303"/>
                  <a:pt x="596" y="303"/>
                </a:cubicBezTo>
                <a:moveTo>
                  <a:pt x="629" y="302"/>
                </a:moveTo>
                <a:cubicBezTo>
                  <a:pt x="622" y="302"/>
                  <a:pt x="614" y="307"/>
                  <a:pt x="610" y="312"/>
                </a:cubicBezTo>
                <a:cubicBezTo>
                  <a:pt x="606" y="318"/>
                  <a:pt x="608" y="323"/>
                  <a:pt x="614" y="323"/>
                </a:cubicBezTo>
                <a:cubicBezTo>
                  <a:pt x="621" y="322"/>
                  <a:pt x="629" y="318"/>
                  <a:pt x="633" y="312"/>
                </a:cubicBezTo>
                <a:cubicBezTo>
                  <a:pt x="637" y="307"/>
                  <a:pt x="635" y="302"/>
                  <a:pt x="629" y="302"/>
                </a:cubicBezTo>
                <a:cubicBezTo>
                  <a:pt x="629" y="302"/>
                  <a:pt x="629" y="302"/>
                  <a:pt x="629" y="302"/>
                </a:cubicBezTo>
                <a:moveTo>
                  <a:pt x="662" y="302"/>
                </a:moveTo>
                <a:cubicBezTo>
                  <a:pt x="655" y="302"/>
                  <a:pt x="647" y="307"/>
                  <a:pt x="643" y="312"/>
                </a:cubicBezTo>
                <a:cubicBezTo>
                  <a:pt x="639" y="318"/>
                  <a:pt x="641" y="322"/>
                  <a:pt x="648" y="322"/>
                </a:cubicBezTo>
                <a:cubicBezTo>
                  <a:pt x="654" y="322"/>
                  <a:pt x="663" y="318"/>
                  <a:pt x="666" y="312"/>
                </a:cubicBezTo>
                <a:cubicBezTo>
                  <a:pt x="670" y="306"/>
                  <a:pt x="668" y="302"/>
                  <a:pt x="662" y="302"/>
                </a:cubicBezTo>
                <a:cubicBezTo>
                  <a:pt x="662" y="302"/>
                  <a:pt x="662" y="302"/>
                  <a:pt x="662" y="302"/>
                </a:cubicBezTo>
                <a:moveTo>
                  <a:pt x="695" y="302"/>
                </a:moveTo>
                <a:cubicBezTo>
                  <a:pt x="689" y="302"/>
                  <a:pt x="681" y="306"/>
                  <a:pt x="677" y="312"/>
                </a:cubicBezTo>
                <a:cubicBezTo>
                  <a:pt x="673" y="318"/>
                  <a:pt x="675" y="322"/>
                  <a:pt x="681" y="322"/>
                </a:cubicBezTo>
                <a:cubicBezTo>
                  <a:pt x="688" y="322"/>
                  <a:pt x="696" y="317"/>
                  <a:pt x="700" y="312"/>
                </a:cubicBezTo>
                <a:cubicBezTo>
                  <a:pt x="704" y="306"/>
                  <a:pt x="702" y="302"/>
                  <a:pt x="695" y="302"/>
                </a:cubicBezTo>
                <a:cubicBezTo>
                  <a:pt x="695" y="302"/>
                  <a:pt x="695" y="302"/>
                  <a:pt x="695" y="302"/>
                </a:cubicBezTo>
                <a:moveTo>
                  <a:pt x="728" y="301"/>
                </a:moveTo>
                <a:cubicBezTo>
                  <a:pt x="722" y="302"/>
                  <a:pt x="713" y="306"/>
                  <a:pt x="710" y="312"/>
                </a:cubicBezTo>
                <a:cubicBezTo>
                  <a:pt x="706" y="317"/>
                  <a:pt x="708" y="322"/>
                  <a:pt x="715" y="322"/>
                </a:cubicBezTo>
                <a:cubicBezTo>
                  <a:pt x="721" y="322"/>
                  <a:pt x="729" y="317"/>
                  <a:pt x="733" y="311"/>
                </a:cubicBezTo>
                <a:cubicBezTo>
                  <a:pt x="737" y="306"/>
                  <a:pt x="734" y="301"/>
                  <a:pt x="728" y="301"/>
                </a:cubicBezTo>
                <a:cubicBezTo>
                  <a:pt x="728" y="301"/>
                  <a:pt x="728" y="301"/>
                  <a:pt x="728" y="301"/>
                </a:cubicBezTo>
                <a:moveTo>
                  <a:pt x="761" y="301"/>
                </a:moveTo>
                <a:cubicBezTo>
                  <a:pt x="755" y="301"/>
                  <a:pt x="747" y="306"/>
                  <a:pt x="743" y="311"/>
                </a:cubicBezTo>
                <a:cubicBezTo>
                  <a:pt x="739" y="317"/>
                  <a:pt x="741" y="322"/>
                  <a:pt x="748" y="321"/>
                </a:cubicBezTo>
                <a:cubicBezTo>
                  <a:pt x="754" y="321"/>
                  <a:pt x="762" y="317"/>
                  <a:pt x="766" y="311"/>
                </a:cubicBezTo>
                <a:cubicBezTo>
                  <a:pt x="770" y="306"/>
                  <a:pt x="767" y="301"/>
                  <a:pt x="761" y="301"/>
                </a:cubicBezTo>
                <a:cubicBezTo>
                  <a:pt x="761" y="301"/>
                  <a:pt x="761" y="301"/>
                  <a:pt x="761" y="301"/>
                </a:cubicBezTo>
                <a:moveTo>
                  <a:pt x="794" y="301"/>
                </a:moveTo>
                <a:cubicBezTo>
                  <a:pt x="787" y="301"/>
                  <a:pt x="779" y="306"/>
                  <a:pt x="776" y="311"/>
                </a:cubicBezTo>
                <a:cubicBezTo>
                  <a:pt x="772" y="317"/>
                  <a:pt x="774" y="321"/>
                  <a:pt x="781" y="321"/>
                </a:cubicBezTo>
                <a:cubicBezTo>
                  <a:pt x="787" y="321"/>
                  <a:pt x="795" y="317"/>
                  <a:pt x="799" y="311"/>
                </a:cubicBezTo>
                <a:cubicBezTo>
                  <a:pt x="803" y="305"/>
                  <a:pt x="800" y="301"/>
                  <a:pt x="794" y="301"/>
                </a:cubicBezTo>
                <a:cubicBezTo>
                  <a:pt x="794" y="301"/>
                  <a:pt x="794" y="301"/>
                  <a:pt x="794" y="301"/>
                </a:cubicBezTo>
                <a:moveTo>
                  <a:pt x="827" y="301"/>
                </a:moveTo>
                <a:cubicBezTo>
                  <a:pt x="821" y="301"/>
                  <a:pt x="813" y="305"/>
                  <a:pt x="809" y="311"/>
                </a:cubicBezTo>
                <a:cubicBezTo>
                  <a:pt x="805" y="316"/>
                  <a:pt x="808" y="321"/>
                  <a:pt x="814" y="321"/>
                </a:cubicBezTo>
                <a:cubicBezTo>
                  <a:pt x="821" y="321"/>
                  <a:pt x="829" y="316"/>
                  <a:pt x="832" y="311"/>
                </a:cubicBezTo>
                <a:cubicBezTo>
                  <a:pt x="836" y="305"/>
                  <a:pt x="833" y="301"/>
                  <a:pt x="827" y="301"/>
                </a:cubicBezTo>
                <a:cubicBezTo>
                  <a:pt x="827" y="301"/>
                  <a:pt x="827" y="301"/>
                  <a:pt x="827" y="301"/>
                </a:cubicBezTo>
                <a:moveTo>
                  <a:pt x="860" y="300"/>
                </a:moveTo>
                <a:cubicBezTo>
                  <a:pt x="854" y="300"/>
                  <a:pt x="846" y="305"/>
                  <a:pt x="842" y="311"/>
                </a:cubicBezTo>
                <a:cubicBezTo>
                  <a:pt x="839" y="316"/>
                  <a:pt x="841" y="321"/>
                  <a:pt x="848" y="321"/>
                </a:cubicBezTo>
                <a:cubicBezTo>
                  <a:pt x="854" y="321"/>
                  <a:pt x="862" y="316"/>
                  <a:pt x="866" y="310"/>
                </a:cubicBezTo>
                <a:cubicBezTo>
                  <a:pt x="869" y="305"/>
                  <a:pt x="867" y="300"/>
                  <a:pt x="860" y="300"/>
                </a:cubicBezTo>
                <a:cubicBezTo>
                  <a:pt x="860" y="300"/>
                  <a:pt x="860" y="300"/>
                  <a:pt x="860" y="300"/>
                </a:cubicBezTo>
                <a:moveTo>
                  <a:pt x="893" y="300"/>
                </a:moveTo>
                <a:cubicBezTo>
                  <a:pt x="887" y="300"/>
                  <a:pt x="879" y="305"/>
                  <a:pt x="875" y="310"/>
                </a:cubicBezTo>
                <a:cubicBezTo>
                  <a:pt x="872" y="316"/>
                  <a:pt x="874" y="320"/>
                  <a:pt x="881" y="320"/>
                </a:cubicBezTo>
                <a:cubicBezTo>
                  <a:pt x="887" y="320"/>
                  <a:pt x="895" y="316"/>
                  <a:pt x="899" y="310"/>
                </a:cubicBezTo>
                <a:cubicBezTo>
                  <a:pt x="902" y="305"/>
                  <a:pt x="900" y="300"/>
                  <a:pt x="893" y="300"/>
                </a:cubicBezTo>
                <a:cubicBezTo>
                  <a:pt x="893" y="300"/>
                  <a:pt x="893" y="300"/>
                  <a:pt x="893" y="300"/>
                </a:cubicBezTo>
                <a:moveTo>
                  <a:pt x="924" y="300"/>
                </a:moveTo>
                <a:cubicBezTo>
                  <a:pt x="918" y="300"/>
                  <a:pt x="910" y="304"/>
                  <a:pt x="907" y="310"/>
                </a:cubicBezTo>
                <a:cubicBezTo>
                  <a:pt x="903" y="316"/>
                  <a:pt x="906" y="320"/>
                  <a:pt x="912" y="320"/>
                </a:cubicBezTo>
                <a:cubicBezTo>
                  <a:pt x="919" y="320"/>
                  <a:pt x="927" y="316"/>
                  <a:pt x="930" y="310"/>
                </a:cubicBezTo>
                <a:cubicBezTo>
                  <a:pt x="933" y="304"/>
                  <a:pt x="931" y="300"/>
                  <a:pt x="925" y="300"/>
                </a:cubicBezTo>
                <a:cubicBezTo>
                  <a:pt x="924" y="300"/>
                  <a:pt x="924" y="300"/>
                  <a:pt x="924" y="300"/>
                </a:cubicBezTo>
                <a:moveTo>
                  <a:pt x="1156" y="298"/>
                </a:moveTo>
                <a:cubicBezTo>
                  <a:pt x="1149" y="298"/>
                  <a:pt x="1142" y="303"/>
                  <a:pt x="1139" y="308"/>
                </a:cubicBezTo>
                <a:cubicBezTo>
                  <a:pt x="1136" y="314"/>
                  <a:pt x="1139" y="318"/>
                  <a:pt x="1145" y="318"/>
                </a:cubicBezTo>
                <a:cubicBezTo>
                  <a:pt x="1152" y="318"/>
                  <a:pt x="1159" y="314"/>
                  <a:pt x="1162" y="308"/>
                </a:cubicBezTo>
                <a:cubicBezTo>
                  <a:pt x="1165" y="302"/>
                  <a:pt x="1162" y="298"/>
                  <a:pt x="1156" y="298"/>
                </a:cubicBezTo>
                <a:cubicBezTo>
                  <a:pt x="1156" y="298"/>
                  <a:pt x="1156" y="298"/>
                  <a:pt x="1156" y="298"/>
                </a:cubicBezTo>
                <a:moveTo>
                  <a:pt x="1188" y="297"/>
                </a:moveTo>
                <a:cubicBezTo>
                  <a:pt x="1182" y="297"/>
                  <a:pt x="1174" y="302"/>
                  <a:pt x="1172" y="307"/>
                </a:cubicBezTo>
                <a:cubicBezTo>
                  <a:pt x="1169" y="313"/>
                  <a:pt x="1172" y="317"/>
                  <a:pt x="1178" y="317"/>
                </a:cubicBezTo>
                <a:cubicBezTo>
                  <a:pt x="1185" y="317"/>
                  <a:pt x="1192" y="313"/>
                  <a:pt x="1195" y="307"/>
                </a:cubicBezTo>
                <a:cubicBezTo>
                  <a:pt x="1198" y="302"/>
                  <a:pt x="1195" y="297"/>
                  <a:pt x="1188" y="297"/>
                </a:cubicBezTo>
                <a:cubicBezTo>
                  <a:pt x="1188" y="297"/>
                  <a:pt x="1188" y="297"/>
                  <a:pt x="1188" y="297"/>
                </a:cubicBezTo>
                <a:moveTo>
                  <a:pt x="1222" y="297"/>
                </a:moveTo>
                <a:cubicBezTo>
                  <a:pt x="1215" y="297"/>
                  <a:pt x="1208" y="301"/>
                  <a:pt x="1205" y="307"/>
                </a:cubicBezTo>
                <a:cubicBezTo>
                  <a:pt x="1202" y="313"/>
                  <a:pt x="1205" y="317"/>
                  <a:pt x="1212" y="317"/>
                </a:cubicBezTo>
                <a:cubicBezTo>
                  <a:pt x="1218" y="317"/>
                  <a:pt x="1226" y="312"/>
                  <a:pt x="1228" y="307"/>
                </a:cubicBezTo>
                <a:cubicBezTo>
                  <a:pt x="1231" y="301"/>
                  <a:pt x="1228" y="297"/>
                  <a:pt x="1222" y="297"/>
                </a:cubicBezTo>
                <a:cubicBezTo>
                  <a:pt x="1222" y="297"/>
                  <a:pt x="1222" y="297"/>
                  <a:pt x="1222" y="297"/>
                </a:cubicBezTo>
                <a:moveTo>
                  <a:pt x="1254" y="297"/>
                </a:moveTo>
                <a:cubicBezTo>
                  <a:pt x="1248" y="297"/>
                  <a:pt x="1241" y="301"/>
                  <a:pt x="1238" y="307"/>
                </a:cubicBezTo>
                <a:cubicBezTo>
                  <a:pt x="1235" y="312"/>
                  <a:pt x="1238" y="317"/>
                  <a:pt x="1245" y="317"/>
                </a:cubicBezTo>
                <a:cubicBezTo>
                  <a:pt x="1251" y="317"/>
                  <a:pt x="1259" y="312"/>
                  <a:pt x="1261" y="307"/>
                </a:cubicBezTo>
                <a:cubicBezTo>
                  <a:pt x="1264" y="301"/>
                  <a:pt x="1261" y="297"/>
                  <a:pt x="1254" y="297"/>
                </a:cubicBezTo>
                <a:cubicBezTo>
                  <a:pt x="1254" y="297"/>
                  <a:pt x="1254" y="297"/>
                  <a:pt x="1254" y="297"/>
                </a:cubicBezTo>
                <a:moveTo>
                  <a:pt x="1288" y="296"/>
                </a:moveTo>
                <a:cubicBezTo>
                  <a:pt x="1282" y="296"/>
                  <a:pt x="1275" y="301"/>
                  <a:pt x="1272" y="306"/>
                </a:cubicBezTo>
                <a:cubicBezTo>
                  <a:pt x="1269" y="312"/>
                  <a:pt x="1272" y="317"/>
                  <a:pt x="1279" y="317"/>
                </a:cubicBezTo>
                <a:cubicBezTo>
                  <a:pt x="1285" y="317"/>
                  <a:pt x="1293" y="312"/>
                  <a:pt x="1295" y="306"/>
                </a:cubicBezTo>
                <a:cubicBezTo>
                  <a:pt x="1298" y="301"/>
                  <a:pt x="1295" y="296"/>
                  <a:pt x="1288" y="296"/>
                </a:cubicBezTo>
                <a:cubicBezTo>
                  <a:pt x="1288" y="296"/>
                  <a:pt x="1288" y="296"/>
                  <a:pt x="1288" y="296"/>
                </a:cubicBezTo>
                <a:moveTo>
                  <a:pt x="2243" y="290"/>
                </a:moveTo>
                <a:cubicBezTo>
                  <a:pt x="2237" y="290"/>
                  <a:pt x="2231" y="294"/>
                  <a:pt x="2231" y="300"/>
                </a:cubicBezTo>
                <a:cubicBezTo>
                  <a:pt x="2230" y="306"/>
                  <a:pt x="2235" y="310"/>
                  <a:pt x="2241" y="310"/>
                </a:cubicBezTo>
                <a:cubicBezTo>
                  <a:pt x="2248" y="310"/>
                  <a:pt x="2253" y="305"/>
                  <a:pt x="2254" y="300"/>
                </a:cubicBezTo>
                <a:cubicBezTo>
                  <a:pt x="2254" y="294"/>
                  <a:pt x="2250" y="290"/>
                  <a:pt x="2243" y="290"/>
                </a:cubicBezTo>
                <a:cubicBezTo>
                  <a:pt x="2243" y="290"/>
                  <a:pt x="2243" y="290"/>
                  <a:pt x="2243" y="290"/>
                </a:cubicBezTo>
                <a:moveTo>
                  <a:pt x="2276" y="289"/>
                </a:moveTo>
                <a:cubicBezTo>
                  <a:pt x="2270" y="289"/>
                  <a:pt x="2264" y="294"/>
                  <a:pt x="2263" y="300"/>
                </a:cubicBezTo>
                <a:cubicBezTo>
                  <a:pt x="2263" y="305"/>
                  <a:pt x="2268" y="310"/>
                  <a:pt x="2274" y="310"/>
                </a:cubicBezTo>
                <a:cubicBezTo>
                  <a:pt x="2281" y="310"/>
                  <a:pt x="2286" y="305"/>
                  <a:pt x="2287" y="300"/>
                </a:cubicBezTo>
                <a:cubicBezTo>
                  <a:pt x="2287" y="294"/>
                  <a:pt x="2282" y="289"/>
                  <a:pt x="2276" y="289"/>
                </a:cubicBezTo>
                <a:cubicBezTo>
                  <a:pt x="2276" y="289"/>
                  <a:pt x="2276" y="289"/>
                  <a:pt x="2276" y="289"/>
                </a:cubicBezTo>
                <a:moveTo>
                  <a:pt x="2407" y="288"/>
                </a:moveTo>
                <a:cubicBezTo>
                  <a:pt x="2401" y="288"/>
                  <a:pt x="2395" y="293"/>
                  <a:pt x="2395" y="299"/>
                </a:cubicBezTo>
                <a:cubicBezTo>
                  <a:pt x="2395" y="304"/>
                  <a:pt x="2400" y="309"/>
                  <a:pt x="2406" y="309"/>
                </a:cubicBezTo>
                <a:cubicBezTo>
                  <a:pt x="2413" y="309"/>
                  <a:pt x="2418" y="304"/>
                  <a:pt x="2418" y="299"/>
                </a:cubicBezTo>
                <a:cubicBezTo>
                  <a:pt x="2419" y="293"/>
                  <a:pt x="2414" y="288"/>
                  <a:pt x="2407" y="288"/>
                </a:cubicBezTo>
                <a:cubicBezTo>
                  <a:pt x="2407" y="288"/>
                  <a:pt x="2407" y="288"/>
                  <a:pt x="2407" y="288"/>
                </a:cubicBezTo>
                <a:moveTo>
                  <a:pt x="2572" y="288"/>
                </a:moveTo>
                <a:cubicBezTo>
                  <a:pt x="2566" y="288"/>
                  <a:pt x="2561" y="293"/>
                  <a:pt x="2561" y="299"/>
                </a:cubicBezTo>
                <a:cubicBezTo>
                  <a:pt x="2561" y="304"/>
                  <a:pt x="2567" y="309"/>
                  <a:pt x="2573" y="309"/>
                </a:cubicBezTo>
                <a:cubicBezTo>
                  <a:pt x="2579" y="309"/>
                  <a:pt x="2584" y="304"/>
                  <a:pt x="2584" y="299"/>
                </a:cubicBezTo>
                <a:cubicBezTo>
                  <a:pt x="2584" y="293"/>
                  <a:pt x="2579" y="288"/>
                  <a:pt x="2573" y="288"/>
                </a:cubicBezTo>
                <a:cubicBezTo>
                  <a:pt x="2572" y="288"/>
                  <a:pt x="2572" y="288"/>
                  <a:pt x="2572" y="288"/>
                </a:cubicBezTo>
                <a:moveTo>
                  <a:pt x="2440" y="288"/>
                </a:moveTo>
                <a:cubicBezTo>
                  <a:pt x="2433" y="288"/>
                  <a:pt x="2428" y="293"/>
                  <a:pt x="2428" y="298"/>
                </a:cubicBezTo>
                <a:cubicBezTo>
                  <a:pt x="2428" y="304"/>
                  <a:pt x="2433" y="309"/>
                  <a:pt x="2439" y="309"/>
                </a:cubicBezTo>
                <a:cubicBezTo>
                  <a:pt x="2446" y="308"/>
                  <a:pt x="2451" y="304"/>
                  <a:pt x="2451" y="298"/>
                </a:cubicBezTo>
                <a:cubicBezTo>
                  <a:pt x="2451" y="293"/>
                  <a:pt x="2446" y="288"/>
                  <a:pt x="2440" y="288"/>
                </a:cubicBezTo>
                <a:cubicBezTo>
                  <a:pt x="2440" y="288"/>
                  <a:pt x="2440" y="288"/>
                  <a:pt x="2440" y="288"/>
                </a:cubicBezTo>
                <a:moveTo>
                  <a:pt x="2605" y="288"/>
                </a:moveTo>
                <a:cubicBezTo>
                  <a:pt x="2599" y="288"/>
                  <a:pt x="2594" y="293"/>
                  <a:pt x="2594" y="298"/>
                </a:cubicBezTo>
                <a:cubicBezTo>
                  <a:pt x="2594" y="304"/>
                  <a:pt x="2600" y="309"/>
                  <a:pt x="2606" y="309"/>
                </a:cubicBezTo>
                <a:cubicBezTo>
                  <a:pt x="2612" y="309"/>
                  <a:pt x="2617" y="304"/>
                  <a:pt x="2617" y="298"/>
                </a:cubicBezTo>
                <a:cubicBezTo>
                  <a:pt x="2617" y="293"/>
                  <a:pt x="2612" y="288"/>
                  <a:pt x="2605" y="288"/>
                </a:cubicBezTo>
                <a:cubicBezTo>
                  <a:pt x="2605" y="288"/>
                  <a:pt x="2605" y="288"/>
                  <a:pt x="2605" y="288"/>
                </a:cubicBezTo>
                <a:moveTo>
                  <a:pt x="2473" y="288"/>
                </a:moveTo>
                <a:cubicBezTo>
                  <a:pt x="2466" y="288"/>
                  <a:pt x="2461" y="293"/>
                  <a:pt x="2461" y="298"/>
                </a:cubicBezTo>
                <a:cubicBezTo>
                  <a:pt x="2461" y="304"/>
                  <a:pt x="2466" y="308"/>
                  <a:pt x="2472" y="308"/>
                </a:cubicBezTo>
                <a:cubicBezTo>
                  <a:pt x="2479" y="308"/>
                  <a:pt x="2484" y="304"/>
                  <a:pt x="2484" y="298"/>
                </a:cubicBezTo>
                <a:cubicBezTo>
                  <a:pt x="2484" y="292"/>
                  <a:pt x="2479" y="288"/>
                  <a:pt x="2473" y="288"/>
                </a:cubicBezTo>
                <a:cubicBezTo>
                  <a:pt x="2473" y="288"/>
                  <a:pt x="2473" y="288"/>
                  <a:pt x="2473" y="288"/>
                </a:cubicBezTo>
                <a:moveTo>
                  <a:pt x="2638" y="288"/>
                </a:moveTo>
                <a:cubicBezTo>
                  <a:pt x="2631" y="288"/>
                  <a:pt x="2627" y="293"/>
                  <a:pt x="2627" y="298"/>
                </a:cubicBezTo>
                <a:cubicBezTo>
                  <a:pt x="2627" y="304"/>
                  <a:pt x="2632" y="308"/>
                  <a:pt x="2639" y="308"/>
                </a:cubicBezTo>
                <a:cubicBezTo>
                  <a:pt x="2645" y="308"/>
                  <a:pt x="2650" y="304"/>
                  <a:pt x="2650" y="298"/>
                </a:cubicBezTo>
                <a:cubicBezTo>
                  <a:pt x="2650" y="292"/>
                  <a:pt x="2644" y="288"/>
                  <a:pt x="2638" y="288"/>
                </a:cubicBezTo>
                <a:cubicBezTo>
                  <a:pt x="2638" y="288"/>
                  <a:pt x="2638" y="288"/>
                  <a:pt x="2638" y="288"/>
                </a:cubicBezTo>
                <a:moveTo>
                  <a:pt x="2505" y="288"/>
                </a:moveTo>
                <a:cubicBezTo>
                  <a:pt x="2499" y="288"/>
                  <a:pt x="2494" y="292"/>
                  <a:pt x="2494" y="298"/>
                </a:cubicBezTo>
                <a:cubicBezTo>
                  <a:pt x="2494" y="304"/>
                  <a:pt x="2499" y="308"/>
                  <a:pt x="2505" y="308"/>
                </a:cubicBezTo>
                <a:cubicBezTo>
                  <a:pt x="2512" y="308"/>
                  <a:pt x="2517" y="303"/>
                  <a:pt x="2517" y="298"/>
                </a:cubicBezTo>
                <a:cubicBezTo>
                  <a:pt x="2517" y="292"/>
                  <a:pt x="2512" y="288"/>
                  <a:pt x="2505" y="288"/>
                </a:cubicBezTo>
                <a:cubicBezTo>
                  <a:pt x="2505" y="288"/>
                  <a:pt x="2505" y="288"/>
                  <a:pt x="2505" y="288"/>
                </a:cubicBezTo>
                <a:moveTo>
                  <a:pt x="2670" y="288"/>
                </a:moveTo>
                <a:cubicBezTo>
                  <a:pt x="2664" y="288"/>
                  <a:pt x="2659" y="292"/>
                  <a:pt x="2659" y="298"/>
                </a:cubicBezTo>
                <a:cubicBezTo>
                  <a:pt x="2660" y="304"/>
                  <a:pt x="2665" y="308"/>
                  <a:pt x="2672" y="308"/>
                </a:cubicBezTo>
                <a:cubicBezTo>
                  <a:pt x="2678" y="308"/>
                  <a:pt x="2683" y="303"/>
                  <a:pt x="2682" y="298"/>
                </a:cubicBezTo>
                <a:cubicBezTo>
                  <a:pt x="2682" y="292"/>
                  <a:pt x="2677" y="288"/>
                  <a:pt x="2670" y="288"/>
                </a:cubicBezTo>
                <a:cubicBezTo>
                  <a:pt x="2670" y="288"/>
                  <a:pt x="2670" y="288"/>
                  <a:pt x="2670" y="288"/>
                </a:cubicBezTo>
                <a:moveTo>
                  <a:pt x="2538" y="287"/>
                </a:moveTo>
                <a:cubicBezTo>
                  <a:pt x="2532" y="287"/>
                  <a:pt x="2527" y="292"/>
                  <a:pt x="2527" y="298"/>
                </a:cubicBezTo>
                <a:cubicBezTo>
                  <a:pt x="2527" y="303"/>
                  <a:pt x="2532" y="308"/>
                  <a:pt x="2539" y="308"/>
                </a:cubicBezTo>
                <a:cubicBezTo>
                  <a:pt x="2545" y="308"/>
                  <a:pt x="2550" y="303"/>
                  <a:pt x="2550" y="297"/>
                </a:cubicBezTo>
                <a:cubicBezTo>
                  <a:pt x="2550" y="292"/>
                  <a:pt x="2545" y="287"/>
                  <a:pt x="2538" y="287"/>
                </a:cubicBezTo>
                <a:cubicBezTo>
                  <a:pt x="2538" y="287"/>
                  <a:pt x="2538" y="287"/>
                  <a:pt x="2538" y="287"/>
                </a:cubicBezTo>
                <a:moveTo>
                  <a:pt x="2703" y="287"/>
                </a:moveTo>
                <a:cubicBezTo>
                  <a:pt x="2697" y="287"/>
                  <a:pt x="2692" y="292"/>
                  <a:pt x="2692" y="298"/>
                </a:cubicBezTo>
                <a:cubicBezTo>
                  <a:pt x="2692" y="303"/>
                  <a:pt x="2698" y="308"/>
                  <a:pt x="2704" y="308"/>
                </a:cubicBezTo>
                <a:cubicBezTo>
                  <a:pt x="2711" y="308"/>
                  <a:pt x="2716" y="303"/>
                  <a:pt x="2715" y="297"/>
                </a:cubicBezTo>
                <a:cubicBezTo>
                  <a:pt x="2715" y="292"/>
                  <a:pt x="2709" y="287"/>
                  <a:pt x="2703" y="287"/>
                </a:cubicBezTo>
                <a:cubicBezTo>
                  <a:pt x="2703" y="287"/>
                  <a:pt x="2703" y="287"/>
                  <a:pt x="2703" y="287"/>
                </a:cubicBezTo>
                <a:moveTo>
                  <a:pt x="2736" y="287"/>
                </a:moveTo>
                <a:cubicBezTo>
                  <a:pt x="2729" y="287"/>
                  <a:pt x="2725" y="292"/>
                  <a:pt x="2725" y="297"/>
                </a:cubicBezTo>
                <a:cubicBezTo>
                  <a:pt x="2726" y="303"/>
                  <a:pt x="2731" y="308"/>
                  <a:pt x="2738" y="308"/>
                </a:cubicBezTo>
                <a:cubicBezTo>
                  <a:pt x="2744" y="307"/>
                  <a:pt x="2749" y="303"/>
                  <a:pt x="2748" y="297"/>
                </a:cubicBezTo>
                <a:cubicBezTo>
                  <a:pt x="2748" y="292"/>
                  <a:pt x="2742" y="287"/>
                  <a:pt x="2736" y="287"/>
                </a:cubicBezTo>
                <a:cubicBezTo>
                  <a:pt x="2736" y="287"/>
                  <a:pt x="2736" y="287"/>
                  <a:pt x="2736" y="287"/>
                </a:cubicBezTo>
                <a:moveTo>
                  <a:pt x="2769" y="287"/>
                </a:moveTo>
                <a:cubicBezTo>
                  <a:pt x="2763" y="287"/>
                  <a:pt x="2758" y="291"/>
                  <a:pt x="2758" y="297"/>
                </a:cubicBezTo>
                <a:cubicBezTo>
                  <a:pt x="2759" y="303"/>
                  <a:pt x="2765" y="307"/>
                  <a:pt x="2771" y="307"/>
                </a:cubicBezTo>
                <a:cubicBezTo>
                  <a:pt x="2777" y="307"/>
                  <a:pt x="2782" y="303"/>
                  <a:pt x="2782" y="297"/>
                </a:cubicBezTo>
                <a:cubicBezTo>
                  <a:pt x="2781" y="291"/>
                  <a:pt x="2775" y="287"/>
                  <a:pt x="2769" y="287"/>
                </a:cubicBezTo>
                <a:cubicBezTo>
                  <a:pt x="2769" y="287"/>
                  <a:pt x="2769" y="287"/>
                  <a:pt x="2769" y="287"/>
                </a:cubicBezTo>
                <a:moveTo>
                  <a:pt x="2802" y="287"/>
                </a:moveTo>
                <a:cubicBezTo>
                  <a:pt x="2795" y="287"/>
                  <a:pt x="2791" y="291"/>
                  <a:pt x="2791" y="297"/>
                </a:cubicBezTo>
                <a:cubicBezTo>
                  <a:pt x="2792" y="302"/>
                  <a:pt x="2798" y="307"/>
                  <a:pt x="2804" y="307"/>
                </a:cubicBezTo>
                <a:cubicBezTo>
                  <a:pt x="2810" y="307"/>
                  <a:pt x="2815" y="302"/>
                  <a:pt x="2814" y="297"/>
                </a:cubicBezTo>
                <a:cubicBezTo>
                  <a:pt x="2814" y="291"/>
                  <a:pt x="2808" y="287"/>
                  <a:pt x="2802" y="287"/>
                </a:cubicBezTo>
                <a:cubicBezTo>
                  <a:pt x="2802" y="287"/>
                  <a:pt x="2802" y="287"/>
                  <a:pt x="2802" y="287"/>
                </a:cubicBezTo>
                <a:moveTo>
                  <a:pt x="2835" y="286"/>
                </a:moveTo>
                <a:cubicBezTo>
                  <a:pt x="2828" y="286"/>
                  <a:pt x="2824" y="291"/>
                  <a:pt x="2824" y="297"/>
                </a:cubicBezTo>
                <a:cubicBezTo>
                  <a:pt x="2825" y="302"/>
                  <a:pt x="2831" y="307"/>
                  <a:pt x="2837" y="307"/>
                </a:cubicBezTo>
                <a:cubicBezTo>
                  <a:pt x="2843" y="307"/>
                  <a:pt x="2848" y="302"/>
                  <a:pt x="2847" y="296"/>
                </a:cubicBezTo>
                <a:cubicBezTo>
                  <a:pt x="2847" y="291"/>
                  <a:pt x="2841" y="286"/>
                  <a:pt x="2835" y="286"/>
                </a:cubicBezTo>
                <a:cubicBezTo>
                  <a:pt x="2835" y="286"/>
                  <a:pt x="2835" y="286"/>
                  <a:pt x="2835" y="286"/>
                </a:cubicBezTo>
                <a:moveTo>
                  <a:pt x="2867" y="286"/>
                </a:moveTo>
                <a:cubicBezTo>
                  <a:pt x="2861" y="286"/>
                  <a:pt x="2856" y="291"/>
                  <a:pt x="2857" y="296"/>
                </a:cubicBezTo>
                <a:cubicBezTo>
                  <a:pt x="2858" y="302"/>
                  <a:pt x="2864" y="307"/>
                  <a:pt x="2870" y="306"/>
                </a:cubicBezTo>
                <a:cubicBezTo>
                  <a:pt x="2876" y="306"/>
                  <a:pt x="2881" y="302"/>
                  <a:pt x="2880" y="296"/>
                </a:cubicBezTo>
                <a:cubicBezTo>
                  <a:pt x="2879" y="290"/>
                  <a:pt x="2874" y="286"/>
                  <a:pt x="2867" y="286"/>
                </a:cubicBezTo>
                <a:cubicBezTo>
                  <a:pt x="2867" y="286"/>
                  <a:pt x="2867" y="286"/>
                  <a:pt x="2867" y="286"/>
                </a:cubicBezTo>
                <a:moveTo>
                  <a:pt x="2900" y="286"/>
                </a:moveTo>
                <a:cubicBezTo>
                  <a:pt x="2894" y="286"/>
                  <a:pt x="2889" y="290"/>
                  <a:pt x="2890" y="296"/>
                </a:cubicBezTo>
                <a:cubicBezTo>
                  <a:pt x="2891" y="302"/>
                  <a:pt x="2897" y="306"/>
                  <a:pt x="2903" y="306"/>
                </a:cubicBezTo>
                <a:cubicBezTo>
                  <a:pt x="2910" y="306"/>
                  <a:pt x="2914" y="302"/>
                  <a:pt x="2913" y="296"/>
                </a:cubicBezTo>
                <a:cubicBezTo>
                  <a:pt x="2912" y="290"/>
                  <a:pt x="2906" y="286"/>
                  <a:pt x="2900" y="286"/>
                </a:cubicBezTo>
                <a:cubicBezTo>
                  <a:pt x="2900" y="286"/>
                  <a:pt x="2900" y="286"/>
                  <a:pt x="2900" y="286"/>
                </a:cubicBezTo>
                <a:moveTo>
                  <a:pt x="2932" y="284"/>
                </a:moveTo>
                <a:cubicBezTo>
                  <a:pt x="2926" y="284"/>
                  <a:pt x="2922" y="288"/>
                  <a:pt x="2922" y="294"/>
                </a:cubicBezTo>
                <a:cubicBezTo>
                  <a:pt x="2923" y="300"/>
                  <a:pt x="2929" y="304"/>
                  <a:pt x="2936" y="304"/>
                </a:cubicBezTo>
                <a:cubicBezTo>
                  <a:pt x="2942" y="304"/>
                  <a:pt x="2946" y="300"/>
                  <a:pt x="2946" y="294"/>
                </a:cubicBezTo>
                <a:cubicBezTo>
                  <a:pt x="2945" y="288"/>
                  <a:pt x="2939" y="284"/>
                  <a:pt x="2932" y="284"/>
                </a:cubicBezTo>
                <a:cubicBezTo>
                  <a:pt x="2932" y="284"/>
                  <a:pt x="2932" y="284"/>
                  <a:pt x="2932" y="284"/>
                </a:cubicBezTo>
                <a:moveTo>
                  <a:pt x="2963" y="284"/>
                </a:moveTo>
                <a:cubicBezTo>
                  <a:pt x="2957" y="284"/>
                  <a:pt x="2953" y="288"/>
                  <a:pt x="2954" y="294"/>
                </a:cubicBezTo>
                <a:cubicBezTo>
                  <a:pt x="2955" y="300"/>
                  <a:pt x="2961" y="304"/>
                  <a:pt x="2967" y="304"/>
                </a:cubicBezTo>
                <a:cubicBezTo>
                  <a:pt x="2973" y="304"/>
                  <a:pt x="2978" y="299"/>
                  <a:pt x="2977" y="294"/>
                </a:cubicBezTo>
                <a:cubicBezTo>
                  <a:pt x="2976" y="288"/>
                  <a:pt x="2970" y="284"/>
                  <a:pt x="2964" y="284"/>
                </a:cubicBezTo>
                <a:cubicBezTo>
                  <a:pt x="2964" y="284"/>
                  <a:pt x="2964" y="284"/>
                  <a:pt x="2963" y="284"/>
                </a:cubicBezTo>
                <a:moveTo>
                  <a:pt x="2996" y="283"/>
                </a:moveTo>
                <a:cubicBezTo>
                  <a:pt x="2990" y="283"/>
                  <a:pt x="2985" y="288"/>
                  <a:pt x="2986" y="294"/>
                </a:cubicBezTo>
                <a:cubicBezTo>
                  <a:pt x="2987" y="299"/>
                  <a:pt x="2993" y="304"/>
                  <a:pt x="3000" y="304"/>
                </a:cubicBezTo>
                <a:cubicBezTo>
                  <a:pt x="3006" y="304"/>
                  <a:pt x="3011" y="299"/>
                  <a:pt x="3010" y="293"/>
                </a:cubicBezTo>
                <a:cubicBezTo>
                  <a:pt x="3008" y="288"/>
                  <a:pt x="3003" y="283"/>
                  <a:pt x="2996" y="283"/>
                </a:cubicBezTo>
                <a:cubicBezTo>
                  <a:pt x="2996" y="283"/>
                  <a:pt x="2996" y="283"/>
                  <a:pt x="2996" y="283"/>
                </a:cubicBezTo>
                <a:moveTo>
                  <a:pt x="3029" y="283"/>
                </a:moveTo>
                <a:cubicBezTo>
                  <a:pt x="3023" y="283"/>
                  <a:pt x="3018" y="288"/>
                  <a:pt x="3019" y="293"/>
                </a:cubicBezTo>
                <a:cubicBezTo>
                  <a:pt x="3021" y="299"/>
                  <a:pt x="3027" y="304"/>
                  <a:pt x="3033" y="304"/>
                </a:cubicBezTo>
                <a:cubicBezTo>
                  <a:pt x="3039" y="303"/>
                  <a:pt x="3044" y="299"/>
                  <a:pt x="3043" y="293"/>
                </a:cubicBezTo>
                <a:cubicBezTo>
                  <a:pt x="3041" y="288"/>
                  <a:pt x="3035" y="283"/>
                  <a:pt x="3029" y="283"/>
                </a:cubicBezTo>
                <a:cubicBezTo>
                  <a:pt x="3029" y="283"/>
                  <a:pt x="3029" y="283"/>
                  <a:pt x="3029" y="283"/>
                </a:cubicBezTo>
                <a:moveTo>
                  <a:pt x="3063" y="283"/>
                </a:moveTo>
                <a:cubicBezTo>
                  <a:pt x="3056" y="283"/>
                  <a:pt x="3052" y="287"/>
                  <a:pt x="3053" y="293"/>
                </a:cubicBezTo>
                <a:cubicBezTo>
                  <a:pt x="3055" y="299"/>
                  <a:pt x="3061" y="303"/>
                  <a:pt x="3067" y="303"/>
                </a:cubicBezTo>
                <a:cubicBezTo>
                  <a:pt x="3074" y="303"/>
                  <a:pt x="3078" y="299"/>
                  <a:pt x="3076" y="293"/>
                </a:cubicBezTo>
                <a:cubicBezTo>
                  <a:pt x="3075" y="287"/>
                  <a:pt x="3069" y="283"/>
                  <a:pt x="3063" y="283"/>
                </a:cubicBezTo>
                <a:cubicBezTo>
                  <a:pt x="3063" y="283"/>
                  <a:pt x="3063" y="283"/>
                  <a:pt x="3063" y="283"/>
                </a:cubicBezTo>
                <a:moveTo>
                  <a:pt x="3095" y="282"/>
                </a:moveTo>
                <a:cubicBezTo>
                  <a:pt x="3089" y="283"/>
                  <a:pt x="3085" y="287"/>
                  <a:pt x="3086" y="293"/>
                </a:cubicBezTo>
                <a:cubicBezTo>
                  <a:pt x="3087" y="298"/>
                  <a:pt x="3094" y="303"/>
                  <a:pt x="3100" y="303"/>
                </a:cubicBezTo>
                <a:cubicBezTo>
                  <a:pt x="3106" y="303"/>
                  <a:pt x="3110" y="298"/>
                  <a:pt x="3109" y="293"/>
                </a:cubicBezTo>
                <a:cubicBezTo>
                  <a:pt x="3108" y="287"/>
                  <a:pt x="3102" y="282"/>
                  <a:pt x="3096" y="282"/>
                </a:cubicBezTo>
                <a:cubicBezTo>
                  <a:pt x="3095" y="282"/>
                  <a:pt x="3095" y="282"/>
                  <a:pt x="3095" y="282"/>
                </a:cubicBezTo>
                <a:moveTo>
                  <a:pt x="3128" y="282"/>
                </a:moveTo>
                <a:cubicBezTo>
                  <a:pt x="3122" y="282"/>
                  <a:pt x="3118" y="287"/>
                  <a:pt x="3119" y="293"/>
                </a:cubicBezTo>
                <a:cubicBezTo>
                  <a:pt x="3120" y="298"/>
                  <a:pt x="3127" y="303"/>
                  <a:pt x="3133" y="303"/>
                </a:cubicBezTo>
                <a:cubicBezTo>
                  <a:pt x="3139" y="303"/>
                  <a:pt x="3144" y="298"/>
                  <a:pt x="3142" y="292"/>
                </a:cubicBezTo>
                <a:cubicBezTo>
                  <a:pt x="3141" y="287"/>
                  <a:pt x="3135" y="282"/>
                  <a:pt x="3128" y="282"/>
                </a:cubicBezTo>
                <a:cubicBezTo>
                  <a:pt x="3128" y="282"/>
                  <a:pt x="3128" y="282"/>
                  <a:pt x="3128" y="282"/>
                </a:cubicBezTo>
                <a:moveTo>
                  <a:pt x="3161" y="282"/>
                </a:moveTo>
                <a:cubicBezTo>
                  <a:pt x="3155" y="282"/>
                  <a:pt x="3151" y="287"/>
                  <a:pt x="3152" y="292"/>
                </a:cubicBezTo>
                <a:cubicBezTo>
                  <a:pt x="3154" y="298"/>
                  <a:pt x="3160" y="303"/>
                  <a:pt x="3167" y="302"/>
                </a:cubicBezTo>
                <a:cubicBezTo>
                  <a:pt x="3173" y="302"/>
                  <a:pt x="3177" y="298"/>
                  <a:pt x="3176" y="292"/>
                </a:cubicBezTo>
                <a:cubicBezTo>
                  <a:pt x="3174" y="286"/>
                  <a:pt x="3168" y="282"/>
                  <a:pt x="3162" y="282"/>
                </a:cubicBezTo>
                <a:cubicBezTo>
                  <a:pt x="3162" y="282"/>
                  <a:pt x="3161" y="282"/>
                  <a:pt x="3161" y="282"/>
                </a:cubicBezTo>
                <a:moveTo>
                  <a:pt x="3194" y="282"/>
                </a:moveTo>
                <a:cubicBezTo>
                  <a:pt x="3188" y="282"/>
                  <a:pt x="3184" y="286"/>
                  <a:pt x="3185" y="292"/>
                </a:cubicBezTo>
                <a:cubicBezTo>
                  <a:pt x="3187" y="298"/>
                  <a:pt x="3193" y="302"/>
                  <a:pt x="3199" y="302"/>
                </a:cubicBezTo>
                <a:cubicBezTo>
                  <a:pt x="3206" y="302"/>
                  <a:pt x="3210" y="298"/>
                  <a:pt x="3208" y="292"/>
                </a:cubicBezTo>
                <a:cubicBezTo>
                  <a:pt x="3207" y="286"/>
                  <a:pt x="3200" y="282"/>
                  <a:pt x="3194" y="282"/>
                </a:cubicBezTo>
                <a:cubicBezTo>
                  <a:pt x="3194" y="282"/>
                  <a:pt x="3194" y="282"/>
                  <a:pt x="3194" y="282"/>
                </a:cubicBezTo>
                <a:moveTo>
                  <a:pt x="3227" y="281"/>
                </a:moveTo>
                <a:cubicBezTo>
                  <a:pt x="3220" y="281"/>
                  <a:pt x="3217" y="286"/>
                  <a:pt x="3218" y="292"/>
                </a:cubicBezTo>
                <a:cubicBezTo>
                  <a:pt x="3220" y="297"/>
                  <a:pt x="3226" y="302"/>
                  <a:pt x="3232" y="302"/>
                </a:cubicBezTo>
                <a:cubicBezTo>
                  <a:pt x="3239" y="302"/>
                  <a:pt x="3243" y="297"/>
                  <a:pt x="3241" y="292"/>
                </a:cubicBezTo>
                <a:cubicBezTo>
                  <a:pt x="3240" y="286"/>
                  <a:pt x="3233" y="281"/>
                  <a:pt x="3227" y="281"/>
                </a:cubicBezTo>
                <a:cubicBezTo>
                  <a:pt x="3227" y="281"/>
                  <a:pt x="3227" y="281"/>
                  <a:pt x="3227" y="281"/>
                </a:cubicBezTo>
                <a:moveTo>
                  <a:pt x="3259" y="281"/>
                </a:moveTo>
                <a:cubicBezTo>
                  <a:pt x="3253" y="281"/>
                  <a:pt x="3249" y="286"/>
                  <a:pt x="3251" y="292"/>
                </a:cubicBezTo>
                <a:cubicBezTo>
                  <a:pt x="3252" y="297"/>
                  <a:pt x="3259" y="302"/>
                  <a:pt x="3265" y="302"/>
                </a:cubicBezTo>
                <a:cubicBezTo>
                  <a:pt x="3272" y="302"/>
                  <a:pt x="3275" y="297"/>
                  <a:pt x="3274" y="291"/>
                </a:cubicBezTo>
                <a:cubicBezTo>
                  <a:pt x="3272" y="286"/>
                  <a:pt x="3266" y="281"/>
                  <a:pt x="3260" y="281"/>
                </a:cubicBezTo>
                <a:cubicBezTo>
                  <a:pt x="3259" y="281"/>
                  <a:pt x="3259" y="281"/>
                  <a:pt x="3259" y="281"/>
                </a:cubicBezTo>
                <a:moveTo>
                  <a:pt x="3292" y="281"/>
                </a:moveTo>
                <a:cubicBezTo>
                  <a:pt x="3286" y="281"/>
                  <a:pt x="3282" y="286"/>
                  <a:pt x="3284" y="291"/>
                </a:cubicBezTo>
                <a:cubicBezTo>
                  <a:pt x="3285" y="297"/>
                  <a:pt x="3292" y="301"/>
                  <a:pt x="3298" y="301"/>
                </a:cubicBezTo>
                <a:cubicBezTo>
                  <a:pt x="3304" y="301"/>
                  <a:pt x="3308" y="297"/>
                  <a:pt x="3307" y="291"/>
                </a:cubicBezTo>
                <a:cubicBezTo>
                  <a:pt x="3305" y="285"/>
                  <a:pt x="3298" y="281"/>
                  <a:pt x="3292" y="281"/>
                </a:cubicBezTo>
                <a:cubicBezTo>
                  <a:pt x="3292" y="281"/>
                  <a:pt x="3292" y="281"/>
                  <a:pt x="3292" y="281"/>
                </a:cubicBezTo>
                <a:moveTo>
                  <a:pt x="3325" y="281"/>
                </a:moveTo>
                <a:cubicBezTo>
                  <a:pt x="3318" y="281"/>
                  <a:pt x="3315" y="285"/>
                  <a:pt x="3316" y="291"/>
                </a:cubicBezTo>
                <a:cubicBezTo>
                  <a:pt x="3318" y="297"/>
                  <a:pt x="3325" y="301"/>
                  <a:pt x="3331" y="301"/>
                </a:cubicBezTo>
                <a:cubicBezTo>
                  <a:pt x="3337" y="301"/>
                  <a:pt x="3341" y="296"/>
                  <a:pt x="3339" y="291"/>
                </a:cubicBezTo>
                <a:cubicBezTo>
                  <a:pt x="3338" y="285"/>
                  <a:pt x="3331" y="281"/>
                  <a:pt x="3325" y="281"/>
                </a:cubicBezTo>
                <a:cubicBezTo>
                  <a:pt x="3325" y="281"/>
                  <a:pt x="3325" y="281"/>
                  <a:pt x="3325" y="281"/>
                </a:cubicBezTo>
                <a:moveTo>
                  <a:pt x="3357" y="280"/>
                </a:moveTo>
                <a:cubicBezTo>
                  <a:pt x="3351" y="280"/>
                  <a:pt x="3347" y="285"/>
                  <a:pt x="3349" y="291"/>
                </a:cubicBezTo>
                <a:cubicBezTo>
                  <a:pt x="3351" y="296"/>
                  <a:pt x="3358" y="301"/>
                  <a:pt x="3364" y="301"/>
                </a:cubicBezTo>
                <a:cubicBezTo>
                  <a:pt x="3370" y="301"/>
                  <a:pt x="3374" y="296"/>
                  <a:pt x="3372" y="291"/>
                </a:cubicBezTo>
                <a:cubicBezTo>
                  <a:pt x="3370" y="285"/>
                  <a:pt x="3364" y="280"/>
                  <a:pt x="3358" y="280"/>
                </a:cubicBezTo>
                <a:cubicBezTo>
                  <a:pt x="3358" y="280"/>
                  <a:pt x="3357" y="280"/>
                  <a:pt x="3357" y="280"/>
                </a:cubicBezTo>
                <a:moveTo>
                  <a:pt x="3391" y="280"/>
                </a:moveTo>
                <a:cubicBezTo>
                  <a:pt x="3385" y="280"/>
                  <a:pt x="3381" y="285"/>
                  <a:pt x="3383" y="290"/>
                </a:cubicBezTo>
                <a:cubicBezTo>
                  <a:pt x="3385" y="296"/>
                  <a:pt x="3392" y="301"/>
                  <a:pt x="3398" y="301"/>
                </a:cubicBezTo>
                <a:cubicBezTo>
                  <a:pt x="3404" y="301"/>
                  <a:pt x="3408" y="296"/>
                  <a:pt x="3406" y="290"/>
                </a:cubicBezTo>
                <a:cubicBezTo>
                  <a:pt x="3404" y="285"/>
                  <a:pt x="3398" y="280"/>
                  <a:pt x="3391" y="280"/>
                </a:cubicBezTo>
                <a:cubicBezTo>
                  <a:pt x="3391" y="280"/>
                  <a:pt x="3391" y="280"/>
                  <a:pt x="3391" y="280"/>
                </a:cubicBezTo>
                <a:moveTo>
                  <a:pt x="3424" y="280"/>
                </a:moveTo>
                <a:cubicBezTo>
                  <a:pt x="3417" y="280"/>
                  <a:pt x="3414" y="284"/>
                  <a:pt x="3416" y="290"/>
                </a:cubicBezTo>
                <a:cubicBezTo>
                  <a:pt x="3418" y="296"/>
                  <a:pt x="3425" y="300"/>
                  <a:pt x="3431" y="300"/>
                </a:cubicBezTo>
                <a:cubicBezTo>
                  <a:pt x="3437" y="300"/>
                  <a:pt x="3441" y="296"/>
                  <a:pt x="3439" y="290"/>
                </a:cubicBezTo>
                <a:cubicBezTo>
                  <a:pt x="3437" y="284"/>
                  <a:pt x="3430" y="280"/>
                  <a:pt x="3424" y="280"/>
                </a:cubicBezTo>
                <a:cubicBezTo>
                  <a:pt x="3424" y="280"/>
                  <a:pt x="3424" y="280"/>
                  <a:pt x="3424" y="280"/>
                </a:cubicBezTo>
                <a:moveTo>
                  <a:pt x="3457" y="280"/>
                </a:moveTo>
                <a:cubicBezTo>
                  <a:pt x="3450" y="280"/>
                  <a:pt x="3447" y="284"/>
                  <a:pt x="3449" y="290"/>
                </a:cubicBezTo>
                <a:cubicBezTo>
                  <a:pt x="3451" y="296"/>
                  <a:pt x="3458" y="300"/>
                  <a:pt x="3464" y="300"/>
                </a:cubicBezTo>
                <a:cubicBezTo>
                  <a:pt x="3470" y="300"/>
                  <a:pt x="3474" y="295"/>
                  <a:pt x="3472" y="290"/>
                </a:cubicBezTo>
                <a:cubicBezTo>
                  <a:pt x="3470" y="284"/>
                  <a:pt x="3463" y="280"/>
                  <a:pt x="3457" y="280"/>
                </a:cubicBezTo>
                <a:cubicBezTo>
                  <a:pt x="3457" y="280"/>
                  <a:pt x="3457" y="280"/>
                  <a:pt x="3457" y="280"/>
                </a:cubicBezTo>
                <a:moveTo>
                  <a:pt x="3490" y="279"/>
                </a:moveTo>
                <a:cubicBezTo>
                  <a:pt x="3483" y="279"/>
                  <a:pt x="3480" y="284"/>
                  <a:pt x="3482" y="290"/>
                </a:cubicBezTo>
                <a:cubicBezTo>
                  <a:pt x="3484" y="295"/>
                  <a:pt x="3491" y="300"/>
                  <a:pt x="3497" y="300"/>
                </a:cubicBezTo>
                <a:cubicBezTo>
                  <a:pt x="3504" y="300"/>
                  <a:pt x="3507" y="295"/>
                  <a:pt x="3505" y="289"/>
                </a:cubicBezTo>
                <a:cubicBezTo>
                  <a:pt x="3503" y="284"/>
                  <a:pt x="3496" y="279"/>
                  <a:pt x="3490" y="279"/>
                </a:cubicBezTo>
                <a:cubicBezTo>
                  <a:pt x="3490" y="279"/>
                  <a:pt x="3490" y="279"/>
                  <a:pt x="3490" y="279"/>
                </a:cubicBezTo>
                <a:moveTo>
                  <a:pt x="3522" y="279"/>
                </a:moveTo>
                <a:cubicBezTo>
                  <a:pt x="3516" y="279"/>
                  <a:pt x="3513" y="284"/>
                  <a:pt x="3515" y="289"/>
                </a:cubicBezTo>
                <a:cubicBezTo>
                  <a:pt x="3517" y="295"/>
                  <a:pt x="3524" y="300"/>
                  <a:pt x="3530" y="300"/>
                </a:cubicBezTo>
                <a:cubicBezTo>
                  <a:pt x="3537" y="300"/>
                  <a:pt x="3540" y="295"/>
                  <a:pt x="3538" y="289"/>
                </a:cubicBezTo>
                <a:cubicBezTo>
                  <a:pt x="3536" y="284"/>
                  <a:pt x="3529" y="279"/>
                  <a:pt x="3522" y="279"/>
                </a:cubicBezTo>
                <a:cubicBezTo>
                  <a:pt x="3522" y="279"/>
                  <a:pt x="3522" y="279"/>
                  <a:pt x="3522" y="279"/>
                </a:cubicBezTo>
                <a:moveTo>
                  <a:pt x="3555" y="279"/>
                </a:moveTo>
                <a:cubicBezTo>
                  <a:pt x="3549" y="279"/>
                  <a:pt x="3545" y="283"/>
                  <a:pt x="3548" y="289"/>
                </a:cubicBezTo>
                <a:cubicBezTo>
                  <a:pt x="3550" y="295"/>
                  <a:pt x="3557" y="299"/>
                  <a:pt x="3563" y="299"/>
                </a:cubicBezTo>
                <a:cubicBezTo>
                  <a:pt x="3570" y="299"/>
                  <a:pt x="3573" y="295"/>
                  <a:pt x="3571" y="289"/>
                </a:cubicBezTo>
                <a:cubicBezTo>
                  <a:pt x="3568" y="283"/>
                  <a:pt x="3561" y="279"/>
                  <a:pt x="3555" y="279"/>
                </a:cubicBezTo>
                <a:cubicBezTo>
                  <a:pt x="3555" y="279"/>
                  <a:pt x="3555" y="279"/>
                  <a:pt x="3555" y="279"/>
                </a:cubicBezTo>
                <a:moveTo>
                  <a:pt x="3588" y="278"/>
                </a:moveTo>
                <a:cubicBezTo>
                  <a:pt x="3581" y="279"/>
                  <a:pt x="3578" y="283"/>
                  <a:pt x="3580" y="289"/>
                </a:cubicBezTo>
                <a:cubicBezTo>
                  <a:pt x="3583" y="295"/>
                  <a:pt x="3590" y="299"/>
                  <a:pt x="3596" y="299"/>
                </a:cubicBezTo>
                <a:cubicBezTo>
                  <a:pt x="3602" y="299"/>
                  <a:pt x="3606" y="294"/>
                  <a:pt x="3603" y="289"/>
                </a:cubicBezTo>
                <a:cubicBezTo>
                  <a:pt x="3601" y="283"/>
                  <a:pt x="3594" y="278"/>
                  <a:pt x="3588" y="278"/>
                </a:cubicBezTo>
                <a:cubicBezTo>
                  <a:pt x="3588" y="278"/>
                  <a:pt x="3588" y="278"/>
                  <a:pt x="3588" y="278"/>
                </a:cubicBezTo>
                <a:moveTo>
                  <a:pt x="3621" y="278"/>
                </a:moveTo>
                <a:cubicBezTo>
                  <a:pt x="3615" y="278"/>
                  <a:pt x="3611" y="283"/>
                  <a:pt x="3614" y="289"/>
                </a:cubicBezTo>
                <a:cubicBezTo>
                  <a:pt x="3616" y="294"/>
                  <a:pt x="3623" y="299"/>
                  <a:pt x="3630" y="299"/>
                </a:cubicBezTo>
                <a:cubicBezTo>
                  <a:pt x="3636" y="299"/>
                  <a:pt x="3639" y="294"/>
                  <a:pt x="3637" y="288"/>
                </a:cubicBezTo>
                <a:cubicBezTo>
                  <a:pt x="3634" y="283"/>
                  <a:pt x="3627" y="278"/>
                  <a:pt x="3621" y="278"/>
                </a:cubicBezTo>
                <a:cubicBezTo>
                  <a:pt x="3621" y="278"/>
                  <a:pt x="3621" y="278"/>
                  <a:pt x="3621" y="278"/>
                </a:cubicBezTo>
                <a:moveTo>
                  <a:pt x="3654" y="278"/>
                </a:moveTo>
                <a:cubicBezTo>
                  <a:pt x="3647" y="278"/>
                  <a:pt x="3644" y="283"/>
                  <a:pt x="3647" y="288"/>
                </a:cubicBezTo>
                <a:cubicBezTo>
                  <a:pt x="3649" y="294"/>
                  <a:pt x="3656" y="299"/>
                  <a:pt x="3663" y="298"/>
                </a:cubicBezTo>
                <a:cubicBezTo>
                  <a:pt x="3669" y="298"/>
                  <a:pt x="3672" y="294"/>
                  <a:pt x="3670" y="288"/>
                </a:cubicBezTo>
                <a:cubicBezTo>
                  <a:pt x="3667" y="282"/>
                  <a:pt x="3660" y="278"/>
                  <a:pt x="3654" y="278"/>
                </a:cubicBezTo>
                <a:cubicBezTo>
                  <a:pt x="3654" y="278"/>
                  <a:pt x="3654" y="278"/>
                  <a:pt x="3654" y="278"/>
                </a:cubicBezTo>
                <a:moveTo>
                  <a:pt x="156" y="278"/>
                </a:moveTo>
                <a:cubicBezTo>
                  <a:pt x="150" y="278"/>
                  <a:pt x="141" y="282"/>
                  <a:pt x="136" y="288"/>
                </a:cubicBezTo>
                <a:cubicBezTo>
                  <a:pt x="131" y="293"/>
                  <a:pt x="132" y="298"/>
                  <a:pt x="138" y="298"/>
                </a:cubicBezTo>
                <a:cubicBezTo>
                  <a:pt x="145" y="298"/>
                  <a:pt x="154" y="293"/>
                  <a:pt x="159" y="288"/>
                </a:cubicBezTo>
                <a:cubicBezTo>
                  <a:pt x="164" y="282"/>
                  <a:pt x="163" y="278"/>
                  <a:pt x="156" y="278"/>
                </a:cubicBezTo>
                <a:cubicBezTo>
                  <a:pt x="156" y="278"/>
                  <a:pt x="156" y="278"/>
                  <a:pt x="156" y="278"/>
                </a:cubicBezTo>
                <a:moveTo>
                  <a:pt x="3688" y="278"/>
                </a:moveTo>
                <a:cubicBezTo>
                  <a:pt x="3681" y="278"/>
                  <a:pt x="3678" y="282"/>
                  <a:pt x="3681" y="288"/>
                </a:cubicBezTo>
                <a:cubicBezTo>
                  <a:pt x="3683" y="294"/>
                  <a:pt x="3690" y="298"/>
                  <a:pt x="3697" y="298"/>
                </a:cubicBezTo>
                <a:cubicBezTo>
                  <a:pt x="3703" y="298"/>
                  <a:pt x="3706" y="294"/>
                  <a:pt x="3704" y="288"/>
                </a:cubicBezTo>
                <a:cubicBezTo>
                  <a:pt x="3701" y="282"/>
                  <a:pt x="3694" y="278"/>
                  <a:pt x="3688" y="278"/>
                </a:cubicBezTo>
                <a:cubicBezTo>
                  <a:pt x="3688" y="278"/>
                  <a:pt x="3688" y="278"/>
                  <a:pt x="3688" y="278"/>
                </a:cubicBezTo>
                <a:moveTo>
                  <a:pt x="189" y="277"/>
                </a:moveTo>
                <a:cubicBezTo>
                  <a:pt x="182" y="277"/>
                  <a:pt x="173" y="282"/>
                  <a:pt x="168" y="288"/>
                </a:cubicBezTo>
                <a:cubicBezTo>
                  <a:pt x="164" y="293"/>
                  <a:pt x="165" y="298"/>
                  <a:pt x="171" y="298"/>
                </a:cubicBezTo>
                <a:cubicBezTo>
                  <a:pt x="177" y="298"/>
                  <a:pt x="187" y="293"/>
                  <a:pt x="191" y="287"/>
                </a:cubicBezTo>
                <a:cubicBezTo>
                  <a:pt x="196" y="282"/>
                  <a:pt x="195" y="277"/>
                  <a:pt x="189" y="277"/>
                </a:cubicBezTo>
                <a:cubicBezTo>
                  <a:pt x="189" y="277"/>
                  <a:pt x="189" y="277"/>
                  <a:pt x="189" y="277"/>
                </a:cubicBezTo>
                <a:moveTo>
                  <a:pt x="3720" y="277"/>
                </a:moveTo>
                <a:cubicBezTo>
                  <a:pt x="3714" y="277"/>
                  <a:pt x="3711" y="282"/>
                  <a:pt x="3713" y="288"/>
                </a:cubicBezTo>
                <a:cubicBezTo>
                  <a:pt x="3716" y="293"/>
                  <a:pt x="3723" y="298"/>
                  <a:pt x="3729" y="298"/>
                </a:cubicBezTo>
                <a:cubicBezTo>
                  <a:pt x="3736" y="298"/>
                  <a:pt x="3739" y="293"/>
                  <a:pt x="3736" y="288"/>
                </a:cubicBezTo>
                <a:cubicBezTo>
                  <a:pt x="3734" y="282"/>
                  <a:pt x="3727" y="277"/>
                  <a:pt x="3720" y="277"/>
                </a:cubicBezTo>
                <a:cubicBezTo>
                  <a:pt x="3720" y="277"/>
                  <a:pt x="3720" y="277"/>
                  <a:pt x="3720" y="277"/>
                </a:cubicBezTo>
                <a:moveTo>
                  <a:pt x="221" y="277"/>
                </a:moveTo>
                <a:cubicBezTo>
                  <a:pt x="215" y="277"/>
                  <a:pt x="206" y="282"/>
                  <a:pt x="201" y="287"/>
                </a:cubicBezTo>
                <a:cubicBezTo>
                  <a:pt x="196" y="293"/>
                  <a:pt x="198" y="297"/>
                  <a:pt x="204" y="297"/>
                </a:cubicBezTo>
                <a:cubicBezTo>
                  <a:pt x="210" y="297"/>
                  <a:pt x="219" y="293"/>
                  <a:pt x="224" y="287"/>
                </a:cubicBezTo>
                <a:cubicBezTo>
                  <a:pt x="229" y="282"/>
                  <a:pt x="228" y="277"/>
                  <a:pt x="221" y="277"/>
                </a:cubicBezTo>
                <a:cubicBezTo>
                  <a:pt x="221" y="277"/>
                  <a:pt x="221" y="277"/>
                  <a:pt x="221" y="277"/>
                </a:cubicBezTo>
                <a:moveTo>
                  <a:pt x="3753" y="277"/>
                </a:moveTo>
                <a:cubicBezTo>
                  <a:pt x="3747" y="277"/>
                  <a:pt x="3744" y="282"/>
                  <a:pt x="3746" y="288"/>
                </a:cubicBezTo>
                <a:cubicBezTo>
                  <a:pt x="3749" y="293"/>
                  <a:pt x="3756" y="298"/>
                  <a:pt x="3763" y="298"/>
                </a:cubicBezTo>
                <a:cubicBezTo>
                  <a:pt x="3769" y="298"/>
                  <a:pt x="3772" y="293"/>
                  <a:pt x="3769" y="287"/>
                </a:cubicBezTo>
                <a:cubicBezTo>
                  <a:pt x="3767" y="282"/>
                  <a:pt x="3759" y="277"/>
                  <a:pt x="3753" y="277"/>
                </a:cubicBezTo>
                <a:cubicBezTo>
                  <a:pt x="3753" y="277"/>
                  <a:pt x="3753" y="277"/>
                  <a:pt x="3753" y="277"/>
                </a:cubicBezTo>
                <a:moveTo>
                  <a:pt x="254" y="277"/>
                </a:moveTo>
                <a:cubicBezTo>
                  <a:pt x="247" y="277"/>
                  <a:pt x="238" y="281"/>
                  <a:pt x="234" y="287"/>
                </a:cubicBezTo>
                <a:cubicBezTo>
                  <a:pt x="229" y="293"/>
                  <a:pt x="230" y="297"/>
                  <a:pt x="237" y="297"/>
                </a:cubicBezTo>
                <a:cubicBezTo>
                  <a:pt x="243" y="297"/>
                  <a:pt x="252" y="292"/>
                  <a:pt x="257" y="287"/>
                </a:cubicBezTo>
                <a:cubicBezTo>
                  <a:pt x="261" y="281"/>
                  <a:pt x="260" y="277"/>
                  <a:pt x="254" y="277"/>
                </a:cubicBezTo>
                <a:cubicBezTo>
                  <a:pt x="254" y="277"/>
                  <a:pt x="254" y="277"/>
                  <a:pt x="254" y="277"/>
                </a:cubicBezTo>
                <a:moveTo>
                  <a:pt x="3786" y="277"/>
                </a:moveTo>
                <a:cubicBezTo>
                  <a:pt x="3780" y="277"/>
                  <a:pt x="3777" y="282"/>
                  <a:pt x="3779" y="287"/>
                </a:cubicBezTo>
                <a:cubicBezTo>
                  <a:pt x="3782" y="293"/>
                  <a:pt x="3790" y="297"/>
                  <a:pt x="3796" y="297"/>
                </a:cubicBezTo>
                <a:cubicBezTo>
                  <a:pt x="3802" y="297"/>
                  <a:pt x="3805" y="293"/>
                  <a:pt x="3802" y="287"/>
                </a:cubicBezTo>
                <a:cubicBezTo>
                  <a:pt x="3800" y="281"/>
                  <a:pt x="3792" y="277"/>
                  <a:pt x="3786" y="277"/>
                </a:cubicBezTo>
                <a:cubicBezTo>
                  <a:pt x="3786" y="277"/>
                  <a:pt x="3786" y="277"/>
                  <a:pt x="3786" y="277"/>
                </a:cubicBezTo>
                <a:moveTo>
                  <a:pt x="385" y="277"/>
                </a:moveTo>
                <a:cubicBezTo>
                  <a:pt x="379" y="277"/>
                  <a:pt x="370" y="281"/>
                  <a:pt x="365" y="287"/>
                </a:cubicBezTo>
                <a:cubicBezTo>
                  <a:pt x="361" y="292"/>
                  <a:pt x="362" y="297"/>
                  <a:pt x="369" y="297"/>
                </a:cubicBezTo>
                <a:cubicBezTo>
                  <a:pt x="375" y="297"/>
                  <a:pt x="384" y="292"/>
                  <a:pt x="388" y="287"/>
                </a:cubicBezTo>
                <a:cubicBezTo>
                  <a:pt x="393" y="281"/>
                  <a:pt x="391" y="277"/>
                  <a:pt x="385" y="277"/>
                </a:cubicBezTo>
                <a:cubicBezTo>
                  <a:pt x="385" y="277"/>
                  <a:pt x="385" y="277"/>
                  <a:pt x="385" y="277"/>
                </a:cubicBezTo>
                <a:moveTo>
                  <a:pt x="3819" y="277"/>
                </a:moveTo>
                <a:cubicBezTo>
                  <a:pt x="3812" y="277"/>
                  <a:pt x="3809" y="281"/>
                  <a:pt x="3812" y="287"/>
                </a:cubicBezTo>
                <a:cubicBezTo>
                  <a:pt x="3815" y="293"/>
                  <a:pt x="3822" y="297"/>
                  <a:pt x="3829" y="297"/>
                </a:cubicBezTo>
                <a:cubicBezTo>
                  <a:pt x="3835" y="297"/>
                  <a:pt x="3838" y="292"/>
                  <a:pt x="3835" y="287"/>
                </a:cubicBezTo>
                <a:cubicBezTo>
                  <a:pt x="3832" y="281"/>
                  <a:pt x="3825" y="277"/>
                  <a:pt x="3819" y="277"/>
                </a:cubicBezTo>
                <a:cubicBezTo>
                  <a:pt x="3819" y="277"/>
                  <a:pt x="3819" y="277"/>
                  <a:pt x="3819" y="277"/>
                </a:cubicBezTo>
                <a:moveTo>
                  <a:pt x="286" y="277"/>
                </a:moveTo>
                <a:cubicBezTo>
                  <a:pt x="280" y="277"/>
                  <a:pt x="271" y="281"/>
                  <a:pt x="266" y="287"/>
                </a:cubicBezTo>
                <a:cubicBezTo>
                  <a:pt x="262" y="292"/>
                  <a:pt x="263" y="297"/>
                  <a:pt x="269" y="297"/>
                </a:cubicBezTo>
                <a:cubicBezTo>
                  <a:pt x="276" y="297"/>
                  <a:pt x="285" y="292"/>
                  <a:pt x="289" y="287"/>
                </a:cubicBezTo>
                <a:cubicBezTo>
                  <a:pt x="294" y="281"/>
                  <a:pt x="293" y="277"/>
                  <a:pt x="286" y="277"/>
                </a:cubicBezTo>
                <a:cubicBezTo>
                  <a:pt x="286" y="277"/>
                  <a:pt x="286" y="277"/>
                  <a:pt x="286" y="277"/>
                </a:cubicBezTo>
                <a:moveTo>
                  <a:pt x="418" y="276"/>
                </a:moveTo>
                <a:cubicBezTo>
                  <a:pt x="411" y="276"/>
                  <a:pt x="403" y="281"/>
                  <a:pt x="398" y="287"/>
                </a:cubicBezTo>
                <a:cubicBezTo>
                  <a:pt x="394" y="292"/>
                  <a:pt x="395" y="297"/>
                  <a:pt x="402" y="297"/>
                </a:cubicBezTo>
                <a:cubicBezTo>
                  <a:pt x="408" y="297"/>
                  <a:pt x="417" y="292"/>
                  <a:pt x="421" y="286"/>
                </a:cubicBezTo>
                <a:cubicBezTo>
                  <a:pt x="426" y="281"/>
                  <a:pt x="424" y="276"/>
                  <a:pt x="418" y="276"/>
                </a:cubicBezTo>
                <a:cubicBezTo>
                  <a:pt x="418" y="276"/>
                  <a:pt x="418" y="276"/>
                  <a:pt x="418" y="276"/>
                </a:cubicBezTo>
                <a:moveTo>
                  <a:pt x="452" y="276"/>
                </a:moveTo>
                <a:cubicBezTo>
                  <a:pt x="445" y="276"/>
                  <a:pt x="437" y="281"/>
                  <a:pt x="432" y="286"/>
                </a:cubicBezTo>
                <a:cubicBezTo>
                  <a:pt x="428" y="292"/>
                  <a:pt x="429" y="296"/>
                  <a:pt x="436" y="296"/>
                </a:cubicBezTo>
                <a:cubicBezTo>
                  <a:pt x="442" y="296"/>
                  <a:pt x="451" y="292"/>
                  <a:pt x="455" y="286"/>
                </a:cubicBezTo>
                <a:cubicBezTo>
                  <a:pt x="459" y="281"/>
                  <a:pt x="458" y="276"/>
                  <a:pt x="452" y="276"/>
                </a:cubicBezTo>
                <a:cubicBezTo>
                  <a:pt x="452" y="276"/>
                  <a:pt x="452" y="276"/>
                  <a:pt x="452" y="276"/>
                </a:cubicBezTo>
                <a:moveTo>
                  <a:pt x="484" y="276"/>
                </a:moveTo>
                <a:cubicBezTo>
                  <a:pt x="478" y="276"/>
                  <a:pt x="469" y="280"/>
                  <a:pt x="465" y="286"/>
                </a:cubicBezTo>
                <a:cubicBezTo>
                  <a:pt x="461" y="292"/>
                  <a:pt x="462" y="296"/>
                  <a:pt x="469" y="296"/>
                </a:cubicBezTo>
                <a:cubicBezTo>
                  <a:pt x="475" y="296"/>
                  <a:pt x="484" y="291"/>
                  <a:pt x="488" y="286"/>
                </a:cubicBezTo>
                <a:cubicBezTo>
                  <a:pt x="492" y="280"/>
                  <a:pt x="490" y="276"/>
                  <a:pt x="484" y="276"/>
                </a:cubicBezTo>
                <a:cubicBezTo>
                  <a:pt x="484" y="276"/>
                  <a:pt x="484" y="276"/>
                  <a:pt x="484" y="276"/>
                </a:cubicBezTo>
                <a:moveTo>
                  <a:pt x="517" y="276"/>
                </a:moveTo>
                <a:cubicBezTo>
                  <a:pt x="510" y="276"/>
                  <a:pt x="502" y="280"/>
                  <a:pt x="498" y="286"/>
                </a:cubicBezTo>
                <a:cubicBezTo>
                  <a:pt x="493" y="291"/>
                  <a:pt x="495" y="296"/>
                  <a:pt x="502" y="296"/>
                </a:cubicBezTo>
                <a:cubicBezTo>
                  <a:pt x="508" y="296"/>
                  <a:pt x="516" y="291"/>
                  <a:pt x="521" y="286"/>
                </a:cubicBezTo>
                <a:cubicBezTo>
                  <a:pt x="525" y="280"/>
                  <a:pt x="523" y="276"/>
                  <a:pt x="517" y="276"/>
                </a:cubicBezTo>
                <a:cubicBezTo>
                  <a:pt x="517" y="276"/>
                  <a:pt x="517" y="276"/>
                  <a:pt x="517" y="276"/>
                </a:cubicBezTo>
                <a:moveTo>
                  <a:pt x="549" y="275"/>
                </a:moveTo>
                <a:cubicBezTo>
                  <a:pt x="543" y="275"/>
                  <a:pt x="534" y="280"/>
                  <a:pt x="530" y="285"/>
                </a:cubicBezTo>
                <a:cubicBezTo>
                  <a:pt x="526" y="291"/>
                  <a:pt x="528" y="296"/>
                  <a:pt x="534" y="295"/>
                </a:cubicBezTo>
                <a:cubicBezTo>
                  <a:pt x="541" y="295"/>
                  <a:pt x="549" y="291"/>
                  <a:pt x="553" y="285"/>
                </a:cubicBezTo>
                <a:cubicBezTo>
                  <a:pt x="557" y="280"/>
                  <a:pt x="556" y="275"/>
                  <a:pt x="549" y="275"/>
                </a:cubicBezTo>
                <a:cubicBezTo>
                  <a:pt x="549" y="275"/>
                  <a:pt x="549" y="275"/>
                  <a:pt x="549" y="275"/>
                </a:cubicBezTo>
                <a:moveTo>
                  <a:pt x="4048" y="275"/>
                </a:moveTo>
                <a:cubicBezTo>
                  <a:pt x="4042" y="275"/>
                  <a:pt x="4039" y="280"/>
                  <a:pt x="4043" y="285"/>
                </a:cubicBezTo>
                <a:cubicBezTo>
                  <a:pt x="4046" y="291"/>
                  <a:pt x="4054" y="296"/>
                  <a:pt x="4060" y="296"/>
                </a:cubicBezTo>
                <a:cubicBezTo>
                  <a:pt x="4067" y="296"/>
                  <a:pt x="4069" y="291"/>
                  <a:pt x="4066" y="285"/>
                </a:cubicBezTo>
                <a:cubicBezTo>
                  <a:pt x="4062" y="280"/>
                  <a:pt x="4055" y="275"/>
                  <a:pt x="4048" y="275"/>
                </a:cubicBezTo>
                <a:cubicBezTo>
                  <a:pt x="4048" y="275"/>
                  <a:pt x="4048" y="275"/>
                  <a:pt x="4048" y="275"/>
                </a:cubicBezTo>
                <a:moveTo>
                  <a:pt x="582" y="275"/>
                </a:moveTo>
                <a:cubicBezTo>
                  <a:pt x="576" y="275"/>
                  <a:pt x="567" y="280"/>
                  <a:pt x="563" y="285"/>
                </a:cubicBezTo>
                <a:cubicBezTo>
                  <a:pt x="559" y="291"/>
                  <a:pt x="561" y="295"/>
                  <a:pt x="567" y="295"/>
                </a:cubicBezTo>
                <a:cubicBezTo>
                  <a:pt x="574" y="295"/>
                  <a:pt x="582" y="291"/>
                  <a:pt x="586" y="285"/>
                </a:cubicBezTo>
                <a:cubicBezTo>
                  <a:pt x="590" y="279"/>
                  <a:pt x="588" y="275"/>
                  <a:pt x="582" y="275"/>
                </a:cubicBezTo>
                <a:cubicBezTo>
                  <a:pt x="582" y="275"/>
                  <a:pt x="582" y="275"/>
                  <a:pt x="582" y="275"/>
                </a:cubicBezTo>
                <a:moveTo>
                  <a:pt x="4081" y="275"/>
                </a:moveTo>
                <a:cubicBezTo>
                  <a:pt x="4074" y="275"/>
                  <a:pt x="4072" y="279"/>
                  <a:pt x="4075" y="285"/>
                </a:cubicBezTo>
                <a:cubicBezTo>
                  <a:pt x="4079" y="291"/>
                  <a:pt x="4087" y="295"/>
                  <a:pt x="4093" y="295"/>
                </a:cubicBezTo>
                <a:cubicBezTo>
                  <a:pt x="4099" y="295"/>
                  <a:pt x="4102" y="291"/>
                  <a:pt x="4098" y="285"/>
                </a:cubicBezTo>
                <a:cubicBezTo>
                  <a:pt x="4095" y="279"/>
                  <a:pt x="4087" y="275"/>
                  <a:pt x="4081" y="275"/>
                </a:cubicBezTo>
                <a:cubicBezTo>
                  <a:pt x="4081" y="275"/>
                  <a:pt x="4081" y="275"/>
                  <a:pt x="4081" y="275"/>
                </a:cubicBezTo>
                <a:moveTo>
                  <a:pt x="616" y="275"/>
                </a:moveTo>
                <a:cubicBezTo>
                  <a:pt x="609" y="275"/>
                  <a:pt x="601" y="279"/>
                  <a:pt x="597" y="285"/>
                </a:cubicBezTo>
                <a:cubicBezTo>
                  <a:pt x="593" y="291"/>
                  <a:pt x="595" y="295"/>
                  <a:pt x="601" y="295"/>
                </a:cubicBezTo>
                <a:cubicBezTo>
                  <a:pt x="608" y="295"/>
                  <a:pt x="616" y="290"/>
                  <a:pt x="620" y="285"/>
                </a:cubicBezTo>
                <a:cubicBezTo>
                  <a:pt x="624" y="279"/>
                  <a:pt x="622" y="275"/>
                  <a:pt x="616" y="275"/>
                </a:cubicBezTo>
                <a:cubicBezTo>
                  <a:pt x="616" y="275"/>
                  <a:pt x="616" y="275"/>
                  <a:pt x="616" y="275"/>
                </a:cubicBezTo>
                <a:moveTo>
                  <a:pt x="648" y="274"/>
                </a:moveTo>
                <a:cubicBezTo>
                  <a:pt x="642" y="274"/>
                  <a:pt x="634" y="279"/>
                  <a:pt x="630" y="285"/>
                </a:cubicBezTo>
                <a:cubicBezTo>
                  <a:pt x="626" y="290"/>
                  <a:pt x="628" y="295"/>
                  <a:pt x="634" y="295"/>
                </a:cubicBezTo>
                <a:cubicBezTo>
                  <a:pt x="640" y="295"/>
                  <a:pt x="649" y="290"/>
                  <a:pt x="653" y="284"/>
                </a:cubicBezTo>
                <a:cubicBezTo>
                  <a:pt x="657" y="279"/>
                  <a:pt x="655" y="274"/>
                  <a:pt x="648" y="274"/>
                </a:cubicBezTo>
                <a:cubicBezTo>
                  <a:pt x="648" y="274"/>
                  <a:pt x="648" y="274"/>
                  <a:pt x="648" y="274"/>
                </a:cubicBezTo>
                <a:moveTo>
                  <a:pt x="681" y="274"/>
                </a:moveTo>
                <a:cubicBezTo>
                  <a:pt x="675" y="274"/>
                  <a:pt x="666" y="279"/>
                  <a:pt x="663" y="284"/>
                </a:cubicBezTo>
                <a:cubicBezTo>
                  <a:pt x="659" y="290"/>
                  <a:pt x="661" y="294"/>
                  <a:pt x="667" y="294"/>
                </a:cubicBezTo>
                <a:cubicBezTo>
                  <a:pt x="673" y="294"/>
                  <a:pt x="682" y="290"/>
                  <a:pt x="686" y="284"/>
                </a:cubicBezTo>
                <a:cubicBezTo>
                  <a:pt x="689" y="279"/>
                  <a:pt x="687" y="274"/>
                  <a:pt x="681" y="274"/>
                </a:cubicBezTo>
                <a:cubicBezTo>
                  <a:pt x="681" y="274"/>
                  <a:pt x="681" y="274"/>
                  <a:pt x="681" y="274"/>
                </a:cubicBezTo>
                <a:moveTo>
                  <a:pt x="714" y="274"/>
                </a:moveTo>
                <a:cubicBezTo>
                  <a:pt x="708" y="274"/>
                  <a:pt x="700" y="279"/>
                  <a:pt x="696" y="284"/>
                </a:cubicBezTo>
                <a:cubicBezTo>
                  <a:pt x="692" y="290"/>
                  <a:pt x="694" y="294"/>
                  <a:pt x="700" y="294"/>
                </a:cubicBezTo>
                <a:cubicBezTo>
                  <a:pt x="707" y="294"/>
                  <a:pt x="715" y="290"/>
                  <a:pt x="719" y="284"/>
                </a:cubicBezTo>
                <a:cubicBezTo>
                  <a:pt x="722" y="278"/>
                  <a:pt x="720" y="274"/>
                  <a:pt x="714" y="274"/>
                </a:cubicBezTo>
                <a:cubicBezTo>
                  <a:pt x="714" y="274"/>
                  <a:pt x="714" y="274"/>
                  <a:pt x="714" y="274"/>
                </a:cubicBezTo>
                <a:moveTo>
                  <a:pt x="747" y="274"/>
                </a:moveTo>
                <a:cubicBezTo>
                  <a:pt x="740" y="274"/>
                  <a:pt x="732" y="278"/>
                  <a:pt x="728" y="284"/>
                </a:cubicBezTo>
                <a:cubicBezTo>
                  <a:pt x="725" y="289"/>
                  <a:pt x="727" y="294"/>
                  <a:pt x="733" y="294"/>
                </a:cubicBezTo>
                <a:cubicBezTo>
                  <a:pt x="739" y="294"/>
                  <a:pt x="748" y="289"/>
                  <a:pt x="751" y="284"/>
                </a:cubicBezTo>
                <a:cubicBezTo>
                  <a:pt x="755" y="278"/>
                  <a:pt x="753" y="274"/>
                  <a:pt x="747" y="274"/>
                </a:cubicBezTo>
                <a:cubicBezTo>
                  <a:pt x="747" y="274"/>
                  <a:pt x="747" y="274"/>
                  <a:pt x="747" y="274"/>
                </a:cubicBezTo>
                <a:moveTo>
                  <a:pt x="779" y="273"/>
                </a:moveTo>
                <a:cubicBezTo>
                  <a:pt x="773" y="273"/>
                  <a:pt x="765" y="278"/>
                  <a:pt x="761" y="284"/>
                </a:cubicBezTo>
                <a:cubicBezTo>
                  <a:pt x="757" y="289"/>
                  <a:pt x="760" y="294"/>
                  <a:pt x="766" y="294"/>
                </a:cubicBezTo>
                <a:cubicBezTo>
                  <a:pt x="772" y="294"/>
                  <a:pt x="780" y="289"/>
                  <a:pt x="784" y="283"/>
                </a:cubicBezTo>
                <a:cubicBezTo>
                  <a:pt x="788" y="278"/>
                  <a:pt x="786" y="273"/>
                  <a:pt x="779" y="273"/>
                </a:cubicBezTo>
                <a:cubicBezTo>
                  <a:pt x="779" y="273"/>
                  <a:pt x="779" y="273"/>
                  <a:pt x="779" y="273"/>
                </a:cubicBezTo>
                <a:moveTo>
                  <a:pt x="812" y="273"/>
                </a:moveTo>
                <a:cubicBezTo>
                  <a:pt x="805" y="273"/>
                  <a:pt x="797" y="278"/>
                  <a:pt x="794" y="283"/>
                </a:cubicBezTo>
                <a:cubicBezTo>
                  <a:pt x="790" y="289"/>
                  <a:pt x="792" y="293"/>
                  <a:pt x="799" y="293"/>
                </a:cubicBezTo>
                <a:cubicBezTo>
                  <a:pt x="805" y="293"/>
                  <a:pt x="813" y="289"/>
                  <a:pt x="817" y="283"/>
                </a:cubicBezTo>
                <a:cubicBezTo>
                  <a:pt x="820" y="278"/>
                  <a:pt x="818" y="273"/>
                  <a:pt x="812" y="273"/>
                </a:cubicBezTo>
                <a:cubicBezTo>
                  <a:pt x="812" y="273"/>
                  <a:pt x="812" y="273"/>
                  <a:pt x="812" y="273"/>
                </a:cubicBezTo>
                <a:moveTo>
                  <a:pt x="844" y="273"/>
                </a:moveTo>
                <a:cubicBezTo>
                  <a:pt x="838" y="273"/>
                  <a:pt x="830" y="277"/>
                  <a:pt x="827" y="283"/>
                </a:cubicBezTo>
                <a:cubicBezTo>
                  <a:pt x="823" y="289"/>
                  <a:pt x="825" y="293"/>
                  <a:pt x="832" y="293"/>
                </a:cubicBezTo>
                <a:cubicBezTo>
                  <a:pt x="838" y="293"/>
                  <a:pt x="846" y="288"/>
                  <a:pt x="850" y="283"/>
                </a:cubicBezTo>
                <a:cubicBezTo>
                  <a:pt x="853" y="277"/>
                  <a:pt x="851" y="273"/>
                  <a:pt x="845" y="273"/>
                </a:cubicBezTo>
                <a:cubicBezTo>
                  <a:pt x="845" y="273"/>
                  <a:pt x="845" y="273"/>
                  <a:pt x="844" y="273"/>
                </a:cubicBezTo>
                <a:moveTo>
                  <a:pt x="877" y="273"/>
                </a:moveTo>
                <a:cubicBezTo>
                  <a:pt x="871" y="273"/>
                  <a:pt x="863" y="277"/>
                  <a:pt x="860" y="283"/>
                </a:cubicBezTo>
                <a:cubicBezTo>
                  <a:pt x="856" y="288"/>
                  <a:pt x="859" y="293"/>
                  <a:pt x="865" y="293"/>
                </a:cubicBezTo>
                <a:cubicBezTo>
                  <a:pt x="871" y="293"/>
                  <a:pt x="879" y="288"/>
                  <a:pt x="883" y="283"/>
                </a:cubicBezTo>
                <a:cubicBezTo>
                  <a:pt x="886" y="277"/>
                  <a:pt x="884" y="273"/>
                  <a:pt x="878" y="273"/>
                </a:cubicBezTo>
                <a:cubicBezTo>
                  <a:pt x="878" y="273"/>
                  <a:pt x="878" y="273"/>
                  <a:pt x="877" y="273"/>
                </a:cubicBezTo>
                <a:moveTo>
                  <a:pt x="910" y="272"/>
                </a:moveTo>
                <a:cubicBezTo>
                  <a:pt x="904" y="272"/>
                  <a:pt x="896" y="277"/>
                  <a:pt x="892" y="282"/>
                </a:cubicBezTo>
                <a:cubicBezTo>
                  <a:pt x="889" y="288"/>
                  <a:pt x="891" y="293"/>
                  <a:pt x="898" y="293"/>
                </a:cubicBezTo>
                <a:cubicBezTo>
                  <a:pt x="904" y="292"/>
                  <a:pt x="912" y="288"/>
                  <a:pt x="915" y="282"/>
                </a:cubicBezTo>
                <a:cubicBezTo>
                  <a:pt x="919" y="277"/>
                  <a:pt x="916" y="272"/>
                  <a:pt x="910" y="272"/>
                </a:cubicBezTo>
                <a:cubicBezTo>
                  <a:pt x="910" y="272"/>
                  <a:pt x="910" y="272"/>
                  <a:pt x="910" y="272"/>
                </a:cubicBezTo>
                <a:moveTo>
                  <a:pt x="941" y="272"/>
                </a:moveTo>
                <a:cubicBezTo>
                  <a:pt x="935" y="272"/>
                  <a:pt x="927" y="277"/>
                  <a:pt x="923" y="282"/>
                </a:cubicBezTo>
                <a:cubicBezTo>
                  <a:pt x="920" y="288"/>
                  <a:pt x="923" y="292"/>
                  <a:pt x="929" y="292"/>
                </a:cubicBezTo>
                <a:cubicBezTo>
                  <a:pt x="935" y="292"/>
                  <a:pt x="943" y="288"/>
                  <a:pt x="946" y="282"/>
                </a:cubicBezTo>
                <a:cubicBezTo>
                  <a:pt x="950" y="276"/>
                  <a:pt x="947" y="272"/>
                  <a:pt x="941" y="272"/>
                </a:cubicBezTo>
                <a:cubicBezTo>
                  <a:pt x="941" y="272"/>
                  <a:pt x="941" y="272"/>
                  <a:pt x="941" y="272"/>
                </a:cubicBezTo>
                <a:moveTo>
                  <a:pt x="1202" y="269"/>
                </a:moveTo>
                <a:cubicBezTo>
                  <a:pt x="1196" y="270"/>
                  <a:pt x="1188" y="274"/>
                  <a:pt x="1185" y="280"/>
                </a:cubicBezTo>
                <a:cubicBezTo>
                  <a:pt x="1183" y="285"/>
                  <a:pt x="1185" y="290"/>
                  <a:pt x="1192" y="290"/>
                </a:cubicBezTo>
                <a:cubicBezTo>
                  <a:pt x="1198" y="290"/>
                  <a:pt x="1206" y="285"/>
                  <a:pt x="1208" y="280"/>
                </a:cubicBezTo>
                <a:cubicBezTo>
                  <a:pt x="1211" y="274"/>
                  <a:pt x="1208" y="269"/>
                  <a:pt x="1202" y="269"/>
                </a:cubicBezTo>
                <a:cubicBezTo>
                  <a:pt x="1202" y="269"/>
                  <a:pt x="1202" y="269"/>
                  <a:pt x="1202" y="269"/>
                </a:cubicBezTo>
                <a:moveTo>
                  <a:pt x="1235" y="269"/>
                </a:moveTo>
                <a:cubicBezTo>
                  <a:pt x="1228" y="269"/>
                  <a:pt x="1221" y="274"/>
                  <a:pt x="1218" y="279"/>
                </a:cubicBezTo>
                <a:cubicBezTo>
                  <a:pt x="1216" y="285"/>
                  <a:pt x="1219" y="290"/>
                  <a:pt x="1225" y="290"/>
                </a:cubicBezTo>
                <a:cubicBezTo>
                  <a:pt x="1231" y="289"/>
                  <a:pt x="1239" y="285"/>
                  <a:pt x="1241" y="279"/>
                </a:cubicBezTo>
                <a:cubicBezTo>
                  <a:pt x="1244" y="274"/>
                  <a:pt x="1241" y="269"/>
                  <a:pt x="1235" y="269"/>
                </a:cubicBezTo>
                <a:cubicBezTo>
                  <a:pt x="1235" y="269"/>
                  <a:pt x="1235" y="269"/>
                  <a:pt x="1235" y="269"/>
                </a:cubicBezTo>
                <a:moveTo>
                  <a:pt x="1563" y="265"/>
                </a:moveTo>
                <a:cubicBezTo>
                  <a:pt x="1556" y="265"/>
                  <a:pt x="1550" y="270"/>
                  <a:pt x="1548" y="275"/>
                </a:cubicBezTo>
                <a:cubicBezTo>
                  <a:pt x="1546" y="281"/>
                  <a:pt x="1549" y="286"/>
                  <a:pt x="1555" y="286"/>
                </a:cubicBezTo>
                <a:cubicBezTo>
                  <a:pt x="1562" y="285"/>
                  <a:pt x="1568" y="281"/>
                  <a:pt x="1570" y="275"/>
                </a:cubicBezTo>
                <a:cubicBezTo>
                  <a:pt x="1572" y="270"/>
                  <a:pt x="1569" y="265"/>
                  <a:pt x="1563" y="265"/>
                </a:cubicBezTo>
                <a:cubicBezTo>
                  <a:pt x="1563" y="265"/>
                  <a:pt x="1563" y="265"/>
                  <a:pt x="1563" y="265"/>
                </a:cubicBezTo>
                <a:moveTo>
                  <a:pt x="2180" y="261"/>
                </a:moveTo>
                <a:cubicBezTo>
                  <a:pt x="2173" y="261"/>
                  <a:pt x="2168" y="265"/>
                  <a:pt x="2167" y="271"/>
                </a:cubicBezTo>
                <a:cubicBezTo>
                  <a:pt x="2166" y="277"/>
                  <a:pt x="2171" y="281"/>
                  <a:pt x="2177" y="281"/>
                </a:cubicBezTo>
                <a:cubicBezTo>
                  <a:pt x="2184" y="281"/>
                  <a:pt x="2189" y="277"/>
                  <a:pt x="2190" y="271"/>
                </a:cubicBezTo>
                <a:cubicBezTo>
                  <a:pt x="2191" y="265"/>
                  <a:pt x="2186" y="261"/>
                  <a:pt x="2180" y="261"/>
                </a:cubicBezTo>
                <a:cubicBezTo>
                  <a:pt x="2180" y="261"/>
                  <a:pt x="2180" y="261"/>
                  <a:pt x="2180" y="261"/>
                </a:cubicBezTo>
                <a:moveTo>
                  <a:pt x="2213" y="261"/>
                </a:moveTo>
                <a:cubicBezTo>
                  <a:pt x="2206" y="261"/>
                  <a:pt x="2201" y="265"/>
                  <a:pt x="2200" y="271"/>
                </a:cubicBezTo>
                <a:cubicBezTo>
                  <a:pt x="2200" y="276"/>
                  <a:pt x="2204" y="281"/>
                  <a:pt x="2210" y="281"/>
                </a:cubicBezTo>
                <a:cubicBezTo>
                  <a:pt x="2217" y="281"/>
                  <a:pt x="2222" y="276"/>
                  <a:pt x="2223" y="271"/>
                </a:cubicBezTo>
                <a:cubicBezTo>
                  <a:pt x="2224" y="265"/>
                  <a:pt x="2219" y="261"/>
                  <a:pt x="2213" y="261"/>
                </a:cubicBezTo>
                <a:cubicBezTo>
                  <a:pt x="2213" y="261"/>
                  <a:pt x="2213" y="261"/>
                  <a:pt x="2213" y="261"/>
                </a:cubicBezTo>
                <a:moveTo>
                  <a:pt x="2246" y="260"/>
                </a:moveTo>
                <a:cubicBezTo>
                  <a:pt x="2240" y="260"/>
                  <a:pt x="2234" y="265"/>
                  <a:pt x="2234" y="271"/>
                </a:cubicBezTo>
                <a:cubicBezTo>
                  <a:pt x="2233" y="276"/>
                  <a:pt x="2238" y="281"/>
                  <a:pt x="2244" y="281"/>
                </a:cubicBezTo>
                <a:cubicBezTo>
                  <a:pt x="2250" y="281"/>
                  <a:pt x="2256" y="276"/>
                  <a:pt x="2256" y="270"/>
                </a:cubicBezTo>
                <a:cubicBezTo>
                  <a:pt x="2257" y="265"/>
                  <a:pt x="2252" y="260"/>
                  <a:pt x="2246" y="260"/>
                </a:cubicBezTo>
                <a:cubicBezTo>
                  <a:pt x="2246" y="260"/>
                  <a:pt x="2246" y="260"/>
                  <a:pt x="2246" y="260"/>
                </a:cubicBezTo>
                <a:moveTo>
                  <a:pt x="2278" y="260"/>
                </a:moveTo>
                <a:cubicBezTo>
                  <a:pt x="2272" y="260"/>
                  <a:pt x="2267" y="265"/>
                  <a:pt x="2266" y="270"/>
                </a:cubicBezTo>
                <a:cubicBezTo>
                  <a:pt x="2266" y="276"/>
                  <a:pt x="2270" y="280"/>
                  <a:pt x="2277" y="280"/>
                </a:cubicBezTo>
                <a:cubicBezTo>
                  <a:pt x="2283" y="280"/>
                  <a:pt x="2288" y="276"/>
                  <a:pt x="2289" y="270"/>
                </a:cubicBezTo>
                <a:cubicBezTo>
                  <a:pt x="2289" y="264"/>
                  <a:pt x="2285" y="260"/>
                  <a:pt x="2278" y="260"/>
                </a:cubicBezTo>
                <a:cubicBezTo>
                  <a:pt x="2278" y="260"/>
                  <a:pt x="2278" y="260"/>
                  <a:pt x="2278" y="260"/>
                </a:cubicBezTo>
                <a:moveTo>
                  <a:pt x="2310" y="260"/>
                </a:moveTo>
                <a:cubicBezTo>
                  <a:pt x="2304" y="260"/>
                  <a:pt x="2299" y="264"/>
                  <a:pt x="2298" y="270"/>
                </a:cubicBezTo>
                <a:cubicBezTo>
                  <a:pt x="2298" y="276"/>
                  <a:pt x="2303" y="280"/>
                  <a:pt x="2309" y="280"/>
                </a:cubicBezTo>
                <a:cubicBezTo>
                  <a:pt x="2315" y="280"/>
                  <a:pt x="2321" y="275"/>
                  <a:pt x="2321" y="270"/>
                </a:cubicBezTo>
                <a:cubicBezTo>
                  <a:pt x="2321" y="264"/>
                  <a:pt x="2317" y="260"/>
                  <a:pt x="2311" y="260"/>
                </a:cubicBezTo>
                <a:cubicBezTo>
                  <a:pt x="2311" y="260"/>
                  <a:pt x="2310" y="260"/>
                  <a:pt x="2310" y="260"/>
                </a:cubicBezTo>
                <a:moveTo>
                  <a:pt x="2375" y="259"/>
                </a:moveTo>
                <a:cubicBezTo>
                  <a:pt x="2369" y="259"/>
                  <a:pt x="2364" y="264"/>
                  <a:pt x="2363" y="269"/>
                </a:cubicBezTo>
                <a:cubicBezTo>
                  <a:pt x="2363" y="275"/>
                  <a:pt x="2368" y="280"/>
                  <a:pt x="2374" y="280"/>
                </a:cubicBezTo>
                <a:cubicBezTo>
                  <a:pt x="2381" y="280"/>
                  <a:pt x="2386" y="275"/>
                  <a:pt x="2386" y="269"/>
                </a:cubicBezTo>
                <a:cubicBezTo>
                  <a:pt x="2387" y="264"/>
                  <a:pt x="2382" y="259"/>
                  <a:pt x="2375" y="259"/>
                </a:cubicBezTo>
                <a:cubicBezTo>
                  <a:pt x="2375" y="259"/>
                  <a:pt x="2375" y="259"/>
                  <a:pt x="2375" y="259"/>
                </a:cubicBezTo>
                <a:moveTo>
                  <a:pt x="2408" y="259"/>
                </a:moveTo>
                <a:cubicBezTo>
                  <a:pt x="2402" y="259"/>
                  <a:pt x="2397" y="264"/>
                  <a:pt x="2396" y="269"/>
                </a:cubicBezTo>
                <a:cubicBezTo>
                  <a:pt x="2396" y="275"/>
                  <a:pt x="2401" y="279"/>
                  <a:pt x="2407" y="279"/>
                </a:cubicBezTo>
                <a:cubicBezTo>
                  <a:pt x="2414" y="279"/>
                  <a:pt x="2419" y="275"/>
                  <a:pt x="2419" y="269"/>
                </a:cubicBezTo>
                <a:cubicBezTo>
                  <a:pt x="2419" y="263"/>
                  <a:pt x="2415" y="259"/>
                  <a:pt x="2408" y="259"/>
                </a:cubicBezTo>
                <a:cubicBezTo>
                  <a:pt x="2408" y="259"/>
                  <a:pt x="2408" y="259"/>
                  <a:pt x="2408" y="259"/>
                </a:cubicBezTo>
                <a:moveTo>
                  <a:pt x="2572" y="259"/>
                </a:moveTo>
                <a:cubicBezTo>
                  <a:pt x="2565" y="259"/>
                  <a:pt x="2560" y="264"/>
                  <a:pt x="2560" y="269"/>
                </a:cubicBezTo>
                <a:cubicBezTo>
                  <a:pt x="2561" y="275"/>
                  <a:pt x="2566" y="279"/>
                  <a:pt x="2572" y="279"/>
                </a:cubicBezTo>
                <a:cubicBezTo>
                  <a:pt x="2579" y="279"/>
                  <a:pt x="2584" y="275"/>
                  <a:pt x="2583" y="269"/>
                </a:cubicBezTo>
                <a:cubicBezTo>
                  <a:pt x="2583" y="263"/>
                  <a:pt x="2578" y="259"/>
                  <a:pt x="2572" y="259"/>
                </a:cubicBezTo>
                <a:cubicBezTo>
                  <a:pt x="2572" y="259"/>
                  <a:pt x="2572" y="259"/>
                  <a:pt x="2572" y="259"/>
                </a:cubicBezTo>
                <a:moveTo>
                  <a:pt x="2441" y="259"/>
                </a:moveTo>
                <a:cubicBezTo>
                  <a:pt x="2434" y="259"/>
                  <a:pt x="2429" y="263"/>
                  <a:pt x="2429" y="269"/>
                </a:cubicBezTo>
                <a:cubicBezTo>
                  <a:pt x="2429" y="275"/>
                  <a:pt x="2434" y="279"/>
                  <a:pt x="2440" y="279"/>
                </a:cubicBezTo>
                <a:cubicBezTo>
                  <a:pt x="2446" y="279"/>
                  <a:pt x="2452" y="274"/>
                  <a:pt x="2452" y="269"/>
                </a:cubicBezTo>
                <a:cubicBezTo>
                  <a:pt x="2452" y="263"/>
                  <a:pt x="2447" y="259"/>
                  <a:pt x="2441" y="259"/>
                </a:cubicBezTo>
                <a:cubicBezTo>
                  <a:pt x="2441" y="259"/>
                  <a:pt x="2441" y="259"/>
                  <a:pt x="2441" y="259"/>
                </a:cubicBezTo>
                <a:moveTo>
                  <a:pt x="2604" y="259"/>
                </a:moveTo>
                <a:cubicBezTo>
                  <a:pt x="2598" y="259"/>
                  <a:pt x="2593" y="263"/>
                  <a:pt x="2593" y="269"/>
                </a:cubicBezTo>
                <a:cubicBezTo>
                  <a:pt x="2593" y="275"/>
                  <a:pt x="2598" y="279"/>
                  <a:pt x="2605" y="279"/>
                </a:cubicBezTo>
                <a:cubicBezTo>
                  <a:pt x="2611" y="279"/>
                  <a:pt x="2616" y="274"/>
                  <a:pt x="2616" y="269"/>
                </a:cubicBezTo>
                <a:cubicBezTo>
                  <a:pt x="2616" y="263"/>
                  <a:pt x="2610" y="259"/>
                  <a:pt x="2604" y="259"/>
                </a:cubicBezTo>
                <a:cubicBezTo>
                  <a:pt x="2604" y="259"/>
                  <a:pt x="2604" y="259"/>
                  <a:pt x="2604" y="259"/>
                </a:cubicBezTo>
                <a:moveTo>
                  <a:pt x="2473" y="258"/>
                </a:moveTo>
                <a:cubicBezTo>
                  <a:pt x="2467" y="258"/>
                  <a:pt x="2462" y="263"/>
                  <a:pt x="2461" y="269"/>
                </a:cubicBezTo>
                <a:cubicBezTo>
                  <a:pt x="2461" y="274"/>
                  <a:pt x="2466" y="279"/>
                  <a:pt x="2473" y="279"/>
                </a:cubicBezTo>
                <a:cubicBezTo>
                  <a:pt x="2479" y="279"/>
                  <a:pt x="2484" y="274"/>
                  <a:pt x="2484" y="268"/>
                </a:cubicBezTo>
                <a:cubicBezTo>
                  <a:pt x="2484" y="263"/>
                  <a:pt x="2479" y="258"/>
                  <a:pt x="2473" y="258"/>
                </a:cubicBezTo>
                <a:cubicBezTo>
                  <a:pt x="2473" y="258"/>
                  <a:pt x="2473" y="258"/>
                  <a:pt x="2473" y="258"/>
                </a:cubicBezTo>
                <a:moveTo>
                  <a:pt x="2636" y="258"/>
                </a:moveTo>
                <a:cubicBezTo>
                  <a:pt x="2630" y="258"/>
                  <a:pt x="2625" y="263"/>
                  <a:pt x="2625" y="269"/>
                </a:cubicBezTo>
                <a:cubicBezTo>
                  <a:pt x="2626" y="274"/>
                  <a:pt x="2631" y="279"/>
                  <a:pt x="2637" y="279"/>
                </a:cubicBezTo>
                <a:cubicBezTo>
                  <a:pt x="2644" y="279"/>
                  <a:pt x="2649" y="274"/>
                  <a:pt x="2648" y="268"/>
                </a:cubicBezTo>
                <a:cubicBezTo>
                  <a:pt x="2648" y="263"/>
                  <a:pt x="2643" y="258"/>
                  <a:pt x="2636" y="258"/>
                </a:cubicBezTo>
                <a:cubicBezTo>
                  <a:pt x="2636" y="258"/>
                  <a:pt x="2636" y="258"/>
                  <a:pt x="2636" y="258"/>
                </a:cubicBezTo>
                <a:moveTo>
                  <a:pt x="2505" y="258"/>
                </a:moveTo>
                <a:cubicBezTo>
                  <a:pt x="2499" y="258"/>
                  <a:pt x="2494" y="263"/>
                  <a:pt x="2494" y="268"/>
                </a:cubicBezTo>
                <a:cubicBezTo>
                  <a:pt x="2494" y="274"/>
                  <a:pt x="2499" y="279"/>
                  <a:pt x="2505" y="279"/>
                </a:cubicBezTo>
                <a:cubicBezTo>
                  <a:pt x="2512" y="278"/>
                  <a:pt x="2517" y="274"/>
                  <a:pt x="2517" y="268"/>
                </a:cubicBezTo>
                <a:cubicBezTo>
                  <a:pt x="2517" y="263"/>
                  <a:pt x="2512" y="258"/>
                  <a:pt x="2505" y="258"/>
                </a:cubicBezTo>
                <a:cubicBezTo>
                  <a:pt x="2505" y="258"/>
                  <a:pt x="2505" y="258"/>
                  <a:pt x="2505" y="258"/>
                </a:cubicBezTo>
                <a:moveTo>
                  <a:pt x="2668" y="258"/>
                </a:moveTo>
                <a:cubicBezTo>
                  <a:pt x="2662" y="258"/>
                  <a:pt x="2657" y="263"/>
                  <a:pt x="2658" y="268"/>
                </a:cubicBezTo>
                <a:cubicBezTo>
                  <a:pt x="2658" y="274"/>
                  <a:pt x="2663" y="279"/>
                  <a:pt x="2670" y="279"/>
                </a:cubicBezTo>
                <a:cubicBezTo>
                  <a:pt x="2676" y="278"/>
                  <a:pt x="2681" y="274"/>
                  <a:pt x="2680" y="268"/>
                </a:cubicBezTo>
                <a:cubicBezTo>
                  <a:pt x="2680" y="263"/>
                  <a:pt x="2675" y="258"/>
                  <a:pt x="2668" y="258"/>
                </a:cubicBezTo>
                <a:cubicBezTo>
                  <a:pt x="2668" y="258"/>
                  <a:pt x="2668" y="258"/>
                  <a:pt x="2668" y="258"/>
                </a:cubicBezTo>
                <a:moveTo>
                  <a:pt x="2538" y="258"/>
                </a:moveTo>
                <a:cubicBezTo>
                  <a:pt x="2532" y="258"/>
                  <a:pt x="2527" y="262"/>
                  <a:pt x="2527" y="268"/>
                </a:cubicBezTo>
                <a:cubicBezTo>
                  <a:pt x="2527" y="274"/>
                  <a:pt x="2532" y="278"/>
                  <a:pt x="2538" y="278"/>
                </a:cubicBezTo>
                <a:cubicBezTo>
                  <a:pt x="2544" y="278"/>
                  <a:pt x="2550" y="274"/>
                  <a:pt x="2549" y="268"/>
                </a:cubicBezTo>
                <a:cubicBezTo>
                  <a:pt x="2549" y="262"/>
                  <a:pt x="2544" y="258"/>
                  <a:pt x="2538" y="258"/>
                </a:cubicBezTo>
                <a:cubicBezTo>
                  <a:pt x="2538" y="258"/>
                  <a:pt x="2538" y="258"/>
                  <a:pt x="2538" y="258"/>
                </a:cubicBezTo>
                <a:moveTo>
                  <a:pt x="2701" y="258"/>
                </a:moveTo>
                <a:cubicBezTo>
                  <a:pt x="2694" y="258"/>
                  <a:pt x="2690" y="262"/>
                  <a:pt x="2690" y="268"/>
                </a:cubicBezTo>
                <a:cubicBezTo>
                  <a:pt x="2690" y="274"/>
                  <a:pt x="2696" y="278"/>
                  <a:pt x="2702" y="278"/>
                </a:cubicBezTo>
                <a:cubicBezTo>
                  <a:pt x="2709" y="278"/>
                  <a:pt x="2713" y="274"/>
                  <a:pt x="2713" y="268"/>
                </a:cubicBezTo>
                <a:cubicBezTo>
                  <a:pt x="2712" y="262"/>
                  <a:pt x="2707" y="258"/>
                  <a:pt x="2701" y="258"/>
                </a:cubicBezTo>
                <a:cubicBezTo>
                  <a:pt x="2701" y="258"/>
                  <a:pt x="2701" y="258"/>
                  <a:pt x="2701" y="258"/>
                </a:cubicBezTo>
                <a:moveTo>
                  <a:pt x="2733" y="258"/>
                </a:moveTo>
                <a:cubicBezTo>
                  <a:pt x="2727" y="258"/>
                  <a:pt x="2722" y="262"/>
                  <a:pt x="2723" y="268"/>
                </a:cubicBezTo>
                <a:cubicBezTo>
                  <a:pt x="2723" y="274"/>
                  <a:pt x="2729" y="278"/>
                  <a:pt x="2735" y="278"/>
                </a:cubicBezTo>
                <a:cubicBezTo>
                  <a:pt x="2741" y="278"/>
                  <a:pt x="2746" y="273"/>
                  <a:pt x="2746" y="268"/>
                </a:cubicBezTo>
                <a:cubicBezTo>
                  <a:pt x="2745" y="262"/>
                  <a:pt x="2740" y="258"/>
                  <a:pt x="2733" y="258"/>
                </a:cubicBezTo>
                <a:cubicBezTo>
                  <a:pt x="2733" y="258"/>
                  <a:pt x="2733" y="258"/>
                  <a:pt x="2733" y="258"/>
                </a:cubicBezTo>
                <a:moveTo>
                  <a:pt x="2766" y="257"/>
                </a:moveTo>
                <a:cubicBezTo>
                  <a:pt x="2760" y="257"/>
                  <a:pt x="2755" y="262"/>
                  <a:pt x="2756" y="268"/>
                </a:cubicBezTo>
                <a:cubicBezTo>
                  <a:pt x="2756" y="273"/>
                  <a:pt x="2762" y="278"/>
                  <a:pt x="2768" y="278"/>
                </a:cubicBezTo>
                <a:cubicBezTo>
                  <a:pt x="2774" y="278"/>
                  <a:pt x="2779" y="273"/>
                  <a:pt x="2779" y="267"/>
                </a:cubicBezTo>
                <a:cubicBezTo>
                  <a:pt x="2778" y="262"/>
                  <a:pt x="2772" y="257"/>
                  <a:pt x="2766" y="257"/>
                </a:cubicBezTo>
                <a:cubicBezTo>
                  <a:pt x="2766" y="257"/>
                  <a:pt x="2766" y="257"/>
                  <a:pt x="2766" y="257"/>
                </a:cubicBezTo>
                <a:moveTo>
                  <a:pt x="2798" y="257"/>
                </a:moveTo>
                <a:cubicBezTo>
                  <a:pt x="2792" y="257"/>
                  <a:pt x="2787" y="262"/>
                  <a:pt x="2788" y="267"/>
                </a:cubicBezTo>
                <a:cubicBezTo>
                  <a:pt x="2789" y="273"/>
                  <a:pt x="2794" y="278"/>
                  <a:pt x="2801" y="277"/>
                </a:cubicBezTo>
                <a:cubicBezTo>
                  <a:pt x="2807" y="277"/>
                  <a:pt x="2812" y="273"/>
                  <a:pt x="2811" y="267"/>
                </a:cubicBezTo>
                <a:cubicBezTo>
                  <a:pt x="2810" y="262"/>
                  <a:pt x="2805" y="257"/>
                  <a:pt x="2798" y="257"/>
                </a:cubicBezTo>
                <a:cubicBezTo>
                  <a:pt x="2798" y="257"/>
                  <a:pt x="2798" y="257"/>
                  <a:pt x="2798" y="257"/>
                </a:cubicBezTo>
                <a:moveTo>
                  <a:pt x="2831" y="257"/>
                </a:moveTo>
                <a:cubicBezTo>
                  <a:pt x="2825" y="257"/>
                  <a:pt x="2820" y="261"/>
                  <a:pt x="2821" y="267"/>
                </a:cubicBezTo>
                <a:cubicBezTo>
                  <a:pt x="2821" y="273"/>
                  <a:pt x="2827" y="277"/>
                  <a:pt x="2833" y="277"/>
                </a:cubicBezTo>
                <a:cubicBezTo>
                  <a:pt x="2840" y="277"/>
                  <a:pt x="2844" y="273"/>
                  <a:pt x="2844" y="267"/>
                </a:cubicBezTo>
                <a:cubicBezTo>
                  <a:pt x="2843" y="261"/>
                  <a:pt x="2837" y="257"/>
                  <a:pt x="2831" y="257"/>
                </a:cubicBezTo>
                <a:cubicBezTo>
                  <a:pt x="2831" y="257"/>
                  <a:pt x="2831" y="257"/>
                  <a:pt x="2831" y="257"/>
                </a:cubicBezTo>
                <a:moveTo>
                  <a:pt x="2863" y="256"/>
                </a:moveTo>
                <a:cubicBezTo>
                  <a:pt x="2857" y="256"/>
                  <a:pt x="2852" y="261"/>
                  <a:pt x="2853" y="267"/>
                </a:cubicBezTo>
                <a:cubicBezTo>
                  <a:pt x="2854" y="272"/>
                  <a:pt x="2860" y="277"/>
                  <a:pt x="2866" y="277"/>
                </a:cubicBezTo>
                <a:cubicBezTo>
                  <a:pt x="2872" y="277"/>
                  <a:pt x="2877" y="272"/>
                  <a:pt x="2876" y="267"/>
                </a:cubicBezTo>
                <a:cubicBezTo>
                  <a:pt x="2875" y="261"/>
                  <a:pt x="2869" y="256"/>
                  <a:pt x="2863" y="256"/>
                </a:cubicBezTo>
                <a:cubicBezTo>
                  <a:pt x="2863" y="256"/>
                  <a:pt x="2863" y="256"/>
                  <a:pt x="2863" y="256"/>
                </a:cubicBezTo>
                <a:moveTo>
                  <a:pt x="2896" y="256"/>
                </a:moveTo>
                <a:cubicBezTo>
                  <a:pt x="2889" y="256"/>
                  <a:pt x="2885" y="261"/>
                  <a:pt x="2886" y="266"/>
                </a:cubicBezTo>
                <a:cubicBezTo>
                  <a:pt x="2887" y="272"/>
                  <a:pt x="2892" y="277"/>
                  <a:pt x="2899" y="277"/>
                </a:cubicBezTo>
                <a:cubicBezTo>
                  <a:pt x="2905" y="277"/>
                  <a:pt x="2909" y="272"/>
                  <a:pt x="2909" y="266"/>
                </a:cubicBezTo>
                <a:cubicBezTo>
                  <a:pt x="2908" y="261"/>
                  <a:pt x="2902" y="256"/>
                  <a:pt x="2896" y="256"/>
                </a:cubicBezTo>
                <a:cubicBezTo>
                  <a:pt x="2896" y="256"/>
                  <a:pt x="2896" y="256"/>
                  <a:pt x="2896" y="256"/>
                </a:cubicBezTo>
                <a:moveTo>
                  <a:pt x="2928" y="256"/>
                </a:moveTo>
                <a:cubicBezTo>
                  <a:pt x="2922" y="256"/>
                  <a:pt x="2917" y="260"/>
                  <a:pt x="2918" y="266"/>
                </a:cubicBezTo>
                <a:cubicBezTo>
                  <a:pt x="2919" y="272"/>
                  <a:pt x="2925" y="276"/>
                  <a:pt x="2931" y="276"/>
                </a:cubicBezTo>
                <a:cubicBezTo>
                  <a:pt x="2937" y="276"/>
                  <a:pt x="2942" y="271"/>
                  <a:pt x="2941" y="266"/>
                </a:cubicBezTo>
                <a:cubicBezTo>
                  <a:pt x="2940" y="260"/>
                  <a:pt x="2934" y="256"/>
                  <a:pt x="2928" y="256"/>
                </a:cubicBezTo>
                <a:cubicBezTo>
                  <a:pt x="2928" y="256"/>
                  <a:pt x="2928" y="256"/>
                  <a:pt x="2928" y="256"/>
                </a:cubicBezTo>
                <a:moveTo>
                  <a:pt x="2959" y="255"/>
                </a:moveTo>
                <a:cubicBezTo>
                  <a:pt x="2952" y="255"/>
                  <a:pt x="2948" y="260"/>
                  <a:pt x="2949" y="266"/>
                </a:cubicBezTo>
                <a:cubicBezTo>
                  <a:pt x="2950" y="271"/>
                  <a:pt x="2956" y="276"/>
                  <a:pt x="2962" y="276"/>
                </a:cubicBezTo>
                <a:cubicBezTo>
                  <a:pt x="2968" y="276"/>
                  <a:pt x="2973" y="271"/>
                  <a:pt x="2972" y="266"/>
                </a:cubicBezTo>
                <a:cubicBezTo>
                  <a:pt x="2971" y="260"/>
                  <a:pt x="2965" y="255"/>
                  <a:pt x="2959" y="255"/>
                </a:cubicBezTo>
                <a:cubicBezTo>
                  <a:pt x="2959" y="255"/>
                  <a:pt x="2959" y="255"/>
                  <a:pt x="2959" y="255"/>
                </a:cubicBezTo>
                <a:moveTo>
                  <a:pt x="2991" y="255"/>
                </a:moveTo>
                <a:cubicBezTo>
                  <a:pt x="2985" y="255"/>
                  <a:pt x="2980" y="260"/>
                  <a:pt x="2981" y="265"/>
                </a:cubicBezTo>
                <a:cubicBezTo>
                  <a:pt x="2982" y="271"/>
                  <a:pt x="2988" y="276"/>
                  <a:pt x="2995" y="276"/>
                </a:cubicBezTo>
                <a:cubicBezTo>
                  <a:pt x="3001" y="276"/>
                  <a:pt x="3005" y="271"/>
                  <a:pt x="3004" y="265"/>
                </a:cubicBezTo>
                <a:cubicBezTo>
                  <a:pt x="3003" y="260"/>
                  <a:pt x="2997" y="255"/>
                  <a:pt x="2991" y="255"/>
                </a:cubicBezTo>
                <a:cubicBezTo>
                  <a:pt x="2991" y="255"/>
                  <a:pt x="2991" y="255"/>
                  <a:pt x="2991" y="255"/>
                </a:cubicBezTo>
                <a:moveTo>
                  <a:pt x="3023" y="255"/>
                </a:moveTo>
                <a:cubicBezTo>
                  <a:pt x="3017" y="255"/>
                  <a:pt x="3013" y="260"/>
                  <a:pt x="3014" y="265"/>
                </a:cubicBezTo>
                <a:cubicBezTo>
                  <a:pt x="3015" y="271"/>
                  <a:pt x="3021" y="275"/>
                  <a:pt x="3027" y="275"/>
                </a:cubicBezTo>
                <a:cubicBezTo>
                  <a:pt x="3034" y="275"/>
                  <a:pt x="3038" y="271"/>
                  <a:pt x="3037" y="265"/>
                </a:cubicBezTo>
                <a:cubicBezTo>
                  <a:pt x="3036" y="259"/>
                  <a:pt x="3030" y="255"/>
                  <a:pt x="3024" y="255"/>
                </a:cubicBezTo>
                <a:cubicBezTo>
                  <a:pt x="3024" y="255"/>
                  <a:pt x="3023" y="255"/>
                  <a:pt x="3023" y="255"/>
                </a:cubicBezTo>
                <a:moveTo>
                  <a:pt x="3057" y="255"/>
                </a:moveTo>
                <a:cubicBezTo>
                  <a:pt x="3051" y="255"/>
                  <a:pt x="3047" y="259"/>
                  <a:pt x="3048" y="265"/>
                </a:cubicBezTo>
                <a:cubicBezTo>
                  <a:pt x="3049" y="271"/>
                  <a:pt x="3055" y="275"/>
                  <a:pt x="3061" y="275"/>
                </a:cubicBezTo>
                <a:cubicBezTo>
                  <a:pt x="3068" y="275"/>
                  <a:pt x="3072" y="270"/>
                  <a:pt x="3070" y="265"/>
                </a:cubicBezTo>
                <a:cubicBezTo>
                  <a:pt x="3069" y="259"/>
                  <a:pt x="3063" y="255"/>
                  <a:pt x="3057" y="255"/>
                </a:cubicBezTo>
                <a:cubicBezTo>
                  <a:pt x="3057" y="255"/>
                  <a:pt x="3057" y="255"/>
                  <a:pt x="3057" y="255"/>
                </a:cubicBezTo>
                <a:moveTo>
                  <a:pt x="3089" y="254"/>
                </a:moveTo>
                <a:cubicBezTo>
                  <a:pt x="3083" y="254"/>
                  <a:pt x="3079" y="259"/>
                  <a:pt x="3080" y="265"/>
                </a:cubicBezTo>
                <a:cubicBezTo>
                  <a:pt x="3081" y="270"/>
                  <a:pt x="3087" y="275"/>
                  <a:pt x="3094" y="275"/>
                </a:cubicBezTo>
                <a:cubicBezTo>
                  <a:pt x="3100" y="275"/>
                  <a:pt x="3104" y="270"/>
                  <a:pt x="3103" y="264"/>
                </a:cubicBezTo>
                <a:cubicBezTo>
                  <a:pt x="3102" y="259"/>
                  <a:pt x="3096" y="254"/>
                  <a:pt x="3089" y="254"/>
                </a:cubicBezTo>
                <a:cubicBezTo>
                  <a:pt x="3089" y="254"/>
                  <a:pt x="3089" y="254"/>
                  <a:pt x="3089" y="254"/>
                </a:cubicBezTo>
                <a:moveTo>
                  <a:pt x="3122" y="254"/>
                </a:moveTo>
                <a:cubicBezTo>
                  <a:pt x="3115" y="254"/>
                  <a:pt x="3111" y="259"/>
                  <a:pt x="3113" y="264"/>
                </a:cubicBezTo>
                <a:cubicBezTo>
                  <a:pt x="3114" y="270"/>
                  <a:pt x="3120" y="275"/>
                  <a:pt x="3126" y="275"/>
                </a:cubicBezTo>
                <a:cubicBezTo>
                  <a:pt x="3133" y="275"/>
                  <a:pt x="3137" y="270"/>
                  <a:pt x="3136" y="264"/>
                </a:cubicBezTo>
                <a:cubicBezTo>
                  <a:pt x="3134" y="259"/>
                  <a:pt x="3128" y="254"/>
                  <a:pt x="3122" y="254"/>
                </a:cubicBezTo>
                <a:cubicBezTo>
                  <a:pt x="3122" y="254"/>
                  <a:pt x="3122" y="254"/>
                  <a:pt x="3122" y="254"/>
                </a:cubicBezTo>
                <a:moveTo>
                  <a:pt x="3155" y="254"/>
                </a:moveTo>
                <a:cubicBezTo>
                  <a:pt x="3148" y="254"/>
                  <a:pt x="3144" y="258"/>
                  <a:pt x="3146" y="264"/>
                </a:cubicBezTo>
                <a:cubicBezTo>
                  <a:pt x="3147" y="270"/>
                  <a:pt x="3153" y="274"/>
                  <a:pt x="3160" y="274"/>
                </a:cubicBezTo>
                <a:cubicBezTo>
                  <a:pt x="3166" y="274"/>
                  <a:pt x="3170" y="270"/>
                  <a:pt x="3168" y="264"/>
                </a:cubicBezTo>
                <a:cubicBezTo>
                  <a:pt x="3167" y="258"/>
                  <a:pt x="3161" y="254"/>
                  <a:pt x="3155" y="254"/>
                </a:cubicBezTo>
                <a:cubicBezTo>
                  <a:pt x="3155" y="254"/>
                  <a:pt x="3155" y="254"/>
                  <a:pt x="3155" y="254"/>
                </a:cubicBezTo>
                <a:moveTo>
                  <a:pt x="3187" y="254"/>
                </a:moveTo>
                <a:cubicBezTo>
                  <a:pt x="3181" y="254"/>
                  <a:pt x="3177" y="258"/>
                  <a:pt x="3178" y="264"/>
                </a:cubicBezTo>
                <a:cubicBezTo>
                  <a:pt x="3179" y="270"/>
                  <a:pt x="3186" y="274"/>
                  <a:pt x="3192" y="274"/>
                </a:cubicBezTo>
                <a:cubicBezTo>
                  <a:pt x="3198" y="274"/>
                  <a:pt x="3202" y="269"/>
                  <a:pt x="3201" y="264"/>
                </a:cubicBezTo>
                <a:cubicBezTo>
                  <a:pt x="3199" y="258"/>
                  <a:pt x="3193" y="254"/>
                  <a:pt x="3187" y="254"/>
                </a:cubicBezTo>
                <a:cubicBezTo>
                  <a:pt x="3187" y="254"/>
                  <a:pt x="3187" y="254"/>
                  <a:pt x="3187" y="254"/>
                </a:cubicBezTo>
                <a:moveTo>
                  <a:pt x="3219" y="253"/>
                </a:moveTo>
                <a:cubicBezTo>
                  <a:pt x="3213" y="253"/>
                  <a:pt x="3209" y="258"/>
                  <a:pt x="3211" y="264"/>
                </a:cubicBezTo>
                <a:cubicBezTo>
                  <a:pt x="3212" y="269"/>
                  <a:pt x="3218" y="274"/>
                  <a:pt x="3225" y="274"/>
                </a:cubicBezTo>
                <a:cubicBezTo>
                  <a:pt x="3231" y="274"/>
                  <a:pt x="3235" y="269"/>
                  <a:pt x="3233" y="263"/>
                </a:cubicBezTo>
                <a:cubicBezTo>
                  <a:pt x="3232" y="258"/>
                  <a:pt x="3226" y="253"/>
                  <a:pt x="3219" y="253"/>
                </a:cubicBezTo>
                <a:cubicBezTo>
                  <a:pt x="3219" y="253"/>
                  <a:pt x="3219" y="253"/>
                  <a:pt x="3219" y="253"/>
                </a:cubicBezTo>
                <a:moveTo>
                  <a:pt x="3251" y="253"/>
                </a:moveTo>
                <a:cubicBezTo>
                  <a:pt x="3245" y="253"/>
                  <a:pt x="3241" y="258"/>
                  <a:pt x="3243" y="263"/>
                </a:cubicBezTo>
                <a:cubicBezTo>
                  <a:pt x="3245" y="269"/>
                  <a:pt x="3251" y="274"/>
                  <a:pt x="3257" y="273"/>
                </a:cubicBezTo>
                <a:cubicBezTo>
                  <a:pt x="3264" y="273"/>
                  <a:pt x="3267" y="269"/>
                  <a:pt x="3266" y="263"/>
                </a:cubicBezTo>
                <a:cubicBezTo>
                  <a:pt x="3264" y="257"/>
                  <a:pt x="3258" y="253"/>
                  <a:pt x="3252" y="253"/>
                </a:cubicBezTo>
                <a:cubicBezTo>
                  <a:pt x="3252" y="253"/>
                  <a:pt x="3251" y="253"/>
                  <a:pt x="3251" y="253"/>
                </a:cubicBezTo>
                <a:moveTo>
                  <a:pt x="3284" y="253"/>
                </a:moveTo>
                <a:cubicBezTo>
                  <a:pt x="3277" y="253"/>
                  <a:pt x="3274" y="257"/>
                  <a:pt x="3275" y="263"/>
                </a:cubicBezTo>
                <a:cubicBezTo>
                  <a:pt x="3277" y="269"/>
                  <a:pt x="3283" y="273"/>
                  <a:pt x="3290" y="273"/>
                </a:cubicBezTo>
                <a:cubicBezTo>
                  <a:pt x="3296" y="273"/>
                  <a:pt x="3300" y="269"/>
                  <a:pt x="3298" y="263"/>
                </a:cubicBezTo>
                <a:cubicBezTo>
                  <a:pt x="3296" y="257"/>
                  <a:pt x="3290" y="253"/>
                  <a:pt x="3284" y="253"/>
                </a:cubicBezTo>
                <a:cubicBezTo>
                  <a:pt x="3284" y="253"/>
                  <a:pt x="3284" y="253"/>
                  <a:pt x="3284" y="253"/>
                </a:cubicBezTo>
                <a:moveTo>
                  <a:pt x="3316" y="252"/>
                </a:moveTo>
                <a:cubicBezTo>
                  <a:pt x="3310" y="252"/>
                  <a:pt x="3306" y="257"/>
                  <a:pt x="3308" y="263"/>
                </a:cubicBezTo>
                <a:cubicBezTo>
                  <a:pt x="3309" y="268"/>
                  <a:pt x="3316" y="273"/>
                  <a:pt x="3322" y="273"/>
                </a:cubicBezTo>
                <a:cubicBezTo>
                  <a:pt x="3329" y="273"/>
                  <a:pt x="3332" y="268"/>
                  <a:pt x="3330" y="263"/>
                </a:cubicBezTo>
                <a:cubicBezTo>
                  <a:pt x="3329" y="257"/>
                  <a:pt x="3322" y="252"/>
                  <a:pt x="3316" y="252"/>
                </a:cubicBezTo>
                <a:cubicBezTo>
                  <a:pt x="3316" y="252"/>
                  <a:pt x="3316" y="252"/>
                  <a:pt x="3316" y="252"/>
                </a:cubicBezTo>
                <a:moveTo>
                  <a:pt x="3348" y="252"/>
                </a:moveTo>
                <a:cubicBezTo>
                  <a:pt x="3342" y="252"/>
                  <a:pt x="3339" y="257"/>
                  <a:pt x="3340" y="263"/>
                </a:cubicBezTo>
                <a:cubicBezTo>
                  <a:pt x="3342" y="268"/>
                  <a:pt x="3349" y="273"/>
                  <a:pt x="3355" y="273"/>
                </a:cubicBezTo>
                <a:cubicBezTo>
                  <a:pt x="3361" y="273"/>
                  <a:pt x="3365" y="268"/>
                  <a:pt x="3363" y="262"/>
                </a:cubicBezTo>
                <a:cubicBezTo>
                  <a:pt x="3361" y="257"/>
                  <a:pt x="3355" y="252"/>
                  <a:pt x="3349" y="252"/>
                </a:cubicBezTo>
                <a:cubicBezTo>
                  <a:pt x="3349" y="252"/>
                  <a:pt x="3348" y="252"/>
                  <a:pt x="3348" y="252"/>
                </a:cubicBezTo>
                <a:moveTo>
                  <a:pt x="3382" y="252"/>
                </a:moveTo>
                <a:cubicBezTo>
                  <a:pt x="3376" y="252"/>
                  <a:pt x="3372" y="257"/>
                  <a:pt x="3374" y="262"/>
                </a:cubicBezTo>
                <a:cubicBezTo>
                  <a:pt x="3376" y="268"/>
                  <a:pt x="3382" y="272"/>
                  <a:pt x="3389" y="272"/>
                </a:cubicBezTo>
                <a:cubicBezTo>
                  <a:pt x="3395" y="272"/>
                  <a:pt x="3399" y="268"/>
                  <a:pt x="3397" y="262"/>
                </a:cubicBezTo>
                <a:cubicBezTo>
                  <a:pt x="3395" y="256"/>
                  <a:pt x="3388" y="252"/>
                  <a:pt x="3382" y="252"/>
                </a:cubicBezTo>
                <a:cubicBezTo>
                  <a:pt x="3382" y="252"/>
                  <a:pt x="3382" y="252"/>
                  <a:pt x="3382" y="252"/>
                </a:cubicBezTo>
                <a:moveTo>
                  <a:pt x="3414" y="252"/>
                </a:moveTo>
                <a:cubicBezTo>
                  <a:pt x="3408" y="252"/>
                  <a:pt x="3404" y="256"/>
                  <a:pt x="3406" y="262"/>
                </a:cubicBezTo>
                <a:cubicBezTo>
                  <a:pt x="3408" y="268"/>
                  <a:pt x="3415" y="272"/>
                  <a:pt x="3421" y="272"/>
                </a:cubicBezTo>
                <a:cubicBezTo>
                  <a:pt x="3427" y="272"/>
                  <a:pt x="3431" y="267"/>
                  <a:pt x="3429" y="262"/>
                </a:cubicBezTo>
                <a:cubicBezTo>
                  <a:pt x="3427" y="256"/>
                  <a:pt x="3420" y="252"/>
                  <a:pt x="3414" y="252"/>
                </a:cubicBezTo>
                <a:cubicBezTo>
                  <a:pt x="3414" y="252"/>
                  <a:pt x="3414" y="252"/>
                  <a:pt x="3414" y="252"/>
                </a:cubicBezTo>
                <a:moveTo>
                  <a:pt x="3447" y="251"/>
                </a:moveTo>
                <a:cubicBezTo>
                  <a:pt x="3440" y="251"/>
                  <a:pt x="3437" y="256"/>
                  <a:pt x="3439" y="262"/>
                </a:cubicBezTo>
                <a:cubicBezTo>
                  <a:pt x="3441" y="267"/>
                  <a:pt x="3448" y="272"/>
                  <a:pt x="3454" y="272"/>
                </a:cubicBezTo>
                <a:cubicBezTo>
                  <a:pt x="3460" y="272"/>
                  <a:pt x="3464" y="267"/>
                  <a:pt x="3462" y="262"/>
                </a:cubicBezTo>
                <a:cubicBezTo>
                  <a:pt x="3460" y="256"/>
                  <a:pt x="3453" y="251"/>
                  <a:pt x="3447" y="251"/>
                </a:cubicBezTo>
                <a:cubicBezTo>
                  <a:pt x="3447" y="251"/>
                  <a:pt x="3447" y="251"/>
                  <a:pt x="3447" y="251"/>
                </a:cubicBezTo>
                <a:moveTo>
                  <a:pt x="3479" y="251"/>
                </a:moveTo>
                <a:cubicBezTo>
                  <a:pt x="3473" y="251"/>
                  <a:pt x="3470" y="256"/>
                  <a:pt x="3472" y="261"/>
                </a:cubicBezTo>
                <a:cubicBezTo>
                  <a:pt x="3474" y="267"/>
                  <a:pt x="3481" y="272"/>
                  <a:pt x="3487" y="272"/>
                </a:cubicBezTo>
                <a:cubicBezTo>
                  <a:pt x="3493" y="272"/>
                  <a:pt x="3497" y="267"/>
                  <a:pt x="3495" y="261"/>
                </a:cubicBezTo>
                <a:cubicBezTo>
                  <a:pt x="3492" y="256"/>
                  <a:pt x="3486" y="251"/>
                  <a:pt x="3480" y="251"/>
                </a:cubicBezTo>
                <a:cubicBezTo>
                  <a:pt x="3479" y="251"/>
                  <a:pt x="3479" y="251"/>
                  <a:pt x="3479" y="251"/>
                </a:cubicBezTo>
                <a:moveTo>
                  <a:pt x="3512" y="251"/>
                </a:moveTo>
                <a:cubicBezTo>
                  <a:pt x="3505" y="251"/>
                  <a:pt x="3502" y="255"/>
                  <a:pt x="3504" y="261"/>
                </a:cubicBezTo>
                <a:cubicBezTo>
                  <a:pt x="3506" y="267"/>
                  <a:pt x="3513" y="271"/>
                  <a:pt x="3519" y="271"/>
                </a:cubicBezTo>
                <a:cubicBezTo>
                  <a:pt x="3526" y="271"/>
                  <a:pt x="3529" y="267"/>
                  <a:pt x="3527" y="261"/>
                </a:cubicBezTo>
                <a:cubicBezTo>
                  <a:pt x="3525" y="255"/>
                  <a:pt x="3518" y="251"/>
                  <a:pt x="3512" y="251"/>
                </a:cubicBezTo>
                <a:cubicBezTo>
                  <a:pt x="3512" y="251"/>
                  <a:pt x="3512" y="251"/>
                  <a:pt x="3512" y="251"/>
                </a:cubicBezTo>
                <a:moveTo>
                  <a:pt x="3544" y="251"/>
                </a:moveTo>
                <a:cubicBezTo>
                  <a:pt x="3538" y="251"/>
                  <a:pt x="3534" y="255"/>
                  <a:pt x="3537" y="261"/>
                </a:cubicBezTo>
                <a:cubicBezTo>
                  <a:pt x="3539" y="267"/>
                  <a:pt x="3546" y="271"/>
                  <a:pt x="3552" y="271"/>
                </a:cubicBezTo>
                <a:cubicBezTo>
                  <a:pt x="3558" y="271"/>
                  <a:pt x="3562" y="266"/>
                  <a:pt x="3559" y="261"/>
                </a:cubicBezTo>
                <a:cubicBezTo>
                  <a:pt x="3557" y="255"/>
                  <a:pt x="3550" y="251"/>
                  <a:pt x="3544" y="251"/>
                </a:cubicBezTo>
                <a:cubicBezTo>
                  <a:pt x="3544" y="251"/>
                  <a:pt x="3544" y="251"/>
                  <a:pt x="3544" y="251"/>
                </a:cubicBezTo>
                <a:moveTo>
                  <a:pt x="3576" y="250"/>
                </a:moveTo>
                <a:cubicBezTo>
                  <a:pt x="3570" y="250"/>
                  <a:pt x="3567" y="255"/>
                  <a:pt x="3569" y="261"/>
                </a:cubicBezTo>
                <a:cubicBezTo>
                  <a:pt x="3571" y="266"/>
                  <a:pt x="3578" y="271"/>
                  <a:pt x="3585" y="271"/>
                </a:cubicBezTo>
                <a:cubicBezTo>
                  <a:pt x="3591" y="271"/>
                  <a:pt x="3594" y="266"/>
                  <a:pt x="3592" y="260"/>
                </a:cubicBezTo>
                <a:cubicBezTo>
                  <a:pt x="3589" y="255"/>
                  <a:pt x="3583" y="250"/>
                  <a:pt x="3576" y="250"/>
                </a:cubicBezTo>
                <a:cubicBezTo>
                  <a:pt x="3576" y="250"/>
                  <a:pt x="3576" y="250"/>
                  <a:pt x="3576" y="250"/>
                </a:cubicBezTo>
                <a:moveTo>
                  <a:pt x="3609" y="250"/>
                </a:moveTo>
                <a:cubicBezTo>
                  <a:pt x="3603" y="250"/>
                  <a:pt x="3600" y="255"/>
                  <a:pt x="3602" y="260"/>
                </a:cubicBezTo>
                <a:cubicBezTo>
                  <a:pt x="3604" y="266"/>
                  <a:pt x="3611" y="271"/>
                  <a:pt x="3618" y="271"/>
                </a:cubicBezTo>
                <a:cubicBezTo>
                  <a:pt x="3624" y="270"/>
                  <a:pt x="3627" y="266"/>
                  <a:pt x="3625" y="260"/>
                </a:cubicBezTo>
                <a:cubicBezTo>
                  <a:pt x="3622" y="254"/>
                  <a:pt x="3616" y="250"/>
                  <a:pt x="3609" y="250"/>
                </a:cubicBezTo>
                <a:cubicBezTo>
                  <a:pt x="3609" y="250"/>
                  <a:pt x="3609" y="250"/>
                  <a:pt x="3609" y="250"/>
                </a:cubicBezTo>
                <a:moveTo>
                  <a:pt x="3642" y="250"/>
                </a:moveTo>
                <a:cubicBezTo>
                  <a:pt x="3635" y="250"/>
                  <a:pt x="3632" y="254"/>
                  <a:pt x="3635" y="260"/>
                </a:cubicBezTo>
                <a:cubicBezTo>
                  <a:pt x="3637" y="266"/>
                  <a:pt x="3644" y="270"/>
                  <a:pt x="3650" y="270"/>
                </a:cubicBezTo>
                <a:cubicBezTo>
                  <a:pt x="3657" y="270"/>
                  <a:pt x="3660" y="266"/>
                  <a:pt x="3657" y="260"/>
                </a:cubicBezTo>
                <a:cubicBezTo>
                  <a:pt x="3655" y="254"/>
                  <a:pt x="3648" y="250"/>
                  <a:pt x="3642" y="250"/>
                </a:cubicBezTo>
                <a:cubicBezTo>
                  <a:pt x="3642" y="250"/>
                  <a:pt x="3642" y="250"/>
                  <a:pt x="3642" y="250"/>
                </a:cubicBezTo>
                <a:moveTo>
                  <a:pt x="3675" y="249"/>
                </a:moveTo>
                <a:cubicBezTo>
                  <a:pt x="3669" y="249"/>
                  <a:pt x="3666" y="254"/>
                  <a:pt x="3668" y="260"/>
                </a:cubicBezTo>
                <a:cubicBezTo>
                  <a:pt x="3671" y="265"/>
                  <a:pt x="3678" y="270"/>
                  <a:pt x="3684" y="270"/>
                </a:cubicBezTo>
                <a:cubicBezTo>
                  <a:pt x="3690" y="270"/>
                  <a:pt x="3694" y="265"/>
                  <a:pt x="3691" y="260"/>
                </a:cubicBezTo>
                <a:cubicBezTo>
                  <a:pt x="3688" y="254"/>
                  <a:pt x="3681" y="249"/>
                  <a:pt x="3675" y="249"/>
                </a:cubicBezTo>
                <a:cubicBezTo>
                  <a:pt x="3675" y="249"/>
                  <a:pt x="3675" y="249"/>
                  <a:pt x="3675" y="249"/>
                </a:cubicBezTo>
                <a:moveTo>
                  <a:pt x="181" y="249"/>
                </a:moveTo>
                <a:cubicBezTo>
                  <a:pt x="175" y="249"/>
                  <a:pt x="166" y="254"/>
                  <a:pt x="161" y="260"/>
                </a:cubicBezTo>
                <a:cubicBezTo>
                  <a:pt x="156" y="265"/>
                  <a:pt x="157" y="270"/>
                  <a:pt x="163" y="270"/>
                </a:cubicBezTo>
                <a:cubicBezTo>
                  <a:pt x="170" y="269"/>
                  <a:pt x="179" y="265"/>
                  <a:pt x="184" y="259"/>
                </a:cubicBezTo>
                <a:cubicBezTo>
                  <a:pt x="189" y="254"/>
                  <a:pt x="187" y="249"/>
                  <a:pt x="181" y="249"/>
                </a:cubicBezTo>
                <a:cubicBezTo>
                  <a:pt x="181" y="249"/>
                  <a:pt x="181" y="249"/>
                  <a:pt x="181" y="249"/>
                </a:cubicBezTo>
                <a:moveTo>
                  <a:pt x="3707" y="249"/>
                </a:moveTo>
                <a:cubicBezTo>
                  <a:pt x="3701" y="249"/>
                  <a:pt x="3698" y="254"/>
                  <a:pt x="3701" y="260"/>
                </a:cubicBezTo>
                <a:cubicBezTo>
                  <a:pt x="3703" y="265"/>
                  <a:pt x="3710" y="270"/>
                  <a:pt x="3717" y="270"/>
                </a:cubicBezTo>
                <a:cubicBezTo>
                  <a:pt x="3723" y="270"/>
                  <a:pt x="3726" y="265"/>
                  <a:pt x="3723" y="259"/>
                </a:cubicBezTo>
                <a:cubicBezTo>
                  <a:pt x="3721" y="254"/>
                  <a:pt x="3714" y="249"/>
                  <a:pt x="3707" y="249"/>
                </a:cubicBezTo>
                <a:cubicBezTo>
                  <a:pt x="3707" y="249"/>
                  <a:pt x="3707" y="249"/>
                  <a:pt x="3707" y="249"/>
                </a:cubicBezTo>
                <a:moveTo>
                  <a:pt x="213" y="249"/>
                </a:moveTo>
                <a:cubicBezTo>
                  <a:pt x="207" y="249"/>
                  <a:pt x="198" y="254"/>
                  <a:pt x="193" y="259"/>
                </a:cubicBezTo>
                <a:cubicBezTo>
                  <a:pt x="188" y="265"/>
                  <a:pt x="189" y="269"/>
                  <a:pt x="196" y="269"/>
                </a:cubicBezTo>
                <a:cubicBezTo>
                  <a:pt x="202" y="269"/>
                  <a:pt x="211" y="265"/>
                  <a:pt x="216" y="259"/>
                </a:cubicBezTo>
                <a:cubicBezTo>
                  <a:pt x="221" y="254"/>
                  <a:pt x="220" y="249"/>
                  <a:pt x="213" y="249"/>
                </a:cubicBezTo>
                <a:cubicBezTo>
                  <a:pt x="213" y="249"/>
                  <a:pt x="213" y="249"/>
                  <a:pt x="213" y="249"/>
                </a:cubicBezTo>
                <a:moveTo>
                  <a:pt x="3740" y="249"/>
                </a:moveTo>
                <a:cubicBezTo>
                  <a:pt x="3733" y="249"/>
                  <a:pt x="3731" y="254"/>
                  <a:pt x="3733" y="259"/>
                </a:cubicBezTo>
                <a:cubicBezTo>
                  <a:pt x="3736" y="265"/>
                  <a:pt x="3743" y="269"/>
                  <a:pt x="3749" y="269"/>
                </a:cubicBezTo>
                <a:cubicBezTo>
                  <a:pt x="3756" y="269"/>
                  <a:pt x="3759" y="265"/>
                  <a:pt x="3756" y="259"/>
                </a:cubicBezTo>
                <a:cubicBezTo>
                  <a:pt x="3753" y="253"/>
                  <a:pt x="3746" y="249"/>
                  <a:pt x="3740" y="249"/>
                </a:cubicBezTo>
                <a:cubicBezTo>
                  <a:pt x="3740" y="249"/>
                  <a:pt x="3740" y="249"/>
                  <a:pt x="3740" y="249"/>
                </a:cubicBezTo>
                <a:moveTo>
                  <a:pt x="246" y="249"/>
                </a:moveTo>
                <a:cubicBezTo>
                  <a:pt x="240" y="249"/>
                  <a:pt x="231" y="253"/>
                  <a:pt x="226" y="259"/>
                </a:cubicBezTo>
                <a:cubicBezTo>
                  <a:pt x="221" y="265"/>
                  <a:pt x="222" y="269"/>
                  <a:pt x="228" y="269"/>
                </a:cubicBezTo>
                <a:cubicBezTo>
                  <a:pt x="235" y="269"/>
                  <a:pt x="244" y="264"/>
                  <a:pt x="248" y="259"/>
                </a:cubicBezTo>
                <a:cubicBezTo>
                  <a:pt x="253" y="253"/>
                  <a:pt x="252" y="249"/>
                  <a:pt x="246" y="249"/>
                </a:cubicBezTo>
                <a:cubicBezTo>
                  <a:pt x="246" y="249"/>
                  <a:pt x="246" y="249"/>
                  <a:pt x="246" y="249"/>
                </a:cubicBezTo>
                <a:moveTo>
                  <a:pt x="3772" y="249"/>
                </a:moveTo>
                <a:cubicBezTo>
                  <a:pt x="3766" y="249"/>
                  <a:pt x="3763" y="253"/>
                  <a:pt x="3766" y="259"/>
                </a:cubicBezTo>
                <a:cubicBezTo>
                  <a:pt x="3769" y="265"/>
                  <a:pt x="3776" y="269"/>
                  <a:pt x="3782" y="269"/>
                </a:cubicBezTo>
                <a:cubicBezTo>
                  <a:pt x="3789" y="269"/>
                  <a:pt x="3792" y="264"/>
                  <a:pt x="3789" y="259"/>
                </a:cubicBezTo>
                <a:cubicBezTo>
                  <a:pt x="3786" y="253"/>
                  <a:pt x="3779" y="249"/>
                  <a:pt x="3773" y="249"/>
                </a:cubicBezTo>
                <a:cubicBezTo>
                  <a:pt x="3773" y="249"/>
                  <a:pt x="3773" y="249"/>
                  <a:pt x="3772" y="249"/>
                </a:cubicBezTo>
                <a:moveTo>
                  <a:pt x="278" y="248"/>
                </a:moveTo>
                <a:cubicBezTo>
                  <a:pt x="272" y="249"/>
                  <a:pt x="263" y="253"/>
                  <a:pt x="258" y="259"/>
                </a:cubicBezTo>
                <a:cubicBezTo>
                  <a:pt x="253" y="264"/>
                  <a:pt x="254" y="269"/>
                  <a:pt x="261" y="269"/>
                </a:cubicBezTo>
                <a:cubicBezTo>
                  <a:pt x="267" y="269"/>
                  <a:pt x="276" y="264"/>
                  <a:pt x="281" y="259"/>
                </a:cubicBezTo>
                <a:cubicBezTo>
                  <a:pt x="285" y="253"/>
                  <a:pt x="284" y="248"/>
                  <a:pt x="278" y="248"/>
                </a:cubicBezTo>
                <a:cubicBezTo>
                  <a:pt x="278" y="248"/>
                  <a:pt x="278" y="248"/>
                  <a:pt x="278" y="248"/>
                </a:cubicBezTo>
                <a:moveTo>
                  <a:pt x="3805" y="248"/>
                </a:moveTo>
                <a:cubicBezTo>
                  <a:pt x="3798" y="248"/>
                  <a:pt x="3796" y="253"/>
                  <a:pt x="3798" y="259"/>
                </a:cubicBezTo>
                <a:cubicBezTo>
                  <a:pt x="3801" y="264"/>
                  <a:pt x="3808" y="269"/>
                  <a:pt x="3815" y="269"/>
                </a:cubicBezTo>
                <a:cubicBezTo>
                  <a:pt x="3821" y="269"/>
                  <a:pt x="3824" y="264"/>
                  <a:pt x="3821" y="259"/>
                </a:cubicBezTo>
                <a:cubicBezTo>
                  <a:pt x="3818" y="253"/>
                  <a:pt x="3811" y="248"/>
                  <a:pt x="3805" y="248"/>
                </a:cubicBezTo>
                <a:cubicBezTo>
                  <a:pt x="3805" y="248"/>
                  <a:pt x="3805" y="248"/>
                  <a:pt x="3805" y="248"/>
                </a:cubicBezTo>
                <a:moveTo>
                  <a:pt x="310" y="248"/>
                </a:moveTo>
                <a:cubicBezTo>
                  <a:pt x="304" y="248"/>
                  <a:pt x="295" y="253"/>
                  <a:pt x="290" y="258"/>
                </a:cubicBezTo>
                <a:cubicBezTo>
                  <a:pt x="286" y="264"/>
                  <a:pt x="287" y="268"/>
                  <a:pt x="293" y="268"/>
                </a:cubicBezTo>
                <a:cubicBezTo>
                  <a:pt x="299" y="268"/>
                  <a:pt x="308" y="264"/>
                  <a:pt x="313" y="258"/>
                </a:cubicBezTo>
                <a:cubicBezTo>
                  <a:pt x="318" y="253"/>
                  <a:pt x="316" y="248"/>
                  <a:pt x="310" y="248"/>
                </a:cubicBezTo>
                <a:cubicBezTo>
                  <a:pt x="310" y="248"/>
                  <a:pt x="310" y="248"/>
                  <a:pt x="310" y="248"/>
                </a:cubicBezTo>
                <a:moveTo>
                  <a:pt x="3837" y="248"/>
                </a:moveTo>
                <a:cubicBezTo>
                  <a:pt x="3831" y="248"/>
                  <a:pt x="3828" y="253"/>
                  <a:pt x="3831" y="258"/>
                </a:cubicBezTo>
                <a:cubicBezTo>
                  <a:pt x="3834" y="264"/>
                  <a:pt x="3841" y="269"/>
                  <a:pt x="3847" y="269"/>
                </a:cubicBezTo>
                <a:cubicBezTo>
                  <a:pt x="3854" y="269"/>
                  <a:pt x="3856" y="264"/>
                  <a:pt x="3854" y="258"/>
                </a:cubicBezTo>
                <a:cubicBezTo>
                  <a:pt x="3851" y="253"/>
                  <a:pt x="3843" y="248"/>
                  <a:pt x="3837" y="248"/>
                </a:cubicBezTo>
                <a:cubicBezTo>
                  <a:pt x="3837" y="248"/>
                  <a:pt x="3837" y="248"/>
                  <a:pt x="3837" y="248"/>
                </a:cubicBezTo>
                <a:moveTo>
                  <a:pt x="342" y="248"/>
                </a:moveTo>
                <a:cubicBezTo>
                  <a:pt x="336" y="248"/>
                  <a:pt x="327" y="253"/>
                  <a:pt x="323" y="258"/>
                </a:cubicBezTo>
                <a:cubicBezTo>
                  <a:pt x="318" y="264"/>
                  <a:pt x="319" y="268"/>
                  <a:pt x="326" y="268"/>
                </a:cubicBezTo>
                <a:cubicBezTo>
                  <a:pt x="332" y="268"/>
                  <a:pt x="341" y="264"/>
                  <a:pt x="345" y="258"/>
                </a:cubicBezTo>
                <a:cubicBezTo>
                  <a:pt x="350" y="252"/>
                  <a:pt x="349" y="248"/>
                  <a:pt x="343" y="248"/>
                </a:cubicBezTo>
                <a:cubicBezTo>
                  <a:pt x="342" y="248"/>
                  <a:pt x="342" y="248"/>
                  <a:pt x="342" y="248"/>
                </a:cubicBezTo>
                <a:moveTo>
                  <a:pt x="3869" y="248"/>
                </a:moveTo>
                <a:cubicBezTo>
                  <a:pt x="3863" y="248"/>
                  <a:pt x="3860" y="252"/>
                  <a:pt x="3863" y="258"/>
                </a:cubicBezTo>
                <a:cubicBezTo>
                  <a:pt x="3866" y="264"/>
                  <a:pt x="3873" y="268"/>
                  <a:pt x="3880" y="268"/>
                </a:cubicBezTo>
                <a:cubicBezTo>
                  <a:pt x="3886" y="268"/>
                  <a:pt x="3889" y="264"/>
                  <a:pt x="3886" y="258"/>
                </a:cubicBezTo>
                <a:cubicBezTo>
                  <a:pt x="3883" y="252"/>
                  <a:pt x="3876" y="248"/>
                  <a:pt x="3869" y="248"/>
                </a:cubicBezTo>
                <a:cubicBezTo>
                  <a:pt x="3869" y="248"/>
                  <a:pt x="3869" y="248"/>
                  <a:pt x="3869" y="248"/>
                </a:cubicBezTo>
                <a:moveTo>
                  <a:pt x="376" y="248"/>
                </a:moveTo>
                <a:cubicBezTo>
                  <a:pt x="370" y="248"/>
                  <a:pt x="361" y="252"/>
                  <a:pt x="357" y="258"/>
                </a:cubicBezTo>
                <a:cubicBezTo>
                  <a:pt x="352" y="263"/>
                  <a:pt x="353" y="268"/>
                  <a:pt x="360" y="268"/>
                </a:cubicBezTo>
                <a:cubicBezTo>
                  <a:pt x="366" y="268"/>
                  <a:pt x="375" y="263"/>
                  <a:pt x="379" y="258"/>
                </a:cubicBezTo>
                <a:cubicBezTo>
                  <a:pt x="384" y="252"/>
                  <a:pt x="382" y="248"/>
                  <a:pt x="376" y="248"/>
                </a:cubicBezTo>
                <a:cubicBezTo>
                  <a:pt x="376" y="248"/>
                  <a:pt x="376" y="248"/>
                  <a:pt x="376" y="248"/>
                </a:cubicBezTo>
                <a:moveTo>
                  <a:pt x="3901" y="248"/>
                </a:moveTo>
                <a:cubicBezTo>
                  <a:pt x="3895" y="248"/>
                  <a:pt x="3893" y="252"/>
                  <a:pt x="3895" y="258"/>
                </a:cubicBezTo>
                <a:cubicBezTo>
                  <a:pt x="3898" y="264"/>
                  <a:pt x="3906" y="268"/>
                  <a:pt x="3912" y="268"/>
                </a:cubicBezTo>
                <a:cubicBezTo>
                  <a:pt x="3919" y="268"/>
                  <a:pt x="3921" y="263"/>
                  <a:pt x="3918" y="258"/>
                </a:cubicBezTo>
                <a:cubicBezTo>
                  <a:pt x="3915" y="252"/>
                  <a:pt x="3908" y="247"/>
                  <a:pt x="3902" y="247"/>
                </a:cubicBezTo>
                <a:cubicBezTo>
                  <a:pt x="3902" y="247"/>
                  <a:pt x="3901" y="248"/>
                  <a:pt x="3901" y="248"/>
                </a:cubicBezTo>
                <a:moveTo>
                  <a:pt x="408" y="247"/>
                </a:moveTo>
                <a:cubicBezTo>
                  <a:pt x="402" y="247"/>
                  <a:pt x="393" y="252"/>
                  <a:pt x="389" y="258"/>
                </a:cubicBezTo>
                <a:cubicBezTo>
                  <a:pt x="384" y="263"/>
                  <a:pt x="386" y="268"/>
                  <a:pt x="392" y="268"/>
                </a:cubicBezTo>
                <a:cubicBezTo>
                  <a:pt x="398" y="268"/>
                  <a:pt x="407" y="263"/>
                  <a:pt x="412" y="257"/>
                </a:cubicBezTo>
                <a:cubicBezTo>
                  <a:pt x="416" y="252"/>
                  <a:pt x="415" y="247"/>
                  <a:pt x="408" y="247"/>
                </a:cubicBezTo>
                <a:cubicBezTo>
                  <a:pt x="408" y="247"/>
                  <a:pt x="408" y="247"/>
                  <a:pt x="408" y="247"/>
                </a:cubicBezTo>
                <a:moveTo>
                  <a:pt x="3934" y="247"/>
                </a:moveTo>
                <a:cubicBezTo>
                  <a:pt x="3927" y="247"/>
                  <a:pt x="3925" y="252"/>
                  <a:pt x="3928" y="258"/>
                </a:cubicBezTo>
                <a:cubicBezTo>
                  <a:pt x="3931" y="263"/>
                  <a:pt x="3938" y="268"/>
                  <a:pt x="3945" y="268"/>
                </a:cubicBezTo>
                <a:cubicBezTo>
                  <a:pt x="3951" y="268"/>
                  <a:pt x="3954" y="263"/>
                  <a:pt x="3951" y="257"/>
                </a:cubicBezTo>
                <a:cubicBezTo>
                  <a:pt x="3947" y="252"/>
                  <a:pt x="3940" y="247"/>
                  <a:pt x="3934" y="247"/>
                </a:cubicBezTo>
                <a:cubicBezTo>
                  <a:pt x="3934" y="247"/>
                  <a:pt x="3934" y="247"/>
                  <a:pt x="3934" y="247"/>
                </a:cubicBezTo>
                <a:moveTo>
                  <a:pt x="441" y="247"/>
                </a:moveTo>
                <a:cubicBezTo>
                  <a:pt x="434" y="247"/>
                  <a:pt x="426" y="252"/>
                  <a:pt x="421" y="257"/>
                </a:cubicBezTo>
                <a:cubicBezTo>
                  <a:pt x="417" y="263"/>
                  <a:pt x="418" y="267"/>
                  <a:pt x="425" y="267"/>
                </a:cubicBezTo>
                <a:cubicBezTo>
                  <a:pt x="431" y="267"/>
                  <a:pt x="440" y="263"/>
                  <a:pt x="444" y="257"/>
                </a:cubicBezTo>
                <a:cubicBezTo>
                  <a:pt x="448" y="252"/>
                  <a:pt x="447" y="247"/>
                  <a:pt x="441" y="247"/>
                </a:cubicBezTo>
                <a:cubicBezTo>
                  <a:pt x="441" y="247"/>
                  <a:pt x="441" y="247"/>
                  <a:pt x="441" y="247"/>
                </a:cubicBezTo>
                <a:moveTo>
                  <a:pt x="474" y="247"/>
                </a:moveTo>
                <a:cubicBezTo>
                  <a:pt x="468" y="247"/>
                  <a:pt x="459" y="251"/>
                  <a:pt x="455" y="257"/>
                </a:cubicBezTo>
                <a:cubicBezTo>
                  <a:pt x="451" y="263"/>
                  <a:pt x="452" y="267"/>
                  <a:pt x="459" y="267"/>
                </a:cubicBezTo>
                <a:cubicBezTo>
                  <a:pt x="465" y="267"/>
                  <a:pt x="473" y="262"/>
                  <a:pt x="478" y="257"/>
                </a:cubicBezTo>
                <a:cubicBezTo>
                  <a:pt x="482" y="251"/>
                  <a:pt x="480" y="247"/>
                  <a:pt x="474" y="247"/>
                </a:cubicBezTo>
                <a:cubicBezTo>
                  <a:pt x="474" y="247"/>
                  <a:pt x="474" y="247"/>
                  <a:pt x="474" y="247"/>
                </a:cubicBezTo>
                <a:moveTo>
                  <a:pt x="506" y="247"/>
                </a:moveTo>
                <a:cubicBezTo>
                  <a:pt x="500" y="247"/>
                  <a:pt x="492" y="251"/>
                  <a:pt x="487" y="257"/>
                </a:cubicBezTo>
                <a:cubicBezTo>
                  <a:pt x="483" y="262"/>
                  <a:pt x="485" y="267"/>
                  <a:pt x="491" y="267"/>
                </a:cubicBezTo>
                <a:cubicBezTo>
                  <a:pt x="497" y="267"/>
                  <a:pt x="506" y="262"/>
                  <a:pt x="510" y="257"/>
                </a:cubicBezTo>
                <a:cubicBezTo>
                  <a:pt x="514" y="251"/>
                  <a:pt x="513" y="247"/>
                  <a:pt x="506" y="247"/>
                </a:cubicBezTo>
                <a:cubicBezTo>
                  <a:pt x="506" y="247"/>
                  <a:pt x="506" y="247"/>
                  <a:pt x="506" y="247"/>
                </a:cubicBezTo>
                <a:moveTo>
                  <a:pt x="539" y="246"/>
                </a:moveTo>
                <a:cubicBezTo>
                  <a:pt x="532" y="246"/>
                  <a:pt x="524" y="251"/>
                  <a:pt x="520" y="256"/>
                </a:cubicBezTo>
                <a:cubicBezTo>
                  <a:pt x="516" y="262"/>
                  <a:pt x="517" y="267"/>
                  <a:pt x="524" y="267"/>
                </a:cubicBezTo>
                <a:cubicBezTo>
                  <a:pt x="530" y="266"/>
                  <a:pt x="538" y="262"/>
                  <a:pt x="542" y="256"/>
                </a:cubicBezTo>
                <a:cubicBezTo>
                  <a:pt x="547" y="251"/>
                  <a:pt x="545" y="246"/>
                  <a:pt x="539" y="246"/>
                </a:cubicBezTo>
                <a:cubicBezTo>
                  <a:pt x="539" y="246"/>
                  <a:pt x="539" y="246"/>
                  <a:pt x="539" y="246"/>
                </a:cubicBezTo>
                <a:moveTo>
                  <a:pt x="4063" y="246"/>
                </a:moveTo>
                <a:cubicBezTo>
                  <a:pt x="4057" y="246"/>
                  <a:pt x="4055" y="251"/>
                  <a:pt x="4058" y="257"/>
                </a:cubicBezTo>
                <a:cubicBezTo>
                  <a:pt x="4061" y="262"/>
                  <a:pt x="4069" y="267"/>
                  <a:pt x="4075" y="267"/>
                </a:cubicBezTo>
                <a:cubicBezTo>
                  <a:pt x="4082" y="267"/>
                  <a:pt x="4084" y="262"/>
                  <a:pt x="4081" y="256"/>
                </a:cubicBezTo>
                <a:cubicBezTo>
                  <a:pt x="4077" y="251"/>
                  <a:pt x="4070" y="246"/>
                  <a:pt x="4063" y="246"/>
                </a:cubicBezTo>
                <a:cubicBezTo>
                  <a:pt x="4063" y="246"/>
                  <a:pt x="4063" y="246"/>
                  <a:pt x="4063" y="246"/>
                </a:cubicBezTo>
                <a:moveTo>
                  <a:pt x="571" y="246"/>
                </a:moveTo>
                <a:cubicBezTo>
                  <a:pt x="565" y="246"/>
                  <a:pt x="556" y="251"/>
                  <a:pt x="552" y="256"/>
                </a:cubicBezTo>
                <a:cubicBezTo>
                  <a:pt x="548" y="262"/>
                  <a:pt x="550" y="266"/>
                  <a:pt x="556" y="266"/>
                </a:cubicBezTo>
                <a:cubicBezTo>
                  <a:pt x="562" y="266"/>
                  <a:pt x="571" y="262"/>
                  <a:pt x="575" y="256"/>
                </a:cubicBezTo>
                <a:cubicBezTo>
                  <a:pt x="579" y="250"/>
                  <a:pt x="577" y="246"/>
                  <a:pt x="571" y="246"/>
                </a:cubicBezTo>
                <a:cubicBezTo>
                  <a:pt x="571" y="246"/>
                  <a:pt x="571" y="246"/>
                  <a:pt x="571" y="246"/>
                </a:cubicBezTo>
                <a:moveTo>
                  <a:pt x="4095" y="246"/>
                </a:moveTo>
                <a:cubicBezTo>
                  <a:pt x="4089" y="246"/>
                  <a:pt x="4087" y="251"/>
                  <a:pt x="4090" y="256"/>
                </a:cubicBezTo>
                <a:cubicBezTo>
                  <a:pt x="4094" y="262"/>
                  <a:pt x="4101" y="267"/>
                  <a:pt x="4108" y="266"/>
                </a:cubicBezTo>
                <a:cubicBezTo>
                  <a:pt x="4114" y="266"/>
                  <a:pt x="4116" y="262"/>
                  <a:pt x="4113" y="256"/>
                </a:cubicBezTo>
                <a:cubicBezTo>
                  <a:pt x="4110" y="250"/>
                  <a:pt x="4102" y="246"/>
                  <a:pt x="4096" y="246"/>
                </a:cubicBezTo>
                <a:cubicBezTo>
                  <a:pt x="4096" y="246"/>
                  <a:pt x="4095" y="246"/>
                  <a:pt x="4095" y="246"/>
                </a:cubicBezTo>
                <a:moveTo>
                  <a:pt x="603" y="246"/>
                </a:moveTo>
                <a:cubicBezTo>
                  <a:pt x="597" y="246"/>
                  <a:pt x="589" y="250"/>
                  <a:pt x="585" y="256"/>
                </a:cubicBezTo>
                <a:cubicBezTo>
                  <a:pt x="580" y="262"/>
                  <a:pt x="582" y="266"/>
                  <a:pt x="589" y="266"/>
                </a:cubicBezTo>
                <a:cubicBezTo>
                  <a:pt x="595" y="266"/>
                  <a:pt x="603" y="261"/>
                  <a:pt x="607" y="256"/>
                </a:cubicBezTo>
                <a:cubicBezTo>
                  <a:pt x="611" y="250"/>
                  <a:pt x="609" y="246"/>
                  <a:pt x="603" y="246"/>
                </a:cubicBezTo>
                <a:cubicBezTo>
                  <a:pt x="603" y="246"/>
                  <a:pt x="603" y="246"/>
                  <a:pt x="603" y="246"/>
                </a:cubicBezTo>
                <a:moveTo>
                  <a:pt x="4127" y="246"/>
                </a:moveTo>
                <a:cubicBezTo>
                  <a:pt x="4121" y="246"/>
                  <a:pt x="4118" y="250"/>
                  <a:pt x="4122" y="256"/>
                </a:cubicBezTo>
                <a:cubicBezTo>
                  <a:pt x="4125" y="262"/>
                  <a:pt x="4133" y="266"/>
                  <a:pt x="4139" y="266"/>
                </a:cubicBezTo>
                <a:cubicBezTo>
                  <a:pt x="4146" y="266"/>
                  <a:pt x="4148" y="262"/>
                  <a:pt x="4145" y="256"/>
                </a:cubicBezTo>
                <a:cubicBezTo>
                  <a:pt x="4141" y="250"/>
                  <a:pt x="4133" y="246"/>
                  <a:pt x="4127" y="246"/>
                </a:cubicBezTo>
                <a:cubicBezTo>
                  <a:pt x="4127" y="246"/>
                  <a:pt x="4127" y="246"/>
                  <a:pt x="4127" y="246"/>
                </a:cubicBezTo>
                <a:moveTo>
                  <a:pt x="637" y="245"/>
                </a:moveTo>
                <a:cubicBezTo>
                  <a:pt x="630" y="245"/>
                  <a:pt x="622" y="250"/>
                  <a:pt x="618" y="256"/>
                </a:cubicBezTo>
                <a:cubicBezTo>
                  <a:pt x="614" y="261"/>
                  <a:pt x="616" y="266"/>
                  <a:pt x="622" y="266"/>
                </a:cubicBezTo>
                <a:cubicBezTo>
                  <a:pt x="628" y="266"/>
                  <a:pt x="637" y="261"/>
                  <a:pt x="641" y="255"/>
                </a:cubicBezTo>
                <a:cubicBezTo>
                  <a:pt x="645" y="250"/>
                  <a:pt x="643" y="245"/>
                  <a:pt x="637" y="245"/>
                </a:cubicBezTo>
                <a:cubicBezTo>
                  <a:pt x="637" y="245"/>
                  <a:pt x="637" y="245"/>
                  <a:pt x="637" y="245"/>
                </a:cubicBezTo>
                <a:moveTo>
                  <a:pt x="669" y="245"/>
                </a:moveTo>
                <a:cubicBezTo>
                  <a:pt x="662" y="245"/>
                  <a:pt x="654" y="250"/>
                  <a:pt x="650" y="255"/>
                </a:cubicBezTo>
                <a:cubicBezTo>
                  <a:pt x="646" y="261"/>
                  <a:pt x="648" y="265"/>
                  <a:pt x="655" y="265"/>
                </a:cubicBezTo>
                <a:cubicBezTo>
                  <a:pt x="661" y="265"/>
                  <a:pt x="669" y="261"/>
                  <a:pt x="673" y="255"/>
                </a:cubicBezTo>
                <a:cubicBezTo>
                  <a:pt x="677" y="250"/>
                  <a:pt x="675" y="245"/>
                  <a:pt x="669" y="245"/>
                </a:cubicBezTo>
                <a:cubicBezTo>
                  <a:pt x="669" y="245"/>
                  <a:pt x="669" y="245"/>
                  <a:pt x="669" y="245"/>
                </a:cubicBezTo>
                <a:moveTo>
                  <a:pt x="701" y="245"/>
                </a:moveTo>
                <a:cubicBezTo>
                  <a:pt x="695" y="245"/>
                  <a:pt x="687" y="250"/>
                  <a:pt x="683" y="255"/>
                </a:cubicBezTo>
                <a:cubicBezTo>
                  <a:pt x="679" y="261"/>
                  <a:pt x="681" y="265"/>
                  <a:pt x="687" y="265"/>
                </a:cubicBezTo>
                <a:cubicBezTo>
                  <a:pt x="694" y="265"/>
                  <a:pt x="702" y="261"/>
                  <a:pt x="706" y="255"/>
                </a:cubicBezTo>
                <a:cubicBezTo>
                  <a:pt x="709" y="249"/>
                  <a:pt x="707" y="245"/>
                  <a:pt x="701" y="245"/>
                </a:cubicBezTo>
                <a:cubicBezTo>
                  <a:pt x="701" y="245"/>
                  <a:pt x="701" y="245"/>
                  <a:pt x="701" y="245"/>
                </a:cubicBezTo>
                <a:moveTo>
                  <a:pt x="734" y="245"/>
                </a:moveTo>
                <a:cubicBezTo>
                  <a:pt x="728" y="245"/>
                  <a:pt x="719" y="249"/>
                  <a:pt x="716" y="255"/>
                </a:cubicBezTo>
                <a:cubicBezTo>
                  <a:pt x="712" y="260"/>
                  <a:pt x="714" y="265"/>
                  <a:pt x="720" y="265"/>
                </a:cubicBezTo>
                <a:cubicBezTo>
                  <a:pt x="726" y="265"/>
                  <a:pt x="735" y="260"/>
                  <a:pt x="738" y="255"/>
                </a:cubicBezTo>
                <a:cubicBezTo>
                  <a:pt x="742" y="249"/>
                  <a:pt x="740" y="245"/>
                  <a:pt x="734" y="245"/>
                </a:cubicBezTo>
                <a:cubicBezTo>
                  <a:pt x="734" y="245"/>
                  <a:pt x="734" y="245"/>
                  <a:pt x="734" y="245"/>
                </a:cubicBezTo>
                <a:moveTo>
                  <a:pt x="766" y="244"/>
                </a:moveTo>
                <a:cubicBezTo>
                  <a:pt x="760" y="244"/>
                  <a:pt x="752" y="249"/>
                  <a:pt x="748" y="255"/>
                </a:cubicBezTo>
                <a:cubicBezTo>
                  <a:pt x="744" y="260"/>
                  <a:pt x="746" y="265"/>
                  <a:pt x="753" y="265"/>
                </a:cubicBezTo>
                <a:cubicBezTo>
                  <a:pt x="759" y="265"/>
                  <a:pt x="767" y="260"/>
                  <a:pt x="771" y="254"/>
                </a:cubicBezTo>
                <a:cubicBezTo>
                  <a:pt x="774" y="249"/>
                  <a:pt x="772" y="244"/>
                  <a:pt x="766" y="244"/>
                </a:cubicBezTo>
                <a:cubicBezTo>
                  <a:pt x="766" y="244"/>
                  <a:pt x="766" y="244"/>
                  <a:pt x="766" y="244"/>
                </a:cubicBezTo>
                <a:moveTo>
                  <a:pt x="798" y="244"/>
                </a:moveTo>
                <a:cubicBezTo>
                  <a:pt x="792" y="244"/>
                  <a:pt x="784" y="249"/>
                  <a:pt x="780" y="254"/>
                </a:cubicBezTo>
                <a:cubicBezTo>
                  <a:pt x="777" y="260"/>
                  <a:pt x="779" y="264"/>
                  <a:pt x="785" y="264"/>
                </a:cubicBezTo>
                <a:cubicBezTo>
                  <a:pt x="791" y="264"/>
                  <a:pt x="799" y="260"/>
                  <a:pt x="803" y="254"/>
                </a:cubicBezTo>
                <a:cubicBezTo>
                  <a:pt x="807" y="249"/>
                  <a:pt x="805" y="244"/>
                  <a:pt x="798" y="244"/>
                </a:cubicBezTo>
                <a:cubicBezTo>
                  <a:pt x="798" y="244"/>
                  <a:pt x="798" y="244"/>
                  <a:pt x="798" y="244"/>
                </a:cubicBezTo>
                <a:moveTo>
                  <a:pt x="830" y="244"/>
                </a:moveTo>
                <a:cubicBezTo>
                  <a:pt x="824" y="244"/>
                  <a:pt x="816" y="248"/>
                  <a:pt x="813" y="254"/>
                </a:cubicBezTo>
                <a:cubicBezTo>
                  <a:pt x="809" y="260"/>
                  <a:pt x="811" y="264"/>
                  <a:pt x="817" y="264"/>
                </a:cubicBezTo>
                <a:cubicBezTo>
                  <a:pt x="824" y="264"/>
                  <a:pt x="832" y="259"/>
                  <a:pt x="835" y="254"/>
                </a:cubicBezTo>
                <a:cubicBezTo>
                  <a:pt x="839" y="248"/>
                  <a:pt x="837" y="244"/>
                  <a:pt x="831" y="244"/>
                </a:cubicBezTo>
                <a:cubicBezTo>
                  <a:pt x="830" y="244"/>
                  <a:pt x="830" y="244"/>
                  <a:pt x="830" y="244"/>
                </a:cubicBezTo>
                <a:moveTo>
                  <a:pt x="863" y="243"/>
                </a:moveTo>
                <a:cubicBezTo>
                  <a:pt x="857" y="244"/>
                  <a:pt x="849" y="248"/>
                  <a:pt x="845" y="254"/>
                </a:cubicBezTo>
                <a:cubicBezTo>
                  <a:pt x="842" y="259"/>
                  <a:pt x="844" y="264"/>
                  <a:pt x="850" y="264"/>
                </a:cubicBezTo>
                <a:cubicBezTo>
                  <a:pt x="856" y="264"/>
                  <a:pt x="864" y="259"/>
                  <a:pt x="868" y="254"/>
                </a:cubicBezTo>
                <a:cubicBezTo>
                  <a:pt x="871" y="248"/>
                  <a:pt x="869" y="243"/>
                  <a:pt x="863" y="243"/>
                </a:cubicBezTo>
                <a:cubicBezTo>
                  <a:pt x="863" y="243"/>
                  <a:pt x="863" y="243"/>
                  <a:pt x="863" y="243"/>
                </a:cubicBezTo>
                <a:moveTo>
                  <a:pt x="895" y="243"/>
                </a:moveTo>
                <a:cubicBezTo>
                  <a:pt x="889" y="243"/>
                  <a:pt x="881" y="248"/>
                  <a:pt x="878" y="253"/>
                </a:cubicBezTo>
                <a:cubicBezTo>
                  <a:pt x="874" y="259"/>
                  <a:pt x="877" y="264"/>
                  <a:pt x="883" y="263"/>
                </a:cubicBezTo>
                <a:cubicBezTo>
                  <a:pt x="889" y="263"/>
                  <a:pt x="897" y="259"/>
                  <a:pt x="901" y="253"/>
                </a:cubicBezTo>
                <a:cubicBezTo>
                  <a:pt x="904" y="248"/>
                  <a:pt x="902" y="243"/>
                  <a:pt x="896" y="243"/>
                </a:cubicBezTo>
                <a:cubicBezTo>
                  <a:pt x="896" y="243"/>
                  <a:pt x="895" y="243"/>
                  <a:pt x="895" y="243"/>
                </a:cubicBezTo>
                <a:moveTo>
                  <a:pt x="928" y="243"/>
                </a:moveTo>
                <a:cubicBezTo>
                  <a:pt x="921" y="243"/>
                  <a:pt x="914" y="248"/>
                  <a:pt x="910" y="253"/>
                </a:cubicBezTo>
                <a:cubicBezTo>
                  <a:pt x="907" y="259"/>
                  <a:pt x="909" y="263"/>
                  <a:pt x="915" y="263"/>
                </a:cubicBezTo>
                <a:cubicBezTo>
                  <a:pt x="922" y="263"/>
                  <a:pt x="929" y="259"/>
                  <a:pt x="933" y="253"/>
                </a:cubicBezTo>
                <a:cubicBezTo>
                  <a:pt x="936" y="247"/>
                  <a:pt x="934" y="243"/>
                  <a:pt x="928" y="243"/>
                </a:cubicBezTo>
                <a:cubicBezTo>
                  <a:pt x="928" y="243"/>
                  <a:pt x="928" y="243"/>
                  <a:pt x="928" y="243"/>
                </a:cubicBezTo>
                <a:moveTo>
                  <a:pt x="958" y="243"/>
                </a:moveTo>
                <a:cubicBezTo>
                  <a:pt x="952" y="243"/>
                  <a:pt x="944" y="247"/>
                  <a:pt x="941" y="253"/>
                </a:cubicBezTo>
                <a:cubicBezTo>
                  <a:pt x="938" y="259"/>
                  <a:pt x="940" y="263"/>
                  <a:pt x="946" y="263"/>
                </a:cubicBezTo>
                <a:cubicBezTo>
                  <a:pt x="953" y="263"/>
                  <a:pt x="960" y="258"/>
                  <a:pt x="964" y="253"/>
                </a:cubicBezTo>
                <a:cubicBezTo>
                  <a:pt x="967" y="247"/>
                  <a:pt x="964" y="243"/>
                  <a:pt x="958" y="243"/>
                </a:cubicBezTo>
                <a:cubicBezTo>
                  <a:pt x="958" y="243"/>
                  <a:pt x="958" y="243"/>
                  <a:pt x="958" y="243"/>
                </a:cubicBezTo>
                <a:moveTo>
                  <a:pt x="991" y="242"/>
                </a:moveTo>
                <a:cubicBezTo>
                  <a:pt x="985" y="242"/>
                  <a:pt x="977" y="247"/>
                  <a:pt x="974" y="253"/>
                </a:cubicBezTo>
                <a:cubicBezTo>
                  <a:pt x="970" y="258"/>
                  <a:pt x="973" y="263"/>
                  <a:pt x="979" y="263"/>
                </a:cubicBezTo>
                <a:cubicBezTo>
                  <a:pt x="985" y="263"/>
                  <a:pt x="993" y="258"/>
                  <a:pt x="996" y="252"/>
                </a:cubicBezTo>
                <a:cubicBezTo>
                  <a:pt x="999" y="247"/>
                  <a:pt x="997" y="242"/>
                  <a:pt x="991" y="242"/>
                </a:cubicBezTo>
                <a:cubicBezTo>
                  <a:pt x="991" y="242"/>
                  <a:pt x="991" y="242"/>
                  <a:pt x="991" y="242"/>
                </a:cubicBezTo>
                <a:moveTo>
                  <a:pt x="1313" y="240"/>
                </a:moveTo>
                <a:cubicBezTo>
                  <a:pt x="1307" y="240"/>
                  <a:pt x="1300" y="244"/>
                  <a:pt x="1298" y="250"/>
                </a:cubicBezTo>
                <a:cubicBezTo>
                  <a:pt x="1295" y="256"/>
                  <a:pt x="1298" y="260"/>
                  <a:pt x="1304" y="260"/>
                </a:cubicBezTo>
                <a:cubicBezTo>
                  <a:pt x="1311" y="260"/>
                  <a:pt x="1318" y="255"/>
                  <a:pt x="1320" y="250"/>
                </a:cubicBezTo>
                <a:cubicBezTo>
                  <a:pt x="1323" y="244"/>
                  <a:pt x="1320" y="240"/>
                  <a:pt x="1314" y="240"/>
                </a:cubicBezTo>
                <a:cubicBezTo>
                  <a:pt x="1314" y="240"/>
                  <a:pt x="1314" y="240"/>
                  <a:pt x="1313" y="240"/>
                </a:cubicBezTo>
                <a:moveTo>
                  <a:pt x="1541" y="236"/>
                </a:moveTo>
                <a:cubicBezTo>
                  <a:pt x="1535" y="237"/>
                  <a:pt x="1528" y="241"/>
                  <a:pt x="1526" y="247"/>
                </a:cubicBezTo>
                <a:cubicBezTo>
                  <a:pt x="1524" y="252"/>
                  <a:pt x="1527" y="257"/>
                  <a:pt x="1533" y="257"/>
                </a:cubicBezTo>
                <a:cubicBezTo>
                  <a:pt x="1540" y="257"/>
                  <a:pt x="1546" y="252"/>
                  <a:pt x="1548" y="247"/>
                </a:cubicBezTo>
                <a:cubicBezTo>
                  <a:pt x="1550" y="241"/>
                  <a:pt x="1547" y="236"/>
                  <a:pt x="1541" y="236"/>
                </a:cubicBezTo>
                <a:cubicBezTo>
                  <a:pt x="1541" y="236"/>
                  <a:pt x="1541" y="236"/>
                  <a:pt x="1541" y="236"/>
                </a:cubicBezTo>
                <a:moveTo>
                  <a:pt x="1573" y="236"/>
                </a:moveTo>
                <a:cubicBezTo>
                  <a:pt x="1567" y="236"/>
                  <a:pt x="1560" y="241"/>
                  <a:pt x="1558" y="246"/>
                </a:cubicBezTo>
                <a:cubicBezTo>
                  <a:pt x="1556" y="252"/>
                  <a:pt x="1559" y="257"/>
                  <a:pt x="1566" y="257"/>
                </a:cubicBezTo>
                <a:cubicBezTo>
                  <a:pt x="1572" y="257"/>
                  <a:pt x="1579" y="252"/>
                  <a:pt x="1581" y="246"/>
                </a:cubicBezTo>
                <a:cubicBezTo>
                  <a:pt x="1583" y="241"/>
                  <a:pt x="1579" y="236"/>
                  <a:pt x="1573" y="236"/>
                </a:cubicBezTo>
                <a:cubicBezTo>
                  <a:pt x="1573" y="236"/>
                  <a:pt x="1573" y="236"/>
                  <a:pt x="1573" y="236"/>
                </a:cubicBezTo>
                <a:moveTo>
                  <a:pt x="1605" y="236"/>
                </a:moveTo>
                <a:cubicBezTo>
                  <a:pt x="1599" y="236"/>
                  <a:pt x="1592" y="241"/>
                  <a:pt x="1590" y="246"/>
                </a:cubicBezTo>
                <a:cubicBezTo>
                  <a:pt x="1588" y="252"/>
                  <a:pt x="1592" y="256"/>
                  <a:pt x="1598" y="256"/>
                </a:cubicBezTo>
                <a:cubicBezTo>
                  <a:pt x="1604" y="256"/>
                  <a:pt x="1611" y="252"/>
                  <a:pt x="1613" y="246"/>
                </a:cubicBezTo>
                <a:cubicBezTo>
                  <a:pt x="1615" y="240"/>
                  <a:pt x="1611" y="236"/>
                  <a:pt x="1605" y="236"/>
                </a:cubicBezTo>
                <a:cubicBezTo>
                  <a:pt x="1605" y="236"/>
                  <a:pt x="1605" y="236"/>
                  <a:pt x="1605" y="236"/>
                </a:cubicBezTo>
                <a:moveTo>
                  <a:pt x="2184" y="233"/>
                </a:moveTo>
                <a:cubicBezTo>
                  <a:pt x="2177" y="233"/>
                  <a:pt x="2172" y="237"/>
                  <a:pt x="2171" y="243"/>
                </a:cubicBezTo>
                <a:cubicBezTo>
                  <a:pt x="2170" y="249"/>
                  <a:pt x="2175" y="253"/>
                  <a:pt x="2181" y="253"/>
                </a:cubicBezTo>
                <a:cubicBezTo>
                  <a:pt x="2187" y="253"/>
                  <a:pt x="2193" y="248"/>
                  <a:pt x="2194" y="243"/>
                </a:cubicBezTo>
                <a:cubicBezTo>
                  <a:pt x="2194" y="237"/>
                  <a:pt x="2190" y="233"/>
                  <a:pt x="2184" y="233"/>
                </a:cubicBezTo>
                <a:cubicBezTo>
                  <a:pt x="2184" y="233"/>
                  <a:pt x="2184" y="233"/>
                  <a:pt x="2184" y="233"/>
                </a:cubicBezTo>
                <a:moveTo>
                  <a:pt x="2216" y="232"/>
                </a:moveTo>
                <a:cubicBezTo>
                  <a:pt x="2210" y="232"/>
                  <a:pt x="2204" y="237"/>
                  <a:pt x="2204" y="243"/>
                </a:cubicBezTo>
                <a:cubicBezTo>
                  <a:pt x="2203" y="248"/>
                  <a:pt x="2208" y="253"/>
                  <a:pt x="2214" y="253"/>
                </a:cubicBezTo>
                <a:cubicBezTo>
                  <a:pt x="2220" y="253"/>
                  <a:pt x="2226" y="248"/>
                  <a:pt x="2226" y="243"/>
                </a:cubicBezTo>
                <a:cubicBezTo>
                  <a:pt x="2227" y="237"/>
                  <a:pt x="2223" y="232"/>
                  <a:pt x="2216" y="232"/>
                </a:cubicBezTo>
                <a:cubicBezTo>
                  <a:pt x="2216" y="232"/>
                  <a:pt x="2216" y="232"/>
                  <a:pt x="2216" y="232"/>
                </a:cubicBezTo>
                <a:moveTo>
                  <a:pt x="2313" y="231"/>
                </a:moveTo>
                <a:cubicBezTo>
                  <a:pt x="2306" y="231"/>
                  <a:pt x="2301" y="235"/>
                  <a:pt x="2301" y="241"/>
                </a:cubicBezTo>
                <a:cubicBezTo>
                  <a:pt x="2300" y="247"/>
                  <a:pt x="2305" y="251"/>
                  <a:pt x="2311" y="251"/>
                </a:cubicBezTo>
                <a:cubicBezTo>
                  <a:pt x="2317" y="251"/>
                  <a:pt x="2323" y="246"/>
                  <a:pt x="2323" y="241"/>
                </a:cubicBezTo>
                <a:cubicBezTo>
                  <a:pt x="2323" y="235"/>
                  <a:pt x="2319" y="231"/>
                  <a:pt x="2313" y="231"/>
                </a:cubicBezTo>
                <a:cubicBezTo>
                  <a:pt x="2313" y="231"/>
                  <a:pt x="2313" y="231"/>
                  <a:pt x="2313" y="231"/>
                </a:cubicBezTo>
                <a:moveTo>
                  <a:pt x="2249" y="230"/>
                </a:moveTo>
                <a:cubicBezTo>
                  <a:pt x="2243" y="230"/>
                  <a:pt x="2237" y="235"/>
                  <a:pt x="2237" y="241"/>
                </a:cubicBezTo>
                <a:cubicBezTo>
                  <a:pt x="2236" y="246"/>
                  <a:pt x="2241" y="251"/>
                  <a:pt x="2247" y="251"/>
                </a:cubicBezTo>
                <a:cubicBezTo>
                  <a:pt x="2253" y="251"/>
                  <a:pt x="2259" y="246"/>
                  <a:pt x="2259" y="241"/>
                </a:cubicBezTo>
                <a:cubicBezTo>
                  <a:pt x="2260" y="235"/>
                  <a:pt x="2255" y="230"/>
                  <a:pt x="2249" y="230"/>
                </a:cubicBezTo>
                <a:cubicBezTo>
                  <a:pt x="2249" y="230"/>
                  <a:pt x="2249" y="230"/>
                  <a:pt x="2249" y="230"/>
                </a:cubicBezTo>
                <a:moveTo>
                  <a:pt x="2281" y="230"/>
                </a:moveTo>
                <a:cubicBezTo>
                  <a:pt x="2275" y="230"/>
                  <a:pt x="2269" y="235"/>
                  <a:pt x="2269" y="240"/>
                </a:cubicBezTo>
                <a:cubicBezTo>
                  <a:pt x="2268" y="246"/>
                  <a:pt x="2273" y="251"/>
                  <a:pt x="2279" y="251"/>
                </a:cubicBezTo>
                <a:cubicBezTo>
                  <a:pt x="2285" y="251"/>
                  <a:pt x="2291" y="246"/>
                  <a:pt x="2291" y="240"/>
                </a:cubicBezTo>
                <a:cubicBezTo>
                  <a:pt x="2292" y="235"/>
                  <a:pt x="2287" y="230"/>
                  <a:pt x="2281" y="230"/>
                </a:cubicBezTo>
                <a:cubicBezTo>
                  <a:pt x="2281" y="230"/>
                  <a:pt x="2281" y="230"/>
                  <a:pt x="2281" y="230"/>
                </a:cubicBezTo>
                <a:moveTo>
                  <a:pt x="2378" y="229"/>
                </a:moveTo>
                <a:cubicBezTo>
                  <a:pt x="2371" y="229"/>
                  <a:pt x="2366" y="234"/>
                  <a:pt x="2366" y="240"/>
                </a:cubicBezTo>
                <a:cubicBezTo>
                  <a:pt x="2365" y="245"/>
                  <a:pt x="2370" y="250"/>
                  <a:pt x="2377" y="250"/>
                </a:cubicBezTo>
                <a:cubicBezTo>
                  <a:pt x="2383" y="250"/>
                  <a:pt x="2388" y="245"/>
                  <a:pt x="2388" y="239"/>
                </a:cubicBezTo>
                <a:cubicBezTo>
                  <a:pt x="2389" y="234"/>
                  <a:pt x="2384" y="229"/>
                  <a:pt x="2378" y="229"/>
                </a:cubicBezTo>
                <a:cubicBezTo>
                  <a:pt x="2378" y="229"/>
                  <a:pt x="2378" y="229"/>
                  <a:pt x="2378" y="229"/>
                </a:cubicBezTo>
                <a:moveTo>
                  <a:pt x="2410" y="229"/>
                </a:moveTo>
                <a:cubicBezTo>
                  <a:pt x="2403" y="229"/>
                  <a:pt x="2398" y="234"/>
                  <a:pt x="2398" y="239"/>
                </a:cubicBezTo>
                <a:cubicBezTo>
                  <a:pt x="2398" y="245"/>
                  <a:pt x="2403" y="249"/>
                  <a:pt x="2409" y="249"/>
                </a:cubicBezTo>
                <a:cubicBezTo>
                  <a:pt x="2415" y="249"/>
                  <a:pt x="2420" y="245"/>
                  <a:pt x="2420" y="239"/>
                </a:cubicBezTo>
                <a:cubicBezTo>
                  <a:pt x="2421" y="233"/>
                  <a:pt x="2416" y="229"/>
                  <a:pt x="2410" y="229"/>
                </a:cubicBezTo>
                <a:cubicBezTo>
                  <a:pt x="2410" y="229"/>
                  <a:pt x="2410" y="229"/>
                  <a:pt x="2410" y="229"/>
                </a:cubicBezTo>
                <a:moveTo>
                  <a:pt x="2441" y="229"/>
                </a:moveTo>
                <a:cubicBezTo>
                  <a:pt x="2435" y="229"/>
                  <a:pt x="2430" y="233"/>
                  <a:pt x="2430" y="239"/>
                </a:cubicBezTo>
                <a:cubicBezTo>
                  <a:pt x="2430" y="245"/>
                  <a:pt x="2435" y="249"/>
                  <a:pt x="2441" y="249"/>
                </a:cubicBezTo>
                <a:cubicBezTo>
                  <a:pt x="2447" y="249"/>
                  <a:pt x="2452" y="244"/>
                  <a:pt x="2453" y="239"/>
                </a:cubicBezTo>
                <a:cubicBezTo>
                  <a:pt x="2453" y="233"/>
                  <a:pt x="2448" y="229"/>
                  <a:pt x="2442" y="229"/>
                </a:cubicBezTo>
                <a:cubicBezTo>
                  <a:pt x="2442" y="229"/>
                  <a:pt x="2442" y="229"/>
                  <a:pt x="2441" y="229"/>
                </a:cubicBezTo>
                <a:moveTo>
                  <a:pt x="2473" y="228"/>
                </a:moveTo>
                <a:cubicBezTo>
                  <a:pt x="2467" y="228"/>
                  <a:pt x="2462" y="233"/>
                  <a:pt x="2462" y="239"/>
                </a:cubicBezTo>
                <a:cubicBezTo>
                  <a:pt x="2462" y="244"/>
                  <a:pt x="2467" y="249"/>
                  <a:pt x="2473" y="249"/>
                </a:cubicBezTo>
                <a:cubicBezTo>
                  <a:pt x="2479" y="249"/>
                  <a:pt x="2484" y="244"/>
                  <a:pt x="2484" y="239"/>
                </a:cubicBezTo>
                <a:cubicBezTo>
                  <a:pt x="2484" y="233"/>
                  <a:pt x="2479" y="228"/>
                  <a:pt x="2473" y="228"/>
                </a:cubicBezTo>
                <a:cubicBezTo>
                  <a:pt x="2473" y="228"/>
                  <a:pt x="2473" y="228"/>
                  <a:pt x="2473" y="228"/>
                </a:cubicBezTo>
                <a:moveTo>
                  <a:pt x="2505" y="228"/>
                </a:moveTo>
                <a:cubicBezTo>
                  <a:pt x="2499" y="228"/>
                  <a:pt x="2494" y="233"/>
                  <a:pt x="2494" y="238"/>
                </a:cubicBezTo>
                <a:cubicBezTo>
                  <a:pt x="2494" y="244"/>
                  <a:pt x="2499" y="249"/>
                  <a:pt x="2505" y="249"/>
                </a:cubicBezTo>
                <a:cubicBezTo>
                  <a:pt x="2511" y="249"/>
                  <a:pt x="2516" y="244"/>
                  <a:pt x="2516" y="238"/>
                </a:cubicBezTo>
                <a:cubicBezTo>
                  <a:pt x="2516" y="233"/>
                  <a:pt x="2511" y="228"/>
                  <a:pt x="2505" y="228"/>
                </a:cubicBezTo>
                <a:cubicBezTo>
                  <a:pt x="2505" y="228"/>
                  <a:pt x="2505" y="228"/>
                  <a:pt x="2505" y="228"/>
                </a:cubicBezTo>
                <a:moveTo>
                  <a:pt x="2537" y="228"/>
                </a:moveTo>
                <a:cubicBezTo>
                  <a:pt x="2530" y="228"/>
                  <a:pt x="2525" y="233"/>
                  <a:pt x="2526" y="238"/>
                </a:cubicBezTo>
                <a:cubicBezTo>
                  <a:pt x="2526" y="244"/>
                  <a:pt x="2531" y="248"/>
                  <a:pt x="2537" y="248"/>
                </a:cubicBezTo>
                <a:cubicBezTo>
                  <a:pt x="2543" y="248"/>
                  <a:pt x="2548" y="244"/>
                  <a:pt x="2548" y="238"/>
                </a:cubicBezTo>
                <a:cubicBezTo>
                  <a:pt x="2548" y="232"/>
                  <a:pt x="2543" y="228"/>
                  <a:pt x="2537" y="228"/>
                </a:cubicBezTo>
                <a:cubicBezTo>
                  <a:pt x="2537" y="228"/>
                  <a:pt x="2537" y="228"/>
                  <a:pt x="2537" y="228"/>
                </a:cubicBezTo>
                <a:moveTo>
                  <a:pt x="2571" y="228"/>
                </a:moveTo>
                <a:cubicBezTo>
                  <a:pt x="2565" y="228"/>
                  <a:pt x="2560" y="232"/>
                  <a:pt x="2560" y="238"/>
                </a:cubicBezTo>
                <a:cubicBezTo>
                  <a:pt x="2560" y="244"/>
                  <a:pt x="2565" y="248"/>
                  <a:pt x="2571" y="248"/>
                </a:cubicBezTo>
                <a:cubicBezTo>
                  <a:pt x="2578" y="248"/>
                  <a:pt x="2583" y="243"/>
                  <a:pt x="2582" y="238"/>
                </a:cubicBezTo>
                <a:cubicBezTo>
                  <a:pt x="2582" y="232"/>
                  <a:pt x="2577" y="228"/>
                  <a:pt x="2571" y="228"/>
                </a:cubicBezTo>
                <a:cubicBezTo>
                  <a:pt x="2571" y="228"/>
                  <a:pt x="2571" y="228"/>
                  <a:pt x="2571" y="228"/>
                </a:cubicBezTo>
                <a:moveTo>
                  <a:pt x="2603" y="227"/>
                </a:moveTo>
                <a:cubicBezTo>
                  <a:pt x="2597" y="227"/>
                  <a:pt x="2592" y="232"/>
                  <a:pt x="2592" y="238"/>
                </a:cubicBezTo>
                <a:cubicBezTo>
                  <a:pt x="2592" y="243"/>
                  <a:pt x="2597" y="248"/>
                  <a:pt x="2604" y="248"/>
                </a:cubicBezTo>
                <a:cubicBezTo>
                  <a:pt x="2610" y="248"/>
                  <a:pt x="2615" y="243"/>
                  <a:pt x="2615" y="237"/>
                </a:cubicBezTo>
                <a:cubicBezTo>
                  <a:pt x="2614" y="232"/>
                  <a:pt x="2609" y="227"/>
                  <a:pt x="2603" y="227"/>
                </a:cubicBezTo>
                <a:cubicBezTo>
                  <a:pt x="2603" y="227"/>
                  <a:pt x="2603" y="227"/>
                  <a:pt x="2603" y="227"/>
                </a:cubicBezTo>
                <a:moveTo>
                  <a:pt x="2635" y="227"/>
                </a:moveTo>
                <a:cubicBezTo>
                  <a:pt x="2629" y="227"/>
                  <a:pt x="2624" y="232"/>
                  <a:pt x="2624" y="237"/>
                </a:cubicBezTo>
                <a:cubicBezTo>
                  <a:pt x="2624" y="243"/>
                  <a:pt x="2630" y="248"/>
                  <a:pt x="2636" y="247"/>
                </a:cubicBezTo>
                <a:cubicBezTo>
                  <a:pt x="2642" y="247"/>
                  <a:pt x="2647" y="243"/>
                  <a:pt x="2647" y="237"/>
                </a:cubicBezTo>
                <a:cubicBezTo>
                  <a:pt x="2646" y="232"/>
                  <a:pt x="2641" y="227"/>
                  <a:pt x="2635" y="227"/>
                </a:cubicBezTo>
                <a:cubicBezTo>
                  <a:pt x="2635" y="227"/>
                  <a:pt x="2635" y="227"/>
                  <a:pt x="2635" y="227"/>
                </a:cubicBezTo>
                <a:moveTo>
                  <a:pt x="2666" y="227"/>
                </a:moveTo>
                <a:cubicBezTo>
                  <a:pt x="2660" y="227"/>
                  <a:pt x="2655" y="231"/>
                  <a:pt x="2656" y="237"/>
                </a:cubicBezTo>
                <a:cubicBezTo>
                  <a:pt x="2656" y="243"/>
                  <a:pt x="2661" y="247"/>
                  <a:pt x="2668" y="247"/>
                </a:cubicBezTo>
                <a:cubicBezTo>
                  <a:pt x="2674" y="247"/>
                  <a:pt x="2679" y="243"/>
                  <a:pt x="2678" y="237"/>
                </a:cubicBezTo>
                <a:cubicBezTo>
                  <a:pt x="2678" y="231"/>
                  <a:pt x="2673" y="227"/>
                  <a:pt x="2667" y="227"/>
                </a:cubicBezTo>
                <a:cubicBezTo>
                  <a:pt x="2667" y="227"/>
                  <a:pt x="2666" y="227"/>
                  <a:pt x="2666" y="227"/>
                </a:cubicBezTo>
                <a:moveTo>
                  <a:pt x="2698" y="226"/>
                </a:moveTo>
                <a:cubicBezTo>
                  <a:pt x="2692" y="227"/>
                  <a:pt x="2687" y="231"/>
                  <a:pt x="2688" y="237"/>
                </a:cubicBezTo>
                <a:cubicBezTo>
                  <a:pt x="2688" y="242"/>
                  <a:pt x="2694" y="247"/>
                  <a:pt x="2700" y="247"/>
                </a:cubicBezTo>
                <a:cubicBezTo>
                  <a:pt x="2706" y="247"/>
                  <a:pt x="2711" y="242"/>
                  <a:pt x="2710" y="237"/>
                </a:cubicBezTo>
                <a:cubicBezTo>
                  <a:pt x="2710" y="231"/>
                  <a:pt x="2705" y="226"/>
                  <a:pt x="2698" y="226"/>
                </a:cubicBezTo>
                <a:cubicBezTo>
                  <a:pt x="2698" y="226"/>
                  <a:pt x="2698" y="226"/>
                  <a:pt x="2698" y="226"/>
                </a:cubicBezTo>
                <a:moveTo>
                  <a:pt x="2731" y="226"/>
                </a:moveTo>
                <a:cubicBezTo>
                  <a:pt x="2724" y="226"/>
                  <a:pt x="2720" y="231"/>
                  <a:pt x="2720" y="237"/>
                </a:cubicBezTo>
                <a:cubicBezTo>
                  <a:pt x="2721" y="242"/>
                  <a:pt x="2726" y="247"/>
                  <a:pt x="2732" y="247"/>
                </a:cubicBezTo>
                <a:cubicBezTo>
                  <a:pt x="2739" y="247"/>
                  <a:pt x="2743" y="242"/>
                  <a:pt x="2743" y="236"/>
                </a:cubicBezTo>
                <a:cubicBezTo>
                  <a:pt x="2742" y="231"/>
                  <a:pt x="2737" y="226"/>
                  <a:pt x="2731" y="226"/>
                </a:cubicBezTo>
                <a:cubicBezTo>
                  <a:pt x="2731" y="226"/>
                  <a:pt x="2731" y="226"/>
                  <a:pt x="2731" y="226"/>
                </a:cubicBezTo>
                <a:moveTo>
                  <a:pt x="2923" y="226"/>
                </a:moveTo>
                <a:cubicBezTo>
                  <a:pt x="2917" y="226"/>
                  <a:pt x="2913" y="231"/>
                  <a:pt x="2913" y="236"/>
                </a:cubicBezTo>
                <a:cubicBezTo>
                  <a:pt x="2914" y="242"/>
                  <a:pt x="2920" y="247"/>
                  <a:pt x="2926" y="247"/>
                </a:cubicBezTo>
                <a:cubicBezTo>
                  <a:pt x="2933" y="246"/>
                  <a:pt x="2937" y="242"/>
                  <a:pt x="2936" y="236"/>
                </a:cubicBezTo>
                <a:cubicBezTo>
                  <a:pt x="2935" y="231"/>
                  <a:pt x="2929" y="226"/>
                  <a:pt x="2923" y="226"/>
                </a:cubicBezTo>
                <a:cubicBezTo>
                  <a:pt x="2923" y="226"/>
                  <a:pt x="2923" y="226"/>
                  <a:pt x="2923" y="226"/>
                </a:cubicBezTo>
                <a:moveTo>
                  <a:pt x="2763" y="226"/>
                </a:moveTo>
                <a:cubicBezTo>
                  <a:pt x="2757" y="226"/>
                  <a:pt x="2752" y="231"/>
                  <a:pt x="2753" y="236"/>
                </a:cubicBezTo>
                <a:cubicBezTo>
                  <a:pt x="2753" y="242"/>
                  <a:pt x="2759" y="246"/>
                  <a:pt x="2765" y="246"/>
                </a:cubicBezTo>
                <a:cubicBezTo>
                  <a:pt x="2771" y="246"/>
                  <a:pt x="2776" y="242"/>
                  <a:pt x="2775" y="236"/>
                </a:cubicBezTo>
                <a:cubicBezTo>
                  <a:pt x="2775" y="230"/>
                  <a:pt x="2769" y="226"/>
                  <a:pt x="2763" y="226"/>
                </a:cubicBezTo>
                <a:cubicBezTo>
                  <a:pt x="2763" y="226"/>
                  <a:pt x="2763" y="226"/>
                  <a:pt x="2763" y="226"/>
                </a:cubicBezTo>
                <a:moveTo>
                  <a:pt x="2954" y="226"/>
                </a:moveTo>
                <a:cubicBezTo>
                  <a:pt x="2947" y="226"/>
                  <a:pt x="2943" y="230"/>
                  <a:pt x="2944" y="236"/>
                </a:cubicBezTo>
                <a:cubicBezTo>
                  <a:pt x="2945" y="242"/>
                  <a:pt x="2951" y="246"/>
                  <a:pt x="2957" y="246"/>
                </a:cubicBezTo>
                <a:cubicBezTo>
                  <a:pt x="2963" y="246"/>
                  <a:pt x="2968" y="242"/>
                  <a:pt x="2967" y="236"/>
                </a:cubicBezTo>
                <a:cubicBezTo>
                  <a:pt x="2966" y="230"/>
                  <a:pt x="2960" y="226"/>
                  <a:pt x="2954" y="226"/>
                </a:cubicBezTo>
                <a:cubicBezTo>
                  <a:pt x="2954" y="226"/>
                  <a:pt x="2954" y="226"/>
                  <a:pt x="2954" y="226"/>
                </a:cubicBezTo>
                <a:moveTo>
                  <a:pt x="2795" y="226"/>
                </a:moveTo>
                <a:cubicBezTo>
                  <a:pt x="2789" y="226"/>
                  <a:pt x="2784" y="230"/>
                  <a:pt x="2785" y="236"/>
                </a:cubicBezTo>
                <a:cubicBezTo>
                  <a:pt x="2785" y="242"/>
                  <a:pt x="2791" y="246"/>
                  <a:pt x="2797" y="246"/>
                </a:cubicBezTo>
                <a:cubicBezTo>
                  <a:pt x="2803" y="246"/>
                  <a:pt x="2808" y="241"/>
                  <a:pt x="2807" y="236"/>
                </a:cubicBezTo>
                <a:cubicBezTo>
                  <a:pt x="2807" y="230"/>
                  <a:pt x="2801" y="226"/>
                  <a:pt x="2795" y="226"/>
                </a:cubicBezTo>
                <a:cubicBezTo>
                  <a:pt x="2795" y="226"/>
                  <a:pt x="2795" y="226"/>
                  <a:pt x="2795" y="226"/>
                </a:cubicBezTo>
                <a:moveTo>
                  <a:pt x="2986" y="226"/>
                </a:moveTo>
                <a:cubicBezTo>
                  <a:pt x="2979" y="226"/>
                  <a:pt x="2975" y="230"/>
                  <a:pt x="2976" y="236"/>
                </a:cubicBezTo>
                <a:cubicBezTo>
                  <a:pt x="2977" y="242"/>
                  <a:pt x="2983" y="246"/>
                  <a:pt x="2989" y="246"/>
                </a:cubicBezTo>
                <a:cubicBezTo>
                  <a:pt x="2996" y="246"/>
                  <a:pt x="3000" y="241"/>
                  <a:pt x="2999" y="236"/>
                </a:cubicBezTo>
                <a:cubicBezTo>
                  <a:pt x="2998" y="230"/>
                  <a:pt x="2992" y="226"/>
                  <a:pt x="2986" y="226"/>
                </a:cubicBezTo>
                <a:cubicBezTo>
                  <a:pt x="2986" y="226"/>
                  <a:pt x="2986" y="226"/>
                  <a:pt x="2986" y="226"/>
                </a:cubicBezTo>
                <a:moveTo>
                  <a:pt x="2827" y="225"/>
                </a:moveTo>
                <a:cubicBezTo>
                  <a:pt x="2821" y="225"/>
                  <a:pt x="2816" y="230"/>
                  <a:pt x="2817" y="236"/>
                </a:cubicBezTo>
                <a:cubicBezTo>
                  <a:pt x="2818" y="241"/>
                  <a:pt x="2823" y="246"/>
                  <a:pt x="2830" y="246"/>
                </a:cubicBezTo>
                <a:cubicBezTo>
                  <a:pt x="2836" y="246"/>
                  <a:pt x="2840" y="241"/>
                  <a:pt x="2840" y="236"/>
                </a:cubicBezTo>
                <a:cubicBezTo>
                  <a:pt x="2839" y="230"/>
                  <a:pt x="2833" y="225"/>
                  <a:pt x="2827" y="225"/>
                </a:cubicBezTo>
                <a:cubicBezTo>
                  <a:pt x="2827" y="225"/>
                  <a:pt x="2827" y="225"/>
                  <a:pt x="2827" y="225"/>
                </a:cubicBezTo>
                <a:moveTo>
                  <a:pt x="3018" y="225"/>
                </a:moveTo>
                <a:cubicBezTo>
                  <a:pt x="3011" y="225"/>
                  <a:pt x="3007" y="230"/>
                  <a:pt x="3008" y="236"/>
                </a:cubicBezTo>
                <a:cubicBezTo>
                  <a:pt x="3009" y="241"/>
                  <a:pt x="3015" y="246"/>
                  <a:pt x="3022" y="246"/>
                </a:cubicBezTo>
                <a:cubicBezTo>
                  <a:pt x="3028" y="246"/>
                  <a:pt x="3032" y="241"/>
                  <a:pt x="3031" y="235"/>
                </a:cubicBezTo>
                <a:cubicBezTo>
                  <a:pt x="3030" y="230"/>
                  <a:pt x="3024" y="225"/>
                  <a:pt x="3018" y="225"/>
                </a:cubicBezTo>
                <a:cubicBezTo>
                  <a:pt x="3018" y="225"/>
                  <a:pt x="3018" y="225"/>
                  <a:pt x="3018" y="225"/>
                </a:cubicBezTo>
                <a:moveTo>
                  <a:pt x="2859" y="225"/>
                </a:moveTo>
                <a:cubicBezTo>
                  <a:pt x="2853" y="225"/>
                  <a:pt x="2848" y="230"/>
                  <a:pt x="2849" y="235"/>
                </a:cubicBezTo>
                <a:cubicBezTo>
                  <a:pt x="2850" y="241"/>
                  <a:pt x="2855" y="246"/>
                  <a:pt x="2862" y="246"/>
                </a:cubicBezTo>
                <a:cubicBezTo>
                  <a:pt x="2868" y="246"/>
                  <a:pt x="2872" y="241"/>
                  <a:pt x="2872" y="235"/>
                </a:cubicBezTo>
                <a:cubicBezTo>
                  <a:pt x="2871" y="230"/>
                  <a:pt x="2865" y="225"/>
                  <a:pt x="2859" y="225"/>
                </a:cubicBezTo>
                <a:cubicBezTo>
                  <a:pt x="2859" y="225"/>
                  <a:pt x="2859" y="225"/>
                  <a:pt x="2859" y="225"/>
                </a:cubicBezTo>
                <a:moveTo>
                  <a:pt x="3051" y="225"/>
                </a:moveTo>
                <a:cubicBezTo>
                  <a:pt x="3045" y="225"/>
                  <a:pt x="3040" y="230"/>
                  <a:pt x="3042" y="235"/>
                </a:cubicBezTo>
                <a:cubicBezTo>
                  <a:pt x="3043" y="241"/>
                  <a:pt x="3049" y="246"/>
                  <a:pt x="3055" y="245"/>
                </a:cubicBezTo>
                <a:cubicBezTo>
                  <a:pt x="3061" y="245"/>
                  <a:pt x="3065" y="241"/>
                  <a:pt x="3064" y="235"/>
                </a:cubicBezTo>
                <a:cubicBezTo>
                  <a:pt x="3063" y="229"/>
                  <a:pt x="3057" y="225"/>
                  <a:pt x="3051" y="225"/>
                </a:cubicBezTo>
                <a:cubicBezTo>
                  <a:pt x="3051" y="225"/>
                  <a:pt x="3051" y="225"/>
                  <a:pt x="3051" y="225"/>
                </a:cubicBezTo>
                <a:moveTo>
                  <a:pt x="2891" y="225"/>
                </a:moveTo>
                <a:cubicBezTo>
                  <a:pt x="2885" y="225"/>
                  <a:pt x="2880" y="229"/>
                  <a:pt x="2881" y="235"/>
                </a:cubicBezTo>
                <a:cubicBezTo>
                  <a:pt x="2882" y="241"/>
                  <a:pt x="2888" y="245"/>
                  <a:pt x="2894" y="245"/>
                </a:cubicBezTo>
                <a:cubicBezTo>
                  <a:pt x="2900" y="245"/>
                  <a:pt x="2905" y="241"/>
                  <a:pt x="2904" y="235"/>
                </a:cubicBezTo>
                <a:cubicBezTo>
                  <a:pt x="2903" y="229"/>
                  <a:pt x="2897" y="225"/>
                  <a:pt x="2891" y="225"/>
                </a:cubicBezTo>
                <a:cubicBezTo>
                  <a:pt x="2891" y="225"/>
                  <a:pt x="2891" y="225"/>
                  <a:pt x="2891" y="225"/>
                </a:cubicBezTo>
                <a:moveTo>
                  <a:pt x="3083" y="225"/>
                </a:moveTo>
                <a:cubicBezTo>
                  <a:pt x="3077" y="225"/>
                  <a:pt x="3072" y="229"/>
                  <a:pt x="3074" y="235"/>
                </a:cubicBezTo>
                <a:cubicBezTo>
                  <a:pt x="3075" y="241"/>
                  <a:pt x="3081" y="245"/>
                  <a:pt x="3087" y="245"/>
                </a:cubicBezTo>
                <a:cubicBezTo>
                  <a:pt x="3093" y="245"/>
                  <a:pt x="3097" y="241"/>
                  <a:pt x="3096" y="235"/>
                </a:cubicBezTo>
                <a:cubicBezTo>
                  <a:pt x="3095" y="229"/>
                  <a:pt x="3089" y="225"/>
                  <a:pt x="3083" y="225"/>
                </a:cubicBezTo>
                <a:cubicBezTo>
                  <a:pt x="3083" y="225"/>
                  <a:pt x="3083" y="225"/>
                  <a:pt x="3083" y="225"/>
                </a:cubicBezTo>
                <a:moveTo>
                  <a:pt x="3115" y="224"/>
                </a:moveTo>
                <a:cubicBezTo>
                  <a:pt x="3109" y="224"/>
                  <a:pt x="3105" y="229"/>
                  <a:pt x="3106" y="235"/>
                </a:cubicBezTo>
                <a:cubicBezTo>
                  <a:pt x="3107" y="240"/>
                  <a:pt x="3113" y="245"/>
                  <a:pt x="3120" y="245"/>
                </a:cubicBezTo>
                <a:cubicBezTo>
                  <a:pt x="3126" y="245"/>
                  <a:pt x="3130" y="240"/>
                  <a:pt x="3129" y="235"/>
                </a:cubicBezTo>
                <a:cubicBezTo>
                  <a:pt x="3127" y="229"/>
                  <a:pt x="3121" y="224"/>
                  <a:pt x="3115" y="224"/>
                </a:cubicBezTo>
                <a:cubicBezTo>
                  <a:pt x="3115" y="224"/>
                  <a:pt x="3115" y="224"/>
                  <a:pt x="3115" y="224"/>
                </a:cubicBezTo>
                <a:moveTo>
                  <a:pt x="3147" y="224"/>
                </a:moveTo>
                <a:cubicBezTo>
                  <a:pt x="3141" y="224"/>
                  <a:pt x="3137" y="229"/>
                  <a:pt x="3139" y="234"/>
                </a:cubicBezTo>
                <a:cubicBezTo>
                  <a:pt x="3140" y="240"/>
                  <a:pt x="3146" y="245"/>
                  <a:pt x="3152" y="245"/>
                </a:cubicBezTo>
                <a:cubicBezTo>
                  <a:pt x="3159" y="245"/>
                  <a:pt x="3162" y="240"/>
                  <a:pt x="3161" y="234"/>
                </a:cubicBezTo>
                <a:cubicBezTo>
                  <a:pt x="3160" y="229"/>
                  <a:pt x="3154" y="224"/>
                  <a:pt x="3147" y="224"/>
                </a:cubicBezTo>
                <a:cubicBezTo>
                  <a:pt x="3147" y="224"/>
                  <a:pt x="3147" y="224"/>
                  <a:pt x="3147" y="224"/>
                </a:cubicBezTo>
                <a:moveTo>
                  <a:pt x="3179" y="224"/>
                </a:moveTo>
                <a:cubicBezTo>
                  <a:pt x="3173" y="224"/>
                  <a:pt x="3169" y="229"/>
                  <a:pt x="3171" y="234"/>
                </a:cubicBezTo>
                <a:cubicBezTo>
                  <a:pt x="3172" y="240"/>
                  <a:pt x="3178" y="244"/>
                  <a:pt x="3184" y="244"/>
                </a:cubicBezTo>
                <a:cubicBezTo>
                  <a:pt x="3191" y="244"/>
                  <a:pt x="3195" y="240"/>
                  <a:pt x="3193" y="234"/>
                </a:cubicBezTo>
                <a:cubicBezTo>
                  <a:pt x="3192" y="228"/>
                  <a:pt x="3185" y="224"/>
                  <a:pt x="3179" y="224"/>
                </a:cubicBezTo>
                <a:cubicBezTo>
                  <a:pt x="3179" y="224"/>
                  <a:pt x="3179" y="224"/>
                  <a:pt x="3179" y="224"/>
                </a:cubicBezTo>
                <a:moveTo>
                  <a:pt x="3211" y="224"/>
                </a:moveTo>
                <a:cubicBezTo>
                  <a:pt x="3205" y="224"/>
                  <a:pt x="3201" y="228"/>
                  <a:pt x="3203" y="234"/>
                </a:cubicBezTo>
                <a:cubicBezTo>
                  <a:pt x="3204" y="240"/>
                  <a:pt x="3211" y="244"/>
                  <a:pt x="3217" y="244"/>
                </a:cubicBezTo>
                <a:cubicBezTo>
                  <a:pt x="3223" y="244"/>
                  <a:pt x="3227" y="239"/>
                  <a:pt x="3225" y="234"/>
                </a:cubicBezTo>
                <a:cubicBezTo>
                  <a:pt x="3224" y="228"/>
                  <a:pt x="3218" y="224"/>
                  <a:pt x="3211" y="224"/>
                </a:cubicBezTo>
                <a:cubicBezTo>
                  <a:pt x="3211" y="224"/>
                  <a:pt x="3211" y="224"/>
                  <a:pt x="3211" y="224"/>
                </a:cubicBezTo>
                <a:moveTo>
                  <a:pt x="3243" y="223"/>
                </a:moveTo>
                <a:cubicBezTo>
                  <a:pt x="3237" y="223"/>
                  <a:pt x="3233" y="228"/>
                  <a:pt x="3235" y="234"/>
                </a:cubicBezTo>
                <a:cubicBezTo>
                  <a:pt x="3236" y="239"/>
                  <a:pt x="3243" y="244"/>
                  <a:pt x="3249" y="244"/>
                </a:cubicBezTo>
                <a:cubicBezTo>
                  <a:pt x="3255" y="244"/>
                  <a:pt x="3259" y="239"/>
                  <a:pt x="3257" y="233"/>
                </a:cubicBezTo>
                <a:cubicBezTo>
                  <a:pt x="3256" y="228"/>
                  <a:pt x="3249" y="223"/>
                  <a:pt x="3243" y="223"/>
                </a:cubicBezTo>
                <a:cubicBezTo>
                  <a:pt x="3243" y="223"/>
                  <a:pt x="3243" y="223"/>
                  <a:pt x="3243" y="223"/>
                </a:cubicBezTo>
                <a:moveTo>
                  <a:pt x="3275" y="223"/>
                </a:moveTo>
                <a:cubicBezTo>
                  <a:pt x="3269" y="223"/>
                  <a:pt x="3265" y="228"/>
                  <a:pt x="3267" y="233"/>
                </a:cubicBezTo>
                <a:cubicBezTo>
                  <a:pt x="3268" y="239"/>
                  <a:pt x="3275" y="244"/>
                  <a:pt x="3281" y="244"/>
                </a:cubicBezTo>
                <a:cubicBezTo>
                  <a:pt x="3287" y="244"/>
                  <a:pt x="3291" y="239"/>
                  <a:pt x="3289" y="233"/>
                </a:cubicBezTo>
                <a:cubicBezTo>
                  <a:pt x="3288" y="228"/>
                  <a:pt x="3281" y="223"/>
                  <a:pt x="3275" y="223"/>
                </a:cubicBezTo>
                <a:cubicBezTo>
                  <a:pt x="3275" y="223"/>
                  <a:pt x="3275" y="223"/>
                  <a:pt x="3275" y="223"/>
                </a:cubicBezTo>
                <a:moveTo>
                  <a:pt x="3307" y="223"/>
                </a:moveTo>
                <a:cubicBezTo>
                  <a:pt x="3301" y="223"/>
                  <a:pt x="3297" y="227"/>
                  <a:pt x="3299" y="233"/>
                </a:cubicBezTo>
                <a:cubicBezTo>
                  <a:pt x="3300" y="239"/>
                  <a:pt x="3307" y="243"/>
                  <a:pt x="3313" y="243"/>
                </a:cubicBezTo>
                <a:cubicBezTo>
                  <a:pt x="3319" y="243"/>
                  <a:pt x="3323" y="239"/>
                  <a:pt x="3321" y="233"/>
                </a:cubicBezTo>
                <a:cubicBezTo>
                  <a:pt x="3320" y="227"/>
                  <a:pt x="3313" y="223"/>
                  <a:pt x="3307" y="223"/>
                </a:cubicBezTo>
                <a:cubicBezTo>
                  <a:pt x="3307" y="223"/>
                  <a:pt x="3307" y="223"/>
                  <a:pt x="3307" y="223"/>
                </a:cubicBezTo>
                <a:moveTo>
                  <a:pt x="3339" y="222"/>
                </a:moveTo>
                <a:cubicBezTo>
                  <a:pt x="3333" y="223"/>
                  <a:pt x="3329" y="227"/>
                  <a:pt x="3331" y="233"/>
                </a:cubicBezTo>
                <a:cubicBezTo>
                  <a:pt x="3333" y="239"/>
                  <a:pt x="3339" y="243"/>
                  <a:pt x="3346" y="243"/>
                </a:cubicBezTo>
                <a:cubicBezTo>
                  <a:pt x="3352" y="243"/>
                  <a:pt x="3355" y="238"/>
                  <a:pt x="3354" y="233"/>
                </a:cubicBezTo>
                <a:cubicBezTo>
                  <a:pt x="3352" y="227"/>
                  <a:pt x="3345" y="222"/>
                  <a:pt x="3339" y="222"/>
                </a:cubicBezTo>
                <a:cubicBezTo>
                  <a:pt x="3339" y="222"/>
                  <a:pt x="3339" y="222"/>
                  <a:pt x="3339" y="222"/>
                </a:cubicBezTo>
                <a:moveTo>
                  <a:pt x="3372" y="222"/>
                </a:moveTo>
                <a:cubicBezTo>
                  <a:pt x="3366" y="222"/>
                  <a:pt x="3362" y="227"/>
                  <a:pt x="3364" y="233"/>
                </a:cubicBezTo>
                <a:cubicBezTo>
                  <a:pt x="3366" y="238"/>
                  <a:pt x="3373" y="243"/>
                  <a:pt x="3379" y="243"/>
                </a:cubicBezTo>
                <a:cubicBezTo>
                  <a:pt x="3385" y="243"/>
                  <a:pt x="3389" y="238"/>
                  <a:pt x="3387" y="232"/>
                </a:cubicBezTo>
                <a:cubicBezTo>
                  <a:pt x="3385" y="227"/>
                  <a:pt x="3378" y="222"/>
                  <a:pt x="3372" y="222"/>
                </a:cubicBezTo>
                <a:cubicBezTo>
                  <a:pt x="3372" y="222"/>
                  <a:pt x="3372" y="222"/>
                  <a:pt x="3372" y="222"/>
                </a:cubicBezTo>
                <a:moveTo>
                  <a:pt x="3404" y="222"/>
                </a:moveTo>
                <a:cubicBezTo>
                  <a:pt x="3398" y="222"/>
                  <a:pt x="3394" y="227"/>
                  <a:pt x="3396" y="232"/>
                </a:cubicBezTo>
                <a:cubicBezTo>
                  <a:pt x="3398" y="238"/>
                  <a:pt x="3405" y="243"/>
                  <a:pt x="3411" y="242"/>
                </a:cubicBezTo>
                <a:cubicBezTo>
                  <a:pt x="3417" y="242"/>
                  <a:pt x="3421" y="238"/>
                  <a:pt x="3419" y="232"/>
                </a:cubicBezTo>
                <a:cubicBezTo>
                  <a:pt x="3417" y="226"/>
                  <a:pt x="3410" y="222"/>
                  <a:pt x="3404" y="222"/>
                </a:cubicBezTo>
                <a:cubicBezTo>
                  <a:pt x="3404" y="222"/>
                  <a:pt x="3404" y="222"/>
                  <a:pt x="3404" y="222"/>
                </a:cubicBezTo>
                <a:moveTo>
                  <a:pt x="3436" y="222"/>
                </a:moveTo>
                <a:cubicBezTo>
                  <a:pt x="3430" y="222"/>
                  <a:pt x="3427" y="226"/>
                  <a:pt x="3429" y="232"/>
                </a:cubicBezTo>
                <a:cubicBezTo>
                  <a:pt x="3430" y="238"/>
                  <a:pt x="3437" y="242"/>
                  <a:pt x="3443" y="242"/>
                </a:cubicBezTo>
                <a:cubicBezTo>
                  <a:pt x="3450" y="242"/>
                  <a:pt x="3453" y="237"/>
                  <a:pt x="3451" y="232"/>
                </a:cubicBezTo>
                <a:cubicBezTo>
                  <a:pt x="3449" y="226"/>
                  <a:pt x="3442" y="222"/>
                  <a:pt x="3436" y="222"/>
                </a:cubicBezTo>
                <a:cubicBezTo>
                  <a:pt x="3436" y="222"/>
                  <a:pt x="3436" y="222"/>
                  <a:pt x="3436" y="222"/>
                </a:cubicBezTo>
                <a:moveTo>
                  <a:pt x="3469" y="221"/>
                </a:moveTo>
                <a:cubicBezTo>
                  <a:pt x="3462" y="221"/>
                  <a:pt x="3459" y="226"/>
                  <a:pt x="3461" y="232"/>
                </a:cubicBezTo>
                <a:cubicBezTo>
                  <a:pt x="3463" y="237"/>
                  <a:pt x="3470" y="242"/>
                  <a:pt x="3476" y="242"/>
                </a:cubicBezTo>
                <a:cubicBezTo>
                  <a:pt x="3482" y="242"/>
                  <a:pt x="3486" y="237"/>
                  <a:pt x="3484" y="232"/>
                </a:cubicBezTo>
                <a:cubicBezTo>
                  <a:pt x="3481" y="226"/>
                  <a:pt x="3475" y="221"/>
                  <a:pt x="3469" y="221"/>
                </a:cubicBezTo>
                <a:cubicBezTo>
                  <a:pt x="3469" y="221"/>
                  <a:pt x="3469" y="221"/>
                  <a:pt x="3469" y="221"/>
                </a:cubicBezTo>
                <a:moveTo>
                  <a:pt x="3500" y="221"/>
                </a:moveTo>
                <a:cubicBezTo>
                  <a:pt x="3494" y="221"/>
                  <a:pt x="3491" y="226"/>
                  <a:pt x="3493" y="231"/>
                </a:cubicBezTo>
                <a:cubicBezTo>
                  <a:pt x="3495" y="237"/>
                  <a:pt x="3502" y="242"/>
                  <a:pt x="3508" y="242"/>
                </a:cubicBezTo>
                <a:cubicBezTo>
                  <a:pt x="3514" y="242"/>
                  <a:pt x="3518" y="237"/>
                  <a:pt x="3516" y="231"/>
                </a:cubicBezTo>
                <a:cubicBezTo>
                  <a:pt x="3513" y="226"/>
                  <a:pt x="3507" y="221"/>
                  <a:pt x="3501" y="221"/>
                </a:cubicBezTo>
                <a:cubicBezTo>
                  <a:pt x="3501" y="221"/>
                  <a:pt x="3500" y="221"/>
                  <a:pt x="3500" y="221"/>
                </a:cubicBezTo>
                <a:moveTo>
                  <a:pt x="3532" y="221"/>
                </a:moveTo>
                <a:cubicBezTo>
                  <a:pt x="3526" y="221"/>
                  <a:pt x="3523" y="226"/>
                  <a:pt x="3525" y="231"/>
                </a:cubicBezTo>
                <a:cubicBezTo>
                  <a:pt x="3527" y="237"/>
                  <a:pt x="3534" y="241"/>
                  <a:pt x="3540" y="241"/>
                </a:cubicBezTo>
                <a:cubicBezTo>
                  <a:pt x="3547" y="241"/>
                  <a:pt x="3550" y="237"/>
                  <a:pt x="3548" y="231"/>
                </a:cubicBezTo>
                <a:cubicBezTo>
                  <a:pt x="3545" y="225"/>
                  <a:pt x="3539" y="221"/>
                  <a:pt x="3533" y="221"/>
                </a:cubicBezTo>
                <a:cubicBezTo>
                  <a:pt x="3533" y="221"/>
                  <a:pt x="3532" y="221"/>
                  <a:pt x="3532" y="221"/>
                </a:cubicBezTo>
                <a:moveTo>
                  <a:pt x="3564" y="221"/>
                </a:moveTo>
                <a:cubicBezTo>
                  <a:pt x="3558" y="221"/>
                  <a:pt x="3555" y="225"/>
                  <a:pt x="3557" y="231"/>
                </a:cubicBezTo>
                <a:cubicBezTo>
                  <a:pt x="3559" y="237"/>
                  <a:pt x="3566" y="241"/>
                  <a:pt x="3573" y="241"/>
                </a:cubicBezTo>
                <a:cubicBezTo>
                  <a:pt x="3579" y="241"/>
                  <a:pt x="3582" y="236"/>
                  <a:pt x="3580" y="231"/>
                </a:cubicBezTo>
                <a:cubicBezTo>
                  <a:pt x="3577" y="225"/>
                  <a:pt x="3571" y="221"/>
                  <a:pt x="3564" y="221"/>
                </a:cubicBezTo>
                <a:cubicBezTo>
                  <a:pt x="3564" y="221"/>
                  <a:pt x="3564" y="221"/>
                  <a:pt x="3564" y="221"/>
                </a:cubicBezTo>
                <a:moveTo>
                  <a:pt x="3597" y="220"/>
                </a:moveTo>
                <a:cubicBezTo>
                  <a:pt x="3591" y="220"/>
                  <a:pt x="3588" y="225"/>
                  <a:pt x="3590" y="231"/>
                </a:cubicBezTo>
                <a:cubicBezTo>
                  <a:pt x="3592" y="236"/>
                  <a:pt x="3599" y="241"/>
                  <a:pt x="3605" y="241"/>
                </a:cubicBezTo>
                <a:cubicBezTo>
                  <a:pt x="3612" y="241"/>
                  <a:pt x="3615" y="236"/>
                  <a:pt x="3612" y="230"/>
                </a:cubicBezTo>
                <a:cubicBezTo>
                  <a:pt x="3610" y="225"/>
                  <a:pt x="3603" y="220"/>
                  <a:pt x="3597" y="220"/>
                </a:cubicBezTo>
                <a:cubicBezTo>
                  <a:pt x="3597" y="220"/>
                  <a:pt x="3597" y="220"/>
                  <a:pt x="3597" y="220"/>
                </a:cubicBezTo>
                <a:moveTo>
                  <a:pt x="3629" y="220"/>
                </a:moveTo>
                <a:cubicBezTo>
                  <a:pt x="3623" y="220"/>
                  <a:pt x="3620" y="225"/>
                  <a:pt x="3622" y="230"/>
                </a:cubicBezTo>
                <a:cubicBezTo>
                  <a:pt x="3625" y="236"/>
                  <a:pt x="3632" y="241"/>
                  <a:pt x="3638" y="241"/>
                </a:cubicBezTo>
                <a:cubicBezTo>
                  <a:pt x="3644" y="240"/>
                  <a:pt x="3647" y="236"/>
                  <a:pt x="3645" y="230"/>
                </a:cubicBezTo>
                <a:cubicBezTo>
                  <a:pt x="3642" y="225"/>
                  <a:pt x="3635" y="220"/>
                  <a:pt x="3629" y="220"/>
                </a:cubicBezTo>
                <a:cubicBezTo>
                  <a:pt x="3629" y="220"/>
                  <a:pt x="3629" y="220"/>
                  <a:pt x="3629" y="220"/>
                </a:cubicBezTo>
                <a:moveTo>
                  <a:pt x="3662" y="220"/>
                </a:moveTo>
                <a:cubicBezTo>
                  <a:pt x="3656" y="220"/>
                  <a:pt x="3653" y="224"/>
                  <a:pt x="3655" y="230"/>
                </a:cubicBezTo>
                <a:cubicBezTo>
                  <a:pt x="3658" y="236"/>
                  <a:pt x="3665" y="240"/>
                  <a:pt x="3671" y="240"/>
                </a:cubicBezTo>
                <a:cubicBezTo>
                  <a:pt x="3677" y="240"/>
                  <a:pt x="3680" y="236"/>
                  <a:pt x="3678" y="230"/>
                </a:cubicBezTo>
                <a:cubicBezTo>
                  <a:pt x="3675" y="224"/>
                  <a:pt x="3668" y="220"/>
                  <a:pt x="3662" y="220"/>
                </a:cubicBezTo>
                <a:cubicBezTo>
                  <a:pt x="3662" y="220"/>
                  <a:pt x="3662" y="220"/>
                  <a:pt x="3662" y="220"/>
                </a:cubicBezTo>
                <a:moveTo>
                  <a:pt x="3694" y="219"/>
                </a:moveTo>
                <a:cubicBezTo>
                  <a:pt x="3688" y="219"/>
                  <a:pt x="3685" y="224"/>
                  <a:pt x="3687" y="230"/>
                </a:cubicBezTo>
                <a:cubicBezTo>
                  <a:pt x="3690" y="235"/>
                  <a:pt x="3697" y="240"/>
                  <a:pt x="3703" y="240"/>
                </a:cubicBezTo>
                <a:cubicBezTo>
                  <a:pt x="3709" y="240"/>
                  <a:pt x="3712" y="235"/>
                  <a:pt x="3710" y="230"/>
                </a:cubicBezTo>
                <a:cubicBezTo>
                  <a:pt x="3707" y="224"/>
                  <a:pt x="3700" y="219"/>
                  <a:pt x="3694" y="219"/>
                </a:cubicBezTo>
                <a:cubicBezTo>
                  <a:pt x="3694" y="219"/>
                  <a:pt x="3694" y="219"/>
                  <a:pt x="3694" y="219"/>
                </a:cubicBezTo>
                <a:moveTo>
                  <a:pt x="3726" y="219"/>
                </a:moveTo>
                <a:cubicBezTo>
                  <a:pt x="3720" y="219"/>
                  <a:pt x="3717" y="224"/>
                  <a:pt x="3719" y="230"/>
                </a:cubicBezTo>
                <a:cubicBezTo>
                  <a:pt x="3722" y="235"/>
                  <a:pt x="3729" y="240"/>
                  <a:pt x="3735" y="240"/>
                </a:cubicBezTo>
                <a:cubicBezTo>
                  <a:pt x="3742" y="240"/>
                  <a:pt x="3745" y="235"/>
                  <a:pt x="3742" y="229"/>
                </a:cubicBezTo>
                <a:cubicBezTo>
                  <a:pt x="3739" y="224"/>
                  <a:pt x="3732" y="219"/>
                  <a:pt x="3726" y="219"/>
                </a:cubicBezTo>
                <a:cubicBezTo>
                  <a:pt x="3726" y="219"/>
                  <a:pt x="3726" y="219"/>
                  <a:pt x="3726" y="219"/>
                </a:cubicBezTo>
                <a:moveTo>
                  <a:pt x="3758" y="219"/>
                </a:moveTo>
                <a:cubicBezTo>
                  <a:pt x="3752" y="219"/>
                  <a:pt x="3749" y="224"/>
                  <a:pt x="3752" y="229"/>
                </a:cubicBezTo>
                <a:cubicBezTo>
                  <a:pt x="3755" y="235"/>
                  <a:pt x="3762" y="239"/>
                  <a:pt x="3768" y="239"/>
                </a:cubicBezTo>
                <a:cubicBezTo>
                  <a:pt x="3774" y="239"/>
                  <a:pt x="3777" y="235"/>
                  <a:pt x="3775" y="229"/>
                </a:cubicBezTo>
                <a:cubicBezTo>
                  <a:pt x="3772" y="223"/>
                  <a:pt x="3765" y="219"/>
                  <a:pt x="3758" y="219"/>
                </a:cubicBezTo>
                <a:cubicBezTo>
                  <a:pt x="3758" y="219"/>
                  <a:pt x="3758" y="219"/>
                  <a:pt x="3758" y="219"/>
                </a:cubicBezTo>
                <a:moveTo>
                  <a:pt x="3790" y="219"/>
                </a:moveTo>
                <a:cubicBezTo>
                  <a:pt x="3784" y="219"/>
                  <a:pt x="3781" y="223"/>
                  <a:pt x="3784" y="229"/>
                </a:cubicBezTo>
                <a:cubicBezTo>
                  <a:pt x="3787" y="235"/>
                  <a:pt x="3794" y="239"/>
                  <a:pt x="3800" y="239"/>
                </a:cubicBezTo>
                <a:cubicBezTo>
                  <a:pt x="3806" y="239"/>
                  <a:pt x="3809" y="234"/>
                  <a:pt x="3806" y="229"/>
                </a:cubicBezTo>
                <a:cubicBezTo>
                  <a:pt x="3804" y="223"/>
                  <a:pt x="3796" y="219"/>
                  <a:pt x="3790" y="219"/>
                </a:cubicBezTo>
                <a:cubicBezTo>
                  <a:pt x="3790" y="219"/>
                  <a:pt x="3790" y="219"/>
                  <a:pt x="3790" y="219"/>
                </a:cubicBezTo>
                <a:moveTo>
                  <a:pt x="272" y="218"/>
                </a:moveTo>
                <a:cubicBezTo>
                  <a:pt x="266" y="218"/>
                  <a:pt x="257" y="223"/>
                  <a:pt x="252" y="229"/>
                </a:cubicBezTo>
                <a:cubicBezTo>
                  <a:pt x="247" y="234"/>
                  <a:pt x="248" y="239"/>
                  <a:pt x="255" y="239"/>
                </a:cubicBezTo>
                <a:cubicBezTo>
                  <a:pt x="261" y="239"/>
                  <a:pt x="270" y="234"/>
                  <a:pt x="274" y="228"/>
                </a:cubicBezTo>
                <a:cubicBezTo>
                  <a:pt x="279" y="223"/>
                  <a:pt x="278" y="218"/>
                  <a:pt x="272" y="218"/>
                </a:cubicBezTo>
                <a:cubicBezTo>
                  <a:pt x="272" y="218"/>
                  <a:pt x="272" y="218"/>
                  <a:pt x="272" y="218"/>
                </a:cubicBezTo>
                <a:moveTo>
                  <a:pt x="3822" y="218"/>
                </a:moveTo>
                <a:cubicBezTo>
                  <a:pt x="3816" y="218"/>
                  <a:pt x="3813" y="223"/>
                  <a:pt x="3816" y="229"/>
                </a:cubicBezTo>
                <a:cubicBezTo>
                  <a:pt x="3819" y="234"/>
                  <a:pt x="3826" y="239"/>
                  <a:pt x="3832" y="239"/>
                </a:cubicBezTo>
                <a:cubicBezTo>
                  <a:pt x="3839" y="239"/>
                  <a:pt x="3841" y="234"/>
                  <a:pt x="3839" y="229"/>
                </a:cubicBezTo>
                <a:cubicBezTo>
                  <a:pt x="3836" y="223"/>
                  <a:pt x="3828" y="218"/>
                  <a:pt x="3822" y="218"/>
                </a:cubicBezTo>
                <a:cubicBezTo>
                  <a:pt x="3822" y="218"/>
                  <a:pt x="3822" y="218"/>
                  <a:pt x="3822" y="218"/>
                </a:cubicBezTo>
                <a:moveTo>
                  <a:pt x="304" y="218"/>
                </a:moveTo>
                <a:cubicBezTo>
                  <a:pt x="297" y="218"/>
                  <a:pt x="289" y="223"/>
                  <a:pt x="284" y="228"/>
                </a:cubicBezTo>
                <a:cubicBezTo>
                  <a:pt x="279" y="234"/>
                  <a:pt x="280" y="238"/>
                  <a:pt x="287" y="238"/>
                </a:cubicBezTo>
                <a:cubicBezTo>
                  <a:pt x="293" y="238"/>
                  <a:pt x="302" y="234"/>
                  <a:pt x="306" y="228"/>
                </a:cubicBezTo>
                <a:cubicBezTo>
                  <a:pt x="311" y="223"/>
                  <a:pt x="310" y="218"/>
                  <a:pt x="304" y="218"/>
                </a:cubicBezTo>
                <a:cubicBezTo>
                  <a:pt x="304" y="218"/>
                  <a:pt x="304" y="218"/>
                  <a:pt x="304" y="218"/>
                </a:cubicBezTo>
                <a:moveTo>
                  <a:pt x="3854" y="218"/>
                </a:moveTo>
                <a:cubicBezTo>
                  <a:pt x="3848" y="218"/>
                  <a:pt x="3845" y="223"/>
                  <a:pt x="3848" y="228"/>
                </a:cubicBezTo>
                <a:cubicBezTo>
                  <a:pt x="3851" y="234"/>
                  <a:pt x="3858" y="239"/>
                  <a:pt x="3865" y="239"/>
                </a:cubicBezTo>
                <a:cubicBezTo>
                  <a:pt x="3871" y="239"/>
                  <a:pt x="3873" y="234"/>
                  <a:pt x="3871" y="228"/>
                </a:cubicBezTo>
                <a:cubicBezTo>
                  <a:pt x="3868" y="223"/>
                  <a:pt x="3860" y="218"/>
                  <a:pt x="3854" y="218"/>
                </a:cubicBezTo>
                <a:cubicBezTo>
                  <a:pt x="3854" y="218"/>
                  <a:pt x="3854" y="218"/>
                  <a:pt x="3854" y="218"/>
                </a:cubicBezTo>
                <a:moveTo>
                  <a:pt x="335" y="218"/>
                </a:moveTo>
                <a:cubicBezTo>
                  <a:pt x="329" y="218"/>
                  <a:pt x="320" y="222"/>
                  <a:pt x="316" y="228"/>
                </a:cubicBezTo>
                <a:cubicBezTo>
                  <a:pt x="311" y="234"/>
                  <a:pt x="312" y="238"/>
                  <a:pt x="319" y="238"/>
                </a:cubicBezTo>
                <a:cubicBezTo>
                  <a:pt x="325" y="238"/>
                  <a:pt x="334" y="233"/>
                  <a:pt x="338" y="228"/>
                </a:cubicBezTo>
                <a:cubicBezTo>
                  <a:pt x="343" y="222"/>
                  <a:pt x="342" y="218"/>
                  <a:pt x="335" y="218"/>
                </a:cubicBezTo>
                <a:cubicBezTo>
                  <a:pt x="335" y="218"/>
                  <a:pt x="335" y="218"/>
                  <a:pt x="335" y="218"/>
                </a:cubicBezTo>
                <a:moveTo>
                  <a:pt x="3886" y="218"/>
                </a:moveTo>
                <a:cubicBezTo>
                  <a:pt x="3880" y="218"/>
                  <a:pt x="3877" y="222"/>
                  <a:pt x="3880" y="228"/>
                </a:cubicBezTo>
                <a:cubicBezTo>
                  <a:pt x="3883" y="234"/>
                  <a:pt x="3890" y="238"/>
                  <a:pt x="3897" y="238"/>
                </a:cubicBezTo>
                <a:cubicBezTo>
                  <a:pt x="3903" y="238"/>
                  <a:pt x="3906" y="234"/>
                  <a:pt x="3903" y="228"/>
                </a:cubicBezTo>
                <a:cubicBezTo>
                  <a:pt x="3900" y="222"/>
                  <a:pt x="3892" y="218"/>
                  <a:pt x="3886" y="218"/>
                </a:cubicBezTo>
                <a:cubicBezTo>
                  <a:pt x="3886" y="218"/>
                  <a:pt x="3886" y="218"/>
                  <a:pt x="3886" y="218"/>
                </a:cubicBezTo>
                <a:moveTo>
                  <a:pt x="367" y="217"/>
                </a:moveTo>
                <a:cubicBezTo>
                  <a:pt x="361" y="218"/>
                  <a:pt x="352" y="222"/>
                  <a:pt x="348" y="228"/>
                </a:cubicBezTo>
                <a:cubicBezTo>
                  <a:pt x="343" y="233"/>
                  <a:pt x="345" y="238"/>
                  <a:pt x="351" y="238"/>
                </a:cubicBezTo>
                <a:cubicBezTo>
                  <a:pt x="357" y="238"/>
                  <a:pt x="366" y="233"/>
                  <a:pt x="370" y="228"/>
                </a:cubicBezTo>
                <a:cubicBezTo>
                  <a:pt x="375" y="222"/>
                  <a:pt x="374" y="217"/>
                  <a:pt x="367" y="217"/>
                </a:cubicBezTo>
                <a:cubicBezTo>
                  <a:pt x="367" y="217"/>
                  <a:pt x="367" y="217"/>
                  <a:pt x="367" y="217"/>
                </a:cubicBezTo>
                <a:moveTo>
                  <a:pt x="3918" y="217"/>
                </a:moveTo>
                <a:cubicBezTo>
                  <a:pt x="3912" y="218"/>
                  <a:pt x="3909" y="222"/>
                  <a:pt x="3912" y="228"/>
                </a:cubicBezTo>
                <a:cubicBezTo>
                  <a:pt x="3915" y="234"/>
                  <a:pt x="3922" y="238"/>
                  <a:pt x="3929" y="238"/>
                </a:cubicBezTo>
                <a:cubicBezTo>
                  <a:pt x="3935" y="238"/>
                  <a:pt x="3938" y="233"/>
                  <a:pt x="3934" y="228"/>
                </a:cubicBezTo>
                <a:cubicBezTo>
                  <a:pt x="3931" y="222"/>
                  <a:pt x="3924" y="217"/>
                  <a:pt x="3918" y="217"/>
                </a:cubicBezTo>
                <a:cubicBezTo>
                  <a:pt x="3918" y="217"/>
                  <a:pt x="3918" y="217"/>
                  <a:pt x="3918" y="217"/>
                </a:cubicBezTo>
                <a:moveTo>
                  <a:pt x="3950" y="217"/>
                </a:moveTo>
                <a:cubicBezTo>
                  <a:pt x="3944" y="217"/>
                  <a:pt x="3941" y="222"/>
                  <a:pt x="3944" y="228"/>
                </a:cubicBezTo>
                <a:cubicBezTo>
                  <a:pt x="3947" y="233"/>
                  <a:pt x="3955" y="238"/>
                  <a:pt x="3961" y="238"/>
                </a:cubicBezTo>
                <a:cubicBezTo>
                  <a:pt x="3967" y="238"/>
                  <a:pt x="3970" y="233"/>
                  <a:pt x="3967" y="227"/>
                </a:cubicBezTo>
                <a:cubicBezTo>
                  <a:pt x="3964" y="222"/>
                  <a:pt x="3956" y="217"/>
                  <a:pt x="3950" y="217"/>
                </a:cubicBezTo>
                <a:cubicBezTo>
                  <a:pt x="3950" y="217"/>
                  <a:pt x="3950" y="217"/>
                  <a:pt x="3950" y="217"/>
                </a:cubicBezTo>
                <a:moveTo>
                  <a:pt x="401" y="217"/>
                </a:moveTo>
                <a:cubicBezTo>
                  <a:pt x="395" y="217"/>
                  <a:pt x="386" y="222"/>
                  <a:pt x="381" y="227"/>
                </a:cubicBezTo>
                <a:cubicBezTo>
                  <a:pt x="377" y="233"/>
                  <a:pt x="378" y="237"/>
                  <a:pt x="384" y="237"/>
                </a:cubicBezTo>
                <a:cubicBezTo>
                  <a:pt x="391" y="237"/>
                  <a:pt x="399" y="233"/>
                  <a:pt x="404" y="227"/>
                </a:cubicBezTo>
                <a:cubicBezTo>
                  <a:pt x="408" y="222"/>
                  <a:pt x="407" y="217"/>
                  <a:pt x="401" y="217"/>
                </a:cubicBezTo>
                <a:cubicBezTo>
                  <a:pt x="401" y="217"/>
                  <a:pt x="401" y="217"/>
                  <a:pt x="401" y="217"/>
                </a:cubicBezTo>
                <a:moveTo>
                  <a:pt x="3982" y="217"/>
                </a:moveTo>
                <a:cubicBezTo>
                  <a:pt x="3976" y="217"/>
                  <a:pt x="3973" y="222"/>
                  <a:pt x="3977" y="227"/>
                </a:cubicBezTo>
                <a:cubicBezTo>
                  <a:pt x="3980" y="233"/>
                  <a:pt x="3987" y="238"/>
                  <a:pt x="3994" y="238"/>
                </a:cubicBezTo>
                <a:cubicBezTo>
                  <a:pt x="4000" y="237"/>
                  <a:pt x="4002" y="233"/>
                  <a:pt x="3999" y="227"/>
                </a:cubicBezTo>
                <a:cubicBezTo>
                  <a:pt x="3996" y="221"/>
                  <a:pt x="3988" y="217"/>
                  <a:pt x="3982" y="217"/>
                </a:cubicBezTo>
                <a:cubicBezTo>
                  <a:pt x="3982" y="217"/>
                  <a:pt x="3982" y="217"/>
                  <a:pt x="3982" y="217"/>
                </a:cubicBezTo>
                <a:moveTo>
                  <a:pt x="432" y="217"/>
                </a:moveTo>
                <a:cubicBezTo>
                  <a:pt x="426" y="217"/>
                  <a:pt x="418" y="222"/>
                  <a:pt x="413" y="227"/>
                </a:cubicBezTo>
                <a:cubicBezTo>
                  <a:pt x="409" y="233"/>
                  <a:pt x="410" y="237"/>
                  <a:pt x="416" y="237"/>
                </a:cubicBezTo>
                <a:cubicBezTo>
                  <a:pt x="423" y="237"/>
                  <a:pt x="431" y="233"/>
                  <a:pt x="436" y="227"/>
                </a:cubicBezTo>
                <a:cubicBezTo>
                  <a:pt x="440" y="221"/>
                  <a:pt x="439" y="217"/>
                  <a:pt x="433" y="217"/>
                </a:cubicBezTo>
                <a:cubicBezTo>
                  <a:pt x="433" y="217"/>
                  <a:pt x="433" y="217"/>
                  <a:pt x="432" y="217"/>
                </a:cubicBezTo>
                <a:moveTo>
                  <a:pt x="4014" y="217"/>
                </a:moveTo>
                <a:cubicBezTo>
                  <a:pt x="4008" y="217"/>
                  <a:pt x="4005" y="221"/>
                  <a:pt x="4009" y="227"/>
                </a:cubicBezTo>
                <a:cubicBezTo>
                  <a:pt x="4012" y="233"/>
                  <a:pt x="4019" y="237"/>
                  <a:pt x="4026" y="237"/>
                </a:cubicBezTo>
                <a:cubicBezTo>
                  <a:pt x="4032" y="237"/>
                  <a:pt x="4034" y="233"/>
                  <a:pt x="4031" y="227"/>
                </a:cubicBezTo>
                <a:cubicBezTo>
                  <a:pt x="4028" y="221"/>
                  <a:pt x="4020" y="217"/>
                  <a:pt x="4014" y="217"/>
                </a:cubicBezTo>
                <a:cubicBezTo>
                  <a:pt x="4014" y="217"/>
                  <a:pt x="4014" y="217"/>
                  <a:pt x="4014" y="217"/>
                </a:cubicBezTo>
                <a:moveTo>
                  <a:pt x="464" y="217"/>
                </a:moveTo>
                <a:cubicBezTo>
                  <a:pt x="458" y="217"/>
                  <a:pt x="450" y="221"/>
                  <a:pt x="445" y="227"/>
                </a:cubicBezTo>
                <a:cubicBezTo>
                  <a:pt x="441" y="232"/>
                  <a:pt x="442" y="237"/>
                  <a:pt x="449" y="237"/>
                </a:cubicBezTo>
                <a:cubicBezTo>
                  <a:pt x="455" y="237"/>
                  <a:pt x="463" y="232"/>
                  <a:pt x="468" y="227"/>
                </a:cubicBezTo>
                <a:cubicBezTo>
                  <a:pt x="472" y="221"/>
                  <a:pt x="471" y="217"/>
                  <a:pt x="465" y="217"/>
                </a:cubicBezTo>
                <a:cubicBezTo>
                  <a:pt x="465" y="217"/>
                  <a:pt x="464" y="217"/>
                  <a:pt x="464" y="217"/>
                </a:cubicBezTo>
                <a:moveTo>
                  <a:pt x="4046" y="216"/>
                </a:moveTo>
                <a:cubicBezTo>
                  <a:pt x="4040" y="216"/>
                  <a:pt x="4037" y="221"/>
                  <a:pt x="4041" y="227"/>
                </a:cubicBezTo>
                <a:cubicBezTo>
                  <a:pt x="4044" y="232"/>
                  <a:pt x="4052" y="237"/>
                  <a:pt x="4058" y="237"/>
                </a:cubicBezTo>
                <a:cubicBezTo>
                  <a:pt x="4064" y="237"/>
                  <a:pt x="4066" y="232"/>
                  <a:pt x="4063" y="227"/>
                </a:cubicBezTo>
                <a:cubicBezTo>
                  <a:pt x="4060" y="221"/>
                  <a:pt x="4052" y="216"/>
                  <a:pt x="4046" y="216"/>
                </a:cubicBezTo>
                <a:cubicBezTo>
                  <a:pt x="4046" y="216"/>
                  <a:pt x="4046" y="216"/>
                  <a:pt x="4046" y="216"/>
                </a:cubicBezTo>
                <a:moveTo>
                  <a:pt x="498" y="216"/>
                </a:moveTo>
                <a:cubicBezTo>
                  <a:pt x="491" y="216"/>
                  <a:pt x="483" y="221"/>
                  <a:pt x="479" y="227"/>
                </a:cubicBezTo>
                <a:cubicBezTo>
                  <a:pt x="474" y="232"/>
                  <a:pt x="476" y="237"/>
                  <a:pt x="482" y="237"/>
                </a:cubicBezTo>
                <a:cubicBezTo>
                  <a:pt x="488" y="237"/>
                  <a:pt x="497" y="232"/>
                  <a:pt x="501" y="226"/>
                </a:cubicBezTo>
                <a:cubicBezTo>
                  <a:pt x="505" y="221"/>
                  <a:pt x="504" y="216"/>
                  <a:pt x="498" y="216"/>
                </a:cubicBezTo>
                <a:cubicBezTo>
                  <a:pt x="498" y="216"/>
                  <a:pt x="498" y="216"/>
                  <a:pt x="498" y="216"/>
                </a:cubicBezTo>
                <a:moveTo>
                  <a:pt x="4078" y="216"/>
                </a:moveTo>
                <a:cubicBezTo>
                  <a:pt x="4072" y="216"/>
                  <a:pt x="4069" y="221"/>
                  <a:pt x="4073" y="226"/>
                </a:cubicBezTo>
                <a:cubicBezTo>
                  <a:pt x="4076" y="232"/>
                  <a:pt x="4084" y="237"/>
                  <a:pt x="4090" y="237"/>
                </a:cubicBezTo>
                <a:cubicBezTo>
                  <a:pt x="4096" y="237"/>
                  <a:pt x="4098" y="232"/>
                  <a:pt x="4095" y="226"/>
                </a:cubicBezTo>
                <a:cubicBezTo>
                  <a:pt x="4092" y="221"/>
                  <a:pt x="4084" y="216"/>
                  <a:pt x="4078" y="216"/>
                </a:cubicBezTo>
                <a:cubicBezTo>
                  <a:pt x="4078" y="216"/>
                  <a:pt x="4078" y="216"/>
                  <a:pt x="4078" y="216"/>
                </a:cubicBezTo>
                <a:moveTo>
                  <a:pt x="529" y="216"/>
                </a:moveTo>
                <a:cubicBezTo>
                  <a:pt x="523" y="216"/>
                  <a:pt x="515" y="221"/>
                  <a:pt x="511" y="226"/>
                </a:cubicBezTo>
                <a:cubicBezTo>
                  <a:pt x="506" y="232"/>
                  <a:pt x="508" y="236"/>
                  <a:pt x="514" y="236"/>
                </a:cubicBezTo>
                <a:cubicBezTo>
                  <a:pt x="520" y="236"/>
                  <a:pt x="529" y="232"/>
                  <a:pt x="533" y="226"/>
                </a:cubicBezTo>
                <a:cubicBezTo>
                  <a:pt x="537" y="221"/>
                  <a:pt x="536" y="216"/>
                  <a:pt x="530" y="216"/>
                </a:cubicBezTo>
                <a:cubicBezTo>
                  <a:pt x="529" y="216"/>
                  <a:pt x="529" y="216"/>
                  <a:pt x="529" y="216"/>
                </a:cubicBezTo>
                <a:moveTo>
                  <a:pt x="4109" y="216"/>
                </a:moveTo>
                <a:cubicBezTo>
                  <a:pt x="4103" y="216"/>
                  <a:pt x="4100" y="221"/>
                  <a:pt x="4104" y="226"/>
                </a:cubicBezTo>
                <a:cubicBezTo>
                  <a:pt x="4107" y="232"/>
                  <a:pt x="4115" y="236"/>
                  <a:pt x="4121" y="236"/>
                </a:cubicBezTo>
                <a:cubicBezTo>
                  <a:pt x="4128" y="236"/>
                  <a:pt x="4130" y="232"/>
                  <a:pt x="4126" y="226"/>
                </a:cubicBezTo>
                <a:cubicBezTo>
                  <a:pt x="4123" y="220"/>
                  <a:pt x="4115" y="216"/>
                  <a:pt x="4109" y="216"/>
                </a:cubicBezTo>
                <a:cubicBezTo>
                  <a:pt x="4109" y="216"/>
                  <a:pt x="4109" y="216"/>
                  <a:pt x="4109" y="216"/>
                </a:cubicBezTo>
                <a:moveTo>
                  <a:pt x="561" y="216"/>
                </a:moveTo>
                <a:cubicBezTo>
                  <a:pt x="555" y="216"/>
                  <a:pt x="547" y="220"/>
                  <a:pt x="543" y="226"/>
                </a:cubicBezTo>
                <a:cubicBezTo>
                  <a:pt x="538" y="232"/>
                  <a:pt x="540" y="236"/>
                  <a:pt x="546" y="236"/>
                </a:cubicBezTo>
                <a:cubicBezTo>
                  <a:pt x="553" y="236"/>
                  <a:pt x="561" y="231"/>
                  <a:pt x="565" y="226"/>
                </a:cubicBezTo>
                <a:cubicBezTo>
                  <a:pt x="569" y="220"/>
                  <a:pt x="568" y="216"/>
                  <a:pt x="561" y="216"/>
                </a:cubicBezTo>
                <a:cubicBezTo>
                  <a:pt x="561" y="216"/>
                  <a:pt x="561" y="216"/>
                  <a:pt x="561" y="216"/>
                </a:cubicBezTo>
                <a:moveTo>
                  <a:pt x="4141" y="216"/>
                </a:moveTo>
                <a:cubicBezTo>
                  <a:pt x="4135" y="216"/>
                  <a:pt x="4133" y="220"/>
                  <a:pt x="4136" y="226"/>
                </a:cubicBezTo>
                <a:cubicBezTo>
                  <a:pt x="4140" y="232"/>
                  <a:pt x="4148" y="236"/>
                  <a:pt x="4154" y="236"/>
                </a:cubicBezTo>
                <a:cubicBezTo>
                  <a:pt x="4160" y="236"/>
                  <a:pt x="4162" y="231"/>
                  <a:pt x="4159" y="226"/>
                </a:cubicBezTo>
                <a:cubicBezTo>
                  <a:pt x="4155" y="220"/>
                  <a:pt x="4147" y="216"/>
                  <a:pt x="4141" y="216"/>
                </a:cubicBezTo>
                <a:cubicBezTo>
                  <a:pt x="4141" y="216"/>
                  <a:pt x="4141" y="216"/>
                  <a:pt x="4141" y="216"/>
                </a:cubicBezTo>
                <a:moveTo>
                  <a:pt x="593" y="216"/>
                </a:moveTo>
                <a:cubicBezTo>
                  <a:pt x="587" y="216"/>
                  <a:pt x="579" y="220"/>
                  <a:pt x="575" y="226"/>
                </a:cubicBezTo>
                <a:cubicBezTo>
                  <a:pt x="570" y="231"/>
                  <a:pt x="572" y="236"/>
                  <a:pt x="578" y="236"/>
                </a:cubicBezTo>
                <a:cubicBezTo>
                  <a:pt x="585" y="236"/>
                  <a:pt x="593" y="231"/>
                  <a:pt x="597" y="226"/>
                </a:cubicBezTo>
                <a:cubicBezTo>
                  <a:pt x="601" y="220"/>
                  <a:pt x="599" y="216"/>
                  <a:pt x="593" y="216"/>
                </a:cubicBezTo>
                <a:cubicBezTo>
                  <a:pt x="593" y="216"/>
                  <a:pt x="593" y="216"/>
                  <a:pt x="593" y="216"/>
                </a:cubicBezTo>
                <a:moveTo>
                  <a:pt x="4171" y="215"/>
                </a:moveTo>
                <a:cubicBezTo>
                  <a:pt x="4165" y="215"/>
                  <a:pt x="4163" y="220"/>
                  <a:pt x="4166" y="226"/>
                </a:cubicBezTo>
                <a:cubicBezTo>
                  <a:pt x="4170" y="231"/>
                  <a:pt x="4178" y="236"/>
                  <a:pt x="4184" y="236"/>
                </a:cubicBezTo>
                <a:cubicBezTo>
                  <a:pt x="4190" y="236"/>
                  <a:pt x="4192" y="231"/>
                  <a:pt x="4189" y="226"/>
                </a:cubicBezTo>
                <a:cubicBezTo>
                  <a:pt x="4185" y="220"/>
                  <a:pt x="4177" y="215"/>
                  <a:pt x="4171" y="215"/>
                </a:cubicBezTo>
                <a:cubicBezTo>
                  <a:pt x="4171" y="215"/>
                  <a:pt x="4171" y="215"/>
                  <a:pt x="4171" y="215"/>
                </a:cubicBezTo>
                <a:moveTo>
                  <a:pt x="625" y="215"/>
                </a:moveTo>
                <a:cubicBezTo>
                  <a:pt x="619" y="215"/>
                  <a:pt x="611" y="220"/>
                  <a:pt x="607" y="225"/>
                </a:cubicBezTo>
                <a:cubicBezTo>
                  <a:pt x="603" y="231"/>
                  <a:pt x="604" y="236"/>
                  <a:pt x="611" y="235"/>
                </a:cubicBezTo>
                <a:cubicBezTo>
                  <a:pt x="617" y="235"/>
                  <a:pt x="625" y="231"/>
                  <a:pt x="629" y="225"/>
                </a:cubicBezTo>
                <a:cubicBezTo>
                  <a:pt x="633" y="220"/>
                  <a:pt x="631" y="215"/>
                  <a:pt x="625" y="215"/>
                </a:cubicBezTo>
                <a:cubicBezTo>
                  <a:pt x="625" y="215"/>
                  <a:pt x="625" y="215"/>
                  <a:pt x="625" y="215"/>
                </a:cubicBezTo>
                <a:moveTo>
                  <a:pt x="658" y="215"/>
                </a:moveTo>
                <a:cubicBezTo>
                  <a:pt x="652" y="215"/>
                  <a:pt x="644" y="220"/>
                  <a:pt x="640" y="225"/>
                </a:cubicBezTo>
                <a:cubicBezTo>
                  <a:pt x="636" y="231"/>
                  <a:pt x="638" y="235"/>
                  <a:pt x="644" y="235"/>
                </a:cubicBezTo>
                <a:cubicBezTo>
                  <a:pt x="650" y="235"/>
                  <a:pt x="658" y="231"/>
                  <a:pt x="662" y="225"/>
                </a:cubicBezTo>
                <a:cubicBezTo>
                  <a:pt x="666" y="219"/>
                  <a:pt x="664" y="215"/>
                  <a:pt x="658" y="215"/>
                </a:cubicBezTo>
                <a:cubicBezTo>
                  <a:pt x="658" y="215"/>
                  <a:pt x="658" y="215"/>
                  <a:pt x="658" y="215"/>
                </a:cubicBezTo>
                <a:moveTo>
                  <a:pt x="690" y="215"/>
                </a:moveTo>
                <a:cubicBezTo>
                  <a:pt x="684" y="215"/>
                  <a:pt x="676" y="219"/>
                  <a:pt x="672" y="225"/>
                </a:cubicBezTo>
                <a:cubicBezTo>
                  <a:pt x="668" y="230"/>
                  <a:pt x="670" y="235"/>
                  <a:pt x="676" y="235"/>
                </a:cubicBezTo>
                <a:cubicBezTo>
                  <a:pt x="682" y="235"/>
                  <a:pt x="690" y="230"/>
                  <a:pt x="694" y="225"/>
                </a:cubicBezTo>
                <a:cubicBezTo>
                  <a:pt x="698" y="219"/>
                  <a:pt x="696" y="215"/>
                  <a:pt x="690" y="215"/>
                </a:cubicBezTo>
                <a:cubicBezTo>
                  <a:pt x="690" y="215"/>
                  <a:pt x="690" y="215"/>
                  <a:pt x="690" y="215"/>
                </a:cubicBezTo>
                <a:moveTo>
                  <a:pt x="722" y="214"/>
                </a:moveTo>
                <a:cubicBezTo>
                  <a:pt x="716" y="214"/>
                  <a:pt x="708" y="219"/>
                  <a:pt x="704" y="225"/>
                </a:cubicBezTo>
                <a:cubicBezTo>
                  <a:pt x="700" y="230"/>
                  <a:pt x="702" y="235"/>
                  <a:pt x="708" y="235"/>
                </a:cubicBezTo>
                <a:cubicBezTo>
                  <a:pt x="714" y="235"/>
                  <a:pt x="722" y="230"/>
                  <a:pt x="726" y="224"/>
                </a:cubicBezTo>
                <a:cubicBezTo>
                  <a:pt x="730" y="219"/>
                  <a:pt x="728" y="214"/>
                  <a:pt x="722" y="214"/>
                </a:cubicBezTo>
                <a:cubicBezTo>
                  <a:pt x="722" y="214"/>
                  <a:pt x="722" y="214"/>
                  <a:pt x="722" y="214"/>
                </a:cubicBezTo>
                <a:moveTo>
                  <a:pt x="754" y="214"/>
                </a:moveTo>
                <a:cubicBezTo>
                  <a:pt x="748" y="214"/>
                  <a:pt x="740" y="219"/>
                  <a:pt x="736" y="224"/>
                </a:cubicBezTo>
                <a:cubicBezTo>
                  <a:pt x="732" y="230"/>
                  <a:pt x="734" y="234"/>
                  <a:pt x="741" y="234"/>
                </a:cubicBezTo>
                <a:cubicBezTo>
                  <a:pt x="747" y="234"/>
                  <a:pt x="755" y="230"/>
                  <a:pt x="759" y="224"/>
                </a:cubicBezTo>
                <a:cubicBezTo>
                  <a:pt x="762" y="219"/>
                  <a:pt x="760" y="214"/>
                  <a:pt x="754" y="214"/>
                </a:cubicBezTo>
                <a:cubicBezTo>
                  <a:pt x="754" y="214"/>
                  <a:pt x="754" y="214"/>
                  <a:pt x="754" y="214"/>
                </a:cubicBezTo>
                <a:moveTo>
                  <a:pt x="786" y="214"/>
                </a:moveTo>
                <a:cubicBezTo>
                  <a:pt x="780" y="214"/>
                  <a:pt x="772" y="218"/>
                  <a:pt x="768" y="224"/>
                </a:cubicBezTo>
                <a:cubicBezTo>
                  <a:pt x="764" y="230"/>
                  <a:pt x="766" y="234"/>
                  <a:pt x="773" y="234"/>
                </a:cubicBezTo>
                <a:cubicBezTo>
                  <a:pt x="779" y="234"/>
                  <a:pt x="787" y="229"/>
                  <a:pt x="791" y="224"/>
                </a:cubicBezTo>
                <a:cubicBezTo>
                  <a:pt x="794" y="218"/>
                  <a:pt x="792" y="214"/>
                  <a:pt x="786" y="214"/>
                </a:cubicBezTo>
                <a:cubicBezTo>
                  <a:pt x="786" y="214"/>
                  <a:pt x="786" y="214"/>
                  <a:pt x="786" y="214"/>
                </a:cubicBezTo>
                <a:moveTo>
                  <a:pt x="818" y="214"/>
                </a:moveTo>
                <a:cubicBezTo>
                  <a:pt x="812" y="214"/>
                  <a:pt x="804" y="218"/>
                  <a:pt x="800" y="224"/>
                </a:cubicBezTo>
                <a:cubicBezTo>
                  <a:pt x="797" y="229"/>
                  <a:pt x="799" y="234"/>
                  <a:pt x="805" y="234"/>
                </a:cubicBezTo>
                <a:cubicBezTo>
                  <a:pt x="811" y="234"/>
                  <a:pt x="819" y="229"/>
                  <a:pt x="823" y="224"/>
                </a:cubicBezTo>
                <a:cubicBezTo>
                  <a:pt x="826" y="218"/>
                  <a:pt x="824" y="214"/>
                  <a:pt x="818" y="214"/>
                </a:cubicBezTo>
                <a:cubicBezTo>
                  <a:pt x="818" y="214"/>
                  <a:pt x="818" y="214"/>
                  <a:pt x="818" y="214"/>
                </a:cubicBezTo>
                <a:moveTo>
                  <a:pt x="850" y="213"/>
                </a:moveTo>
                <a:cubicBezTo>
                  <a:pt x="844" y="213"/>
                  <a:pt x="836" y="218"/>
                  <a:pt x="832" y="223"/>
                </a:cubicBezTo>
                <a:cubicBezTo>
                  <a:pt x="829" y="229"/>
                  <a:pt x="831" y="234"/>
                  <a:pt x="837" y="234"/>
                </a:cubicBezTo>
                <a:cubicBezTo>
                  <a:pt x="843" y="233"/>
                  <a:pt x="851" y="229"/>
                  <a:pt x="855" y="223"/>
                </a:cubicBezTo>
                <a:cubicBezTo>
                  <a:pt x="858" y="218"/>
                  <a:pt x="856" y="213"/>
                  <a:pt x="850" y="213"/>
                </a:cubicBezTo>
                <a:cubicBezTo>
                  <a:pt x="850" y="213"/>
                  <a:pt x="850" y="213"/>
                  <a:pt x="850" y="213"/>
                </a:cubicBezTo>
                <a:moveTo>
                  <a:pt x="882" y="213"/>
                </a:moveTo>
                <a:cubicBezTo>
                  <a:pt x="876" y="213"/>
                  <a:pt x="868" y="218"/>
                  <a:pt x="864" y="223"/>
                </a:cubicBezTo>
                <a:cubicBezTo>
                  <a:pt x="861" y="229"/>
                  <a:pt x="863" y="233"/>
                  <a:pt x="869" y="233"/>
                </a:cubicBezTo>
                <a:cubicBezTo>
                  <a:pt x="875" y="233"/>
                  <a:pt x="883" y="229"/>
                  <a:pt x="887" y="223"/>
                </a:cubicBezTo>
                <a:cubicBezTo>
                  <a:pt x="890" y="217"/>
                  <a:pt x="888" y="213"/>
                  <a:pt x="882" y="213"/>
                </a:cubicBezTo>
                <a:cubicBezTo>
                  <a:pt x="882" y="213"/>
                  <a:pt x="882" y="213"/>
                  <a:pt x="882" y="213"/>
                </a:cubicBezTo>
                <a:moveTo>
                  <a:pt x="914" y="213"/>
                </a:moveTo>
                <a:cubicBezTo>
                  <a:pt x="908" y="213"/>
                  <a:pt x="900" y="217"/>
                  <a:pt x="897" y="223"/>
                </a:cubicBezTo>
                <a:cubicBezTo>
                  <a:pt x="893" y="229"/>
                  <a:pt x="895" y="233"/>
                  <a:pt x="902" y="233"/>
                </a:cubicBezTo>
                <a:cubicBezTo>
                  <a:pt x="908" y="233"/>
                  <a:pt x="916" y="228"/>
                  <a:pt x="919" y="223"/>
                </a:cubicBezTo>
                <a:cubicBezTo>
                  <a:pt x="922" y="217"/>
                  <a:pt x="920" y="213"/>
                  <a:pt x="914" y="213"/>
                </a:cubicBezTo>
                <a:cubicBezTo>
                  <a:pt x="914" y="213"/>
                  <a:pt x="914" y="213"/>
                  <a:pt x="914" y="213"/>
                </a:cubicBezTo>
                <a:moveTo>
                  <a:pt x="946" y="212"/>
                </a:moveTo>
                <a:cubicBezTo>
                  <a:pt x="940" y="212"/>
                  <a:pt x="932" y="217"/>
                  <a:pt x="929" y="223"/>
                </a:cubicBezTo>
                <a:cubicBezTo>
                  <a:pt x="925" y="228"/>
                  <a:pt x="927" y="233"/>
                  <a:pt x="934" y="233"/>
                </a:cubicBezTo>
                <a:cubicBezTo>
                  <a:pt x="940" y="233"/>
                  <a:pt x="948" y="228"/>
                  <a:pt x="951" y="222"/>
                </a:cubicBezTo>
                <a:cubicBezTo>
                  <a:pt x="954" y="217"/>
                  <a:pt x="952" y="212"/>
                  <a:pt x="946" y="212"/>
                </a:cubicBezTo>
                <a:cubicBezTo>
                  <a:pt x="946" y="212"/>
                  <a:pt x="946" y="212"/>
                  <a:pt x="946" y="212"/>
                </a:cubicBezTo>
                <a:moveTo>
                  <a:pt x="1294" y="212"/>
                </a:moveTo>
                <a:cubicBezTo>
                  <a:pt x="1288" y="212"/>
                  <a:pt x="1280" y="217"/>
                  <a:pt x="1278" y="223"/>
                </a:cubicBezTo>
                <a:cubicBezTo>
                  <a:pt x="1275" y="228"/>
                  <a:pt x="1278" y="233"/>
                  <a:pt x="1284" y="233"/>
                </a:cubicBezTo>
                <a:cubicBezTo>
                  <a:pt x="1291" y="233"/>
                  <a:pt x="1298" y="228"/>
                  <a:pt x="1300" y="222"/>
                </a:cubicBezTo>
                <a:cubicBezTo>
                  <a:pt x="1303" y="217"/>
                  <a:pt x="1300" y="212"/>
                  <a:pt x="1294" y="212"/>
                </a:cubicBezTo>
                <a:cubicBezTo>
                  <a:pt x="1294" y="212"/>
                  <a:pt x="1294" y="212"/>
                  <a:pt x="1294" y="212"/>
                </a:cubicBezTo>
                <a:moveTo>
                  <a:pt x="976" y="212"/>
                </a:moveTo>
                <a:cubicBezTo>
                  <a:pt x="970" y="212"/>
                  <a:pt x="962" y="217"/>
                  <a:pt x="959" y="222"/>
                </a:cubicBezTo>
                <a:cubicBezTo>
                  <a:pt x="956" y="228"/>
                  <a:pt x="958" y="232"/>
                  <a:pt x="964" y="232"/>
                </a:cubicBezTo>
                <a:cubicBezTo>
                  <a:pt x="970" y="232"/>
                  <a:pt x="978" y="228"/>
                  <a:pt x="981" y="222"/>
                </a:cubicBezTo>
                <a:cubicBezTo>
                  <a:pt x="985" y="217"/>
                  <a:pt x="982" y="212"/>
                  <a:pt x="976" y="212"/>
                </a:cubicBezTo>
                <a:cubicBezTo>
                  <a:pt x="976" y="212"/>
                  <a:pt x="976" y="212"/>
                  <a:pt x="976" y="212"/>
                </a:cubicBezTo>
                <a:moveTo>
                  <a:pt x="1326" y="212"/>
                </a:moveTo>
                <a:cubicBezTo>
                  <a:pt x="1320" y="212"/>
                  <a:pt x="1313" y="217"/>
                  <a:pt x="1310" y="222"/>
                </a:cubicBezTo>
                <a:cubicBezTo>
                  <a:pt x="1308" y="228"/>
                  <a:pt x="1311" y="232"/>
                  <a:pt x="1317" y="232"/>
                </a:cubicBezTo>
                <a:cubicBezTo>
                  <a:pt x="1323" y="232"/>
                  <a:pt x="1330" y="228"/>
                  <a:pt x="1333" y="222"/>
                </a:cubicBezTo>
                <a:cubicBezTo>
                  <a:pt x="1335" y="216"/>
                  <a:pt x="1332" y="212"/>
                  <a:pt x="1326" y="212"/>
                </a:cubicBezTo>
                <a:cubicBezTo>
                  <a:pt x="1326" y="212"/>
                  <a:pt x="1326" y="212"/>
                  <a:pt x="1326" y="212"/>
                </a:cubicBezTo>
                <a:moveTo>
                  <a:pt x="1008" y="212"/>
                </a:moveTo>
                <a:cubicBezTo>
                  <a:pt x="1002" y="212"/>
                  <a:pt x="995" y="216"/>
                  <a:pt x="991" y="222"/>
                </a:cubicBezTo>
                <a:cubicBezTo>
                  <a:pt x="988" y="228"/>
                  <a:pt x="990" y="232"/>
                  <a:pt x="997" y="232"/>
                </a:cubicBezTo>
                <a:cubicBezTo>
                  <a:pt x="1003" y="232"/>
                  <a:pt x="1011" y="228"/>
                  <a:pt x="1014" y="222"/>
                </a:cubicBezTo>
                <a:cubicBezTo>
                  <a:pt x="1017" y="216"/>
                  <a:pt x="1015" y="212"/>
                  <a:pt x="1008" y="212"/>
                </a:cubicBezTo>
                <a:cubicBezTo>
                  <a:pt x="1008" y="212"/>
                  <a:pt x="1008" y="212"/>
                  <a:pt x="1008" y="212"/>
                </a:cubicBezTo>
                <a:moveTo>
                  <a:pt x="1358" y="212"/>
                </a:moveTo>
                <a:cubicBezTo>
                  <a:pt x="1352" y="212"/>
                  <a:pt x="1345" y="216"/>
                  <a:pt x="1342" y="222"/>
                </a:cubicBezTo>
                <a:cubicBezTo>
                  <a:pt x="1340" y="228"/>
                  <a:pt x="1343" y="232"/>
                  <a:pt x="1349" y="232"/>
                </a:cubicBezTo>
                <a:cubicBezTo>
                  <a:pt x="1355" y="232"/>
                  <a:pt x="1362" y="227"/>
                  <a:pt x="1364" y="222"/>
                </a:cubicBezTo>
                <a:cubicBezTo>
                  <a:pt x="1367" y="216"/>
                  <a:pt x="1364" y="212"/>
                  <a:pt x="1358" y="212"/>
                </a:cubicBezTo>
                <a:cubicBezTo>
                  <a:pt x="1358" y="212"/>
                  <a:pt x="1358" y="212"/>
                  <a:pt x="1358" y="212"/>
                </a:cubicBezTo>
                <a:moveTo>
                  <a:pt x="1040" y="212"/>
                </a:moveTo>
                <a:cubicBezTo>
                  <a:pt x="1034" y="212"/>
                  <a:pt x="1026" y="216"/>
                  <a:pt x="1023" y="222"/>
                </a:cubicBezTo>
                <a:cubicBezTo>
                  <a:pt x="1020" y="227"/>
                  <a:pt x="1022" y="232"/>
                  <a:pt x="1029" y="232"/>
                </a:cubicBezTo>
                <a:cubicBezTo>
                  <a:pt x="1035" y="232"/>
                  <a:pt x="1042" y="227"/>
                  <a:pt x="1046" y="222"/>
                </a:cubicBezTo>
                <a:cubicBezTo>
                  <a:pt x="1049" y="216"/>
                  <a:pt x="1046" y="212"/>
                  <a:pt x="1040" y="212"/>
                </a:cubicBezTo>
                <a:cubicBezTo>
                  <a:pt x="1040" y="212"/>
                  <a:pt x="1040" y="212"/>
                  <a:pt x="1040" y="212"/>
                </a:cubicBezTo>
                <a:moveTo>
                  <a:pt x="1072" y="211"/>
                </a:moveTo>
                <a:cubicBezTo>
                  <a:pt x="1066" y="211"/>
                  <a:pt x="1058" y="216"/>
                  <a:pt x="1055" y="222"/>
                </a:cubicBezTo>
                <a:cubicBezTo>
                  <a:pt x="1052" y="227"/>
                  <a:pt x="1055" y="232"/>
                  <a:pt x="1061" y="232"/>
                </a:cubicBezTo>
                <a:cubicBezTo>
                  <a:pt x="1067" y="232"/>
                  <a:pt x="1075" y="227"/>
                  <a:pt x="1078" y="221"/>
                </a:cubicBezTo>
                <a:cubicBezTo>
                  <a:pt x="1081" y="216"/>
                  <a:pt x="1078" y="211"/>
                  <a:pt x="1072" y="211"/>
                </a:cubicBezTo>
                <a:cubicBezTo>
                  <a:pt x="1072" y="211"/>
                  <a:pt x="1072" y="211"/>
                  <a:pt x="1072" y="211"/>
                </a:cubicBezTo>
                <a:moveTo>
                  <a:pt x="1104" y="211"/>
                </a:moveTo>
                <a:cubicBezTo>
                  <a:pt x="1098" y="211"/>
                  <a:pt x="1090" y="216"/>
                  <a:pt x="1087" y="221"/>
                </a:cubicBezTo>
                <a:cubicBezTo>
                  <a:pt x="1084" y="227"/>
                  <a:pt x="1087" y="231"/>
                  <a:pt x="1093" y="231"/>
                </a:cubicBezTo>
                <a:cubicBezTo>
                  <a:pt x="1099" y="231"/>
                  <a:pt x="1106" y="227"/>
                  <a:pt x="1109" y="221"/>
                </a:cubicBezTo>
                <a:cubicBezTo>
                  <a:pt x="1112" y="215"/>
                  <a:pt x="1110" y="211"/>
                  <a:pt x="1104" y="211"/>
                </a:cubicBezTo>
                <a:cubicBezTo>
                  <a:pt x="1104" y="211"/>
                  <a:pt x="1104" y="211"/>
                  <a:pt x="1104" y="211"/>
                </a:cubicBezTo>
                <a:moveTo>
                  <a:pt x="1551" y="209"/>
                </a:moveTo>
                <a:cubicBezTo>
                  <a:pt x="1545" y="209"/>
                  <a:pt x="1538" y="214"/>
                  <a:pt x="1536" y="219"/>
                </a:cubicBezTo>
                <a:cubicBezTo>
                  <a:pt x="1534" y="225"/>
                  <a:pt x="1537" y="229"/>
                  <a:pt x="1543" y="229"/>
                </a:cubicBezTo>
                <a:cubicBezTo>
                  <a:pt x="1550" y="229"/>
                  <a:pt x="1556" y="225"/>
                  <a:pt x="1558" y="219"/>
                </a:cubicBezTo>
                <a:cubicBezTo>
                  <a:pt x="1560" y="213"/>
                  <a:pt x="1557" y="209"/>
                  <a:pt x="1551" y="209"/>
                </a:cubicBezTo>
                <a:cubicBezTo>
                  <a:pt x="1551" y="209"/>
                  <a:pt x="1551" y="209"/>
                  <a:pt x="1551" y="209"/>
                </a:cubicBezTo>
                <a:moveTo>
                  <a:pt x="1583" y="209"/>
                </a:moveTo>
                <a:cubicBezTo>
                  <a:pt x="1576" y="209"/>
                  <a:pt x="1570" y="213"/>
                  <a:pt x="1568" y="219"/>
                </a:cubicBezTo>
                <a:cubicBezTo>
                  <a:pt x="1566" y="224"/>
                  <a:pt x="1569" y="229"/>
                  <a:pt x="1575" y="229"/>
                </a:cubicBezTo>
                <a:cubicBezTo>
                  <a:pt x="1582" y="229"/>
                  <a:pt x="1588" y="224"/>
                  <a:pt x="1590" y="219"/>
                </a:cubicBezTo>
                <a:cubicBezTo>
                  <a:pt x="1592" y="213"/>
                  <a:pt x="1589" y="209"/>
                  <a:pt x="1583" y="209"/>
                </a:cubicBezTo>
                <a:cubicBezTo>
                  <a:pt x="1583" y="209"/>
                  <a:pt x="1583" y="209"/>
                  <a:pt x="1583" y="209"/>
                </a:cubicBezTo>
                <a:moveTo>
                  <a:pt x="1614" y="208"/>
                </a:moveTo>
                <a:cubicBezTo>
                  <a:pt x="1608" y="208"/>
                  <a:pt x="1602" y="213"/>
                  <a:pt x="1600" y="219"/>
                </a:cubicBezTo>
                <a:cubicBezTo>
                  <a:pt x="1598" y="224"/>
                  <a:pt x="1601" y="229"/>
                  <a:pt x="1608" y="229"/>
                </a:cubicBezTo>
                <a:cubicBezTo>
                  <a:pt x="1614" y="229"/>
                  <a:pt x="1620" y="224"/>
                  <a:pt x="1622" y="218"/>
                </a:cubicBezTo>
                <a:cubicBezTo>
                  <a:pt x="1624" y="213"/>
                  <a:pt x="1621" y="208"/>
                  <a:pt x="1615" y="208"/>
                </a:cubicBezTo>
                <a:cubicBezTo>
                  <a:pt x="1615" y="208"/>
                  <a:pt x="1615" y="208"/>
                  <a:pt x="1614" y="208"/>
                </a:cubicBezTo>
                <a:moveTo>
                  <a:pt x="1646" y="208"/>
                </a:moveTo>
                <a:cubicBezTo>
                  <a:pt x="1640" y="208"/>
                  <a:pt x="1634" y="213"/>
                  <a:pt x="1632" y="218"/>
                </a:cubicBezTo>
                <a:cubicBezTo>
                  <a:pt x="1630" y="224"/>
                  <a:pt x="1633" y="228"/>
                  <a:pt x="1639" y="228"/>
                </a:cubicBezTo>
                <a:cubicBezTo>
                  <a:pt x="1646" y="228"/>
                  <a:pt x="1652" y="224"/>
                  <a:pt x="1654" y="218"/>
                </a:cubicBezTo>
                <a:cubicBezTo>
                  <a:pt x="1656" y="213"/>
                  <a:pt x="1652" y="208"/>
                  <a:pt x="1646" y="208"/>
                </a:cubicBezTo>
                <a:cubicBezTo>
                  <a:pt x="1646" y="208"/>
                  <a:pt x="1646" y="208"/>
                  <a:pt x="1646" y="208"/>
                </a:cubicBezTo>
                <a:moveTo>
                  <a:pt x="1872" y="205"/>
                </a:moveTo>
                <a:cubicBezTo>
                  <a:pt x="1865" y="205"/>
                  <a:pt x="1859" y="210"/>
                  <a:pt x="1858" y="215"/>
                </a:cubicBezTo>
                <a:cubicBezTo>
                  <a:pt x="1857" y="221"/>
                  <a:pt x="1860" y="225"/>
                  <a:pt x="1867" y="225"/>
                </a:cubicBezTo>
                <a:cubicBezTo>
                  <a:pt x="1873" y="225"/>
                  <a:pt x="1879" y="221"/>
                  <a:pt x="1880" y="215"/>
                </a:cubicBezTo>
                <a:cubicBezTo>
                  <a:pt x="1882" y="210"/>
                  <a:pt x="1878" y="205"/>
                  <a:pt x="1872" y="205"/>
                </a:cubicBezTo>
                <a:cubicBezTo>
                  <a:pt x="1872" y="205"/>
                  <a:pt x="1872" y="205"/>
                  <a:pt x="1872" y="205"/>
                </a:cubicBezTo>
                <a:moveTo>
                  <a:pt x="1901" y="205"/>
                </a:moveTo>
                <a:cubicBezTo>
                  <a:pt x="1895" y="205"/>
                  <a:pt x="1889" y="209"/>
                  <a:pt x="1887" y="215"/>
                </a:cubicBezTo>
                <a:cubicBezTo>
                  <a:pt x="1886" y="221"/>
                  <a:pt x="1890" y="225"/>
                  <a:pt x="1896" y="225"/>
                </a:cubicBezTo>
                <a:cubicBezTo>
                  <a:pt x="1902" y="225"/>
                  <a:pt x="1908" y="220"/>
                  <a:pt x="1910" y="215"/>
                </a:cubicBezTo>
                <a:cubicBezTo>
                  <a:pt x="1911" y="209"/>
                  <a:pt x="1907" y="205"/>
                  <a:pt x="1901" y="205"/>
                </a:cubicBezTo>
                <a:cubicBezTo>
                  <a:pt x="1901" y="205"/>
                  <a:pt x="1901" y="205"/>
                  <a:pt x="1901" y="205"/>
                </a:cubicBezTo>
                <a:moveTo>
                  <a:pt x="1933" y="204"/>
                </a:moveTo>
                <a:cubicBezTo>
                  <a:pt x="1927" y="205"/>
                  <a:pt x="1921" y="209"/>
                  <a:pt x="1919" y="215"/>
                </a:cubicBezTo>
                <a:cubicBezTo>
                  <a:pt x="1918" y="220"/>
                  <a:pt x="1922" y="225"/>
                  <a:pt x="1928" y="225"/>
                </a:cubicBezTo>
                <a:cubicBezTo>
                  <a:pt x="1935" y="225"/>
                  <a:pt x="1941" y="220"/>
                  <a:pt x="1942" y="215"/>
                </a:cubicBezTo>
                <a:cubicBezTo>
                  <a:pt x="1943" y="209"/>
                  <a:pt x="1939" y="204"/>
                  <a:pt x="1933" y="204"/>
                </a:cubicBezTo>
                <a:cubicBezTo>
                  <a:pt x="1933" y="204"/>
                  <a:pt x="1933" y="204"/>
                  <a:pt x="1933" y="204"/>
                </a:cubicBezTo>
                <a:moveTo>
                  <a:pt x="2252" y="201"/>
                </a:moveTo>
                <a:cubicBezTo>
                  <a:pt x="2246" y="201"/>
                  <a:pt x="2240" y="206"/>
                  <a:pt x="2240" y="211"/>
                </a:cubicBezTo>
                <a:cubicBezTo>
                  <a:pt x="2239" y="217"/>
                  <a:pt x="2244" y="221"/>
                  <a:pt x="2250" y="221"/>
                </a:cubicBezTo>
                <a:cubicBezTo>
                  <a:pt x="2256" y="221"/>
                  <a:pt x="2261" y="217"/>
                  <a:pt x="2262" y="211"/>
                </a:cubicBezTo>
                <a:cubicBezTo>
                  <a:pt x="2262" y="205"/>
                  <a:pt x="2258" y="201"/>
                  <a:pt x="2252" y="201"/>
                </a:cubicBezTo>
                <a:cubicBezTo>
                  <a:pt x="2252" y="201"/>
                  <a:pt x="2252" y="201"/>
                  <a:pt x="2252" y="201"/>
                </a:cubicBezTo>
                <a:moveTo>
                  <a:pt x="2283" y="201"/>
                </a:moveTo>
                <a:cubicBezTo>
                  <a:pt x="2277" y="201"/>
                  <a:pt x="2272" y="205"/>
                  <a:pt x="2271" y="211"/>
                </a:cubicBezTo>
                <a:cubicBezTo>
                  <a:pt x="2271" y="217"/>
                  <a:pt x="2275" y="221"/>
                  <a:pt x="2282" y="221"/>
                </a:cubicBezTo>
                <a:cubicBezTo>
                  <a:pt x="2288" y="221"/>
                  <a:pt x="2293" y="216"/>
                  <a:pt x="2294" y="211"/>
                </a:cubicBezTo>
                <a:cubicBezTo>
                  <a:pt x="2294" y="205"/>
                  <a:pt x="2290" y="201"/>
                  <a:pt x="2284" y="201"/>
                </a:cubicBezTo>
                <a:cubicBezTo>
                  <a:pt x="2283" y="201"/>
                  <a:pt x="2283" y="201"/>
                  <a:pt x="2283" y="201"/>
                </a:cubicBezTo>
                <a:moveTo>
                  <a:pt x="2315" y="200"/>
                </a:moveTo>
                <a:cubicBezTo>
                  <a:pt x="2309" y="200"/>
                  <a:pt x="2303" y="205"/>
                  <a:pt x="2303" y="211"/>
                </a:cubicBezTo>
                <a:cubicBezTo>
                  <a:pt x="2303" y="216"/>
                  <a:pt x="2307" y="221"/>
                  <a:pt x="2313" y="221"/>
                </a:cubicBezTo>
                <a:cubicBezTo>
                  <a:pt x="2320" y="221"/>
                  <a:pt x="2325" y="216"/>
                  <a:pt x="2325" y="210"/>
                </a:cubicBezTo>
                <a:cubicBezTo>
                  <a:pt x="2326" y="205"/>
                  <a:pt x="2321" y="200"/>
                  <a:pt x="2315" y="200"/>
                </a:cubicBezTo>
                <a:cubicBezTo>
                  <a:pt x="2315" y="200"/>
                  <a:pt x="2315" y="200"/>
                  <a:pt x="2315" y="200"/>
                </a:cubicBezTo>
                <a:moveTo>
                  <a:pt x="2347" y="200"/>
                </a:moveTo>
                <a:cubicBezTo>
                  <a:pt x="2340" y="200"/>
                  <a:pt x="2335" y="205"/>
                  <a:pt x="2335" y="210"/>
                </a:cubicBezTo>
                <a:cubicBezTo>
                  <a:pt x="2334" y="216"/>
                  <a:pt x="2339" y="221"/>
                  <a:pt x="2345" y="220"/>
                </a:cubicBezTo>
                <a:cubicBezTo>
                  <a:pt x="2352" y="220"/>
                  <a:pt x="2357" y="216"/>
                  <a:pt x="2357" y="210"/>
                </a:cubicBezTo>
                <a:cubicBezTo>
                  <a:pt x="2357" y="205"/>
                  <a:pt x="2353" y="200"/>
                  <a:pt x="2347" y="200"/>
                </a:cubicBezTo>
                <a:cubicBezTo>
                  <a:pt x="2347" y="200"/>
                  <a:pt x="2347" y="200"/>
                  <a:pt x="2347" y="200"/>
                </a:cubicBezTo>
                <a:moveTo>
                  <a:pt x="2379" y="200"/>
                </a:moveTo>
                <a:cubicBezTo>
                  <a:pt x="2373" y="200"/>
                  <a:pt x="2368" y="204"/>
                  <a:pt x="2367" y="210"/>
                </a:cubicBezTo>
                <a:cubicBezTo>
                  <a:pt x="2367" y="216"/>
                  <a:pt x="2372" y="220"/>
                  <a:pt x="2378" y="220"/>
                </a:cubicBezTo>
                <a:cubicBezTo>
                  <a:pt x="2384" y="220"/>
                  <a:pt x="2389" y="216"/>
                  <a:pt x="2390" y="210"/>
                </a:cubicBezTo>
                <a:cubicBezTo>
                  <a:pt x="2390" y="204"/>
                  <a:pt x="2385" y="200"/>
                  <a:pt x="2379" y="200"/>
                </a:cubicBezTo>
                <a:cubicBezTo>
                  <a:pt x="2379" y="200"/>
                  <a:pt x="2379" y="200"/>
                  <a:pt x="2379" y="200"/>
                </a:cubicBezTo>
                <a:moveTo>
                  <a:pt x="2411" y="199"/>
                </a:moveTo>
                <a:cubicBezTo>
                  <a:pt x="2404" y="200"/>
                  <a:pt x="2399" y="204"/>
                  <a:pt x="2399" y="210"/>
                </a:cubicBezTo>
                <a:cubicBezTo>
                  <a:pt x="2399" y="215"/>
                  <a:pt x="2404" y="220"/>
                  <a:pt x="2410" y="220"/>
                </a:cubicBezTo>
                <a:cubicBezTo>
                  <a:pt x="2416" y="220"/>
                  <a:pt x="2421" y="215"/>
                  <a:pt x="2421" y="210"/>
                </a:cubicBezTo>
                <a:cubicBezTo>
                  <a:pt x="2422" y="204"/>
                  <a:pt x="2417" y="199"/>
                  <a:pt x="2411" y="199"/>
                </a:cubicBezTo>
                <a:cubicBezTo>
                  <a:pt x="2411" y="199"/>
                  <a:pt x="2411" y="199"/>
                  <a:pt x="2411" y="199"/>
                </a:cubicBezTo>
                <a:moveTo>
                  <a:pt x="2442" y="199"/>
                </a:moveTo>
                <a:cubicBezTo>
                  <a:pt x="2436" y="199"/>
                  <a:pt x="2431" y="204"/>
                  <a:pt x="2431" y="210"/>
                </a:cubicBezTo>
                <a:cubicBezTo>
                  <a:pt x="2431" y="215"/>
                  <a:pt x="2435" y="220"/>
                  <a:pt x="2442" y="220"/>
                </a:cubicBezTo>
                <a:cubicBezTo>
                  <a:pt x="2448" y="220"/>
                  <a:pt x="2453" y="215"/>
                  <a:pt x="2453" y="209"/>
                </a:cubicBezTo>
                <a:cubicBezTo>
                  <a:pt x="2453" y="204"/>
                  <a:pt x="2448" y="199"/>
                  <a:pt x="2442" y="199"/>
                </a:cubicBezTo>
                <a:cubicBezTo>
                  <a:pt x="2442" y="199"/>
                  <a:pt x="2442" y="199"/>
                  <a:pt x="2442" y="199"/>
                </a:cubicBezTo>
                <a:moveTo>
                  <a:pt x="2474" y="199"/>
                </a:moveTo>
                <a:cubicBezTo>
                  <a:pt x="2467" y="199"/>
                  <a:pt x="2462" y="204"/>
                  <a:pt x="2462" y="209"/>
                </a:cubicBezTo>
                <a:cubicBezTo>
                  <a:pt x="2462" y="215"/>
                  <a:pt x="2467" y="219"/>
                  <a:pt x="2473" y="219"/>
                </a:cubicBezTo>
                <a:cubicBezTo>
                  <a:pt x="2479" y="219"/>
                  <a:pt x="2485" y="215"/>
                  <a:pt x="2485" y="209"/>
                </a:cubicBezTo>
                <a:cubicBezTo>
                  <a:pt x="2485" y="203"/>
                  <a:pt x="2480" y="199"/>
                  <a:pt x="2474" y="199"/>
                </a:cubicBezTo>
                <a:cubicBezTo>
                  <a:pt x="2474" y="199"/>
                  <a:pt x="2474" y="199"/>
                  <a:pt x="2474" y="199"/>
                </a:cubicBezTo>
                <a:moveTo>
                  <a:pt x="2505" y="199"/>
                </a:moveTo>
                <a:cubicBezTo>
                  <a:pt x="2499" y="199"/>
                  <a:pt x="2494" y="203"/>
                  <a:pt x="2494" y="209"/>
                </a:cubicBezTo>
                <a:cubicBezTo>
                  <a:pt x="2494" y="215"/>
                  <a:pt x="2499" y="219"/>
                  <a:pt x="2505" y="219"/>
                </a:cubicBezTo>
                <a:cubicBezTo>
                  <a:pt x="2511" y="219"/>
                  <a:pt x="2516" y="214"/>
                  <a:pt x="2516" y="209"/>
                </a:cubicBezTo>
                <a:cubicBezTo>
                  <a:pt x="2516" y="203"/>
                  <a:pt x="2511" y="199"/>
                  <a:pt x="2505" y="199"/>
                </a:cubicBezTo>
                <a:cubicBezTo>
                  <a:pt x="2505" y="199"/>
                  <a:pt x="2505" y="199"/>
                  <a:pt x="2505" y="199"/>
                </a:cubicBezTo>
                <a:moveTo>
                  <a:pt x="2570" y="198"/>
                </a:moveTo>
                <a:cubicBezTo>
                  <a:pt x="2564" y="198"/>
                  <a:pt x="2559" y="203"/>
                  <a:pt x="2559" y="208"/>
                </a:cubicBezTo>
                <a:cubicBezTo>
                  <a:pt x="2559" y="214"/>
                  <a:pt x="2564" y="219"/>
                  <a:pt x="2571" y="219"/>
                </a:cubicBezTo>
                <a:cubicBezTo>
                  <a:pt x="2577" y="218"/>
                  <a:pt x="2582" y="214"/>
                  <a:pt x="2582" y="208"/>
                </a:cubicBezTo>
                <a:cubicBezTo>
                  <a:pt x="2581" y="203"/>
                  <a:pt x="2576" y="198"/>
                  <a:pt x="2570" y="198"/>
                </a:cubicBezTo>
                <a:cubicBezTo>
                  <a:pt x="2570" y="198"/>
                  <a:pt x="2570" y="198"/>
                  <a:pt x="2570" y="198"/>
                </a:cubicBezTo>
                <a:moveTo>
                  <a:pt x="2602" y="198"/>
                </a:moveTo>
                <a:cubicBezTo>
                  <a:pt x="2596" y="198"/>
                  <a:pt x="2591" y="202"/>
                  <a:pt x="2591" y="208"/>
                </a:cubicBezTo>
                <a:cubicBezTo>
                  <a:pt x="2591" y="214"/>
                  <a:pt x="2596" y="218"/>
                  <a:pt x="2603" y="218"/>
                </a:cubicBezTo>
                <a:cubicBezTo>
                  <a:pt x="2609" y="218"/>
                  <a:pt x="2614" y="214"/>
                  <a:pt x="2613" y="208"/>
                </a:cubicBezTo>
                <a:cubicBezTo>
                  <a:pt x="2613" y="202"/>
                  <a:pt x="2608" y="198"/>
                  <a:pt x="2602" y="198"/>
                </a:cubicBezTo>
                <a:cubicBezTo>
                  <a:pt x="2602" y="198"/>
                  <a:pt x="2602" y="198"/>
                  <a:pt x="2602" y="198"/>
                </a:cubicBezTo>
                <a:moveTo>
                  <a:pt x="2633" y="198"/>
                </a:moveTo>
                <a:cubicBezTo>
                  <a:pt x="2627" y="198"/>
                  <a:pt x="2622" y="202"/>
                  <a:pt x="2623" y="208"/>
                </a:cubicBezTo>
                <a:cubicBezTo>
                  <a:pt x="2623" y="213"/>
                  <a:pt x="2628" y="218"/>
                  <a:pt x="2634" y="218"/>
                </a:cubicBezTo>
                <a:cubicBezTo>
                  <a:pt x="2641" y="218"/>
                  <a:pt x="2645" y="213"/>
                  <a:pt x="2645" y="208"/>
                </a:cubicBezTo>
                <a:cubicBezTo>
                  <a:pt x="2645" y="202"/>
                  <a:pt x="2640" y="198"/>
                  <a:pt x="2633" y="198"/>
                </a:cubicBezTo>
                <a:cubicBezTo>
                  <a:pt x="2633" y="198"/>
                  <a:pt x="2633" y="198"/>
                  <a:pt x="2633" y="198"/>
                </a:cubicBezTo>
                <a:moveTo>
                  <a:pt x="2665" y="197"/>
                </a:moveTo>
                <a:cubicBezTo>
                  <a:pt x="2659" y="197"/>
                  <a:pt x="2654" y="202"/>
                  <a:pt x="2654" y="208"/>
                </a:cubicBezTo>
                <a:cubicBezTo>
                  <a:pt x="2654" y="213"/>
                  <a:pt x="2660" y="218"/>
                  <a:pt x="2666" y="218"/>
                </a:cubicBezTo>
                <a:cubicBezTo>
                  <a:pt x="2672" y="218"/>
                  <a:pt x="2677" y="213"/>
                  <a:pt x="2676" y="207"/>
                </a:cubicBezTo>
                <a:cubicBezTo>
                  <a:pt x="2676" y="202"/>
                  <a:pt x="2671" y="197"/>
                  <a:pt x="2665" y="197"/>
                </a:cubicBezTo>
                <a:cubicBezTo>
                  <a:pt x="2665" y="197"/>
                  <a:pt x="2665" y="197"/>
                  <a:pt x="2665" y="197"/>
                </a:cubicBezTo>
                <a:moveTo>
                  <a:pt x="2696" y="197"/>
                </a:moveTo>
                <a:cubicBezTo>
                  <a:pt x="2690" y="197"/>
                  <a:pt x="2685" y="202"/>
                  <a:pt x="2686" y="207"/>
                </a:cubicBezTo>
                <a:cubicBezTo>
                  <a:pt x="2686" y="213"/>
                  <a:pt x="2692" y="217"/>
                  <a:pt x="2698" y="217"/>
                </a:cubicBezTo>
                <a:cubicBezTo>
                  <a:pt x="2704" y="217"/>
                  <a:pt x="2709" y="213"/>
                  <a:pt x="2708" y="207"/>
                </a:cubicBezTo>
                <a:cubicBezTo>
                  <a:pt x="2708" y="201"/>
                  <a:pt x="2702" y="197"/>
                  <a:pt x="2696" y="197"/>
                </a:cubicBezTo>
                <a:cubicBezTo>
                  <a:pt x="2696" y="197"/>
                  <a:pt x="2696" y="197"/>
                  <a:pt x="2696" y="197"/>
                </a:cubicBezTo>
                <a:moveTo>
                  <a:pt x="2728" y="197"/>
                </a:moveTo>
                <a:cubicBezTo>
                  <a:pt x="2722" y="197"/>
                  <a:pt x="2717" y="201"/>
                  <a:pt x="2718" y="207"/>
                </a:cubicBezTo>
                <a:cubicBezTo>
                  <a:pt x="2718" y="213"/>
                  <a:pt x="2724" y="217"/>
                  <a:pt x="2730" y="217"/>
                </a:cubicBezTo>
                <a:cubicBezTo>
                  <a:pt x="2736" y="217"/>
                  <a:pt x="2741" y="212"/>
                  <a:pt x="2740" y="207"/>
                </a:cubicBezTo>
                <a:cubicBezTo>
                  <a:pt x="2740" y="201"/>
                  <a:pt x="2734" y="197"/>
                  <a:pt x="2728" y="197"/>
                </a:cubicBezTo>
                <a:cubicBezTo>
                  <a:pt x="2728" y="197"/>
                  <a:pt x="2728" y="197"/>
                  <a:pt x="2728" y="197"/>
                </a:cubicBezTo>
                <a:moveTo>
                  <a:pt x="2760" y="196"/>
                </a:moveTo>
                <a:cubicBezTo>
                  <a:pt x="2754" y="196"/>
                  <a:pt x="2749" y="201"/>
                  <a:pt x="2750" y="207"/>
                </a:cubicBezTo>
                <a:cubicBezTo>
                  <a:pt x="2751" y="212"/>
                  <a:pt x="2756" y="217"/>
                  <a:pt x="2762" y="217"/>
                </a:cubicBezTo>
                <a:cubicBezTo>
                  <a:pt x="2768" y="217"/>
                  <a:pt x="2773" y="212"/>
                  <a:pt x="2772" y="207"/>
                </a:cubicBezTo>
                <a:cubicBezTo>
                  <a:pt x="2772" y="201"/>
                  <a:pt x="2766" y="196"/>
                  <a:pt x="2760" y="196"/>
                </a:cubicBezTo>
                <a:cubicBezTo>
                  <a:pt x="2760" y="196"/>
                  <a:pt x="2760" y="196"/>
                  <a:pt x="2760" y="196"/>
                </a:cubicBezTo>
                <a:moveTo>
                  <a:pt x="2792" y="196"/>
                </a:moveTo>
                <a:cubicBezTo>
                  <a:pt x="2786" y="196"/>
                  <a:pt x="2781" y="201"/>
                  <a:pt x="2782" y="206"/>
                </a:cubicBezTo>
                <a:cubicBezTo>
                  <a:pt x="2782" y="212"/>
                  <a:pt x="2788" y="217"/>
                  <a:pt x="2794" y="217"/>
                </a:cubicBezTo>
                <a:cubicBezTo>
                  <a:pt x="2800" y="217"/>
                  <a:pt x="2805" y="212"/>
                  <a:pt x="2804" y="206"/>
                </a:cubicBezTo>
                <a:cubicBezTo>
                  <a:pt x="2803" y="201"/>
                  <a:pt x="2798" y="196"/>
                  <a:pt x="2792" y="196"/>
                </a:cubicBezTo>
                <a:cubicBezTo>
                  <a:pt x="2792" y="196"/>
                  <a:pt x="2792" y="196"/>
                  <a:pt x="2792" y="196"/>
                </a:cubicBezTo>
                <a:moveTo>
                  <a:pt x="2823" y="196"/>
                </a:moveTo>
                <a:cubicBezTo>
                  <a:pt x="2817" y="196"/>
                  <a:pt x="2813" y="201"/>
                  <a:pt x="2814" y="206"/>
                </a:cubicBezTo>
                <a:cubicBezTo>
                  <a:pt x="2814" y="212"/>
                  <a:pt x="2820" y="216"/>
                  <a:pt x="2826" y="216"/>
                </a:cubicBezTo>
                <a:cubicBezTo>
                  <a:pt x="2832" y="216"/>
                  <a:pt x="2837" y="212"/>
                  <a:pt x="2836" y="206"/>
                </a:cubicBezTo>
                <a:cubicBezTo>
                  <a:pt x="2835" y="200"/>
                  <a:pt x="2830" y="196"/>
                  <a:pt x="2824" y="196"/>
                </a:cubicBezTo>
                <a:cubicBezTo>
                  <a:pt x="2824" y="196"/>
                  <a:pt x="2823" y="196"/>
                  <a:pt x="2823" y="196"/>
                </a:cubicBezTo>
                <a:moveTo>
                  <a:pt x="2855" y="196"/>
                </a:moveTo>
                <a:cubicBezTo>
                  <a:pt x="2849" y="196"/>
                  <a:pt x="2844" y="200"/>
                  <a:pt x="2845" y="206"/>
                </a:cubicBezTo>
                <a:cubicBezTo>
                  <a:pt x="2846" y="212"/>
                  <a:pt x="2852" y="216"/>
                  <a:pt x="2858" y="216"/>
                </a:cubicBezTo>
                <a:cubicBezTo>
                  <a:pt x="2864" y="216"/>
                  <a:pt x="2868" y="211"/>
                  <a:pt x="2867" y="206"/>
                </a:cubicBezTo>
                <a:cubicBezTo>
                  <a:pt x="2867" y="200"/>
                  <a:pt x="2861" y="196"/>
                  <a:pt x="2855" y="196"/>
                </a:cubicBezTo>
                <a:cubicBezTo>
                  <a:pt x="2855" y="196"/>
                  <a:pt x="2855" y="196"/>
                  <a:pt x="2855" y="196"/>
                </a:cubicBezTo>
                <a:moveTo>
                  <a:pt x="2887" y="195"/>
                </a:moveTo>
                <a:cubicBezTo>
                  <a:pt x="2881" y="195"/>
                  <a:pt x="2876" y="200"/>
                  <a:pt x="2877" y="206"/>
                </a:cubicBezTo>
                <a:cubicBezTo>
                  <a:pt x="2878" y="211"/>
                  <a:pt x="2884" y="216"/>
                  <a:pt x="2890" y="216"/>
                </a:cubicBezTo>
                <a:cubicBezTo>
                  <a:pt x="2896" y="216"/>
                  <a:pt x="2900" y="211"/>
                  <a:pt x="2899" y="205"/>
                </a:cubicBezTo>
                <a:cubicBezTo>
                  <a:pt x="2899" y="200"/>
                  <a:pt x="2893" y="195"/>
                  <a:pt x="2887" y="195"/>
                </a:cubicBezTo>
                <a:cubicBezTo>
                  <a:pt x="2887" y="195"/>
                  <a:pt x="2887" y="195"/>
                  <a:pt x="2887" y="195"/>
                </a:cubicBezTo>
                <a:moveTo>
                  <a:pt x="2918" y="195"/>
                </a:moveTo>
                <a:cubicBezTo>
                  <a:pt x="2912" y="195"/>
                  <a:pt x="2908" y="200"/>
                  <a:pt x="2909" y="206"/>
                </a:cubicBezTo>
                <a:cubicBezTo>
                  <a:pt x="2910" y="211"/>
                  <a:pt x="2915" y="216"/>
                  <a:pt x="2921" y="216"/>
                </a:cubicBezTo>
                <a:cubicBezTo>
                  <a:pt x="2928" y="216"/>
                  <a:pt x="2932" y="211"/>
                  <a:pt x="2931" y="205"/>
                </a:cubicBezTo>
                <a:cubicBezTo>
                  <a:pt x="2930" y="200"/>
                  <a:pt x="2924" y="195"/>
                  <a:pt x="2918" y="195"/>
                </a:cubicBezTo>
                <a:cubicBezTo>
                  <a:pt x="2918" y="195"/>
                  <a:pt x="2918" y="195"/>
                  <a:pt x="2918" y="195"/>
                </a:cubicBezTo>
                <a:moveTo>
                  <a:pt x="2948" y="195"/>
                </a:moveTo>
                <a:cubicBezTo>
                  <a:pt x="2942" y="195"/>
                  <a:pt x="2938" y="200"/>
                  <a:pt x="2939" y="205"/>
                </a:cubicBezTo>
                <a:cubicBezTo>
                  <a:pt x="2940" y="211"/>
                  <a:pt x="2946" y="215"/>
                  <a:pt x="2952" y="215"/>
                </a:cubicBezTo>
                <a:cubicBezTo>
                  <a:pt x="2958" y="215"/>
                  <a:pt x="2962" y="211"/>
                  <a:pt x="2961" y="205"/>
                </a:cubicBezTo>
                <a:cubicBezTo>
                  <a:pt x="2960" y="199"/>
                  <a:pt x="2955" y="195"/>
                  <a:pt x="2948" y="195"/>
                </a:cubicBezTo>
                <a:cubicBezTo>
                  <a:pt x="2948" y="195"/>
                  <a:pt x="2948" y="195"/>
                  <a:pt x="2948" y="195"/>
                </a:cubicBezTo>
                <a:moveTo>
                  <a:pt x="2980" y="195"/>
                </a:moveTo>
                <a:cubicBezTo>
                  <a:pt x="2974" y="195"/>
                  <a:pt x="2970" y="199"/>
                  <a:pt x="2971" y="205"/>
                </a:cubicBezTo>
                <a:cubicBezTo>
                  <a:pt x="2972" y="211"/>
                  <a:pt x="2977" y="215"/>
                  <a:pt x="2984" y="215"/>
                </a:cubicBezTo>
                <a:cubicBezTo>
                  <a:pt x="2990" y="215"/>
                  <a:pt x="2994" y="210"/>
                  <a:pt x="2993" y="205"/>
                </a:cubicBezTo>
                <a:cubicBezTo>
                  <a:pt x="2992" y="199"/>
                  <a:pt x="2986" y="195"/>
                  <a:pt x="2980" y="195"/>
                </a:cubicBezTo>
                <a:cubicBezTo>
                  <a:pt x="2980" y="195"/>
                  <a:pt x="2980" y="195"/>
                  <a:pt x="2980" y="195"/>
                </a:cubicBezTo>
                <a:moveTo>
                  <a:pt x="3012" y="194"/>
                </a:moveTo>
                <a:cubicBezTo>
                  <a:pt x="3006" y="194"/>
                  <a:pt x="3001" y="199"/>
                  <a:pt x="3003" y="205"/>
                </a:cubicBezTo>
                <a:cubicBezTo>
                  <a:pt x="3004" y="210"/>
                  <a:pt x="3010" y="215"/>
                  <a:pt x="3016" y="215"/>
                </a:cubicBezTo>
                <a:cubicBezTo>
                  <a:pt x="3022" y="215"/>
                  <a:pt x="3026" y="210"/>
                  <a:pt x="3025" y="205"/>
                </a:cubicBezTo>
                <a:cubicBezTo>
                  <a:pt x="3024" y="199"/>
                  <a:pt x="3018" y="194"/>
                  <a:pt x="3012" y="194"/>
                </a:cubicBezTo>
                <a:cubicBezTo>
                  <a:pt x="3012" y="194"/>
                  <a:pt x="3012" y="194"/>
                  <a:pt x="3012" y="194"/>
                </a:cubicBezTo>
                <a:moveTo>
                  <a:pt x="3044" y="194"/>
                </a:moveTo>
                <a:cubicBezTo>
                  <a:pt x="3038" y="194"/>
                  <a:pt x="3034" y="199"/>
                  <a:pt x="3035" y="204"/>
                </a:cubicBezTo>
                <a:cubicBezTo>
                  <a:pt x="3037" y="210"/>
                  <a:pt x="3043" y="215"/>
                  <a:pt x="3049" y="215"/>
                </a:cubicBezTo>
                <a:cubicBezTo>
                  <a:pt x="3055" y="215"/>
                  <a:pt x="3059" y="210"/>
                  <a:pt x="3058" y="204"/>
                </a:cubicBezTo>
                <a:cubicBezTo>
                  <a:pt x="3057" y="199"/>
                  <a:pt x="3051" y="194"/>
                  <a:pt x="3045" y="194"/>
                </a:cubicBezTo>
                <a:cubicBezTo>
                  <a:pt x="3045" y="194"/>
                  <a:pt x="3045" y="194"/>
                  <a:pt x="3044" y="194"/>
                </a:cubicBezTo>
                <a:moveTo>
                  <a:pt x="3076" y="194"/>
                </a:moveTo>
                <a:cubicBezTo>
                  <a:pt x="3070" y="194"/>
                  <a:pt x="3066" y="199"/>
                  <a:pt x="3067" y="204"/>
                </a:cubicBezTo>
                <a:cubicBezTo>
                  <a:pt x="3068" y="210"/>
                  <a:pt x="3074" y="214"/>
                  <a:pt x="3080" y="214"/>
                </a:cubicBezTo>
                <a:cubicBezTo>
                  <a:pt x="3087" y="214"/>
                  <a:pt x="3091" y="210"/>
                  <a:pt x="3089" y="204"/>
                </a:cubicBezTo>
                <a:cubicBezTo>
                  <a:pt x="3088" y="198"/>
                  <a:pt x="3082" y="194"/>
                  <a:pt x="3076" y="194"/>
                </a:cubicBezTo>
                <a:cubicBezTo>
                  <a:pt x="3076" y="194"/>
                  <a:pt x="3076" y="194"/>
                  <a:pt x="3076" y="194"/>
                </a:cubicBezTo>
                <a:moveTo>
                  <a:pt x="3108" y="194"/>
                </a:moveTo>
                <a:cubicBezTo>
                  <a:pt x="3102" y="194"/>
                  <a:pt x="3098" y="198"/>
                  <a:pt x="3099" y="204"/>
                </a:cubicBezTo>
                <a:cubicBezTo>
                  <a:pt x="3100" y="210"/>
                  <a:pt x="3106" y="214"/>
                  <a:pt x="3112" y="214"/>
                </a:cubicBezTo>
                <a:cubicBezTo>
                  <a:pt x="3119" y="214"/>
                  <a:pt x="3123" y="209"/>
                  <a:pt x="3121" y="204"/>
                </a:cubicBezTo>
                <a:cubicBezTo>
                  <a:pt x="3120" y="198"/>
                  <a:pt x="3114" y="194"/>
                  <a:pt x="3108" y="194"/>
                </a:cubicBezTo>
                <a:cubicBezTo>
                  <a:pt x="3108" y="194"/>
                  <a:pt x="3108" y="194"/>
                  <a:pt x="3108" y="194"/>
                </a:cubicBezTo>
                <a:moveTo>
                  <a:pt x="3140" y="193"/>
                </a:moveTo>
                <a:cubicBezTo>
                  <a:pt x="3134" y="193"/>
                  <a:pt x="3130" y="198"/>
                  <a:pt x="3131" y="204"/>
                </a:cubicBezTo>
                <a:cubicBezTo>
                  <a:pt x="3133" y="209"/>
                  <a:pt x="3139" y="214"/>
                  <a:pt x="3145" y="214"/>
                </a:cubicBezTo>
                <a:cubicBezTo>
                  <a:pt x="3151" y="214"/>
                  <a:pt x="3155" y="209"/>
                  <a:pt x="3153" y="203"/>
                </a:cubicBezTo>
                <a:cubicBezTo>
                  <a:pt x="3152" y="198"/>
                  <a:pt x="3146" y="193"/>
                  <a:pt x="3140" y="193"/>
                </a:cubicBezTo>
                <a:cubicBezTo>
                  <a:pt x="3140" y="193"/>
                  <a:pt x="3140" y="193"/>
                  <a:pt x="3140" y="193"/>
                </a:cubicBezTo>
                <a:moveTo>
                  <a:pt x="3171" y="193"/>
                </a:moveTo>
                <a:cubicBezTo>
                  <a:pt x="3165" y="193"/>
                  <a:pt x="3161" y="198"/>
                  <a:pt x="3163" y="203"/>
                </a:cubicBezTo>
                <a:cubicBezTo>
                  <a:pt x="3164" y="209"/>
                  <a:pt x="3170" y="214"/>
                  <a:pt x="3177" y="213"/>
                </a:cubicBezTo>
                <a:cubicBezTo>
                  <a:pt x="3183" y="213"/>
                  <a:pt x="3187" y="209"/>
                  <a:pt x="3185" y="203"/>
                </a:cubicBezTo>
                <a:cubicBezTo>
                  <a:pt x="3184" y="198"/>
                  <a:pt x="3178" y="193"/>
                  <a:pt x="3171" y="193"/>
                </a:cubicBezTo>
                <a:cubicBezTo>
                  <a:pt x="3171" y="193"/>
                  <a:pt x="3171" y="193"/>
                  <a:pt x="3171" y="193"/>
                </a:cubicBezTo>
                <a:moveTo>
                  <a:pt x="3203" y="193"/>
                </a:moveTo>
                <a:cubicBezTo>
                  <a:pt x="3197" y="193"/>
                  <a:pt x="3193" y="197"/>
                  <a:pt x="3195" y="203"/>
                </a:cubicBezTo>
                <a:cubicBezTo>
                  <a:pt x="3196" y="209"/>
                  <a:pt x="3202" y="213"/>
                  <a:pt x="3209" y="213"/>
                </a:cubicBezTo>
                <a:cubicBezTo>
                  <a:pt x="3215" y="213"/>
                  <a:pt x="3218" y="209"/>
                  <a:pt x="3217" y="203"/>
                </a:cubicBezTo>
                <a:cubicBezTo>
                  <a:pt x="3215" y="197"/>
                  <a:pt x="3209" y="193"/>
                  <a:pt x="3203" y="193"/>
                </a:cubicBezTo>
                <a:cubicBezTo>
                  <a:pt x="3203" y="193"/>
                  <a:pt x="3203" y="193"/>
                  <a:pt x="3203" y="193"/>
                </a:cubicBezTo>
                <a:moveTo>
                  <a:pt x="3235" y="192"/>
                </a:moveTo>
                <a:cubicBezTo>
                  <a:pt x="3228" y="192"/>
                  <a:pt x="3225" y="197"/>
                  <a:pt x="3226" y="203"/>
                </a:cubicBezTo>
                <a:cubicBezTo>
                  <a:pt x="3228" y="208"/>
                  <a:pt x="3234" y="213"/>
                  <a:pt x="3240" y="213"/>
                </a:cubicBezTo>
                <a:cubicBezTo>
                  <a:pt x="3246" y="213"/>
                  <a:pt x="3250" y="208"/>
                  <a:pt x="3249" y="203"/>
                </a:cubicBezTo>
                <a:cubicBezTo>
                  <a:pt x="3247" y="197"/>
                  <a:pt x="3241" y="192"/>
                  <a:pt x="3235" y="192"/>
                </a:cubicBezTo>
                <a:cubicBezTo>
                  <a:pt x="3235" y="192"/>
                  <a:pt x="3235" y="192"/>
                  <a:pt x="3235" y="192"/>
                </a:cubicBezTo>
                <a:moveTo>
                  <a:pt x="3266" y="192"/>
                </a:moveTo>
                <a:cubicBezTo>
                  <a:pt x="3260" y="192"/>
                  <a:pt x="3256" y="197"/>
                  <a:pt x="3258" y="202"/>
                </a:cubicBezTo>
                <a:cubicBezTo>
                  <a:pt x="3260" y="208"/>
                  <a:pt x="3266" y="213"/>
                  <a:pt x="3272" y="213"/>
                </a:cubicBezTo>
                <a:cubicBezTo>
                  <a:pt x="3278" y="213"/>
                  <a:pt x="3282" y="208"/>
                  <a:pt x="3280" y="202"/>
                </a:cubicBezTo>
                <a:cubicBezTo>
                  <a:pt x="3279" y="197"/>
                  <a:pt x="3272" y="192"/>
                  <a:pt x="3266" y="192"/>
                </a:cubicBezTo>
                <a:cubicBezTo>
                  <a:pt x="3266" y="192"/>
                  <a:pt x="3266" y="192"/>
                  <a:pt x="3266" y="192"/>
                </a:cubicBezTo>
                <a:moveTo>
                  <a:pt x="3298" y="192"/>
                </a:moveTo>
                <a:cubicBezTo>
                  <a:pt x="3291" y="192"/>
                  <a:pt x="3288" y="197"/>
                  <a:pt x="3290" y="202"/>
                </a:cubicBezTo>
                <a:cubicBezTo>
                  <a:pt x="3291" y="208"/>
                  <a:pt x="3298" y="212"/>
                  <a:pt x="3304" y="212"/>
                </a:cubicBezTo>
                <a:cubicBezTo>
                  <a:pt x="3310" y="212"/>
                  <a:pt x="3314" y="208"/>
                  <a:pt x="3312" y="202"/>
                </a:cubicBezTo>
                <a:cubicBezTo>
                  <a:pt x="3310" y="196"/>
                  <a:pt x="3304" y="192"/>
                  <a:pt x="3298" y="192"/>
                </a:cubicBezTo>
                <a:cubicBezTo>
                  <a:pt x="3298" y="192"/>
                  <a:pt x="3298" y="192"/>
                  <a:pt x="3298" y="192"/>
                </a:cubicBezTo>
                <a:moveTo>
                  <a:pt x="3329" y="192"/>
                </a:moveTo>
                <a:cubicBezTo>
                  <a:pt x="3323" y="192"/>
                  <a:pt x="3320" y="196"/>
                  <a:pt x="3321" y="202"/>
                </a:cubicBezTo>
                <a:cubicBezTo>
                  <a:pt x="3323" y="208"/>
                  <a:pt x="3330" y="212"/>
                  <a:pt x="3336" y="212"/>
                </a:cubicBezTo>
                <a:cubicBezTo>
                  <a:pt x="3342" y="212"/>
                  <a:pt x="3346" y="207"/>
                  <a:pt x="3344" y="202"/>
                </a:cubicBezTo>
                <a:cubicBezTo>
                  <a:pt x="3342" y="196"/>
                  <a:pt x="3336" y="192"/>
                  <a:pt x="3329" y="192"/>
                </a:cubicBezTo>
                <a:cubicBezTo>
                  <a:pt x="3329" y="192"/>
                  <a:pt x="3329" y="192"/>
                  <a:pt x="3329" y="192"/>
                </a:cubicBezTo>
                <a:moveTo>
                  <a:pt x="3362" y="191"/>
                </a:moveTo>
                <a:cubicBezTo>
                  <a:pt x="3356" y="191"/>
                  <a:pt x="3352" y="196"/>
                  <a:pt x="3354" y="202"/>
                </a:cubicBezTo>
                <a:cubicBezTo>
                  <a:pt x="3356" y="207"/>
                  <a:pt x="3363" y="212"/>
                  <a:pt x="3369" y="212"/>
                </a:cubicBezTo>
                <a:cubicBezTo>
                  <a:pt x="3375" y="212"/>
                  <a:pt x="3378" y="207"/>
                  <a:pt x="3377" y="201"/>
                </a:cubicBezTo>
                <a:cubicBezTo>
                  <a:pt x="3375" y="196"/>
                  <a:pt x="3368" y="191"/>
                  <a:pt x="3362" y="191"/>
                </a:cubicBezTo>
                <a:cubicBezTo>
                  <a:pt x="3362" y="191"/>
                  <a:pt x="3362" y="191"/>
                  <a:pt x="3362" y="191"/>
                </a:cubicBezTo>
                <a:moveTo>
                  <a:pt x="3394" y="191"/>
                </a:moveTo>
                <a:cubicBezTo>
                  <a:pt x="3387" y="191"/>
                  <a:pt x="3384" y="196"/>
                  <a:pt x="3386" y="201"/>
                </a:cubicBezTo>
                <a:cubicBezTo>
                  <a:pt x="3388" y="207"/>
                  <a:pt x="3394" y="212"/>
                  <a:pt x="3400" y="212"/>
                </a:cubicBezTo>
                <a:cubicBezTo>
                  <a:pt x="3407" y="211"/>
                  <a:pt x="3410" y="207"/>
                  <a:pt x="3408" y="201"/>
                </a:cubicBezTo>
                <a:cubicBezTo>
                  <a:pt x="3406" y="196"/>
                  <a:pt x="3400" y="191"/>
                  <a:pt x="3394" y="191"/>
                </a:cubicBezTo>
                <a:cubicBezTo>
                  <a:pt x="3394" y="191"/>
                  <a:pt x="3394" y="191"/>
                  <a:pt x="3394" y="191"/>
                </a:cubicBezTo>
                <a:moveTo>
                  <a:pt x="3425" y="191"/>
                </a:moveTo>
                <a:cubicBezTo>
                  <a:pt x="3419" y="191"/>
                  <a:pt x="3416" y="195"/>
                  <a:pt x="3418" y="201"/>
                </a:cubicBezTo>
                <a:cubicBezTo>
                  <a:pt x="3420" y="207"/>
                  <a:pt x="3426" y="211"/>
                  <a:pt x="3433" y="211"/>
                </a:cubicBezTo>
                <a:cubicBezTo>
                  <a:pt x="3439" y="211"/>
                  <a:pt x="3442" y="207"/>
                  <a:pt x="3440" y="201"/>
                </a:cubicBezTo>
                <a:cubicBezTo>
                  <a:pt x="3438" y="195"/>
                  <a:pt x="3432" y="191"/>
                  <a:pt x="3425" y="191"/>
                </a:cubicBezTo>
                <a:cubicBezTo>
                  <a:pt x="3425" y="191"/>
                  <a:pt x="3425" y="191"/>
                  <a:pt x="3425" y="191"/>
                </a:cubicBezTo>
                <a:moveTo>
                  <a:pt x="3457" y="190"/>
                </a:moveTo>
                <a:cubicBezTo>
                  <a:pt x="3451" y="190"/>
                  <a:pt x="3448" y="195"/>
                  <a:pt x="3450" y="201"/>
                </a:cubicBezTo>
                <a:cubicBezTo>
                  <a:pt x="3452" y="206"/>
                  <a:pt x="3459" y="211"/>
                  <a:pt x="3465" y="211"/>
                </a:cubicBezTo>
                <a:cubicBezTo>
                  <a:pt x="3471" y="211"/>
                  <a:pt x="3474" y="206"/>
                  <a:pt x="3472" y="201"/>
                </a:cubicBezTo>
                <a:cubicBezTo>
                  <a:pt x="3470" y="195"/>
                  <a:pt x="3464" y="190"/>
                  <a:pt x="3457" y="190"/>
                </a:cubicBezTo>
                <a:cubicBezTo>
                  <a:pt x="3457" y="190"/>
                  <a:pt x="3457" y="190"/>
                  <a:pt x="3457" y="190"/>
                </a:cubicBezTo>
                <a:moveTo>
                  <a:pt x="3489" y="190"/>
                </a:moveTo>
                <a:cubicBezTo>
                  <a:pt x="3483" y="190"/>
                  <a:pt x="3479" y="195"/>
                  <a:pt x="3482" y="201"/>
                </a:cubicBezTo>
                <a:cubicBezTo>
                  <a:pt x="3484" y="206"/>
                  <a:pt x="3490" y="211"/>
                  <a:pt x="3497" y="211"/>
                </a:cubicBezTo>
                <a:cubicBezTo>
                  <a:pt x="3503" y="211"/>
                  <a:pt x="3506" y="206"/>
                  <a:pt x="3504" y="200"/>
                </a:cubicBezTo>
                <a:cubicBezTo>
                  <a:pt x="3502" y="195"/>
                  <a:pt x="3495" y="190"/>
                  <a:pt x="3489" y="190"/>
                </a:cubicBezTo>
                <a:cubicBezTo>
                  <a:pt x="3489" y="190"/>
                  <a:pt x="3489" y="190"/>
                  <a:pt x="3489" y="190"/>
                </a:cubicBezTo>
                <a:moveTo>
                  <a:pt x="3520" y="190"/>
                </a:moveTo>
                <a:cubicBezTo>
                  <a:pt x="3514" y="190"/>
                  <a:pt x="3511" y="195"/>
                  <a:pt x="3513" y="200"/>
                </a:cubicBezTo>
                <a:cubicBezTo>
                  <a:pt x="3516" y="206"/>
                  <a:pt x="3522" y="210"/>
                  <a:pt x="3528" y="210"/>
                </a:cubicBezTo>
                <a:cubicBezTo>
                  <a:pt x="3535" y="210"/>
                  <a:pt x="3538" y="206"/>
                  <a:pt x="3536" y="200"/>
                </a:cubicBezTo>
                <a:cubicBezTo>
                  <a:pt x="3533" y="194"/>
                  <a:pt x="3527" y="190"/>
                  <a:pt x="3521" y="190"/>
                </a:cubicBezTo>
                <a:cubicBezTo>
                  <a:pt x="3521" y="190"/>
                  <a:pt x="3521" y="190"/>
                  <a:pt x="3520" y="190"/>
                </a:cubicBezTo>
                <a:moveTo>
                  <a:pt x="3552" y="190"/>
                </a:moveTo>
                <a:cubicBezTo>
                  <a:pt x="3546" y="190"/>
                  <a:pt x="3543" y="194"/>
                  <a:pt x="3545" y="200"/>
                </a:cubicBezTo>
                <a:cubicBezTo>
                  <a:pt x="3547" y="206"/>
                  <a:pt x="3554" y="210"/>
                  <a:pt x="3560" y="210"/>
                </a:cubicBezTo>
                <a:cubicBezTo>
                  <a:pt x="3566" y="210"/>
                  <a:pt x="3569" y="205"/>
                  <a:pt x="3567" y="200"/>
                </a:cubicBezTo>
                <a:cubicBezTo>
                  <a:pt x="3565" y="194"/>
                  <a:pt x="3558" y="190"/>
                  <a:pt x="3552" y="190"/>
                </a:cubicBezTo>
                <a:cubicBezTo>
                  <a:pt x="3552" y="190"/>
                  <a:pt x="3552" y="190"/>
                  <a:pt x="3552" y="190"/>
                </a:cubicBezTo>
                <a:moveTo>
                  <a:pt x="3584" y="189"/>
                </a:moveTo>
                <a:cubicBezTo>
                  <a:pt x="3578" y="189"/>
                  <a:pt x="3575" y="194"/>
                  <a:pt x="3577" y="200"/>
                </a:cubicBezTo>
                <a:cubicBezTo>
                  <a:pt x="3580" y="205"/>
                  <a:pt x="3586" y="210"/>
                  <a:pt x="3593" y="210"/>
                </a:cubicBezTo>
                <a:cubicBezTo>
                  <a:pt x="3599" y="210"/>
                  <a:pt x="3602" y="205"/>
                  <a:pt x="3600" y="199"/>
                </a:cubicBezTo>
                <a:cubicBezTo>
                  <a:pt x="3597" y="194"/>
                  <a:pt x="3590" y="189"/>
                  <a:pt x="3584" y="189"/>
                </a:cubicBezTo>
                <a:cubicBezTo>
                  <a:pt x="3584" y="189"/>
                  <a:pt x="3584" y="189"/>
                  <a:pt x="3584" y="189"/>
                </a:cubicBezTo>
                <a:moveTo>
                  <a:pt x="3616" y="189"/>
                </a:moveTo>
                <a:cubicBezTo>
                  <a:pt x="3610" y="189"/>
                  <a:pt x="3607" y="194"/>
                  <a:pt x="3609" y="199"/>
                </a:cubicBezTo>
                <a:cubicBezTo>
                  <a:pt x="3612" y="205"/>
                  <a:pt x="3618" y="210"/>
                  <a:pt x="3625" y="210"/>
                </a:cubicBezTo>
                <a:cubicBezTo>
                  <a:pt x="3631" y="210"/>
                  <a:pt x="3634" y="205"/>
                  <a:pt x="3631" y="199"/>
                </a:cubicBezTo>
                <a:cubicBezTo>
                  <a:pt x="3629" y="194"/>
                  <a:pt x="3622" y="189"/>
                  <a:pt x="3616" y="189"/>
                </a:cubicBezTo>
                <a:cubicBezTo>
                  <a:pt x="3616" y="189"/>
                  <a:pt x="3616" y="189"/>
                  <a:pt x="3616" y="189"/>
                </a:cubicBezTo>
                <a:moveTo>
                  <a:pt x="3649" y="189"/>
                </a:moveTo>
                <a:cubicBezTo>
                  <a:pt x="3642" y="189"/>
                  <a:pt x="3639" y="193"/>
                  <a:pt x="3642" y="199"/>
                </a:cubicBezTo>
                <a:cubicBezTo>
                  <a:pt x="3644" y="205"/>
                  <a:pt x="3651" y="209"/>
                  <a:pt x="3658" y="209"/>
                </a:cubicBezTo>
                <a:cubicBezTo>
                  <a:pt x="3664" y="209"/>
                  <a:pt x="3667" y="205"/>
                  <a:pt x="3664" y="199"/>
                </a:cubicBezTo>
                <a:cubicBezTo>
                  <a:pt x="3662" y="193"/>
                  <a:pt x="3655" y="189"/>
                  <a:pt x="3649" y="189"/>
                </a:cubicBezTo>
                <a:cubicBezTo>
                  <a:pt x="3649" y="189"/>
                  <a:pt x="3649" y="189"/>
                  <a:pt x="3649" y="189"/>
                </a:cubicBezTo>
                <a:moveTo>
                  <a:pt x="360" y="189"/>
                </a:moveTo>
                <a:cubicBezTo>
                  <a:pt x="353" y="189"/>
                  <a:pt x="345" y="193"/>
                  <a:pt x="340" y="199"/>
                </a:cubicBezTo>
                <a:cubicBezTo>
                  <a:pt x="335" y="204"/>
                  <a:pt x="337" y="209"/>
                  <a:pt x="343" y="209"/>
                </a:cubicBezTo>
                <a:cubicBezTo>
                  <a:pt x="349" y="209"/>
                  <a:pt x="358" y="204"/>
                  <a:pt x="362" y="199"/>
                </a:cubicBezTo>
                <a:cubicBezTo>
                  <a:pt x="367" y="193"/>
                  <a:pt x="366" y="189"/>
                  <a:pt x="360" y="189"/>
                </a:cubicBezTo>
                <a:cubicBezTo>
                  <a:pt x="360" y="189"/>
                  <a:pt x="360" y="189"/>
                  <a:pt x="360" y="189"/>
                </a:cubicBezTo>
                <a:moveTo>
                  <a:pt x="3680" y="188"/>
                </a:moveTo>
                <a:cubicBezTo>
                  <a:pt x="3674" y="189"/>
                  <a:pt x="3671" y="193"/>
                  <a:pt x="3673" y="199"/>
                </a:cubicBezTo>
                <a:cubicBezTo>
                  <a:pt x="3676" y="205"/>
                  <a:pt x="3683" y="209"/>
                  <a:pt x="3689" y="209"/>
                </a:cubicBezTo>
                <a:cubicBezTo>
                  <a:pt x="3695" y="209"/>
                  <a:pt x="3698" y="204"/>
                  <a:pt x="3696" y="199"/>
                </a:cubicBezTo>
                <a:cubicBezTo>
                  <a:pt x="3693" y="193"/>
                  <a:pt x="3686" y="188"/>
                  <a:pt x="3680" y="188"/>
                </a:cubicBezTo>
                <a:cubicBezTo>
                  <a:pt x="3680" y="188"/>
                  <a:pt x="3680" y="188"/>
                  <a:pt x="3680" y="188"/>
                </a:cubicBezTo>
                <a:moveTo>
                  <a:pt x="391" y="188"/>
                </a:moveTo>
                <a:cubicBezTo>
                  <a:pt x="385" y="188"/>
                  <a:pt x="376" y="193"/>
                  <a:pt x="372" y="198"/>
                </a:cubicBezTo>
                <a:cubicBezTo>
                  <a:pt x="367" y="204"/>
                  <a:pt x="369" y="209"/>
                  <a:pt x="375" y="209"/>
                </a:cubicBezTo>
                <a:cubicBezTo>
                  <a:pt x="381" y="208"/>
                  <a:pt x="390" y="204"/>
                  <a:pt x="394" y="198"/>
                </a:cubicBezTo>
                <a:cubicBezTo>
                  <a:pt x="399" y="193"/>
                  <a:pt x="397" y="188"/>
                  <a:pt x="391" y="188"/>
                </a:cubicBezTo>
                <a:cubicBezTo>
                  <a:pt x="391" y="188"/>
                  <a:pt x="391" y="188"/>
                  <a:pt x="391" y="188"/>
                </a:cubicBezTo>
                <a:moveTo>
                  <a:pt x="3712" y="188"/>
                </a:moveTo>
                <a:cubicBezTo>
                  <a:pt x="3706" y="188"/>
                  <a:pt x="3703" y="193"/>
                  <a:pt x="3705" y="199"/>
                </a:cubicBezTo>
                <a:cubicBezTo>
                  <a:pt x="3708" y="204"/>
                  <a:pt x="3715" y="209"/>
                  <a:pt x="3721" y="209"/>
                </a:cubicBezTo>
                <a:cubicBezTo>
                  <a:pt x="3727" y="209"/>
                  <a:pt x="3730" y="204"/>
                  <a:pt x="3728" y="198"/>
                </a:cubicBezTo>
                <a:cubicBezTo>
                  <a:pt x="3725" y="193"/>
                  <a:pt x="3718" y="188"/>
                  <a:pt x="3712" y="188"/>
                </a:cubicBezTo>
                <a:cubicBezTo>
                  <a:pt x="3712" y="188"/>
                  <a:pt x="3712" y="188"/>
                  <a:pt x="3712" y="188"/>
                </a:cubicBezTo>
                <a:moveTo>
                  <a:pt x="424" y="188"/>
                </a:moveTo>
                <a:cubicBezTo>
                  <a:pt x="418" y="188"/>
                  <a:pt x="409" y="193"/>
                  <a:pt x="405" y="198"/>
                </a:cubicBezTo>
                <a:cubicBezTo>
                  <a:pt x="400" y="204"/>
                  <a:pt x="402" y="208"/>
                  <a:pt x="408" y="208"/>
                </a:cubicBezTo>
                <a:cubicBezTo>
                  <a:pt x="414" y="208"/>
                  <a:pt x="423" y="204"/>
                  <a:pt x="427" y="198"/>
                </a:cubicBezTo>
                <a:cubicBezTo>
                  <a:pt x="432" y="192"/>
                  <a:pt x="430" y="188"/>
                  <a:pt x="424" y="188"/>
                </a:cubicBezTo>
                <a:cubicBezTo>
                  <a:pt x="424" y="188"/>
                  <a:pt x="424" y="188"/>
                  <a:pt x="424" y="188"/>
                </a:cubicBezTo>
                <a:moveTo>
                  <a:pt x="3744" y="188"/>
                </a:moveTo>
                <a:cubicBezTo>
                  <a:pt x="3738" y="188"/>
                  <a:pt x="3735" y="193"/>
                  <a:pt x="3737" y="198"/>
                </a:cubicBezTo>
                <a:cubicBezTo>
                  <a:pt x="3740" y="204"/>
                  <a:pt x="3747" y="209"/>
                  <a:pt x="3753" y="208"/>
                </a:cubicBezTo>
                <a:cubicBezTo>
                  <a:pt x="3760" y="208"/>
                  <a:pt x="3762" y="204"/>
                  <a:pt x="3760" y="198"/>
                </a:cubicBezTo>
                <a:cubicBezTo>
                  <a:pt x="3757" y="192"/>
                  <a:pt x="3750" y="188"/>
                  <a:pt x="3744" y="188"/>
                </a:cubicBezTo>
                <a:cubicBezTo>
                  <a:pt x="3744" y="188"/>
                  <a:pt x="3744" y="188"/>
                  <a:pt x="3744" y="188"/>
                </a:cubicBezTo>
                <a:moveTo>
                  <a:pt x="456" y="188"/>
                </a:moveTo>
                <a:cubicBezTo>
                  <a:pt x="449" y="188"/>
                  <a:pt x="441" y="192"/>
                  <a:pt x="436" y="198"/>
                </a:cubicBezTo>
                <a:cubicBezTo>
                  <a:pt x="432" y="204"/>
                  <a:pt x="433" y="208"/>
                  <a:pt x="440" y="208"/>
                </a:cubicBezTo>
                <a:cubicBezTo>
                  <a:pt x="446" y="208"/>
                  <a:pt x="454" y="203"/>
                  <a:pt x="459" y="198"/>
                </a:cubicBezTo>
                <a:cubicBezTo>
                  <a:pt x="463" y="192"/>
                  <a:pt x="462" y="188"/>
                  <a:pt x="456" y="188"/>
                </a:cubicBezTo>
                <a:cubicBezTo>
                  <a:pt x="456" y="188"/>
                  <a:pt x="456" y="188"/>
                  <a:pt x="456" y="188"/>
                </a:cubicBezTo>
                <a:moveTo>
                  <a:pt x="3775" y="188"/>
                </a:moveTo>
                <a:cubicBezTo>
                  <a:pt x="3769" y="188"/>
                  <a:pt x="3766" y="192"/>
                  <a:pt x="3769" y="198"/>
                </a:cubicBezTo>
                <a:cubicBezTo>
                  <a:pt x="3772" y="204"/>
                  <a:pt x="3779" y="208"/>
                  <a:pt x="3785" y="208"/>
                </a:cubicBezTo>
                <a:cubicBezTo>
                  <a:pt x="3791" y="208"/>
                  <a:pt x="3794" y="203"/>
                  <a:pt x="3791" y="198"/>
                </a:cubicBezTo>
                <a:cubicBezTo>
                  <a:pt x="3789" y="192"/>
                  <a:pt x="3781" y="188"/>
                  <a:pt x="3775" y="188"/>
                </a:cubicBezTo>
                <a:cubicBezTo>
                  <a:pt x="3775" y="188"/>
                  <a:pt x="3775" y="188"/>
                  <a:pt x="3775" y="188"/>
                </a:cubicBezTo>
                <a:moveTo>
                  <a:pt x="487" y="187"/>
                </a:moveTo>
                <a:cubicBezTo>
                  <a:pt x="481" y="187"/>
                  <a:pt x="473" y="192"/>
                  <a:pt x="468" y="198"/>
                </a:cubicBezTo>
                <a:cubicBezTo>
                  <a:pt x="464" y="203"/>
                  <a:pt x="465" y="208"/>
                  <a:pt x="471" y="208"/>
                </a:cubicBezTo>
                <a:cubicBezTo>
                  <a:pt x="478" y="208"/>
                  <a:pt x="486" y="203"/>
                  <a:pt x="490" y="197"/>
                </a:cubicBezTo>
                <a:cubicBezTo>
                  <a:pt x="495" y="192"/>
                  <a:pt x="493" y="187"/>
                  <a:pt x="487" y="187"/>
                </a:cubicBezTo>
                <a:cubicBezTo>
                  <a:pt x="487" y="187"/>
                  <a:pt x="487" y="187"/>
                  <a:pt x="487" y="187"/>
                </a:cubicBezTo>
                <a:moveTo>
                  <a:pt x="3807" y="187"/>
                </a:moveTo>
                <a:cubicBezTo>
                  <a:pt x="3801" y="187"/>
                  <a:pt x="3798" y="192"/>
                  <a:pt x="3801" y="198"/>
                </a:cubicBezTo>
                <a:cubicBezTo>
                  <a:pt x="3804" y="203"/>
                  <a:pt x="3811" y="208"/>
                  <a:pt x="3817" y="208"/>
                </a:cubicBezTo>
                <a:cubicBezTo>
                  <a:pt x="3823" y="208"/>
                  <a:pt x="3826" y="203"/>
                  <a:pt x="3823" y="198"/>
                </a:cubicBezTo>
                <a:cubicBezTo>
                  <a:pt x="3820" y="192"/>
                  <a:pt x="3813" y="187"/>
                  <a:pt x="3807" y="187"/>
                </a:cubicBezTo>
                <a:cubicBezTo>
                  <a:pt x="3807" y="187"/>
                  <a:pt x="3807" y="187"/>
                  <a:pt x="3807" y="187"/>
                </a:cubicBezTo>
                <a:moveTo>
                  <a:pt x="520" y="187"/>
                </a:moveTo>
                <a:cubicBezTo>
                  <a:pt x="514" y="187"/>
                  <a:pt x="505" y="192"/>
                  <a:pt x="501" y="197"/>
                </a:cubicBezTo>
                <a:cubicBezTo>
                  <a:pt x="497" y="203"/>
                  <a:pt x="498" y="207"/>
                  <a:pt x="505" y="207"/>
                </a:cubicBezTo>
                <a:cubicBezTo>
                  <a:pt x="511" y="207"/>
                  <a:pt x="519" y="203"/>
                  <a:pt x="523" y="197"/>
                </a:cubicBezTo>
                <a:cubicBezTo>
                  <a:pt x="528" y="192"/>
                  <a:pt x="526" y="187"/>
                  <a:pt x="520" y="187"/>
                </a:cubicBezTo>
                <a:cubicBezTo>
                  <a:pt x="520" y="187"/>
                  <a:pt x="520" y="187"/>
                  <a:pt x="520" y="187"/>
                </a:cubicBezTo>
                <a:moveTo>
                  <a:pt x="3838" y="187"/>
                </a:moveTo>
                <a:cubicBezTo>
                  <a:pt x="3832" y="187"/>
                  <a:pt x="3830" y="192"/>
                  <a:pt x="3832" y="197"/>
                </a:cubicBezTo>
                <a:cubicBezTo>
                  <a:pt x="3835" y="203"/>
                  <a:pt x="3843" y="208"/>
                  <a:pt x="3849" y="208"/>
                </a:cubicBezTo>
                <a:cubicBezTo>
                  <a:pt x="3855" y="208"/>
                  <a:pt x="3858" y="203"/>
                  <a:pt x="3855" y="197"/>
                </a:cubicBezTo>
                <a:cubicBezTo>
                  <a:pt x="3852" y="192"/>
                  <a:pt x="3844" y="187"/>
                  <a:pt x="3838" y="187"/>
                </a:cubicBezTo>
                <a:cubicBezTo>
                  <a:pt x="3838" y="187"/>
                  <a:pt x="3838" y="187"/>
                  <a:pt x="3838" y="187"/>
                </a:cubicBezTo>
                <a:moveTo>
                  <a:pt x="551" y="187"/>
                </a:moveTo>
                <a:cubicBezTo>
                  <a:pt x="545" y="187"/>
                  <a:pt x="537" y="191"/>
                  <a:pt x="533" y="197"/>
                </a:cubicBezTo>
                <a:cubicBezTo>
                  <a:pt x="528" y="203"/>
                  <a:pt x="530" y="207"/>
                  <a:pt x="536" y="207"/>
                </a:cubicBezTo>
                <a:cubicBezTo>
                  <a:pt x="542" y="207"/>
                  <a:pt x="551" y="202"/>
                  <a:pt x="555" y="197"/>
                </a:cubicBezTo>
                <a:cubicBezTo>
                  <a:pt x="559" y="191"/>
                  <a:pt x="558" y="187"/>
                  <a:pt x="552" y="187"/>
                </a:cubicBezTo>
                <a:cubicBezTo>
                  <a:pt x="552" y="187"/>
                  <a:pt x="551" y="187"/>
                  <a:pt x="551" y="187"/>
                </a:cubicBezTo>
                <a:moveTo>
                  <a:pt x="3870" y="187"/>
                </a:moveTo>
                <a:cubicBezTo>
                  <a:pt x="3864" y="187"/>
                  <a:pt x="3861" y="191"/>
                  <a:pt x="3864" y="197"/>
                </a:cubicBezTo>
                <a:cubicBezTo>
                  <a:pt x="3867" y="203"/>
                  <a:pt x="3874" y="207"/>
                  <a:pt x="3880" y="207"/>
                </a:cubicBezTo>
                <a:cubicBezTo>
                  <a:pt x="3887" y="207"/>
                  <a:pt x="3889" y="203"/>
                  <a:pt x="3886" y="197"/>
                </a:cubicBezTo>
                <a:cubicBezTo>
                  <a:pt x="3883" y="191"/>
                  <a:pt x="3876" y="187"/>
                  <a:pt x="3870" y="187"/>
                </a:cubicBezTo>
                <a:cubicBezTo>
                  <a:pt x="3870" y="187"/>
                  <a:pt x="3870" y="187"/>
                  <a:pt x="3870" y="187"/>
                </a:cubicBezTo>
                <a:moveTo>
                  <a:pt x="583" y="187"/>
                </a:moveTo>
                <a:cubicBezTo>
                  <a:pt x="577" y="187"/>
                  <a:pt x="569" y="191"/>
                  <a:pt x="564" y="197"/>
                </a:cubicBezTo>
                <a:cubicBezTo>
                  <a:pt x="560" y="202"/>
                  <a:pt x="562" y="207"/>
                  <a:pt x="568" y="207"/>
                </a:cubicBezTo>
                <a:cubicBezTo>
                  <a:pt x="574" y="207"/>
                  <a:pt x="583" y="202"/>
                  <a:pt x="587" y="197"/>
                </a:cubicBezTo>
                <a:cubicBezTo>
                  <a:pt x="591" y="191"/>
                  <a:pt x="589" y="187"/>
                  <a:pt x="583" y="187"/>
                </a:cubicBezTo>
                <a:cubicBezTo>
                  <a:pt x="583" y="187"/>
                  <a:pt x="583" y="187"/>
                  <a:pt x="583" y="187"/>
                </a:cubicBezTo>
                <a:moveTo>
                  <a:pt x="3901" y="186"/>
                </a:moveTo>
                <a:cubicBezTo>
                  <a:pt x="3895" y="187"/>
                  <a:pt x="3893" y="191"/>
                  <a:pt x="3896" y="197"/>
                </a:cubicBezTo>
                <a:cubicBezTo>
                  <a:pt x="3899" y="203"/>
                  <a:pt x="3906" y="207"/>
                  <a:pt x="3912" y="207"/>
                </a:cubicBezTo>
                <a:cubicBezTo>
                  <a:pt x="3918" y="207"/>
                  <a:pt x="3921" y="202"/>
                  <a:pt x="3918" y="197"/>
                </a:cubicBezTo>
                <a:cubicBezTo>
                  <a:pt x="3915" y="191"/>
                  <a:pt x="3907" y="186"/>
                  <a:pt x="3901" y="186"/>
                </a:cubicBezTo>
                <a:cubicBezTo>
                  <a:pt x="3901" y="186"/>
                  <a:pt x="3901" y="186"/>
                  <a:pt x="3901" y="186"/>
                </a:cubicBezTo>
                <a:moveTo>
                  <a:pt x="614" y="186"/>
                </a:moveTo>
                <a:cubicBezTo>
                  <a:pt x="608" y="186"/>
                  <a:pt x="600" y="191"/>
                  <a:pt x="596" y="196"/>
                </a:cubicBezTo>
                <a:cubicBezTo>
                  <a:pt x="592" y="202"/>
                  <a:pt x="594" y="207"/>
                  <a:pt x="600" y="207"/>
                </a:cubicBezTo>
                <a:cubicBezTo>
                  <a:pt x="606" y="206"/>
                  <a:pt x="614" y="202"/>
                  <a:pt x="618" y="196"/>
                </a:cubicBezTo>
                <a:cubicBezTo>
                  <a:pt x="622" y="191"/>
                  <a:pt x="621" y="186"/>
                  <a:pt x="615" y="186"/>
                </a:cubicBezTo>
                <a:cubicBezTo>
                  <a:pt x="615" y="186"/>
                  <a:pt x="615" y="186"/>
                  <a:pt x="614" y="186"/>
                </a:cubicBezTo>
                <a:moveTo>
                  <a:pt x="3933" y="186"/>
                </a:moveTo>
                <a:cubicBezTo>
                  <a:pt x="3927" y="186"/>
                  <a:pt x="3924" y="191"/>
                  <a:pt x="3927" y="197"/>
                </a:cubicBezTo>
                <a:cubicBezTo>
                  <a:pt x="3930" y="202"/>
                  <a:pt x="3938" y="207"/>
                  <a:pt x="3944" y="207"/>
                </a:cubicBezTo>
                <a:cubicBezTo>
                  <a:pt x="3950" y="207"/>
                  <a:pt x="3953" y="202"/>
                  <a:pt x="3950" y="196"/>
                </a:cubicBezTo>
                <a:cubicBezTo>
                  <a:pt x="3947" y="191"/>
                  <a:pt x="3939" y="186"/>
                  <a:pt x="3933" y="186"/>
                </a:cubicBezTo>
                <a:cubicBezTo>
                  <a:pt x="3933" y="186"/>
                  <a:pt x="3933" y="186"/>
                  <a:pt x="3933" y="186"/>
                </a:cubicBezTo>
                <a:moveTo>
                  <a:pt x="646" y="186"/>
                </a:moveTo>
                <a:cubicBezTo>
                  <a:pt x="640" y="186"/>
                  <a:pt x="632" y="191"/>
                  <a:pt x="628" y="196"/>
                </a:cubicBezTo>
                <a:cubicBezTo>
                  <a:pt x="624" y="202"/>
                  <a:pt x="626" y="206"/>
                  <a:pt x="632" y="206"/>
                </a:cubicBezTo>
                <a:cubicBezTo>
                  <a:pt x="638" y="206"/>
                  <a:pt x="646" y="202"/>
                  <a:pt x="650" y="196"/>
                </a:cubicBezTo>
                <a:cubicBezTo>
                  <a:pt x="654" y="190"/>
                  <a:pt x="652" y="186"/>
                  <a:pt x="646" y="186"/>
                </a:cubicBezTo>
                <a:cubicBezTo>
                  <a:pt x="646" y="186"/>
                  <a:pt x="646" y="186"/>
                  <a:pt x="646" y="186"/>
                </a:cubicBezTo>
                <a:moveTo>
                  <a:pt x="3965" y="186"/>
                </a:moveTo>
                <a:cubicBezTo>
                  <a:pt x="3959" y="186"/>
                  <a:pt x="3956" y="191"/>
                  <a:pt x="3960" y="196"/>
                </a:cubicBezTo>
                <a:cubicBezTo>
                  <a:pt x="3963" y="202"/>
                  <a:pt x="3970" y="207"/>
                  <a:pt x="3976" y="207"/>
                </a:cubicBezTo>
                <a:cubicBezTo>
                  <a:pt x="3982" y="206"/>
                  <a:pt x="3985" y="202"/>
                  <a:pt x="3982" y="196"/>
                </a:cubicBezTo>
                <a:cubicBezTo>
                  <a:pt x="3979" y="190"/>
                  <a:pt x="3971" y="186"/>
                  <a:pt x="3965" y="186"/>
                </a:cubicBezTo>
                <a:cubicBezTo>
                  <a:pt x="3965" y="186"/>
                  <a:pt x="3965" y="186"/>
                  <a:pt x="3965" y="186"/>
                </a:cubicBezTo>
                <a:moveTo>
                  <a:pt x="679" y="186"/>
                </a:moveTo>
                <a:cubicBezTo>
                  <a:pt x="673" y="186"/>
                  <a:pt x="665" y="190"/>
                  <a:pt x="661" y="196"/>
                </a:cubicBezTo>
                <a:cubicBezTo>
                  <a:pt x="657" y="202"/>
                  <a:pt x="658" y="206"/>
                  <a:pt x="665" y="206"/>
                </a:cubicBezTo>
                <a:cubicBezTo>
                  <a:pt x="671" y="206"/>
                  <a:pt x="679" y="201"/>
                  <a:pt x="683" y="196"/>
                </a:cubicBezTo>
                <a:cubicBezTo>
                  <a:pt x="687" y="190"/>
                  <a:pt x="685" y="186"/>
                  <a:pt x="679" y="186"/>
                </a:cubicBezTo>
                <a:cubicBezTo>
                  <a:pt x="679" y="186"/>
                  <a:pt x="679" y="186"/>
                  <a:pt x="679" y="186"/>
                </a:cubicBezTo>
                <a:moveTo>
                  <a:pt x="3996" y="186"/>
                </a:moveTo>
                <a:cubicBezTo>
                  <a:pt x="3990" y="186"/>
                  <a:pt x="3988" y="190"/>
                  <a:pt x="3991" y="196"/>
                </a:cubicBezTo>
                <a:cubicBezTo>
                  <a:pt x="3994" y="202"/>
                  <a:pt x="4002" y="206"/>
                  <a:pt x="4008" y="206"/>
                </a:cubicBezTo>
                <a:cubicBezTo>
                  <a:pt x="4014" y="206"/>
                  <a:pt x="4017" y="202"/>
                  <a:pt x="4013" y="196"/>
                </a:cubicBezTo>
                <a:cubicBezTo>
                  <a:pt x="4010" y="190"/>
                  <a:pt x="4003" y="186"/>
                  <a:pt x="3996" y="186"/>
                </a:cubicBezTo>
                <a:cubicBezTo>
                  <a:pt x="3996" y="186"/>
                  <a:pt x="3996" y="186"/>
                  <a:pt x="3996" y="186"/>
                </a:cubicBezTo>
                <a:moveTo>
                  <a:pt x="710" y="185"/>
                </a:moveTo>
                <a:cubicBezTo>
                  <a:pt x="704" y="185"/>
                  <a:pt x="696" y="190"/>
                  <a:pt x="692" y="196"/>
                </a:cubicBezTo>
                <a:cubicBezTo>
                  <a:pt x="688" y="201"/>
                  <a:pt x="690" y="206"/>
                  <a:pt x="696" y="206"/>
                </a:cubicBezTo>
                <a:cubicBezTo>
                  <a:pt x="702" y="206"/>
                  <a:pt x="710" y="201"/>
                  <a:pt x="714" y="195"/>
                </a:cubicBezTo>
                <a:cubicBezTo>
                  <a:pt x="718" y="190"/>
                  <a:pt x="716" y="185"/>
                  <a:pt x="710" y="185"/>
                </a:cubicBezTo>
                <a:cubicBezTo>
                  <a:pt x="710" y="185"/>
                  <a:pt x="710" y="185"/>
                  <a:pt x="710" y="185"/>
                </a:cubicBezTo>
                <a:moveTo>
                  <a:pt x="4028" y="185"/>
                </a:moveTo>
                <a:cubicBezTo>
                  <a:pt x="4022" y="185"/>
                  <a:pt x="4020" y="190"/>
                  <a:pt x="4023" y="196"/>
                </a:cubicBezTo>
                <a:cubicBezTo>
                  <a:pt x="4026" y="201"/>
                  <a:pt x="4034" y="206"/>
                  <a:pt x="4040" y="206"/>
                </a:cubicBezTo>
                <a:cubicBezTo>
                  <a:pt x="4046" y="206"/>
                  <a:pt x="4048" y="201"/>
                  <a:pt x="4045" y="196"/>
                </a:cubicBezTo>
                <a:cubicBezTo>
                  <a:pt x="4042" y="190"/>
                  <a:pt x="4034" y="185"/>
                  <a:pt x="4028" y="185"/>
                </a:cubicBezTo>
                <a:cubicBezTo>
                  <a:pt x="4028" y="185"/>
                  <a:pt x="4028" y="185"/>
                  <a:pt x="4028" y="185"/>
                </a:cubicBezTo>
                <a:moveTo>
                  <a:pt x="742" y="185"/>
                </a:moveTo>
                <a:cubicBezTo>
                  <a:pt x="736" y="185"/>
                  <a:pt x="728" y="190"/>
                  <a:pt x="724" y="195"/>
                </a:cubicBezTo>
                <a:cubicBezTo>
                  <a:pt x="720" y="201"/>
                  <a:pt x="722" y="205"/>
                  <a:pt x="728" y="205"/>
                </a:cubicBezTo>
                <a:cubicBezTo>
                  <a:pt x="734" y="205"/>
                  <a:pt x="742" y="201"/>
                  <a:pt x="746" y="195"/>
                </a:cubicBezTo>
                <a:cubicBezTo>
                  <a:pt x="750" y="190"/>
                  <a:pt x="748" y="185"/>
                  <a:pt x="742" y="185"/>
                </a:cubicBezTo>
                <a:cubicBezTo>
                  <a:pt x="742" y="185"/>
                  <a:pt x="742" y="185"/>
                  <a:pt x="742" y="185"/>
                </a:cubicBezTo>
                <a:moveTo>
                  <a:pt x="4059" y="185"/>
                </a:moveTo>
                <a:cubicBezTo>
                  <a:pt x="4053" y="185"/>
                  <a:pt x="4051" y="190"/>
                  <a:pt x="4054" y="195"/>
                </a:cubicBezTo>
                <a:cubicBezTo>
                  <a:pt x="4058" y="201"/>
                  <a:pt x="4065" y="206"/>
                  <a:pt x="4072" y="206"/>
                </a:cubicBezTo>
                <a:cubicBezTo>
                  <a:pt x="4078" y="206"/>
                  <a:pt x="4080" y="201"/>
                  <a:pt x="4077" y="195"/>
                </a:cubicBezTo>
                <a:cubicBezTo>
                  <a:pt x="4073" y="190"/>
                  <a:pt x="4066" y="185"/>
                  <a:pt x="4059" y="185"/>
                </a:cubicBezTo>
                <a:cubicBezTo>
                  <a:pt x="4059" y="185"/>
                  <a:pt x="4059" y="185"/>
                  <a:pt x="4059" y="185"/>
                </a:cubicBezTo>
                <a:moveTo>
                  <a:pt x="774" y="185"/>
                </a:moveTo>
                <a:cubicBezTo>
                  <a:pt x="768" y="185"/>
                  <a:pt x="760" y="189"/>
                  <a:pt x="756" y="195"/>
                </a:cubicBezTo>
                <a:cubicBezTo>
                  <a:pt x="752" y="201"/>
                  <a:pt x="754" y="205"/>
                  <a:pt x="760" y="205"/>
                </a:cubicBezTo>
                <a:cubicBezTo>
                  <a:pt x="766" y="205"/>
                  <a:pt x="774" y="200"/>
                  <a:pt x="778" y="195"/>
                </a:cubicBezTo>
                <a:cubicBezTo>
                  <a:pt x="782" y="189"/>
                  <a:pt x="780" y="185"/>
                  <a:pt x="774" y="185"/>
                </a:cubicBezTo>
                <a:cubicBezTo>
                  <a:pt x="774" y="185"/>
                  <a:pt x="774" y="185"/>
                  <a:pt x="774" y="185"/>
                </a:cubicBezTo>
                <a:moveTo>
                  <a:pt x="4090" y="185"/>
                </a:moveTo>
                <a:cubicBezTo>
                  <a:pt x="4084" y="185"/>
                  <a:pt x="4082" y="190"/>
                  <a:pt x="4085" y="195"/>
                </a:cubicBezTo>
                <a:cubicBezTo>
                  <a:pt x="4089" y="201"/>
                  <a:pt x="4096" y="205"/>
                  <a:pt x="4103" y="205"/>
                </a:cubicBezTo>
                <a:cubicBezTo>
                  <a:pt x="4109" y="205"/>
                  <a:pt x="4111" y="201"/>
                  <a:pt x="4107" y="195"/>
                </a:cubicBezTo>
                <a:cubicBezTo>
                  <a:pt x="4104" y="189"/>
                  <a:pt x="4096" y="185"/>
                  <a:pt x="4090" y="185"/>
                </a:cubicBezTo>
                <a:cubicBezTo>
                  <a:pt x="4090" y="185"/>
                  <a:pt x="4090" y="185"/>
                  <a:pt x="4090" y="185"/>
                </a:cubicBezTo>
                <a:moveTo>
                  <a:pt x="805" y="185"/>
                </a:moveTo>
                <a:cubicBezTo>
                  <a:pt x="799" y="185"/>
                  <a:pt x="791" y="189"/>
                  <a:pt x="788" y="195"/>
                </a:cubicBezTo>
                <a:cubicBezTo>
                  <a:pt x="784" y="200"/>
                  <a:pt x="786" y="205"/>
                  <a:pt x="792" y="205"/>
                </a:cubicBezTo>
                <a:cubicBezTo>
                  <a:pt x="798" y="205"/>
                  <a:pt x="806" y="200"/>
                  <a:pt x="810" y="195"/>
                </a:cubicBezTo>
                <a:cubicBezTo>
                  <a:pt x="813" y="189"/>
                  <a:pt x="811" y="185"/>
                  <a:pt x="805" y="185"/>
                </a:cubicBezTo>
                <a:cubicBezTo>
                  <a:pt x="805" y="185"/>
                  <a:pt x="805" y="185"/>
                  <a:pt x="805" y="185"/>
                </a:cubicBezTo>
                <a:moveTo>
                  <a:pt x="837" y="184"/>
                </a:moveTo>
                <a:cubicBezTo>
                  <a:pt x="831" y="184"/>
                  <a:pt x="823" y="189"/>
                  <a:pt x="819" y="194"/>
                </a:cubicBezTo>
                <a:cubicBezTo>
                  <a:pt x="816" y="200"/>
                  <a:pt x="818" y="205"/>
                  <a:pt x="824" y="205"/>
                </a:cubicBezTo>
                <a:cubicBezTo>
                  <a:pt x="830" y="204"/>
                  <a:pt x="838" y="200"/>
                  <a:pt x="841" y="194"/>
                </a:cubicBezTo>
                <a:cubicBezTo>
                  <a:pt x="845" y="189"/>
                  <a:pt x="843" y="184"/>
                  <a:pt x="837" y="184"/>
                </a:cubicBezTo>
                <a:cubicBezTo>
                  <a:pt x="837" y="184"/>
                  <a:pt x="837" y="184"/>
                  <a:pt x="837" y="184"/>
                </a:cubicBezTo>
                <a:moveTo>
                  <a:pt x="868" y="184"/>
                </a:moveTo>
                <a:cubicBezTo>
                  <a:pt x="862" y="184"/>
                  <a:pt x="854" y="189"/>
                  <a:pt x="851" y="194"/>
                </a:cubicBezTo>
                <a:cubicBezTo>
                  <a:pt x="847" y="200"/>
                  <a:pt x="849" y="204"/>
                  <a:pt x="855" y="204"/>
                </a:cubicBezTo>
                <a:cubicBezTo>
                  <a:pt x="862" y="204"/>
                  <a:pt x="869" y="200"/>
                  <a:pt x="873" y="194"/>
                </a:cubicBezTo>
                <a:cubicBezTo>
                  <a:pt x="876" y="188"/>
                  <a:pt x="874" y="184"/>
                  <a:pt x="868" y="184"/>
                </a:cubicBezTo>
                <a:cubicBezTo>
                  <a:pt x="868" y="184"/>
                  <a:pt x="868" y="184"/>
                  <a:pt x="868" y="184"/>
                </a:cubicBezTo>
                <a:moveTo>
                  <a:pt x="900" y="184"/>
                </a:moveTo>
                <a:cubicBezTo>
                  <a:pt x="894" y="184"/>
                  <a:pt x="886" y="188"/>
                  <a:pt x="883" y="194"/>
                </a:cubicBezTo>
                <a:cubicBezTo>
                  <a:pt x="879" y="200"/>
                  <a:pt x="881" y="204"/>
                  <a:pt x="887" y="204"/>
                </a:cubicBezTo>
                <a:cubicBezTo>
                  <a:pt x="893" y="204"/>
                  <a:pt x="901" y="199"/>
                  <a:pt x="905" y="194"/>
                </a:cubicBezTo>
                <a:cubicBezTo>
                  <a:pt x="908" y="188"/>
                  <a:pt x="906" y="184"/>
                  <a:pt x="900" y="184"/>
                </a:cubicBezTo>
                <a:cubicBezTo>
                  <a:pt x="900" y="184"/>
                  <a:pt x="900" y="184"/>
                  <a:pt x="900" y="184"/>
                </a:cubicBezTo>
                <a:moveTo>
                  <a:pt x="4185" y="184"/>
                </a:moveTo>
                <a:cubicBezTo>
                  <a:pt x="4179" y="184"/>
                  <a:pt x="4177" y="188"/>
                  <a:pt x="4180" y="194"/>
                </a:cubicBezTo>
                <a:cubicBezTo>
                  <a:pt x="4184" y="200"/>
                  <a:pt x="4192" y="204"/>
                  <a:pt x="4198" y="204"/>
                </a:cubicBezTo>
                <a:cubicBezTo>
                  <a:pt x="4204" y="204"/>
                  <a:pt x="4206" y="200"/>
                  <a:pt x="4203" y="194"/>
                </a:cubicBezTo>
                <a:cubicBezTo>
                  <a:pt x="4199" y="188"/>
                  <a:pt x="4191" y="184"/>
                  <a:pt x="4185" y="184"/>
                </a:cubicBezTo>
                <a:cubicBezTo>
                  <a:pt x="4185" y="184"/>
                  <a:pt x="4185" y="184"/>
                  <a:pt x="4185" y="184"/>
                </a:cubicBezTo>
                <a:moveTo>
                  <a:pt x="932" y="183"/>
                </a:moveTo>
                <a:cubicBezTo>
                  <a:pt x="926" y="183"/>
                  <a:pt x="918" y="188"/>
                  <a:pt x="915" y="194"/>
                </a:cubicBezTo>
                <a:cubicBezTo>
                  <a:pt x="911" y="199"/>
                  <a:pt x="913" y="204"/>
                  <a:pt x="920" y="204"/>
                </a:cubicBezTo>
                <a:cubicBezTo>
                  <a:pt x="926" y="204"/>
                  <a:pt x="933" y="199"/>
                  <a:pt x="937" y="193"/>
                </a:cubicBezTo>
                <a:cubicBezTo>
                  <a:pt x="940" y="188"/>
                  <a:pt x="938" y="183"/>
                  <a:pt x="932" y="183"/>
                </a:cubicBezTo>
                <a:cubicBezTo>
                  <a:pt x="932" y="183"/>
                  <a:pt x="932" y="183"/>
                  <a:pt x="932" y="183"/>
                </a:cubicBezTo>
                <a:moveTo>
                  <a:pt x="963" y="183"/>
                </a:moveTo>
                <a:cubicBezTo>
                  <a:pt x="957" y="183"/>
                  <a:pt x="949" y="188"/>
                  <a:pt x="946" y="193"/>
                </a:cubicBezTo>
                <a:cubicBezTo>
                  <a:pt x="943" y="199"/>
                  <a:pt x="945" y="203"/>
                  <a:pt x="951" y="203"/>
                </a:cubicBezTo>
                <a:cubicBezTo>
                  <a:pt x="957" y="203"/>
                  <a:pt x="965" y="199"/>
                  <a:pt x="968" y="193"/>
                </a:cubicBezTo>
                <a:cubicBezTo>
                  <a:pt x="972" y="188"/>
                  <a:pt x="969" y="183"/>
                  <a:pt x="963" y="183"/>
                </a:cubicBezTo>
                <a:cubicBezTo>
                  <a:pt x="963" y="183"/>
                  <a:pt x="963" y="183"/>
                  <a:pt x="963" y="183"/>
                </a:cubicBezTo>
                <a:moveTo>
                  <a:pt x="993" y="183"/>
                </a:moveTo>
                <a:cubicBezTo>
                  <a:pt x="987" y="183"/>
                  <a:pt x="979" y="187"/>
                  <a:pt x="976" y="193"/>
                </a:cubicBezTo>
                <a:cubicBezTo>
                  <a:pt x="973" y="199"/>
                  <a:pt x="975" y="203"/>
                  <a:pt x="981" y="203"/>
                </a:cubicBezTo>
                <a:cubicBezTo>
                  <a:pt x="987" y="203"/>
                  <a:pt x="995" y="198"/>
                  <a:pt x="998" y="193"/>
                </a:cubicBezTo>
                <a:cubicBezTo>
                  <a:pt x="1002" y="187"/>
                  <a:pt x="999" y="183"/>
                  <a:pt x="993" y="183"/>
                </a:cubicBezTo>
                <a:cubicBezTo>
                  <a:pt x="993" y="183"/>
                  <a:pt x="993" y="183"/>
                  <a:pt x="993" y="183"/>
                </a:cubicBezTo>
                <a:moveTo>
                  <a:pt x="1025" y="183"/>
                </a:moveTo>
                <a:cubicBezTo>
                  <a:pt x="1019" y="183"/>
                  <a:pt x="1011" y="187"/>
                  <a:pt x="1008" y="193"/>
                </a:cubicBezTo>
                <a:cubicBezTo>
                  <a:pt x="1005" y="198"/>
                  <a:pt x="1007" y="203"/>
                  <a:pt x="1013" y="203"/>
                </a:cubicBezTo>
                <a:cubicBezTo>
                  <a:pt x="1020" y="203"/>
                  <a:pt x="1027" y="198"/>
                  <a:pt x="1030" y="193"/>
                </a:cubicBezTo>
                <a:cubicBezTo>
                  <a:pt x="1034" y="187"/>
                  <a:pt x="1031" y="183"/>
                  <a:pt x="1025" y="183"/>
                </a:cubicBezTo>
                <a:cubicBezTo>
                  <a:pt x="1025" y="183"/>
                  <a:pt x="1025" y="183"/>
                  <a:pt x="1025" y="183"/>
                </a:cubicBezTo>
                <a:moveTo>
                  <a:pt x="1371" y="182"/>
                </a:moveTo>
                <a:cubicBezTo>
                  <a:pt x="1364" y="182"/>
                  <a:pt x="1357" y="187"/>
                  <a:pt x="1355" y="193"/>
                </a:cubicBezTo>
                <a:cubicBezTo>
                  <a:pt x="1353" y="198"/>
                  <a:pt x="1356" y="203"/>
                  <a:pt x="1362" y="203"/>
                </a:cubicBezTo>
                <a:cubicBezTo>
                  <a:pt x="1368" y="203"/>
                  <a:pt x="1375" y="198"/>
                  <a:pt x="1377" y="192"/>
                </a:cubicBezTo>
                <a:cubicBezTo>
                  <a:pt x="1380" y="187"/>
                  <a:pt x="1377" y="182"/>
                  <a:pt x="1371" y="182"/>
                </a:cubicBezTo>
                <a:cubicBezTo>
                  <a:pt x="1371" y="182"/>
                  <a:pt x="1371" y="182"/>
                  <a:pt x="1371" y="182"/>
                </a:cubicBezTo>
                <a:moveTo>
                  <a:pt x="1056" y="182"/>
                </a:moveTo>
                <a:cubicBezTo>
                  <a:pt x="1050" y="182"/>
                  <a:pt x="1043" y="187"/>
                  <a:pt x="1040" y="192"/>
                </a:cubicBezTo>
                <a:cubicBezTo>
                  <a:pt x="1037" y="198"/>
                  <a:pt x="1039" y="203"/>
                  <a:pt x="1045" y="203"/>
                </a:cubicBezTo>
                <a:cubicBezTo>
                  <a:pt x="1051" y="202"/>
                  <a:pt x="1059" y="198"/>
                  <a:pt x="1062" y="192"/>
                </a:cubicBezTo>
                <a:cubicBezTo>
                  <a:pt x="1065" y="187"/>
                  <a:pt x="1063" y="182"/>
                  <a:pt x="1057" y="182"/>
                </a:cubicBezTo>
                <a:cubicBezTo>
                  <a:pt x="1056" y="182"/>
                  <a:pt x="1056" y="182"/>
                  <a:pt x="1056" y="182"/>
                </a:cubicBezTo>
                <a:moveTo>
                  <a:pt x="1403" y="182"/>
                </a:moveTo>
                <a:cubicBezTo>
                  <a:pt x="1397" y="182"/>
                  <a:pt x="1390" y="187"/>
                  <a:pt x="1388" y="192"/>
                </a:cubicBezTo>
                <a:cubicBezTo>
                  <a:pt x="1385" y="198"/>
                  <a:pt x="1388" y="202"/>
                  <a:pt x="1394" y="202"/>
                </a:cubicBezTo>
                <a:cubicBezTo>
                  <a:pt x="1400" y="202"/>
                  <a:pt x="1407" y="198"/>
                  <a:pt x="1410" y="192"/>
                </a:cubicBezTo>
                <a:cubicBezTo>
                  <a:pt x="1412" y="187"/>
                  <a:pt x="1409" y="182"/>
                  <a:pt x="1403" y="182"/>
                </a:cubicBezTo>
                <a:cubicBezTo>
                  <a:pt x="1403" y="182"/>
                  <a:pt x="1403" y="182"/>
                  <a:pt x="1403" y="182"/>
                </a:cubicBezTo>
                <a:moveTo>
                  <a:pt x="1088" y="182"/>
                </a:moveTo>
                <a:cubicBezTo>
                  <a:pt x="1082" y="182"/>
                  <a:pt x="1074" y="187"/>
                  <a:pt x="1071" y="192"/>
                </a:cubicBezTo>
                <a:cubicBezTo>
                  <a:pt x="1068" y="198"/>
                  <a:pt x="1071" y="202"/>
                  <a:pt x="1077" y="202"/>
                </a:cubicBezTo>
                <a:cubicBezTo>
                  <a:pt x="1083" y="202"/>
                  <a:pt x="1090" y="198"/>
                  <a:pt x="1094" y="192"/>
                </a:cubicBezTo>
                <a:cubicBezTo>
                  <a:pt x="1097" y="186"/>
                  <a:pt x="1094" y="182"/>
                  <a:pt x="1088" y="182"/>
                </a:cubicBezTo>
                <a:cubicBezTo>
                  <a:pt x="1088" y="182"/>
                  <a:pt x="1088" y="182"/>
                  <a:pt x="1088" y="182"/>
                </a:cubicBezTo>
                <a:moveTo>
                  <a:pt x="1119" y="182"/>
                </a:moveTo>
                <a:cubicBezTo>
                  <a:pt x="1113" y="182"/>
                  <a:pt x="1106" y="186"/>
                  <a:pt x="1103" y="192"/>
                </a:cubicBezTo>
                <a:cubicBezTo>
                  <a:pt x="1100" y="198"/>
                  <a:pt x="1102" y="202"/>
                  <a:pt x="1109" y="202"/>
                </a:cubicBezTo>
                <a:cubicBezTo>
                  <a:pt x="1115" y="202"/>
                  <a:pt x="1122" y="197"/>
                  <a:pt x="1125" y="192"/>
                </a:cubicBezTo>
                <a:cubicBezTo>
                  <a:pt x="1128" y="186"/>
                  <a:pt x="1125" y="182"/>
                  <a:pt x="1119" y="182"/>
                </a:cubicBezTo>
                <a:cubicBezTo>
                  <a:pt x="1119" y="182"/>
                  <a:pt x="1119" y="182"/>
                  <a:pt x="1119" y="182"/>
                </a:cubicBezTo>
                <a:moveTo>
                  <a:pt x="1151" y="181"/>
                </a:moveTo>
                <a:cubicBezTo>
                  <a:pt x="1145" y="181"/>
                  <a:pt x="1138" y="186"/>
                  <a:pt x="1135" y="192"/>
                </a:cubicBezTo>
                <a:cubicBezTo>
                  <a:pt x="1132" y="197"/>
                  <a:pt x="1134" y="202"/>
                  <a:pt x="1140" y="202"/>
                </a:cubicBezTo>
                <a:cubicBezTo>
                  <a:pt x="1147" y="202"/>
                  <a:pt x="1154" y="197"/>
                  <a:pt x="1157" y="191"/>
                </a:cubicBezTo>
                <a:cubicBezTo>
                  <a:pt x="1160" y="186"/>
                  <a:pt x="1157" y="181"/>
                  <a:pt x="1151" y="181"/>
                </a:cubicBezTo>
                <a:cubicBezTo>
                  <a:pt x="1151" y="181"/>
                  <a:pt x="1151" y="181"/>
                  <a:pt x="1151" y="181"/>
                </a:cubicBezTo>
                <a:moveTo>
                  <a:pt x="1214" y="181"/>
                </a:moveTo>
                <a:cubicBezTo>
                  <a:pt x="1208" y="181"/>
                  <a:pt x="1201" y="185"/>
                  <a:pt x="1198" y="191"/>
                </a:cubicBezTo>
                <a:cubicBezTo>
                  <a:pt x="1195" y="197"/>
                  <a:pt x="1198" y="201"/>
                  <a:pt x="1204" y="201"/>
                </a:cubicBezTo>
                <a:cubicBezTo>
                  <a:pt x="1210" y="201"/>
                  <a:pt x="1218" y="196"/>
                  <a:pt x="1220" y="191"/>
                </a:cubicBezTo>
                <a:cubicBezTo>
                  <a:pt x="1223" y="185"/>
                  <a:pt x="1220" y="181"/>
                  <a:pt x="1214" y="181"/>
                </a:cubicBezTo>
                <a:cubicBezTo>
                  <a:pt x="1214" y="181"/>
                  <a:pt x="1214" y="181"/>
                  <a:pt x="1214" y="181"/>
                </a:cubicBezTo>
                <a:moveTo>
                  <a:pt x="1562" y="179"/>
                </a:moveTo>
                <a:cubicBezTo>
                  <a:pt x="1556" y="179"/>
                  <a:pt x="1549" y="183"/>
                  <a:pt x="1547" y="189"/>
                </a:cubicBezTo>
                <a:cubicBezTo>
                  <a:pt x="1545" y="195"/>
                  <a:pt x="1548" y="199"/>
                  <a:pt x="1555" y="199"/>
                </a:cubicBezTo>
                <a:cubicBezTo>
                  <a:pt x="1561" y="199"/>
                  <a:pt x="1567" y="194"/>
                  <a:pt x="1569" y="189"/>
                </a:cubicBezTo>
                <a:cubicBezTo>
                  <a:pt x="1571" y="183"/>
                  <a:pt x="1568" y="179"/>
                  <a:pt x="1562" y="179"/>
                </a:cubicBezTo>
                <a:cubicBezTo>
                  <a:pt x="1562" y="179"/>
                  <a:pt x="1562" y="179"/>
                  <a:pt x="1562" y="179"/>
                </a:cubicBezTo>
                <a:moveTo>
                  <a:pt x="1593" y="178"/>
                </a:moveTo>
                <a:cubicBezTo>
                  <a:pt x="1587" y="178"/>
                  <a:pt x="1581" y="183"/>
                  <a:pt x="1579" y="189"/>
                </a:cubicBezTo>
                <a:cubicBezTo>
                  <a:pt x="1577" y="194"/>
                  <a:pt x="1580" y="199"/>
                  <a:pt x="1586" y="199"/>
                </a:cubicBezTo>
                <a:cubicBezTo>
                  <a:pt x="1592" y="199"/>
                  <a:pt x="1599" y="194"/>
                  <a:pt x="1601" y="188"/>
                </a:cubicBezTo>
                <a:cubicBezTo>
                  <a:pt x="1603" y="183"/>
                  <a:pt x="1599" y="178"/>
                  <a:pt x="1593" y="178"/>
                </a:cubicBezTo>
                <a:cubicBezTo>
                  <a:pt x="1593" y="178"/>
                  <a:pt x="1593" y="178"/>
                  <a:pt x="1593" y="178"/>
                </a:cubicBezTo>
                <a:moveTo>
                  <a:pt x="1625" y="178"/>
                </a:moveTo>
                <a:cubicBezTo>
                  <a:pt x="1619" y="178"/>
                  <a:pt x="1612" y="183"/>
                  <a:pt x="1610" y="188"/>
                </a:cubicBezTo>
                <a:cubicBezTo>
                  <a:pt x="1608" y="194"/>
                  <a:pt x="1612" y="198"/>
                  <a:pt x="1618" y="198"/>
                </a:cubicBezTo>
                <a:cubicBezTo>
                  <a:pt x="1624" y="198"/>
                  <a:pt x="1630" y="194"/>
                  <a:pt x="1632" y="188"/>
                </a:cubicBezTo>
                <a:cubicBezTo>
                  <a:pt x="1634" y="183"/>
                  <a:pt x="1631" y="178"/>
                  <a:pt x="1625" y="178"/>
                </a:cubicBezTo>
                <a:cubicBezTo>
                  <a:pt x="1625" y="178"/>
                  <a:pt x="1625" y="178"/>
                  <a:pt x="1625" y="178"/>
                </a:cubicBezTo>
                <a:moveTo>
                  <a:pt x="1656" y="178"/>
                </a:moveTo>
                <a:cubicBezTo>
                  <a:pt x="1650" y="178"/>
                  <a:pt x="1644" y="182"/>
                  <a:pt x="1642" y="188"/>
                </a:cubicBezTo>
                <a:cubicBezTo>
                  <a:pt x="1640" y="194"/>
                  <a:pt x="1643" y="198"/>
                  <a:pt x="1649" y="198"/>
                </a:cubicBezTo>
                <a:cubicBezTo>
                  <a:pt x="1656" y="198"/>
                  <a:pt x="1662" y="193"/>
                  <a:pt x="1664" y="188"/>
                </a:cubicBezTo>
                <a:cubicBezTo>
                  <a:pt x="1666" y="182"/>
                  <a:pt x="1662" y="178"/>
                  <a:pt x="1656" y="178"/>
                </a:cubicBezTo>
                <a:cubicBezTo>
                  <a:pt x="1656" y="178"/>
                  <a:pt x="1656" y="178"/>
                  <a:pt x="1656" y="178"/>
                </a:cubicBezTo>
                <a:moveTo>
                  <a:pt x="1688" y="177"/>
                </a:moveTo>
                <a:cubicBezTo>
                  <a:pt x="1682" y="178"/>
                  <a:pt x="1675" y="182"/>
                  <a:pt x="1673" y="188"/>
                </a:cubicBezTo>
                <a:cubicBezTo>
                  <a:pt x="1672" y="193"/>
                  <a:pt x="1675" y="198"/>
                  <a:pt x="1681" y="198"/>
                </a:cubicBezTo>
                <a:cubicBezTo>
                  <a:pt x="1687" y="198"/>
                  <a:pt x="1694" y="193"/>
                  <a:pt x="1696" y="188"/>
                </a:cubicBezTo>
                <a:cubicBezTo>
                  <a:pt x="1697" y="182"/>
                  <a:pt x="1694" y="177"/>
                  <a:pt x="1688" y="177"/>
                </a:cubicBezTo>
                <a:cubicBezTo>
                  <a:pt x="1688" y="177"/>
                  <a:pt x="1688" y="177"/>
                  <a:pt x="1688" y="177"/>
                </a:cubicBezTo>
                <a:moveTo>
                  <a:pt x="1720" y="177"/>
                </a:moveTo>
                <a:cubicBezTo>
                  <a:pt x="1714" y="177"/>
                  <a:pt x="1708" y="182"/>
                  <a:pt x="1706" y="187"/>
                </a:cubicBezTo>
                <a:cubicBezTo>
                  <a:pt x="1704" y="193"/>
                  <a:pt x="1708" y="198"/>
                  <a:pt x="1714" y="198"/>
                </a:cubicBezTo>
                <a:cubicBezTo>
                  <a:pt x="1720" y="198"/>
                  <a:pt x="1727" y="193"/>
                  <a:pt x="1728" y="187"/>
                </a:cubicBezTo>
                <a:cubicBezTo>
                  <a:pt x="1730" y="182"/>
                  <a:pt x="1726" y="177"/>
                  <a:pt x="1720" y="177"/>
                </a:cubicBezTo>
                <a:cubicBezTo>
                  <a:pt x="1720" y="177"/>
                  <a:pt x="1720" y="177"/>
                  <a:pt x="1720" y="177"/>
                </a:cubicBezTo>
                <a:moveTo>
                  <a:pt x="1752" y="177"/>
                </a:moveTo>
                <a:cubicBezTo>
                  <a:pt x="1745" y="177"/>
                  <a:pt x="1739" y="182"/>
                  <a:pt x="1737" y="187"/>
                </a:cubicBezTo>
                <a:cubicBezTo>
                  <a:pt x="1736" y="193"/>
                  <a:pt x="1739" y="197"/>
                  <a:pt x="1746" y="197"/>
                </a:cubicBezTo>
                <a:cubicBezTo>
                  <a:pt x="1752" y="197"/>
                  <a:pt x="1758" y="193"/>
                  <a:pt x="1760" y="187"/>
                </a:cubicBezTo>
                <a:cubicBezTo>
                  <a:pt x="1761" y="181"/>
                  <a:pt x="1758" y="177"/>
                  <a:pt x="1752" y="177"/>
                </a:cubicBezTo>
                <a:cubicBezTo>
                  <a:pt x="1752" y="177"/>
                  <a:pt x="1752" y="177"/>
                  <a:pt x="1752" y="177"/>
                </a:cubicBezTo>
                <a:moveTo>
                  <a:pt x="2286" y="172"/>
                </a:moveTo>
                <a:cubicBezTo>
                  <a:pt x="2280" y="172"/>
                  <a:pt x="2274" y="176"/>
                  <a:pt x="2274" y="182"/>
                </a:cubicBezTo>
                <a:cubicBezTo>
                  <a:pt x="2273" y="188"/>
                  <a:pt x="2278" y="192"/>
                  <a:pt x="2284" y="192"/>
                </a:cubicBezTo>
                <a:cubicBezTo>
                  <a:pt x="2290" y="192"/>
                  <a:pt x="2296" y="187"/>
                  <a:pt x="2296" y="182"/>
                </a:cubicBezTo>
                <a:cubicBezTo>
                  <a:pt x="2297" y="176"/>
                  <a:pt x="2292" y="172"/>
                  <a:pt x="2286" y="172"/>
                </a:cubicBezTo>
                <a:cubicBezTo>
                  <a:pt x="2286" y="172"/>
                  <a:pt x="2286" y="172"/>
                  <a:pt x="2286" y="172"/>
                </a:cubicBezTo>
                <a:moveTo>
                  <a:pt x="2317" y="171"/>
                </a:moveTo>
                <a:cubicBezTo>
                  <a:pt x="2311" y="171"/>
                  <a:pt x="2306" y="176"/>
                  <a:pt x="2305" y="182"/>
                </a:cubicBezTo>
                <a:cubicBezTo>
                  <a:pt x="2305" y="187"/>
                  <a:pt x="2309" y="192"/>
                  <a:pt x="2316" y="192"/>
                </a:cubicBezTo>
                <a:cubicBezTo>
                  <a:pt x="2322" y="192"/>
                  <a:pt x="2327" y="187"/>
                  <a:pt x="2327" y="181"/>
                </a:cubicBezTo>
                <a:cubicBezTo>
                  <a:pt x="2328" y="176"/>
                  <a:pt x="2323" y="171"/>
                  <a:pt x="2317" y="171"/>
                </a:cubicBezTo>
                <a:cubicBezTo>
                  <a:pt x="2317" y="171"/>
                  <a:pt x="2317" y="171"/>
                  <a:pt x="2317" y="171"/>
                </a:cubicBezTo>
                <a:moveTo>
                  <a:pt x="2348" y="171"/>
                </a:moveTo>
                <a:cubicBezTo>
                  <a:pt x="2342" y="171"/>
                  <a:pt x="2337" y="176"/>
                  <a:pt x="2337" y="181"/>
                </a:cubicBezTo>
                <a:cubicBezTo>
                  <a:pt x="2336" y="187"/>
                  <a:pt x="2341" y="191"/>
                  <a:pt x="2347" y="191"/>
                </a:cubicBezTo>
                <a:cubicBezTo>
                  <a:pt x="2353" y="191"/>
                  <a:pt x="2358" y="187"/>
                  <a:pt x="2359" y="181"/>
                </a:cubicBezTo>
                <a:cubicBezTo>
                  <a:pt x="2359" y="176"/>
                  <a:pt x="2354" y="171"/>
                  <a:pt x="2348" y="171"/>
                </a:cubicBezTo>
                <a:cubicBezTo>
                  <a:pt x="2348" y="171"/>
                  <a:pt x="2348" y="171"/>
                  <a:pt x="2348" y="171"/>
                </a:cubicBezTo>
                <a:moveTo>
                  <a:pt x="2380" y="171"/>
                </a:moveTo>
                <a:cubicBezTo>
                  <a:pt x="2374" y="171"/>
                  <a:pt x="2369" y="175"/>
                  <a:pt x="2369" y="181"/>
                </a:cubicBezTo>
                <a:cubicBezTo>
                  <a:pt x="2369" y="187"/>
                  <a:pt x="2373" y="191"/>
                  <a:pt x="2379" y="191"/>
                </a:cubicBezTo>
                <a:cubicBezTo>
                  <a:pt x="2386" y="191"/>
                  <a:pt x="2391" y="186"/>
                  <a:pt x="2391" y="181"/>
                </a:cubicBezTo>
                <a:cubicBezTo>
                  <a:pt x="2391" y="175"/>
                  <a:pt x="2387" y="171"/>
                  <a:pt x="2381" y="171"/>
                </a:cubicBezTo>
                <a:cubicBezTo>
                  <a:pt x="2380" y="171"/>
                  <a:pt x="2380" y="171"/>
                  <a:pt x="2380" y="171"/>
                </a:cubicBezTo>
                <a:moveTo>
                  <a:pt x="2412" y="170"/>
                </a:moveTo>
                <a:cubicBezTo>
                  <a:pt x="2406" y="170"/>
                  <a:pt x="2400" y="175"/>
                  <a:pt x="2400" y="181"/>
                </a:cubicBezTo>
                <a:cubicBezTo>
                  <a:pt x="2400" y="186"/>
                  <a:pt x="2405" y="191"/>
                  <a:pt x="2411" y="191"/>
                </a:cubicBezTo>
                <a:cubicBezTo>
                  <a:pt x="2417" y="191"/>
                  <a:pt x="2422" y="186"/>
                  <a:pt x="2422" y="181"/>
                </a:cubicBezTo>
                <a:cubicBezTo>
                  <a:pt x="2423" y="175"/>
                  <a:pt x="2418" y="170"/>
                  <a:pt x="2412" y="170"/>
                </a:cubicBezTo>
                <a:cubicBezTo>
                  <a:pt x="2412" y="170"/>
                  <a:pt x="2412" y="170"/>
                  <a:pt x="2412" y="170"/>
                </a:cubicBezTo>
                <a:moveTo>
                  <a:pt x="2443" y="170"/>
                </a:moveTo>
                <a:cubicBezTo>
                  <a:pt x="2437" y="170"/>
                  <a:pt x="2432" y="175"/>
                  <a:pt x="2432" y="180"/>
                </a:cubicBezTo>
                <a:cubicBezTo>
                  <a:pt x="2431" y="186"/>
                  <a:pt x="2436" y="191"/>
                  <a:pt x="2442" y="191"/>
                </a:cubicBezTo>
                <a:cubicBezTo>
                  <a:pt x="2449" y="191"/>
                  <a:pt x="2454" y="186"/>
                  <a:pt x="2454" y="180"/>
                </a:cubicBezTo>
                <a:cubicBezTo>
                  <a:pt x="2454" y="175"/>
                  <a:pt x="2449" y="170"/>
                  <a:pt x="2443" y="170"/>
                </a:cubicBezTo>
                <a:cubicBezTo>
                  <a:pt x="2443" y="170"/>
                  <a:pt x="2443" y="170"/>
                  <a:pt x="2443" y="170"/>
                </a:cubicBezTo>
                <a:moveTo>
                  <a:pt x="2474" y="170"/>
                </a:moveTo>
                <a:cubicBezTo>
                  <a:pt x="2468" y="170"/>
                  <a:pt x="2463" y="175"/>
                  <a:pt x="2463" y="180"/>
                </a:cubicBezTo>
                <a:cubicBezTo>
                  <a:pt x="2463" y="186"/>
                  <a:pt x="2468" y="190"/>
                  <a:pt x="2474" y="190"/>
                </a:cubicBezTo>
                <a:cubicBezTo>
                  <a:pt x="2480" y="190"/>
                  <a:pt x="2485" y="186"/>
                  <a:pt x="2485" y="180"/>
                </a:cubicBezTo>
                <a:cubicBezTo>
                  <a:pt x="2485" y="174"/>
                  <a:pt x="2480" y="170"/>
                  <a:pt x="2474" y="170"/>
                </a:cubicBezTo>
                <a:cubicBezTo>
                  <a:pt x="2474" y="170"/>
                  <a:pt x="2474" y="170"/>
                  <a:pt x="2474" y="170"/>
                </a:cubicBezTo>
                <a:moveTo>
                  <a:pt x="2505" y="170"/>
                </a:moveTo>
                <a:cubicBezTo>
                  <a:pt x="2499" y="170"/>
                  <a:pt x="2494" y="174"/>
                  <a:pt x="2494" y="180"/>
                </a:cubicBezTo>
                <a:cubicBezTo>
                  <a:pt x="2494" y="186"/>
                  <a:pt x="2499" y="190"/>
                  <a:pt x="2505" y="190"/>
                </a:cubicBezTo>
                <a:cubicBezTo>
                  <a:pt x="2511" y="190"/>
                  <a:pt x="2516" y="185"/>
                  <a:pt x="2516" y="180"/>
                </a:cubicBezTo>
                <a:cubicBezTo>
                  <a:pt x="2516" y="174"/>
                  <a:pt x="2511" y="170"/>
                  <a:pt x="2505" y="170"/>
                </a:cubicBezTo>
                <a:cubicBezTo>
                  <a:pt x="2505" y="170"/>
                  <a:pt x="2505" y="170"/>
                  <a:pt x="2505" y="170"/>
                </a:cubicBezTo>
                <a:moveTo>
                  <a:pt x="2536" y="169"/>
                </a:moveTo>
                <a:cubicBezTo>
                  <a:pt x="2530" y="169"/>
                  <a:pt x="2525" y="174"/>
                  <a:pt x="2525" y="180"/>
                </a:cubicBezTo>
                <a:cubicBezTo>
                  <a:pt x="2525" y="185"/>
                  <a:pt x="2530" y="190"/>
                  <a:pt x="2536" y="190"/>
                </a:cubicBezTo>
                <a:cubicBezTo>
                  <a:pt x="2542" y="190"/>
                  <a:pt x="2547" y="185"/>
                  <a:pt x="2547" y="179"/>
                </a:cubicBezTo>
                <a:cubicBezTo>
                  <a:pt x="2547" y="174"/>
                  <a:pt x="2542" y="169"/>
                  <a:pt x="2536" y="169"/>
                </a:cubicBezTo>
                <a:cubicBezTo>
                  <a:pt x="2536" y="169"/>
                  <a:pt x="2536" y="169"/>
                  <a:pt x="2536" y="169"/>
                </a:cubicBezTo>
                <a:moveTo>
                  <a:pt x="2601" y="169"/>
                </a:moveTo>
                <a:cubicBezTo>
                  <a:pt x="2595" y="169"/>
                  <a:pt x="2590" y="173"/>
                  <a:pt x="2590" y="179"/>
                </a:cubicBezTo>
                <a:cubicBezTo>
                  <a:pt x="2590" y="185"/>
                  <a:pt x="2595" y="189"/>
                  <a:pt x="2601" y="189"/>
                </a:cubicBezTo>
                <a:cubicBezTo>
                  <a:pt x="2608" y="189"/>
                  <a:pt x="2612" y="184"/>
                  <a:pt x="2612" y="179"/>
                </a:cubicBezTo>
                <a:cubicBezTo>
                  <a:pt x="2612" y="173"/>
                  <a:pt x="2607" y="169"/>
                  <a:pt x="2601" y="169"/>
                </a:cubicBezTo>
                <a:cubicBezTo>
                  <a:pt x="2601" y="169"/>
                  <a:pt x="2601" y="169"/>
                  <a:pt x="2601" y="169"/>
                </a:cubicBezTo>
                <a:moveTo>
                  <a:pt x="2632" y="168"/>
                </a:moveTo>
                <a:cubicBezTo>
                  <a:pt x="2626" y="168"/>
                  <a:pt x="2621" y="173"/>
                  <a:pt x="2621" y="179"/>
                </a:cubicBezTo>
                <a:cubicBezTo>
                  <a:pt x="2622" y="184"/>
                  <a:pt x="2627" y="189"/>
                  <a:pt x="2633" y="189"/>
                </a:cubicBezTo>
                <a:cubicBezTo>
                  <a:pt x="2639" y="189"/>
                  <a:pt x="2644" y="184"/>
                  <a:pt x="2643" y="179"/>
                </a:cubicBezTo>
                <a:cubicBezTo>
                  <a:pt x="2643" y="173"/>
                  <a:pt x="2638" y="168"/>
                  <a:pt x="2632" y="168"/>
                </a:cubicBezTo>
                <a:cubicBezTo>
                  <a:pt x="2632" y="168"/>
                  <a:pt x="2632" y="168"/>
                  <a:pt x="2632" y="168"/>
                </a:cubicBezTo>
                <a:moveTo>
                  <a:pt x="2663" y="168"/>
                </a:moveTo>
                <a:cubicBezTo>
                  <a:pt x="2657" y="168"/>
                  <a:pt x="2652" y="173"/>
                  <a:pt x="2652" y="178"/>
                </a:cubicBezTo>
                <a:cubicBezTo>
                  <a:pt x="2653" y="184"/>
                  <a:pt x="2658" y="189"/>
                  <a:pt x="2664" y="189"/>
                </a:cubicBezTo>
                <a:cubicBezTo>
                  <a:pt x="2670" y="189"/>
                  <a:pt x="2675" y="184"/>
                  <a:pt x="2675" y="178"/>
                </a:cubicBezTo>
                <a:cubicBezTo>
                  <a:pt x="2674" y="173"/>
                  <a:pt x="2669" y="168"/>
                  <a:pt x="2663" y="168"/>
                </a:cubicBezTo>
                <a:cubicBezTo>
                  <a:pt x="2663" y="168"/>
                  <a:pt x="2663" y="168"/>
                  <a:pt x="2663" y="168"/>
                </a:cubicBezTo>
                <a:moveTo>
                  <a:pt x="2694" y="168"/>
                </a:moveTo>
                <a:cubicBezTo>
                  <a:pt x="2688" y="168"/>
                  <a:pt x="2683" y="173"/>
                  <a:pt x="2684" y="178"/>
                </a:cubicBezTo>
                <a:cubicBezTo>
                  <a:pt x="2684" y="184"/>
                  <a:pt x="2689" y="188"/>
                  <a:pt x="2696" y="188"/>
                </a:cubicBezTo>
                <a:cubicBezTo>
                  <a:pt x="2702" y="188"/>
                  <a:pt x="2706" y="184"/>
                  <a:pt x="2706" y="178"/>
                </a:cubicBezTo>
                <a:cubicBezTo>
                  <a:pt x="2705" y="172"/>
                  <a:pt x="2700" y="168"/>
                  <a:pt x="2694" y="168"/>
                </a:cubicBezTo>
                <a:cubicBezTo>
                  <a:pt x="2694" y="168"/>
                  <a:pt x="2694" y="168"/>
                  <a:pt x="2694" y="168"/>
                </a:cubicBezTo>
                <a:moveTo>
                  <a:pt x="2726" y="168"/>
                </a:moveTo>
                <a:cubicBezTo>
                  <a:pt x="2720" y="168"/>
                  <a:pt x="2715" y="172"/>
                  <a:pt x="2715" y="178"/>
                </a:cubicBezTo>
                <a:cubicBezTo>
                  <a:pt x="2716" y="184"/>
                  <a:pt x="2721" y="188"/>
                  <a:pt x="2727" y="188"/>
                </a:cubicBezTo>
                <a:cubicBezTo>
                  <a:pt x="2733" y="188"/>
                  <a:pt x="2738" y="183"/>
                  <a:pt x="2737" y="178"/>
                </a:cubicBezTo>
                <a:cubicBezTo>
                  <a:pt x="2737" y="172"/>
                  <a:pt x="2732" y="168"/>
                  <a:pt x="2726" y="168"/>
                </a:cubicBezTo>
                <a:cubicBezTo>
                  <a:pt x="2726" y="168"/>
                  <a:pt x="2726" y="168"/>
                  <a:pt x="2726" y="168"/>
                </a:cubicBezTo>
                <a:moveTo>
                  <a:pt x="2757" y="167"/>
                </a:moveTo>
                <a:cubicBezTo>
                  <a:pt x="2751" y="167"/>
                  <a:pt x="2747" y="172"/>
                  <a:pt x="2747" y="178"/>
                </a:cubicBezTo>
                <a:cubicBezTo>
                  <a:pt x="2748" y="183"/>
                  <a:pt x="2753" y="188"/>
                  <a:pt x="2759" y="188"/>
                </a:cubicBezTo>
                <a:cubicBezTo>
                  <a:pt x="2765" y="188"/>
                  <a:pt x="2770" y="183"/>
                  <a:pt x="2769" y="177"/>
                </a:cubicBezTo>
                <a:cubicBezTo>
                  <a:pt x="2769" y="172"/>
                  <a:pt x="2763" y="167"/>
                  <a:pt x="2757" y="167"/>
                </a:cubicBezTo>
                <a:cubicBezTo>
                  <a:pt x="2757" y="167"/>
                  <a:pt x="2757" y="167"/>
                  <a:pt x="2757" y="167"/>
                </a:cubicBezTo>
                <a:moveTo>
                  <a:pt x="2789" y="167"/>
                </a:moveTo>
                <a:cubicBezTo>
                  <a:pt x="2782" y="167"/>
                  <a:pt x="2778" y="172"/>
                  <a:pt x="2779" y="177"/>
                </a:cubicBezTo>
                <a:cubicBezTo>
                  <a:pt x="2779" y="183"/>
                  <a:pt x="2785" y="188"/>
                  <a:pt x="2791" y="187"/>
                </a:cubicBezTo>
                <a:cubicBezTo>
                  <a:pt x="2797" y="187"/>
                  <a:pt x="2801" y="183"/>
                  <a:pt x="2801" y="177"/>
                </a:cubicBezTo>
                <a:cubicBezTo>
                  <a:pt x="2800" y="172"/>
                  <a:pt x="2795" y="167"/>
                  <a:pt x="2789" y="167"/>
                </a:cubicBezTo>
                <a:cubicBezTo>
                  <a:pt x="2789" y="167"/>
                  <a:pt x="2789" y="167"/>
                  <a:pt x="2789" y="167"/>
                </a:cubicBezTo>
                <a:moveTo>
                  <a:pt x="2820" y="167"/>
                </a:moveTo>
                <a:cubicBezTo>
                  <a:pt x="2814" y="167"/>
                  <a:pt x="2809" y="171"/>
                  <a:pt x="2810" y="177"/>
                </a:cubicBezTo>
                <a:cubicBezTo>
                  <a:pt x="2811" y="183"/>
                  <a:pt x="2816" y="187"/>
                  <a:pt x="2822" y="187"/>
                </a:cubicBezTo>
                <a:cubicBezTo>
                  <a:pt x="2829" y="187"/>
                  <a:pt x="2833" y="182"/>
                  <a:pt x="2832" y="177"/>
                </a:cubicBezTo>
                <a:cubicBezTo>
                  <a:pt x="2831" y="171"/>
                  <a:pt x="2826" y="167"/>
                  <a:pt x="2820" y="167"/>
                </a:cubicBezTo>
                <a:cubicBezTo>
                  <a:pt x="2820" y="167"/>
                  <a:pt x="2820" y="167"/>
                  <a:pt x="2820" y="167"/>
                </a:cubicBezTo>
                <a:moveTo>
                  <a:pt x="2851" y="166"/>
                </a:moveTo>
                <a:cubicBezTo>
                  <a:pt x="2845" y="166"/>
                  <a:pt x="2841" y="171"/>
                  <a:pt x="2841" y="177"/>
                </a:cubicBezTo>
                <a:cubicBezTo>
                  <a:pt x="2842" y="182"/>
                  <a:pt x="2848" y="187"/>
                  <a:pt x="2854" y="187"/>
                </a:cubicBezTo>
                <a:cubicBezTo>
                  <a:pt x="2860" y="187"/>
                  <a:pt x="2864" y="182"/>
                  <a:pt x="2864" y="177"/>
                </a:cubicBezTo>
                <a:cubicBezTo>
                  <a:pt x="2863" y="171"/>
                  <a:pt x="2857" y="166"/>
                  <a:pt x="2851" y="166"/>
                </a:cubicBezTo>
                <a:cubicBezTo>
                  <a:pt x="2851" y="166"/>
                  <a:pt x="2851" y="166"/>
                  <a:pt x="2851" y="166"/>
                </a:cubicBezTo>
                <a:moveTo>
                  <a:pt x="2883" y="166"/>
                </a:moveTo>
                <a:cubicBezTo>
                  <a:pt x="2877" y="166"/>
                  <a:pt x="2872" y="171"/>
                  <a:pt x="2873" y="176"/>
                </a:cubicBezTo>
                <a:cubicBezTo>
                  <a:pt x="2874" y="182"/>
                  <a:pt x="2879" y="187"/>
                  <a:pt x="2886" y="187"/>
                </a:cubicBezTo>
                <a:cubicBezTo>
                  <a:pt x="2892" y="187"/>
                  <a:pt x="2896" y="182"/>
                  <a:pt x="2895" y="176"/>
                </a:cubicBezTo>
                <a:cubicBezTo>
                  <a:pt x="2894" y="171"/>
                  <a:pt x="2889" y="166"/>
                  <a:pt x="2883" y="166"/>
                </a:cubicBezTo>
                <a:cubicBezTo>
                  <a:pt x="2883" y="166"/>
                  <a:pt x="2883" y="166"/>
                  <a:pt x="2883" y="166"/>
                </a:cubicBezTo>
                <a:moveTo>
                  <a:pt x="2914" y="166"/>
                </a:moveTo>
                <a:cubicBezTo>
                  <a:pt x="2908" y="166"/>
                  <a:pt x="2903" y="170"/>
                  <a:pt x="2904" y="176"/>
                </a:cubicBezTo>
                <a:cubicBezTo>
                  <a:pt x="2905" y="182"/>
                  <a:pt x="2911" y="186"/>
                  <a:pt x="2917" y="186"/>
                </a:cubicBezTo>
                <a:cubicBezTo>
                  <a:pt x="2923" y="186"/>
                  <a:pt x="2927" y="181"/>
                  <a:pt x="2926" y="176"/>
                </a:cubicBezTo>
                <a:cubicBezTo>
                  <a:pt x="2925" y="170"/>
                  <a:pt x="2920" y="166"/>
                  <a:pt x="2914" y="166"/>
                </a:cubicBezTo>
                <a:cubicBezTo>
                  <a:pt x="2914" y="166"/>
                  <a:pt x="2914" y="166"/>
                  <a:pt x="2914" y="166"/>
                </a:cubicBezTo>
                <a:moveTo>
                  <a:pt x="2943" y="165"/>
                </a:moveTo>
                <a:cubicBezTo>
                  <a:pt x="2937" y="165"/>
                  <a:pt x="2933" y="170"/>
                  <a:pt x="2934" y="176"/>
                </a:cubicBezTo>
                <a:cubicBezTo>
                  <a:pt x="2935" y="181"/>
                  <a:pt x="2941" y="186"/>
                  <a:pt x="2947" y="186"/>
                </a:cubicBezTo>
                <a:cubicBezTo>
                  <a:pt x="2953" y="186"/>
                  <a:pt x="2957" y="181"/>
                  <a:pt x="2956" y="175"/>
                </a:cubicBezTo>
                <a:cubicBezTo>
                  <a:pt x="2955" y="170"/>
                  <a:pt x="2950" y="165"/>
                  <a:pt x="2944" y="165"/>
                </a:cubicBezTo>
                <a:cubicBezTo>
                  <a:pt x="2944" y="165"/>
                  <a:pt x="2943" y="165"/>
                  <a:pt x="2943" y="165"/>
                </a:cubicBezTo>
                <a:moveTo>
                  <a:pt x="2975" y="165"/>
                </a:moveTo>
                <a:cubicBezTo>
                  <a:pt x="2969" y="165"/>
                  <a:pt x="2964" y="170"/>
                  <a:pt x="2965" y="175"/>
                </a:cubicBezTo>
                <a:cubicBezTo>
                  <a:pt x="2966" y="181"/>
                  <a:pt x="2972" y="186"/>
                  <a:pt x="2978" y="186"/>
                </a:cubicBezTo>
                <a:cubicBezTo>
                  <a:pt x="2984" y="186"/>
                  <a:pt x="2989" y="181"/>
                  <a:pt x="2987" y="175"/>
                </a:cubicBezTo>
                <a:cubicBezTo>
                  <a:pt x="2986" y="170"/>
                  <a:pt x="2981" y="165"/>
                  <a:pt x="2975" y="165"/>
                </a:cubicBezTo>
                <a:cubicBezTo>
                  <a:pt x="2975" y="165"/>
                  <a:pt x="2975" y="165"/>
                  <a:pt x="2975" y="165"/>
                </a:cubicBezTo>
                <a:moveTo>
                  <a:pt x="3006" y="165"/>
                </a:moveTo>
                <a:cubicBezTo>
                  <a:pt x="3000" y="165"/>
                  <a:pt x="2996" y="169"/>
                  <a:pt x="2997" y="175"/>
                </a:cubicBezTo>
                <a:cubicBezTo>
                  <a:pt x="2998" y="181"/>
                  <a:pt x="3004" y="185"/>
                  <a:pt x="3010" y="185"/>
                </a:cubicBezTo>
                <a:cubicBezTo>
                  <a:pt x="3016" y="185"/>
                  <a:pt x="3020" y="181"/>
                  <a:pt x="3019" y="175"/>
                </a:cubicBezTo>
                <a:cubicBezTo>
                  <a:pt x="3018" y="169"/>
                  <a:pt x="3012" y="165"/>
                  <a:pt x="3006" y="165"/>
                </a:cubicBezTo>
                <a:cubicBezTo>
                  <a:pt x="3006" y="165"/>
                  <a:pt x="3006" y="165"/>
                  <a:pt x="3006" y="165"/>
                </a:cubicBezTo>
                <a:moveTo>
                  <a:pt x="3038" y="164"/>
                </a:moveTo>
                <a:cubicBezTo>
                  <a:pt x="3032" y="165"/>
                  <a:pt x="3028" y="169"/>
                  <a:pt x="3029" y="175"/>
                </a:cubicBezTo>
                <a:cubicBezTo>
                  <a:pt x="3031" y="180"/>
                  <a:pt x="3037" y="185"/>
                  <a:pt x="3043" y="185"/>
                </a:cubicBezTo>
                <a:cubicBezTo>
                  <a:pt x="3049" y="185"/>
                  <a:pt x="3053" y="180"/>
                  <a:pt x="3052" y="175"/>
                </a:cubicBezTo>
                <a:cubicBezTo>
                  <a:pt x="3050" y="169"/>
                  <a:pt x="3045" y="164"/>
                  <a:pt x="3039" y="164"/>
                </a:cubicBezTo>
                <a:cubicBezTo>
                  <a:pt x="3038" y="164"/>
                  <a:pt x="3038" y="164"/>
                  <a:pt x="3038" y="164"/>
                </a:cubicBezTo>
                <a:moveTo>
                  <a:pt x="3070" y="164"/>
                </a:moveTo>
                <a:cubicBezTo>
                  <a:pt x="3064" y="164"/>
                  <a:pt x="3060" y="169"/>
                  <a:pt x="3061" y="175"/>
                </a:cubicBezTo>
                <a:cubicBezTo>
                  <a:pt x="3062" y="180"/>
                  <a:pt x="3068" y="185"/>
                  <a:pt x="3074" y="185"/>
                </a:cubicBezTo>
                <a:cubicBezTo>
                  <a:pt x="3080" y="185"/>
                  <a:pt x="3084" y="180"/>
                  <a:pt x="3083" y="174"/>
                </a:cubicBezTo>
                <a:cubicBezTo>
                  <a:pt x="3082" y="169"/>
                  <a:pt x="3076" y="164"/>
                  <a:pt x="3070" y="164"/>
                </a:cubicBezTo>
                <a:cubicBezTo>
                  <a:pt x="3070" y="164"/>
                  <a:pt x="3070" y="164"/>
                  <a:pt x="3070" y="164"/>
                </a:cubicBezTo>
                <a:moveTo>
                  <a:pt x="3101" y="164"/>
                </a:moveTo>
                <a:cubicBezTo>
                  <a:pt x="3095" y="164"/>
                  <a:pt x="3091" y="169"/>
                  <a:pt x="3092" y="174"/>
                </a:cubicBezTo>
                <a:cubicBezTo>
                  <a:pt x="3094" y="180"/>
                  <a:pt x="3100" y="184"/>
                  <a:pt x="3106" y="184"/>
                </a:cubicBezTo>
                <a:cubicBezTo>
                  <a:pt x="3112" y="184"/>
                  <a:pt x="3116" y="180"/>
                  <a:pt x="3114" y="174"/>
                </a:cubicBezTo>
                <a:cubicBezTo>
                  <a:pt x="3113" y="168"/>
                  <a:pt x="3107" y="164"/>
                  <a:pt x="3101" y="164"/>
                </a:cubicBezTo>
                <a:cubicBezTo>
                  <a:pt x="3101" y="164"/>
                  <a:pt x="3101" y="164"/>
                  <a:pt x="3101" y="164"/>
                </a:cubicBezTo>
                <a:moveTo>
                  <a:pt x="3133" y="164"/>
                </a:moveTo>
                <a:cubicBezTo>
                  <a:pt x="3127" y="164"/>
                  <a:pt x="3123" y="168"/>
                  <a:pt x="3124" y="174"/>
                </a:cubicBezTo>
                <a:cubicBezTo>
                  <a:pt x="3125" y="180"/>
                  <a:pt x="3132" y="184"/>
                  <a:pt x="3138" y="184"/>
                </a:cubicBezTo>
                <a:cubicBezTo>
                  <a:pt x="3144" y="184"/>
                  <a:pt x="3148" y="179"/>
                  <a:pt x="3146" y="174"/>
                </a:cubicBezTo>
                <a:cubicBezTo>
                  <a:pt x="3145" y="168"/>
                  <a:pt x="3139" y="164"/>
                  <a:pt x="3133" y="164"/>
                </a:cubicBezTo>
                <a:cubicBezTo>
                  <a:pt x="3133" y="164"/>
                  <a:pt x="3133" y="164"/>
                  <a:pt x="3133" y="164"/>
                </a:cubicBezTo>
                <a:moveTo>
                  <a:pt x="3164" y="163"/>
                </a:moveTo>
                <a:cubicBezTo>
                  <a:pt x="3158" y="163"/>
                  <a:pt x="3154" y="168"/>
                  <a:pt x="3155" y="174"/>
                </a:cubicBezTo>
                <a:cubicBezTo>
                  <a:pt x="3157" y="179"/>
                  <a:pt x="3163" y="184"/>
                  <a:pt x="3169" y="184"/>
                </a:cubicBezTo>
                <a:cubicBezTo>
                  <a:pt x="3175" y="184"/>
                  <a:pt x="3179" y="179"/>
                  <a:pt x="3177" y="173"/>
                </a:cubicBezTo>
                <a:cubicBezTo>
                  <a:pt x="3176" y="168"/>
                  <a:pt x="3170" y="163"/>
                  <a:pt x="3164" y="163"/>
                </a:cubicBezTo>
                <a:cubicBezTo>
                  <a:pt x="3164" y="163"/>
                  <a:pt x="3164" y="163"/>
                  <a:pt x="3164" y="163"/>
                </a:cubicBezTo>
                <a:moveTo>
                  <a:pt x="3195" y="163"/>
                </a:moveTo>
                <a:cubicBezTo>
                  <a:pt x="3189" y="163"/>
                  <a:pt x="3185" y="168"/>
                  <a:pt x="3187" y="173"/>
                </a:cubicBezTo>
                <a:cubicBezTo>
                  <a:pt x="3188" y="179"/>
                  <a:pt x="3195" y="184"/>
                  <a:pt x="3201" y="184"/>
                </a:cubicBezTo>
                <a:cubicBezTo>
                  <a:pt x="3207" y="184"/>
                  <a:pt x="3210" y="179"/>
                  <a:pt x="3209" y="173"/>
                </a:cubicBezTo>
                <a:cubicBezTo>
                  <a:pt x="3207" y="168"/>
                  <a:pt x="3201" y="163"/>
                  <a:pt x="3195" y="163"/>
                </a:cubicBezTo>
                <a:cubicBezTo>
                  <a:pt x="3195" y="163"/>
                  <a:pt x="3195" y="163"/>
                  <a:pt x="3195" y="163"/>
                </a:cubicBezTo>
                <a:moveTo>
                  <a:pt x="3226" y="163"/>
                </a:moveTo>
                <a:cubicBezTo>
                  <a:pt x="3220" y="163"/>
                  <a:pt x="3217" y="167"/>
                  <a:pt x="3218" y="173"/>
                </a:cubicBezTo>
                <a:cubicBezTo>
                  <a:pt x="3220" y="179"/>
                  <a:pt x="3226" y="183"/>
                  <a:pt x="3232" y="183"/>
                </a:cubicBezTo>
                <a:cubicBezTo>
                  <a:pt x="3238" y="183"/>
                  <a:pt x="3242" y="179"/>
                  <a:pt x="3240" y="173"/>
                </a:cubicBezTo>
                <a:cubicBezTo>
                  <a:pt x="3239" y="167"/>
                  <a:pt x="3233" y="163"/>
                  <a:pt x="3227" y="163"/>
                </a:cubicBezTo>
                <a:cubicBezTo>
                  <a:pt x="3226" y="163"/>
                  <a:pt x="3226" y="163"/>
                  <a:pt x="3226" y="163"/>
                </a:cubicBezTo>
                <a:moveTo>
                  <a:pt x="3258" y="162"/>
                </a:moveTo>
                <a:cubicBezTo>
                  <a:pt x="3252" y="163"/>
                  <a:pt x="3248" y="167"/>
                  <a:pt x="3250" y="173"/>
                </a:cubicBezTo>
                <a:cubicBezTo>
                  <a:pt x="3251" y="179"/>
                  <a:pt x="3257" y="183"/>
                  <a:pt x="3263" y="183"/>
                </a:cubicBezTo>
                <a:cubicBezTo>
                  <a:pt x="3270" y="183"/>
                  <a:pt x="3273" y="178"/>
                  <a:pt x="3272" y="173"/>
                </a:cubicBezTo>
                <a:cubicBezTo>
                  <a:pt x="3270" y="167"/>
                  <a:pt x="3264" y="162"/>
                  <a:pt x="3258" y="162"/>
                </a:cubicBezTo>
                <a:cubicBezTo>
                  <a:pt x="3258" y="162"/>
                  <a:pt x="3258" y="162"/>
                  <a:pt x="3258" y="162"/>
                </a:cubicBezTo>
                <a:moveTo>
                  <a:pt x="3289" y="162"/>
                </a:moveTo>
                <a:cubicBezTo>
                  <a:pt x="3283" y="162"/>
                  <a:pt x="3279" y="167"/>
                  <a:pt x="3281" y="173"/>
                </a:cubicBezTo>
                <a:cubicBezTo>
                  <a:pt x="3282" y="178"/>
                  <a:pt x="3289" y="183"/>
                  <a:pt x="3295" y="183"/>
                </a:cubicBezTo>
                <a:cubicBezTo>
                  <a:pt x="3301" y="183"/>
                  <a:pt x="3305" y="178"/>
                  <a:pt x="3303" y="172"/>
                </a:cubicBezTo>
                <a:cubicBezTo>
                  <a:pt x="3301" y="167"/>
                  <a:pt x="3295" y="162"/>
                  <a:pt x="3289" y="162"/>
                </a:cubicBezTo>
                <a:cubicBezTo>
                  <a:pt x="3289" y="162"/>
                  <a:pt x="3289" y="162"/>
                  <a:pt x="3289" y="162"/>
                </a:cubicBezTo>
                <a:moveTo>
                  <a:pt x="3320" y="162"/>
                </a:moveTo>
                <a:cubicBezTo>
                  <a:pt x="3314" y="162"/>
                  <a:pt x="3311" y="167"/>
                  <a:pt x="3312" y="172"/>
                </a:cubicBezTo>
                <a:cubicBezTo>
                  <a:pt x="3314" y="178"/>
                  <a:pt x="3320" y="183"/>
                  <a:pt x="3327" y="182"/>
                </a:cubicBezTo>
                <a:cubicBezTo>
                  <a:pt x="3333" y="182"/>
                  <a:pt x="3336" y="178"/>
                  <a:pt x="3334" y="172"/>
                </a:cubicBezTo>
                <a:cubicBezTo>
                  <a:pt x="3333" y="166"/>
                  <a:pt x="3326" y="162"/>
                  <a:pt x="3320" y="162"/>
                </a:cubicBezTo>
                <a:cubicBezTo>
                  <a:pt x="3320" y="162"/>
                  <a:pt x="3320" y="162"/>
                  <a:pt x="3320" y="162"/>
                </a:cubicBezTo>
                <a:moveTo>
                  <a:pt x="3352" y="162"/>
                </a:moveTo>
                <a:cubicBezTo>
                  <a:pt x="3346" y="162"/>
                  <a:pt x="3343" y="166"/>
                  <a:pt x="3345" y="172"/>
                </a:cubicBezTo>
                <a:cubicBezTo>
                  <a:pt x="3347" y="178"/>
                  <a:pt x="3353" y="182"/>
                  <a:pt x="3359" y="182"/>
                </a:cubicBezTo>
                <a:cubicBezTo>
                  <a:pt x="3365" y="182"/>
                  <a:pt x="3369" y="177"/>
                  <a:pt x="3367" y="172"/>
                </a:cubicBezTo>
                <a:cubicBezTo>
                  <a:pt x="3365" y="166"/>
                  <a:pt x="3359" y="162"/>
                  <a:pt x="3353" y="162"/>
                </a:cubicBezTo>
                <a:cubicBezTo>
                  <a:pt x="3353" y="162"/>
                  <a:pt x="3352" y="162"/>
                  <a:pt x="3352" y="162"/>
                </a:cubicBezTo>
                <a:moveTo>
                  <a:pt x="3384" y="161"/>
                </a:moveTo>
                <a:cubicBezTo>
                  <a:pt x="3378" y="161"/>
                  <a:pt x="3374" y="166"/>
                  <a:pt x="3376" y="172"/>
                </a:cubicBezTo>
                <a:cubicBezTo>
                  <a:pt x="3378" y="177"/>
                  <a:pt x="3384" y="182"/>
                  <a:pt x="3390" y="182"/>
                </a:cubicBezTo>
                <a:cubicBezTo>
                  <a:pt x="3397" y="182"/>
                  <a:pt x="3400" y="177"/>
                  <a:pt x="3398" y="171"/>
                </a:cubicBezTo>
                <a:cubicBezTo>
                  <a:pt x="3396" y="166"/>
                  <a:pt x="3390" y="161"/>
                  <a:pt x="3384" y="161"/>
                </a:cubicBezTo>
                <a:cubicBezTo>
                  <a:pt x="3384" y="161"/>
                  <a:pt x="3384" y="161"/>
                  <a:pt x="3384" y="161"/>
                </a:cubicBezTo>
                <a:moveTo>
                  <a:pt x="3415" y="161"/>
                </a:moveTo>
                <a:cubicBezTo>
                  <a:pt x="3409" y="161"/>
                  <a:pt x="3406" y="166"/>
                  <a:pt x="3408" y="171"/>
                </a:cubicBezTo>
                <a:cubicBezTo>
                  <a:pt x="3409" y="177"/>
                  <a:pt x="3416" y="182"/>
                  <a:pt x="3422" y="182"/>
                </a:cubicBezTo>
                <a:cubicBezTo>
                  <a:pt x="3428" y="182"/>
                  <a:pt x="3432" y="177"/>
                  <a:pt x="3430" y="171"/>
                </a:cubicBezTo>
                <a:cubicBezTo>
                  <a:pt x="3428" y="166"/>
                  <a:pt x="3421" y="161"/>
                  <a:pt x="3415" y="161"/>
                </a:cubicBezTo>
                <a:cubicBezTo>
                  <a:pt x="3415" y="161"/>
                  <a:pt x="3415" y="161"/>
                  <a:pt x="3415" y="161"/>
                </a:cubicBezTo>
                <a:moveTo>
                  <a:pt x="3447" y="161"/>
                </a:moveTo>
                <a:cubicBezTo>
                  <a:pt x="3441" y="161"/>
                  <a:pt x="3437" y="165"/>
                  <a:pt x="3439" y="171"/>
                </a:cubicBezTo>
                <a:cubicBezTo>
                  <a:pt x="3441" y="177"/>
                  <a:pt x="3448" y="181"/>
                  <a:pt x="3454" y="181"/>
                </a:cubicBezTo>
                <a:cubicBezTo>
                  <a:pt x="3460" y="181"/>
                  <a:pt x="3463" y="177"/>
                  <a:pt x="3461" y="171"/>
                </a:cubicBezTo>
                <a:cubicBezTo>
                  <a:pt x="3459" y="165"/>
                  <a:pt x="3453" y="161"/>
                  <a:pt x="3447" y="161"/>
                </a:cubicBezTo>
                <a:cubicBezTo>
                  <a:pt x="3447" y="161"/>
                  <a:pt x="3447" y="161"/>
                  <a:pt x="3447" y="161"/>
                </a:cubicBezTo>
                <a:moveTo>
                  <a:pt x="3478" y="160"/>
                </a:moveTo>
                <a:cubicBezTo>
                  <a:pt x="3472" y="161"/>
                  <a:pt x="3469" y="165"/>
                  <a:pt x="3471" y="171"/>
                </a:cubicBezTo>
                <a:cubicBezTo>
                  <a:pt x="3473" y="177"/>
                  <a:pt x="3479" y="181"/>
                  <a:pt x="3485" y="181"/>
                </a:cubicBezTo>
                <a:cubicBezTo>
                  <a:pt x="3492" y="181"/>
                  <a:pt x="3495" y="176"/>
                  <a:pt x="3493" y="171"/>
                </a:cubicBezTo>
                <a:cubicBezTo>
                  <a:pt x="3490" y="165"/>
                  <a:pt x="3484" y="160"/>
                  <a:pt x="3478" y="160"/>
                </a:cubicBezTo>
                <a:cubicBezTo>
                  <a:pt x="3478" y="160"/>
                  <a:pt x="3478" y="160"/>
                  <a:pt x="3478" y="160"/>
                </a:cubicBezTo>
                <a:moveTo>
                  <a:pt x="3509" y="160"/>
                </a:moveTo>
                <a:cubicBezTo>
                  <a:pt x="3503" y="160"/>
                  <a:pt x="3500" y="165"/>
                  <a:pt x="3502" y="171"/>
                </a:cubicBezTo>
                <a:cubicBezTo>
                  <a:pt x="3504" y="176"/>
                  <a:pt x="3511" y="181"/>
                  <a:pt x="3517" y="181"/>
                </a:cubicBezTo>
                <a:cubicBezTo>
                  <a:pt x="3523" y="181"/>
                  <a:pt x="3526" y="176"/>
                  <a:pt x="3524" y="170"/>
                </a:cubicBezTo>
                <a:cubicBezTo>
                  <a:pt x="3522" y="165"/>
                  <a:pt x="3515" y="160"/>
                  <a:pt x="3509" y="160"/>
                </a:cubicBezTo>
                <a:cubicBezTo>
                  <a:pt x="3509" y="160"/>
                  <a:pt x="3509" y="160"/>
                  <a:pt x="3509" y="160"/>
                </a:cubicBezTo>
                <a:moveTo>
                  <a:pt x="3540" y="160"/>
                </a:moveTo>
                <a:cubicBezTo>
                  <a:pt x="3534" y="160"/>
                  <a:pt x="3531" y="165"/>
                  <a:pt x="3533" y="170"/>
                </a:cubicBezTo>
                <a:cubicBezTo>
                  <a:pt x="3535" y="176"/>
                  <a:pt x="3542" y="181"/>
                  <a:pt x="3548" y="180"/>
                </a:cubicBezTo>
                <a:cubicBezTo>
                  <a:pt x="3554" y="180"/>
                  <a:pt x="3558" y="176"/>
                  <a:pt x="3555" y="170"/>
                </a:cubicBezTo>
                <a:cubicBezTo>
                  <a:pt x="3553" y="164"/>
                  <a:pt x="3546" y="160"/>
                  <a:pt x="3540" y="160"/>
                </a:cubicBezTo>
                <a:cubicBezTo>
                  <a:pt x="3540" y="160"/>
                  <a:pt x="3540" y="160"/>
                  <a:pt x="3540" y="160"/>
                </a:cubicBezTo>
                <a:moveTo>
                  <a:pt x="3572" y="160"/>
                </a:moveTo>
                <a:cubicBezTo>
                  <a:pt x="3566" y="160"/>
                  <a:pt x="3563" y="164"/>
                  <a:pt x="3565" y="170"/>
                </a:cubicBezTo>
                <a:cubicBezTo>
                  <a:pt x="3568" y="176"/>
                  <a:pt x="3574" y="180"/>
                  <a:pt x="3580" y="180"/>
                </a:cubicBezTo>
                <a:cubicBezTo>
                  <a:pt x="3587" y="180"/>
                  <a:pt x="3590" y="175"/>
                  <a:pt x="3587" y="170"/>
                </a:cubicBezTo>
                <a:cubicBezTo>
                  <a:pt x="3585" y="164"/>
                  <a:pt x="3578" y="160"/>
                  <a:pt x="3572" y="160"/>
                </a:cubicBezTo>
                <a:cubicBezTo>
                  <a:pt x="3572" y="160"/>
                  <a:pt x="3572" y="160"/>
                  <a:pt x="3572" y="160"/>
                </a:cubicBezTo>
                <a:moveTo>
                  <a:pt x="3603" y="159"/>
                </a:moveTo>
                <a:cubicBezTo>
                  <a:pt x="3597" y="159"/>
                  <a:pt x="3594" y="164"/>
                  <a:pt x="3597" y="170"/>
                </a:cubicBezTo>
                <a:cubicBezTo>
                  <a:pt x="3599" y="175"/>
                  <a:pt x="3606" y="180"/>
                  <a:pt x="3612" y="180"/>
                </a:cubicBezTo>
                <a:cubicBezTo>
                  <a:pt x="3618" y="180"/>
                  <a:pt x="3621" y="175"/>
                  <a:pt x="3619" y="169"/>
                </a:cubicBezTo>
                <a:cubicBezTo>
                  <a:pt x="3616" y="164"/>
                  <a:pt x="3610" y="159"/>
                  <a:pt x="3604" y="159"/>
                </a:cubicBezTo>
                <a:cubicBezTo>
                  <a:pt x="3603" y="159"/>
                  <a:pt x="3603" y="159"/>
                  <a:pt x="3603" y="159"/>
                </a:cubicBezTo>
                <a:moveTo>
                  <a:pt x="415" y="159"/>
                </a:moveTo>
                <a:cubicBezTo>
                  <a:pt x="409" y="159"/>
                  <a:pt x="400" y="164"/>
                  <a:pt x="396" y="169"/>
                </a:cubicBezTo>
                <a:cubicBezTo>
                  <a:pt x="391" y="175"/>
                  <a:pt x="392" y="179"/>
                  <a:pt x="398" y="179"/>
                </a:cubicBezTo>
                <a:cubicBezTo>
                  <a:pt x="404" y="179"/>
                  <a:pt x="413" y="175"/>
                  <a:pt x="418" y="169"/>
                </a:cubicBezTo>
                <a:cubicBezTo>
                  <a:pt x="422" y="164"/>
                  <a:pt x="421" y="159"/>
                  <a:pt x="415" y="159"/>
                </a:cubicBezTo>
                <a:cubicBezTo>
                  <a:pt x="415" y="159"/>
                  <a:pt x="415" y="159"/>
                  <a:pt x="415" y="159"/>
                </a:cubicBezTo>
                <a:moveTo>
                  <a:pt x="3636" y="159"/>
                </a:moveTo>
                <a:cubicBezTo>
                  <a:pt x="3630" y="159"/>
                  <a:pt x="3627" y="164"/>
                  <a:pt x="3629" y="169"/>
                </a:cubicBezTo>
                <a:cubicBezTo>
                  <a:pt x="3632" y="175"/>
                  <a:pt x="3639" y="180"/>
                  <a:pt x="3645" y="180"/>
                </a:cubicBezTo>
                <a:cubicBezTo>
                  <a:pt x="3651" y="180"/>
                  <a:pt x="3654" y="175"/>
                  <a:pt x="3651" y="169"/>
                </a:cubicBezTo>
                <a:cubicBezTo>
                  <a:pt x="3649" y="164"/>
                  <a:pt x="3642" y="159"/>
                  <a:pt x="3636" y="159"/>
                </a:cubicBezTo>
                <a:cubicBezTo>
                  <a:pt x="3636" y="159"/>
                  <a:pt x="3636" y="159"/>
                  <a:pt x="3636" y="159"/>
                </a:cubicBezTo>
                <a:moveTo>
                  <a:pt x="447" y="159"/>
                </a:moveTo>
                <a:cubicBezTo>
                  <a:pt x="441" y="159"/>
                  <a:pt x="433" y="164"/>
                  <a:pt x="428" y="169"/>
                </a:cubicBezTo>
                <a:cubicBezTo>
                  <a:pt x="424" y="175"/>
                  <a:pt x="425" y="179"/>
                  <a:pt x="431" y="179"/>
                </a:cubicBezTo>
                <a:cubicBezTo>
                  <a:pt x="437" y="179"/>
                  <a:pt x="446" y="174"/>
                  <a:pt x="450" y="169"/>
                </a:cubicBezTo>
                <a:cubicBezTo>
                  <a:pt x="455" y="163"/>
                  <a:pt x="453" y="159"/>
                  <a:pt x="447" y="159"/>
                </a:cubicBezTo>
                <a:cubicBezTo>
                  <a:pt x="447" y="159"/>
                  <a:pt x="447" y="159"/>
                  <a:pt x="447" y="159"/>
                </a:cubicBezTo>
                <a:moveTo>
                  <a:pt x="3667" y="159"/>
                </a:moveTo>
                <a:cubicBezTo>
                  <a:pt x="3661" y="159"/>
                  <a:pt x="3658" y="163"/>
                  <a:pt x="3660" y="169"/>
                </a:cubicBezTo>
                <a:cubicBezTo>
                  <a:pt x="3663" y="175"/>
                  <a:pt x="3670" y="179"/>
                  <a:pt x="3676" y="179"/>
                </a:cubicBezTo>
                <a:cubicBezTo>
                  <a:pt x="3682" y="179"/>
                  <a:pt x="3685" y="175"/>
                  <a:pt x="3682" y="169"/>
                </a:cubicBezTo>
                <a:cubicBezTo>
                  <a:pt x="3680" y="163"/>
                  <a:pt x="3673" y="159"/>
                  <a:pt x="3667" y="159"/>
                </a:cubicBezTo>
                <a:cubicBezTo>
                  <a:pt x="3667" y="159"/>
                  <a:pt x="3667" y="159"/>
                  <a:pt x="3667" y="159"/>
                </a:cubicBezTo>
                <a:moveTo>
                  <a:pt x="478" y="159"/>
                </a:moveTo>
                <a:cubicBezTo>
                  <a:pt x="472" y="159"/>
                  <a:pt x="464" y="163"/>
                  <a:pt x="460" y="169"/>
                </a:cubicBezTo>
                <a:cubicBezTo>
                  <a:pt x="455" y="174"/>
                  <a:pt x="456" y="179"/>
                  <a:pt x="463" y="179"/>
                </a:cubicBezTo>
                <a:cubicBezTo>
                  <a:pt x="469" y="179"/>
                  <a:pt x="477" y="174"/>
                  <a:pt x="482" y="169"/>
                </a:cubicBezTo>
                <a:cubicBezTo>
                  <a:pt x="486" y="163"/>
                  <a:pt x="485" y="159"/>
                  <a:pt x="479" y="159"/>
                </a:cubicBezTo>
                <a:cubicBezTo>
                  <a:pt x="479" y="159"/>
                  <a:pt x="479" y="159"/>
                  <a:pt x="478" y="159"/>
                </a:cubicBezTo>
                <a:moveTo>
                  <a:pt x="3698" y="158"/>
                </a:moveTo>
                <a:cubicBezTo>
                  <a:pt x="3692" y="159"/>
                  <a:pt x="3689" y="163"/>
                  <a:pt x="3692" y="169"/>
                </a:cubicBezTo>
                <a:cubicBezTo>
                  <a:pt x="3694" y="175"/>
                  <a:pt x="3701" y="179"/>
                  <a:pt x="3708" y="179"/>
                </a:cubicBezTo>
                <a:cubicBezTo>
                  <a:pt x="3714" y="179"/>
                  <a:pt x="3716" y="174"/>
                  <a:pt x="3714" y="169"/>
                </a:cubicBezTo>
                <a:cubicBezTo>
                  <a:pt x="3711" y="163"/>
                  <a:pt x="3704" y="158"/>
                  <a:pt x="3698" y="158"/>
                </a:cubicBezTo>
                <a:cubicBezTo>
                  <a:pt x="3698" y="158"/>
                  <a:pt x="3698" y="158"/>
                  <a:pt x="3698" y="158"/>
                </a:cubicBezTo>
                <a:moveTo>
                  <a:pt x="510" y="158"/>
                </a:moveTo>
                <a:cubicBezTo>
                  <a:pt x="504" y="158"/>
                  <a:pt x="495" y="163"/>
                  <a:pt x="491" y="169"/>
                </a:cubicBezTo>
                <a:cubicBezTo>
                  <a:pt x="487" y="174"/>
                  <a:pt x="488" y="179"/>
                  <a:pt x="494" y="179"/>
                </a:cubicBezTo>
                <a:cubicBezTo>
                  <a:pt x="500" y="178"/>
                  <a:pt x="509" y="174"/>
                  <a:pt x="513" y="168"/>
                </a:cubicBezTo>
                <a:cubicBezTo>
                  <a:pt x="517" y="163"/>
                  <a:pt x="516" y="158"/>
                  <a:pt x="510" y="158"/>
                </a:cubicBezTo>
                <a:cubicBezTo>
                  <a:pt x="510" y="158"/>
                  <a:pt x="510" y="158"/>
                  <a:pt x="510" y="158"/>
                </a:cubicBezTo>
                <a:moveTo>
                  <a:pt x="3730" y="158"/>
                </a:moveTo>
                <a:cubicBezTo>
                  <a:pt x="3724" y="158"/>
                  <a:pt x="3721" y="163"/>
                  <a:pt x="3724" y="169"/>
                </a:cubicBezTo>
                <a:cubicBezTo>
                  <a:pt x="3726" y="174"/>
                  <a:pt x="3733" y="179"/>
                  <a:pt x="3739" y="179"/>
                </a:cubicBezTo>
                <a:cubicBezTo>
                  <a:pt x="3746" y="179"/>
                  <a:pt x="3748" y="174"/>
                  <a:pt x="3746" y="168"/>
                </a:cubicBezTo>
                <a:cubicBezTo>
                  <a:pt x="3743" y="163"/>
                  <a:pt x="3736" y="158"/>
                  <a:pt x="3730" y="158"/>
                </a:cubicBezTo>
                <a:cubicBezTo>
                  <a:pt x="3730" y="158"/>
                  <a:pt x="3730" y="158"/>
                  <a:pt x="3730" y="158"/>
                </a:cubicBezTo>
                <a:moveTo>
                  <a:pt x="542" y="158"/>
                </a:moveTo>
                <a:cubicBezTo>
                  <a:pt x="536" y="158"/>
                  <a:pt x="528" y="163"/>
                  <a:pt x="523" y="168"/>
                </a:cubicBezTo>
                <a:cubicBezTo>
                  <a:pt x="519" y="174"/>
                  <a:pt x="521" y="178"/>
                  <a:pt x="527" y="178"/>
                </a:cubicBezTo>
                <a:cubicBezTo>
                  <a:pt x="533" y="178"/>
                  <a:pt x="541" y="174"/>
                  <a:pt x="545" y="168"/>
                </a:cubicBezTo>
                <a:cubicBezTo>
                  <a:pt x="550" y="162"/>
                  <a:pt x="548" y="158"/>
                  <a:pt x="542" y="158"/>
                </a:cubicBezTo>
                <a:cubicBezTo>
                  <a:pt x="542" y="158"/>
                  <a:pt x="542" y="158"/>
                  <a:pt x="542" y="158"/>
                </a:cubicBezTo>
                <a:moveTo>
                  <a:pt x="3761" y="158"/>
                </a:moveTo>
                <a:cubicBezTo>
                  <a:pt x="3755" y="158"/>
                  <a:pt x="3752" y="163"/>
                  <a:pt x="3755" y="168"/>
                </a:cubicBezTo>
                <a:cubicBezTo>
                  <a:pt x="3758" y="174"/>
                  <a:pt x="3765" y="179"/>
                  <a:pt x="3771" y="178"/>
                </a:cubicBezTo>
                <a:cubicBezTo>
                  <a:pt x="3777" y="178"/>
                  <a:pt x="3780" y="174"/>
                  <a:pt x="3777" y="168"/>
                </a:cubicBezTo>
                <a:cubicBezTo>
                  <a:pt x="3774" y="162"/>
                  <a:pt x="3767" y="158"/>
                  <a:pt x="3761" y="158"/>
                </a:cubicBezTo>
                <a:cubicBezTo>
                  <a:pt x="3761" y="158"/>
                  <a:pt x="3761" y="158"/>
                  <a:pt x="3761" y="158"/>
                </a:cubicBezTo>
                <a:moveTo>
                  <a:pt x="573" y="158"/>
                </a:moveTo>
                <a:cubicBezTo>
                  <a:pt x="567" y="158"/>
                  <a:pt x="559" y="162"/>
                  <a:pt x="555" y="168"/>
                </a:cubicBezTo>
                <a:cubicBezTo>
                  <a:pt x="550" y="174"/>
                  <a:pt x="552" y="178"/>
                  <a:pt x="558" y="178"/>
                </a:cubicBezTo>
                <a:cubicBezTo>
                  <a:pt x="564" y="178"/>
                  <a:pt x="573" y="173"/>
                  <a:pt x="577" y="168"/>
                </a:cubicBezTo>
                <a:cubicBezTo>
                  <a:pt x="581" y="162"/>
                  <a:pt x="579" y="158"/>
                  <a:pt x="573" y="158"/>
                </a:cubicBezTo>
                <a:cubicBezTo>
                  <a:pt x="573" y="158"/>
                  <a:pt x="573" y="158"/>
                  <a:pt x="573" y="158"/>
                </a:cubicBezTo>
                <a:moveTo>
                  <a:pt x="3792" y="158"/>
                </a:moveTo>
                <a:cubicBezTo>
                  <a:pt x="3786" y="158"/>
                  <a:pt x="3784" y="162"/>
                  <a:pt x="3786" y="168"/>
                </a:cubicBezTo>
                <a:cubicBezTo>
                  <a:pt x="3789" y="174"/>
                  <a:pt x="3796" y="178"/>
                  <a:pt x="3802" y="178"/>
                </a:cubicBezTo>
                <a:cubicBezTo>
                  <a:pt x="3808" y="178"/>
                  <a:pt x="3811" y="173"/>
                  <a:pt x="3808" y="168"/>
                </a:cubicBezTo>
                <a:cubicBezTo>
                  <a:pt x="3805" y="162"/>
                  <a:pt x="3798" y="158"/>
                  <a:pt x="3792" y="158"/>
                </a:cubicBezTo>
                <a:cubicBezTo>
                  <a:pt x="3792" y="158"/>
                  <a:pt x="3792" y="158"/>
                  <a:pt x="3792" y="158"/>
                </a:cubicBezTo>
                <a:moveTo>
                  <a:pt x="729" y="158"/>
                </a:moveTo>
                <a:cubicBezTo>
                  <a:pt x="723" y="158"/>
                  <a:pt x="715" y="162"/>
                  <a:pt x="711" y="168"/>
                </a:cubicBezTo>
                <a:cubicBezTo>
                  <a:pt x="708" y="173"/>
                  <a:pt x="709" y="178"/>
                  <a:pt x="715" y="178"/>
                </a:cubicBezTo>
                <a:cubicBezTo>
                  <a:pt x="722" y="178"/>
                  <a:pt x="730" y="173"/>
                  <a:pt x="733" y="168"/>
                </a:cubicBezTo>
                <a:cubicBezTo>
                  <a:pt x="737" y="162"/>
                  <a:pt x="735" y="158"/>
                  <a:pt x="729" y="158"/>
                </a:cubicBezTo>
                <a:cubicBezTo>
                  <a:pt x="729" y="158"/>
                  <a:pt x="729" y="158"/>
                  <a:pt x="729" y="158"/>
                </a:cubicBezTo>
                <a:moveTo>
                  <a:pt x="605" y="157"/>
                </a:moveTo>
                <a:cubicBezTo>
                  <a:pt x="598" y="157"/>
                  <a:pt x="590" y="162"/>
                  <a:pt x="586" y="168"/>
                </a:cubicBezTo>
                <a:cubicBezTo>
                  <a:pt x="582" y="173"/>
                  <a:pt x="584" y="178"/>
                  <a:pt x="590" y="178"/>
                </a:cubicBezTo>
                <a:cubicBezTo>
                  <a:pt x="596" y="178"/>
                  <a:pt x="604" y="173"/>
                  <a:pt x="608" y="167"/>
                </a:cubicBezTo>
                <a:cubicBezTo>
                  <a:pt x="612" y="162"/>
                  <a:pt x="611" y="157"/>
                  <a:pt x="605" y="157"/>
                </a:cubicBezTo>
                <a:cubicBezTo>
                  <a:pt x="605" y="157"/>
                  <a:pt x="605" y="157"/>
                  <a:pt x="605" y="157"/>
                </a:cubicBezTo>
                <a:moveTo>
                  <a:pt x="3823" y="157"/>
                </a:moveTo>
                <a:cubicBezTo>
                  <a:pt x="3817" y="157"/>
                  <a:pt x="3815" y="162"/>
                  <a:pt x="3817" y="168"/>
                </a:cubicBezTo>
                <a:cubicBezTo>
                  <a:pt x="3820" y="173"/>
                  <a:pt x="3828" y="178"/>
                  <a:pt x="3834" y="178"/>
                </a:cubicBezTo>
                <a:cubicBezTo>
                  <a:pt x="3840" y="178"/>
                  <a:pt x="3842" y="173"/>
                  <a:pt x="3839" y="167"/>
                </a:cubicBezTo>
                <a:cubicBezTo>
                  <a:pt x="3837" y="162"/>
                  <a:pt x="3829" y="157"/>
                  <a:pt x="3823" y="157"/>
                </a:cubicBezTo>
                <a:cubicBezTo>
                  <a:pt x="3823" y="157"/>
                  <a:pt x="3823" y="157"/>
                  <a:pt x="3823" y="157"/>
                </a:cubicBezTo>
                <a:moveTo>
                  <a:pt x="761" y="157"/>
                </a:moveTo>
                <a:cubicBezTo>
                  <a:pt x="755" y="157"/>
                  <a:pt x="747" y="162"/>
                  <a:pt x="743" y="167"/>
                </a:cubicBezTo>
                <a:cubicBezTo>
                  <a:pt x="739" y="173"/>
                  <a:pt x="741" y="178"/>
                  <a:pt x="747" y="178"/>
                </a:cubicBezTo>
                <a:cubicBezTo>
                  <a:pt x="753" y="177"/>
                  <a:pt x="761" y="173"/>
                  <a:pt x="765" y="167"/>
                </a:cubicBezTo>
                <a:cubicBezTo>
                  <a:pt x="769" y="162"/>
                  <a:pt x="767" y="157"/>
                  <a:pt x="761" y="157"/>
                </a:cubicBezTo>
                <a:cubicBezTo>
                  <a:pt x="761" y="157"/>
                  <a:pt x="761" y="157"/>
                  <a:pt x="761" y="157"/>
                </a:cubicBezTo>
                <a:moveTo>
                  <a:pt x="636" y="157"/>
                </a:moveTo>
                <a:cubicBezTo>
                  <a:pt x="630" y="157"/>
                  <a:pt x="621" y="162"/>
                  <a:pt x="617" y="167"/>
                </a:cubicBezTo>
                <a:cubicBezTo>
                  <a:pt x="613" y="173"/>
                  <a:pt x="615" y="177"/>
                  <a:pt x="621" y="177"/>
                </a:cubicBezTo>
                <a:cubicBezTo>
                  <a:pt x="627" y="177"/>
                  <a:pt x="635" y="173"/>
                  <a:pt x="639" y="167"/>
                </a:cubicBezTo>
                <a:cubicBezTo>
                  <a:pt x="643" y="162"/>
                  <a:pt x="642" y="157"/>
                  <a:pt x="636" y="157"/>
                </a:cubicBezTo>
                <a:cubicBezTo>
                  <a:pt x="636" y="157"/>
                  <a:pt x="636" y="157"/>
                  <a:pt x="636" y="157"/>
                </a:cubicBezTo>
                <a:moveTo>
                  <a:pt x="3854" y="157"/>
                </a:moveTo>
                <a:cubicBezTo>
                  <a:pt x="3848" y="157"/>
                  <a:pt x="3846" y="162"/>
                  <a:pt x="3849" y="167"/>
                </a:cubicBezTo>
                <a:cubicBezTo>
                  <a:pt x="3852" y="173"/>
                  <a:pt x="3859" y="178"/>
                  <a:pt x="3865" y="178"/>
                </a:cubicBezTo>
                <a:cubicBezTo>
                  <a:pt x="3871" y="178"/>
                  <a:pt x="3874" y="173"/>
                  <a:pt x="3871" y="167"/>
                </a:cubicBezTo>
                <a:cubicBezTo>
                  <a:pt x="3868" y="162"/>
                  <a:pt x="3861" y="157"/>
                  <a:pt x="3855" y="157"/>
                </a:cubicBezTo>
                <a:cubicBezTo>
                  <a:pt x="3855" y="157"/>
                  <a:pt x="3854" y="157"/>
                  <a:pt x="3854" y="157"/>
                </a:cubicBezTo>
                <a:moveTo>
                  <a:pt x="792" y="157"/>
                </a:moveTo>
                <a:cubicBezTo>
                  <a:pt x="786" y="157"/>
                  <a:pt x="778" y="162"/>
                  <a:pt x="775" y="167"/>
                </a:cubicBezTo>
                <a:cubicBezTo>
                  <a:pt x="771" y="173"/>
                  <a:pt x="773" y="177"/>
                  <a:pt x="779" y="177"/>
                </a:cubicBezTo>
                <a:cubicBezTo>
                  <a:pt x="785" y="177"/>
                  <a:pt x="793" y="173"/>
                  <a:pt x="797" y="167"/>
                </a:cubicBezTo>
                <a:cubicBezTo>
                  <a:pt x="800" y="161"/>
                  <a:pt x="798" y="157"/>
                  <a:pt x="792" y="157"/>
                </a:cubicBezTo>
                <a:cubicBezTo>
                  <a:pt x="792" y="157"/>
                  <a:pt x="792" y="157"/>
                  <a:pt x="792" y="157"/>
                </a:cubicBezTo>
                <a:moveTo>
                  <a:pt x="667" y="157"/>
                </a:moveTo>
                <a:cubicBezTo>
                  <a:pt x="661" y="157"/>
                  <a:pt x="653" y="161"/>
                  <a:pt x="649" y="167"/>
                </a:cubicBezTo>
                <a:cubicBezTo>
                  <a:pt x="645" y="173"/>
                  <a:pt x="646" y="177"/>
                  <a:pt x="653" y="177"/>
                </a:cubicBezTo>
                <a:cubicBezTo>
                  <a:pt x="659" y="177"/>
                  <a:pt x="667" y="172"/>
                  <a:pt x="671" y="167"/>
                </a:cubicBezTo>
                <a:cubicBezTo>
                  <a:pt x="675" y="161"/>
                  <a:pt x="673" y="157"/>
                  <a:pt x="667" y="157"/>
                </a:cubicBezTo>
                <a:cubicBezTo>
                  <a:pt x="667" y="157"/>
                  <a:pt x="667" y="157"/>
                  <a:pt x="667" y="157"/>
                </a:cubicBezTo>
                <a:moveTo>
                  <a:pt x="3886" y="157"/>
                </a:moveTo>
                <a:cubicBezTo>
                  <a:pt x="3879" y="157"/>
                  <a:pt x="3877" y="161"/>
                  <a:pt x="3880" y="167"/>
                </a:cubicBezTo>
                <a:cubicBezTo>
                  <a:pt x="3883" y="173"/>
                  <a:pt x="3890" y="177"/>
                  <a:pt x="3896" y="177"/>
                </a:cubicBezTo>
                <a:cubicBezTo>
                  <a:pt x="3902" y="177"/>
                  <a:pt x="3905" y="173"/>
                  <a:pt x="3902" y="167"/>
                </a:cubicBezTo>
                <a:cubicBezTo>
                  <a:pt x="3899" y="161"/>
                  <a:pt x="3892" y="157"/>
                  <a:pt x="3886" y="157"/>
                </a:cubicBezTo>
                <a:cubicBezTo>
                  <a:pt x="3886" y="157"/>
                  <a:pt x="3886" y="157"/>
                  <a:pt x="3886" y="157"/>
                </a:cubicBezTo>
                <a:moveTo>
                  <a:pt x="823" y="157"/>
                </a:moveTo>
                <a:cubicBezTo>
                  <a:pt x="817" y="157"/>
                  <a:pt x="809" y="161"/>
                  <a:pt x="806" y="167"/>
                </a:cubicBezTo>
                <a:cubicBezTo>
                  <a:pt x="802" y="173"/>
                  <a:pt x="804" y="177"/>
                  <a:pt x="810" y="177"/>
                </a:cubicBezTo>
                <a:cubicBezTo>
                  <a:pt x="816" y="177"/>
                  <a:pt x="824" y="172"/>
                  <a:pt x="828" y="167"/>
                </a:cubicBezTo>
                <a:cubicBezTo>
                  <a:pt x="831" y="161"/>
                  <a:pt x="829" y="157"/>
                  <a:pt x="824" y="157"/>
                </a:cubicBezTo>
                <a:cubicBezTo>
                  <a:pt x="823" y="157"/>
                  <a:pt x="823" y="157"/>
                  <a:pt x="823" y="157"/>
                </a:cubicBezTo>
                <a:moveTo>
                  <a:pt x="3917" y="156"/>
                </a:moveTo>
                <a:cubicBezTo>
                  <a:pt x="3911" y="157"/>
                  <a:pt x="3908" y="161"/>
                  <a:pt x="3911" y="167"/>
                </a:cubicBezTo>
                <a:cubicBezTo>
                  <a:pt x="3914" y="173"/>
                  <a:pt x="3922" y="177"/>
                  <a:pt x="3928" y="177"/>
                </a:cubicBezTo>
                <a:cubicBezTo>
                  <a:pt x="3934" y="177"/>
                  <a:pt x="3936" y="172"/>
                  <a:pt x="3933" y="167"/>
                </a:cubicBezTo>
                <a:cubicBezTo>
                  <a:pt x="3930" y="161"/>
                  <a:pt x="3923" y="156"/>
                  <a:pt x="3917" y="156"/>
                </a:cubicBezTo>
                <a:cubicBezTo>
                  <a:pt x="3917" y="156"/>
                  <a:pt x="3917" y="156"/>
                  <a:pt x="3917" y="156"/>
                </a:cubicBezTo>
                <a:moveTo>
                  <a:pt x="855" y="156"/>
                </a:moveTo>
                <a:cubicBezTo>
                  <a:pt x="849" y="156"/>
                  <a:pt x="841" y="161"/>
                  <a:pt x="837" y="167"/>
                </a:cubicBezTo>
                <a:cubicBezTo>
                  <a:pt x="834" y="172"/>
                  <a:pt x="836" y="177"/>
                  <a:pt x="842" y="177"/>
                </a:cubicBezTo>
                <a:cubicBezTo>
                  <a:pt x="848" y="177"/>
                  <a:pt x="856" y="172"/>
                  <a:pt x="859" y="166"/>
                </a:cubicBezTo>
                <a:cubicBezTo>
                  <a:pt x="863" y="161"/>
                  <a:pt x="861" y="156"/>
                  <a:pt x="855" y="156"/>
                </a:cubicBezTo>
                <a:cubicBezTo>
                  <a:pt x="855" y="156"/>
                  <a:pt x="855" y="156"/>
                  <a:pt x="855" y="156"/>
                </a:cubicBezTo>
                <a:moveTo>
                  <a:pt x="3948" y="156"/>
                </a:moveTo>
                <a:cubicBezTo>
                  <a:pt x="3942" y="156"/>
                  <a:pt x="3940" y="161"/>
                  <a:pt x="3943" y="167"/>
                </a:cubicBezTo>
                <a:cubicBezTo>
                  <a:pt x="3946" y="172"/>
                  <a:pt x="3954" y="177"/>
                  <a:pt x="3960" y="177"/>
                </a:cubicBezTo>
                <a:cubicBezTo>
                  <a:pt x="3966" y="177"/>
                  <a:pt x="3968" y="172"/>
                  <a:pt x="3965" y="166"/>
                </a:cubicBezTo>
                <a:cubicBezTo>
                  <a:pt x="3962" y="161"/>
                  <a:pt x="3955" y="156"/>
                  <a:pt x="3949" y="156"/>
                </a:cubicBezTo>
                <a:cubicBezTo>
                  <a:pt x="3949" y="156"/>
                  <a:pt x="3949" y="156"/>
                  <a:pt x="3948" y="156"/>
                </a:cubicBezTo>
                <a:moveTo>
                  <a:pt x="3980" y="156"/>
                </a:moveTo>
                <a:cubicBezTo>
                  <a:pt x="3974" y="156"/>
                  <a:pt x="3971" y="161"/>
                  <a:pt x="3974" y="166"/>
                </a:cubicBezTo>
                <a:cubicBezTo>
                  <a:pt x="3978" y="172"/>
                  <a:pt x="3985" y="177"/>
                  <a:pt x="3991" y="176"/>
                </a:cubicBezTo>
                <a:cubicBezTo>
                  <a:pt x="3997" y="176"/>
                  <a:pt x="4000" y="172"/>
                  <a:pt x="3996" y="166"/>
                </a:cubicBezTo>
                <a:cubicBezTo>
                  <a:pt x="3993" y="160"/>
                  <a:pt x="3986" y="156"/>
                  <a:pt x="3980" y="156"/>
                </a:cubicBezTo>
                <a:cubicBezTo>
                  <a:pt x="3980" y="156"/>
                  <a:pt x="3980" y="156"/>
                  <a:pt x="3980" y="156"/>
                </a:cubicBezTo>
                <a:moveTo>
                  <a:pt x="4011" y="156"/>
                </a:moveTo>
                <a:cubicBezTo>
                  <a:pt x="4005" y="156"/>
                  <a:pt x="4002" y="160"/>
                  <a:pt x="4006" y="166"/>
                </a:cubicBezTo>
                <a:cubicBezTo>
                  <a:pt x="4009" y="172"/>
                  <a:pt x="4017" y="176"/>
                  <a:pt x="4023" y="176"/>
                </a:cubicBezTo>
                <a:cubicBezTo>
                  <a:pt x="4029" y="176"/>
                  <a:pt x="4031" y="171"/>
                  <a:pt x="4028" y="166"/>
                </a:cubicBezTo>
                <a:cubicBezTo>
                  <a:pt x="4024" y="160"/>
                  <a:pt x="4017" y="156"/>
                  <a:pt x="4011" y="156"/>
                </a:cubicBezTo>
                <a:cubicBezTo>
                  <a:pt x="4011" y="156"/>
                  <a:pt x="4011" y="156"/>
                  <a:pt x="4011" y="156"/>
                </a:cubicBezTo>
                <a:moveTo>
                  <a:pt x="949" y="156"/>
                </a:moveTo>
                <a:cubicBezTo>
                  <a:pt x="943" y="156"/>
                  <a:pt x="935" y="160"/>
                  <a:pt x="932" y="166"/>
                </a:cubicBezTo>
                <a:cubicBezTo>
                  <a:pt x="928" y="171"/>
                  <a:pt x="930" y="176"/>
                  <a:pt x="936" y="176"/>
                </a:cubicBezTo>
                <a:cubicBezTo>
                  <a:pt x="942" y="176"/>
                  <a:pt x="950" y="171"/>
                  <a:pt x="954" y="166"/>
                </a:cubicBezTo>
                <a:cubicBezTo>
                  <a:pt x="957" y="160"/>
                  <a:pt x="955" y="156"/>
                  <a:pt x="949" y="156"/>
                </a:cubicBezTo>
                <a:cubicBezTo>
                  <a:pt x="949" y="156"/>
                  <a:pt x="949" y="156"/>
                  <a:pt x="949" y="156"/>
                </a:cubicBezTo>
                <a:moveTo>
                  <a:pt x="4042" y="155"/>
                </a:moveTo>
                <a:cubicBezTo>
                  <a:pt x="4036" y="155"/>
                  <a:pt x="4034" y="160"/>
                  <a:pt x="4037" y="166"/>
                </a:cubicBezTo>
                <a:cubicBezTo>
                  <a:pt x="4040" y="171"/>
                  <a:pt x="4048" y="176"/>
                  <a:pt x="4054" y="176"/>
                </a:cubicBezTo>
                <a:cubicBezTo>
                  <a:pt x="4060" y="176"/>
                  <a:pt x="4062" y="171"/>
                  <a:pt x="4059" y="166"/>
                </a:cubicBezTo>
                <a:cubicBezTo>
                  <a:pt x="4056" y="160"/>
                  <a:pt x="4048" y="155"/>
                  <a:pt x="4042" y="155"/>
                </a:cubicBezTo>
                <a:cubicBezTo>
                  <a:pt x="4042" y="155"/>
                  <a:pt x="4042" y="155"/>
                  <a:pt x="4042" y="155"/>
                </a:cubicBezTo>
                <a:moveTo>
                  <a:pt x="980" y="155"/>
                </a:moveTo>
                <a:cubicBezTo>
                  <a:pt x="974" y="155"/>
                  <a:pt x="966" y="160"/>
                  <a:pt x="963" y="165"/>
                </a:cubicBezTo>
                <a:cubicBezTo>
                  <a:pt x="959" y="171"/>
                  <a:pt x="962" y="176"/>
                  <a:pt x="968" y="176"/>
                </a:cubicBezTo>
                <a:cubicBezTo>
                  <a:pt x="974" y="175"/>
                  <a:pt x="981" y="171"/>
                  <a:pt x="985" y="165"/>
                </a:cubicBezTo>
                <a:cubicBezTo>
                  <a:pt x="988" y="160"/>
                  <a:pt x="986" y="155"/>
                  <a:pt x="980" y="155"/>
                </a:cubicBezTo>
                <a:cubicBezTo>
                  <a:pt x="980" y="155"/>
                  <a:pt x="980" y="155"/>
                  <a:pt x="980" y="155"/>
                </a:cubicBezTo>
                <a:moveTo>
                  <a:pt x="4072" y="155"/>
                </a:moveTo>
                <a:cubicBezTo>
                  <a:pt x="4066" y="155"/>
                  <a:pt x="4064" y="160"/>
                  <a:pt x="4067" y="165"/>
                </a:cubicBezTo>
                <a:cubicBezTo>
                  <a:pt x="4071" y="171"/>
                  <a:pt x="4078" y="176"/>
                  <a:pt x="4085" y="176"/>
                </a:cubicBezTo>
                <a:cubicBezTo>
                  <a:pt x="4091" y="176"/>
                  <a:pt x="4093" y="171"/>
                  <a:pt x="4089" y="165"/>
                </a:cubicBezTo>
                <a:cubicBezTo>
                  <a:pt x="4086" y="160"/>
                  <a:pt x="4078" y="155"/>
                  <a:pt x="4072" y="155"/>
                </a:cubicBezTo>
                <a:cubicBezTo>
                  <a:pt x="4072" y="155"/>
                  <a:pt x="4072" y="155"/>
                  <a:pt x="4072" y="155"/>
                </a:cubicBezTo>
                <a:moveTo>
                  <a:pt x="4103" y="155"/>
                </a:moveTo>
                <a:cubicBezTo>
                  <a:pt x="4097" y="155"/>
                  <a:pt x="4095" y="159"/>
                  <a:pt x="4099" y="165"/>
                </a:cubicBezTo>
                <a:cubicBezTo>
                  <a:pt x="4102" y="171"/>
                  <a:pt x="4110" y="175"/>
                  <a:pt x="4116" y="175"/>
                </a:cubicBezTo>
                <a:cubicBezTo>
                  <a:pt x="4122" y="175"/>
                  <a:pt x="4124" y="171"/>
                  <a:pt x="4121" y="165"/>
                </a:cubicBezTo>
                <a:cubicBezTo>
                  <a:pt x="4117" y="159"/>
                  <a:pt x="4110" y="155"/>
                  <a:pt x="4104" y="155"/>
                </a:cubicBezTo>
                <a:cubicBezTo>
                  <a:pt x="4103" y="155"/>
                  <a:pt x="4103" y="155"/>
                  <a:pt x="4103" y="155"/>
                </a:cubicBezTo>
                <a:moveTo>
                  <a:pt x="1041" y="155"/>
                </a:moveTo>
                <a:cubicBezTo>
                  <a:pt x="1035" y="155"/>
                  <a:pt x="1027" y="159"/>
                  <a:pt x="1024" y="165"/>
                </a:cubicBezTo>
                <a:cubicBezTo>
                  <a:pt x="1021" y="171"/>
                  <a:pt x="1023" y="175"/>
                  <a:pt x="1029" y="175"/>
                </a:cubicBezTo>
                <a:cubicBezTo>
                  <a:pt x="1035" y="175"/>
                  <a:pt x="1043" y="170"/>
                  <a:pt x="1046" y="165"/>
                </a:cubicBezTo>
                <a:cubicBezTo>
                  <a:pt x="1049" y="159"/>
                  <a:pt x="1047" y="155"/>
                  <a:pt x="1041" y="155"/>
                </a:cubicBezTo>
                <a:cubicBezTo>
                  <a:pt x="1041" y="155"/>
                  <a:pt x="1041" y="155"/>
                  <a:pt x="1041" y="155"/>
                </a:cubicBezTo>
                <a:moveTo>
                  <a:pt x="1352" y="154"/>
                </a:moveTo>
                <a:cubicBezTo>
                  <a:pt x="1346" y="154"/>
                  <a:pt x="1339" y="159"/>
                  <a:pt x="1336" y="165"/>
                </a:cubicBezTo>
                <a:cubicBezTo>
                  <a:pt x="1334" y="170"/>
                  <a:pt x="1337" y="175"/>
                  <a:pt x="1343" y="175"/>
                </a:cubicBezTo>
                <a:cubicBezTo>
                  <a:pt x="1349" y="175"/>
                  <a:pt x="1356" y="170"/>
                  <a:pt x="1358" y="164"/>
                </a:cubicBezTo>
                <a:cubicBezTo>
                  <a:pt x="1361" y="159"/>
                  <a:pt x="1358" y="154"/>
                  <a:pt x="1352" y="154"/>
                </a:cubicBezTo>
                <a:cubicBezTo>
                  <a:pt x="1352" y="154"/>
                  <a:pt x="1352" y="154"/>
                  <a:pt x="1352" y="154"/>
                </a:cubicBezTo>
                <a:moveTo>
                  <a:pt x="1383" y="154"/>
                </a:moveTo>
                <a:cubicBezTo>
                  <a:pt x="1377" y="154"/>
                  <a:pt x="1370" y="159"/>
                  <a:pt x="1367" y="164"/>
                </a:cubicBezTo>
                <a:cubicBezTo>
                  <a:pt x="1365" y="170"/>
                  <a:pt x="1368" y="174"/>
                  <a:pt x="1374" y="174"/>
                </a:cubicBezTo>
                <a:cubicBezTo>
                  <a:pt x="1380" y="174"/>
                  <a:pt x="1387" y="170"/>
                  <a:pt x="1389" y="164"/>
                </a:cubicBezTo>
                <a:cubicBezTo>
                  <a:pt x="1392" y="159"/>
                  <a:pt x="1389" y="154"/>
                  <a:pt x="1383" y="154"/>
                </a:cubicBezTo>
                <a:cubicBezTo>
                  <a:pt x="1383" y="154"/>
                  <a:pt x="1383" y="154"/>
                  <a:pt x="1383" y="154"/>
                </a:cubicBezTo>
                <a:moveTo>
                  <a:pt x="1415" y="154"/>
                </a:moveTo>
                <a:cubicBezTo>
                  <a:pt x="1409" y="154"/>
                  <a:pt x="1402" y="158"/>
                  <a:pt x="1400" y="164"/>
                </a:cubicBezTo>
                <a:cubicBezTo>
                  <a:pt x="1397" y="170"/>
                  <a:pt x="1400" y="174"/>
                  <a:pt x="1406" y="174"/>
                </a:cubicBezTo>
                <a:cubicBezTo>
                  <a:pt x="1412" y="174"/>
                  <a:pt x="1419" y="169"/>
                  <a:pt x="1422" y="164"/>
                </a:cubicBezTo>
                <a:cubicBezTo>
                  <a:pt x="1424" y="158"/>
                  <a:pt x="1421" y="154"/>
                  <a:pt x="1415" y="154"/>
                </a:cubicBezTo>
                <a:cubicBezTo>
                  <a:pt x="1415" y="154"/>
                  <a:pt x="1415" y="154"/>
                  <a:pt x="1415" y="154"/>
                </a:cubicBezTo>
                <a:moveTo>
                  <a:pt x="1165" y="153"/>
                </a:moveTo>
                <a:cubicBezTo>
                  <a:pt x="1159" y="154"/>
                  <a:pt x="1152" y="158"/>
                  <a:pt x="1149" y="164"/>
                </a:cubicBezTo>
                <a:cubicBezTo>
                  <a:pt x="1146" y="169"/>
                  <a:pt x="1149" y="174"/>
                  <a:pt x="1155" y="174"/>
                </a:cubicBezTo>
                <a:cubicBezTo>
                  <a:pt x="1161" y="174"/>
                  <a:pt x="1168" y="169"/>
                  <a:pt x="1171" y="164"/>
                </a:cubicBezTo>
                <a:cubicBezTo>
                  <a:pt x="1174" y="158"/>
                  <a:pt x="1172" y="153"/>
                  <a:pt x="1166" y="153"/>
                </a:cubicBezTo>
                <a:cubicBezTo>
                  <a:pt x="1166" y="153"/>
                  <a:pt x="1166" y="153"/>
                  <a:pt x="1165" y="153"/>
                </a:cubicBezTo>
                <a:moveTo>
                  <a:pt x="1601" y="148"/>
                </a:moveTo>
                <a:cubicBezTo>
                  <a:pt x="1595" y="148"/>
                  <a:pt x="1589" y="153"/>
                  <a:pt x="1587" y="159"/>
                </a:cubicBezTo>
                <a:cubicBezTo>
                  <a:pt x="1585" y="164"/>
                  <a:pt x="1588" y="169"/>
                  <a:pt x="1594" y="169"/>
                </a:cubicBezTo>
                <a:cubicBezTo>
                  <a:pt x="1600" y="169"/>
                  <a:pt x="1607" y="164"/>
                  <a:pt x="1609" y="158"/>
                </a:cubicBezTo>
                <a:cubicBezTo>
                  <a:pt x="1610" y="153"/>
                  <a:pt x="1607" y="148"/>
                  <a:pt x="1601" y="148"/>
                </a:cubicBezTo>
                <a:cubicBezTo>
                  <a:pt x="1601" y="148"/>
                  <a:pt x="1601" y="148"/>
                  <a:pt x="1601" y="148"/>
                </a:cubicBezTo>
                <a:moveTo>
                  <a:pt x="1633" y="148"/>
                </a:moveTo>
                <a:cubicBezTo>
                  <a:pt x="1627" y="148"/>
                  <a:pt x="1620" y="153"/>
                  <a:pt x="1618" y="158"/>
                </a:cubicBezTo>
                <a:cubicBezTo>
                  <a:pt x="1616" y="164"/>
                  <a:pt x="1620" y="168"/>
                  <a:pt x="1626" y="168"/>
                </a:cubicBezTo>
                <a:cubicBezTo>
                  <a:pt x="1632" y="168"/>
                  <a:pt x="1638" y="164"/>
                  <a:pt x="1640" y="158"/>
                </a:cubicBezTo>
                <a:cubicBezTo>
                  <a:pt x="1642" y="153"/>
                  <a:pt x="1639" y="148"/>
                  <a:pt x="1633" y="148"/>
                </a:cubicBezTo>
                <a:cubicBezTo>
                  <a:pt x="1633" y="148"/>
                  <a:pt x="1633" y="148"/>
                  <a:pt x="1633" y="148"/>
                </a:cubicBezTo>
                <a:moveTo>
                  <a:pt x="1664" y="148"/>
                </a:moveTo>
                <a:cubicBezTo>
                  <a:pt x="1658" y="148"/>
                  <a:pt x="1651" y="152"/>
                  <a:pt x="1649" y="158"/>
                </a:cubicBezTo>
                <a:cubicBezTo>
                  <a:pt x="1647" y="164"/>
                  <a:pt x="1651" y="168"/>
                  <a:pt x="1657" y="168"/>
                </a:cubicBezTo>
                <a:cubicBezTo>
                  <a:pt x="1663" y="168"/>
                  <a:pt x="1669" y="163"/>
                  <a:pt x="1671" y="158"/>
                </a:cubicBezTo>
                <a:cubicBezTo>
                  <a:pt x="1673" y="152"/>
                  <a:pt x="1670" y="148"/>
                  <a:pt x="1664" y="148"/>
                </a:cubicBezTo>
                <a:cubicBezTo>
                  <a:pt x="1664" y="148"/>
                  <a:pt x="1664" y="148"/>
                  <a:pt x="1664" y="148"/>
                </a:cubicBezTo>
                <a:moveTo>
                  <a:pt x="1695" y="147"/>
                </a:moveTo>
                <a:cubicBezTo>
                  <a:pt x="1689" y="147"/>
                  <a:pt x="1682" y="152"/>
                  <a:pt x="1681" y="158"/>
                </a:cubicBezTo>
                <a:cubicBezTo>
                  <a:pt x="1679" y="163"/>
                  <a:pt x="1682" y="168"/>
                  <a:pt x="1688" y="168"/>
                </a:cubicBezTo>
                <a:cubicBezTo>
                  <a:pt x="1694" y="168"/>
                  <a:pt x="1701" y="163"/>
                  <a:pt x="1702" y="158"/>
                </a:cubicBezTo>
                <a:cubicBezTo>
                  <a:pt x="1704" y="152"/>
                  <a:pt x="1701" y="147"/>
                  <a:pt x="1695" y="147"/>
                </a:cubicBezTo>
                <a:cubicBezTo>
                  <a:pt x="1695" y="147"/>
                  <a:pt x="1695" y="147"/>
                  <a:pt x="1695" y="147"/>
                </a:cubicBezTo>
                <a:moveTo>
                  <a:pt x="1726" y="147"/>
                </a:moveTo>
                <a:cubicBezTo>
                  <a:pt x="1720" y="147"/>
                  <a:pt x="1713" y="152"/>
                  <a:pt x="1712" y="157"/>
                </a:cubicBezTo>
                <a:cubicBezTo>
                  <a:pt x="1710" y="163"/>
                  <a:pt x="1713" y="168"/>
                  <a:pt x="1720" y="168"/>
                </a:cubicBezTo>
                <a:cubicBezTo>
                  <a:pt x="1726" y="167"/>
                  <a:pt x="1732" y="163"/>
                  <a:pt x="1734" y="157"/>
                </a:cubicBezTo>
                <a:cubicBezTo>
                  <a:pt x="1735" y="152"/>
                  <a:pt x="1732" y="147"/>
                  <a:pt x="1726" y="147"/>
                </a:cubicBezTo>
                <a:cubicBezTo>
                  <a:pt x="1726" y="147"/>
                  <a:pt x="1726" y="147"/>
                  <a:pt x="1726" y="147"/>
                </a:cubicBezTo>
                <a:moveTo>
                  <a:pt x="1757" y="147"/>
                </a:moveTo>
                <a:cubicBezTo>
                  <a:pt x="1751" y="147"/>
                  <a:pt x="1745" y="152"/>
                  <a:pt x="1743" y="157"/>
                </a:cubicBezTo>
                <a:cubicBezTo>
                  <a:pt x="1741" y="163"/>
                  <a:pt x="1745" y="167"/>
                  <a:pt x="1751" y="167"/>
                </a:cubicBezTo>
                <a:cubicBezTo>
                  <a:pt x="1757" y="167"/>
                  <a:pt x="1763" y="163"/>
                  <a:pt x="1765" y="157"/>
                </a:cubicBezTo>
                <a:cubicBezTo>
                  <a:pt x="1767" y="151"/>
                  <a:pt x="1763" y="147"/>
                  <a:pt x="1757" y="147"/>
                </a:cubicBezTo>
                <a:cubicBezTo>
                  <a:pt x="1757" y="147"/>
                  <a:pt x="1757" y="147"/>
                  <a:pt x="1757" y="147"/>
                </a:cubicBezTo>
                <a:moveTo>
                  <a:pt x="1789" y="147"/>
                </a:moveTo>
                <a:cubicBezTo>
                  <a:pt x="1783" y="147"/>
                  <a:pt x="1777" y="151"/>
                  <a:pt x="1775" y="157"/>
                </a:cubicBezTo>
                <a:cubicBezTo>
                  <a:pt x="1774" y="162"/>
                  <a:pt x="1777" y="167"/>
                  <a:pt x="1783" y="167"/>
                </a:cubicBezTo>
                <a:cubicBezTo>
                  <a:pt x="1789" y="167"/>
                  <a:pt x="1796" y="162"/>
                  <a:pt x="1797" y="157"/>
                </a:cubicBezTo>
                <a:cubicBezTo>
                  <a:pt x="1799" y="151"/>
                  <a:pt x="1795" y="147"/>
                  <a:pt x="1789" y="147"/>
                </a:cubicBezTo>
                <a:cubicBezTo>
                  <a:pt x="1789" y="147"/>
                  <a:pt x="1789" y="147"/>
                  <a:pt x="1789" y="147"/>
                </a:cubicBezTo>
                <a:moveTo>
                  <a:pt x="1820" y="146"/>
                </a:moveTo>
                <a:cubicBezTo>
                  <a:pt x="1814" y="146"/>
                  <a:pt x="1808" y="151"/>
                  <a:pt x="1806" y="157"/>
                </a:cubicBezTo>
                <a:cubicBezTo>
                  <a:pt x="1805" y="162"/>
                  <a:pt x="1809" y="167"/>
                  <a:pt x="1815" y="167"/>
                </a:cubicBezTo>
                <a:cubicBezTo>
                  <a:pt x="1821" y="167"/>
                  <a:pt x="1827" y="162"/>
                  <a:pt x="1828" y="156"/>
                </a:cubicBezTo>
                <a:cubicBezTo>
                  <a:pt x="1830" y="151"/>
                  <a:pt x="1826" y="146"/>
                  <a:pt x="1820" y="146"/>
                </a:cubicBezTo>
                <a:cubicBezTo>
                  <a:pt x="1820" y="146"/>
                  <a:pt x="1820" y="146"/>
                  <a:pt x="1820" y="146"/>
                </a:cubicBezTo>
                <a:moveTo>
                  <a:pt x="1851" y="146"/>
                </a:moveTo>
                <a:cubicBezTo>
                  <a:pt x="1845" y="146"/>
                  <a:pt x="1839" y="151"/>
                  <a:pt x="1838" y="156"/>
                </a:cubicBezTo>
                <a:cubicBezTo>
                  <a:pt x="1836" y="162"/>
                  <a:pt x="1840" y="166"/>
                  <a:pt x="1846" y="166"/>
                </a:cubicBezTo>
                <a:cubicBezTo>
                  <a:pt x="1852" y="166"/>
                  <a:pt x="1858" y="162"/>
                  <a:pt x="1860" y="156"/>
                </a:cubicBezTo>
                <a:cubicBezTo>
                  <a:pt x="1861" y="150"/>
                  <a:pt x="1857" y="146"/>
                  <a:pt x="1851" y="146"/>
                </a:cubicBezTo>
                <a:cubicBezTo>
                  <a:pt x="1851" y="146"/>
                  <a:pt x="1851" y="146"/>
                  <a:pt x="1851" y="146"/>
                </a:cubicBezTo>
                <a:moveTo>
                  <a:pt x="2319" y="143"/>
                </a:moveTo>
                <a:cubicBezTo>
                  <a:pt x="2313" y="143"/>
                  <a:pt x="2308" y="147"/>
                  <a:pt x="2307" y="153"/>
                </a:cubicBezTo>
                <a:cubicBezTo>
                  <a:pt x="2307" y="159"/>
                  <a:pt x="2312" y="163"/>
                  <a:pt x="2318" y="163"/>
                </a:cubicBezTo>
                <a:cubicBezTo>
                  <a:pt x="2324" y="163"/>
                  <a:pt x="2329" y="158"/>
                  <a:pt x="2329" y="153"/>
                </a:cubicBezTo>
                <a:cubicBezTo>
                  <a:pt x="2330" y="147"/>
                  <a:pt x="2325" y="143"/>
                  <a:pt x="2319" y="143"/>
                </a:cubicBezTo>
                <a:cubicBezTo>
                  <a:pt x="2319" y="143"/>
                  <a:pt x="2319" y="143"/>
                  <a:pt x="2319" y="143"/>
                </a:cubicBezTo>
                <a:moveTo>
                  <a:pt x="2350" y="142"/>
                </a:moveTo>
                <a:cubicBezTo>
                  <a:pt x="2344" y="142"/>
                  <a:pt x="2339" y="147"/>
                  <a:pt x="2339" y="153"/>
                </a:cubicBezTo>
                <a:cubicBezTo>
                  <a:pt x="2338" y="158"/>
                  <a:pt x="2343" y="163"/>
                  <a:pt x="2349" y="163"/>
                </a:cubicBezTo>
                <a:cubicBezTo>
                  <a:pt x="2355" y="163"/>
                  <a:pt x="2360" y="158"/>
                  <a:pt x="2360" y="153"/>
                </a:cubicBezTo>
                <a:cubicBezTo>
                  <a:pt x="2361" y="147"/>
                  <a:pt x="2356" y="142"/>
                  <a:pt x="2350" y="142"/>
                </a:cubicBezTo>
                <a:cubicBezTo>
                  <a:pt x="2350" y="142"/>
                  <a:pt x="2350" y="142"/>
                  <a:pt x="2350" y="142"/>
                </a:cubicBezTo>
                <a:moveTo>
                  <a:pt x="2382" y="142"/>
                </a:moveTo>
                <a:cubicBezTo>
                  <a:pt x="2376" y="142"/>
                  <a:pt x="2371" y="147"/>
                  <a:pt x="2370" y="152"/>
                </a:cubicBezTo>
                <a:cubicBezTo>
                  <a:pt x="2370" y="158"/>
                  <a:pt x="2375" y="163"/>
                  <a:pt x="2381" y="163"/>
                </a:cubicBezTo>
                <a:cubicBezTo>
                  <a:pt x="2387" y="163"/>
                  <a:pt x="2392" y="158"/>
                  <a:pt x="2392" y="152"/>
                </a:cubicBezTo>
                <a:cubicBezTo>
                  <a:pt x="2392" y="147"/>
                  <a:pt x="2388" y="142"/>
                  <a:pt x="2382" y="142"/>
                </a:cubicBezTo>
                <a:cubicBezTo>
                  <a:pt x="2382" y="142"/>
                  <a:pt x="2382" y="142"/>
                  <a:pt x="2382" y="142"/>
                </a:cubicBezTo>
                <a:moveTo>
                  <a:pt x="2413" y="142"/>
                </a:moveTo>
                <a:cubicBezTo>
                  <a:pt x="2407" y="142"/>
                  <a:pt x="2402" y="147"/>
                  <a:pt x="2401" y="152"/>
                </a:cubicBezTo>
                <a:cubicBezTo>
                  <a:pt x="2401" y="158"/>
                  <a:pt x="2406" y="162"/>
                  <a:pt x="2412" y="162"/>
                </a:cubicBezTo>
                <a:cubicBezTo>
                  <a:pt x="2418" y="162"/>
                  <a:pt x="2423" y="158"/>
                  <a:pt x="2423" y="152"/>
                </a:cubicBezTo>
                <a:cubicBezTo>
                  <a:pt x="2423" y="146"/>
                  <a:pt x="2419" y="142"/>
                  <a:pt x="2413" y="142"/>
                </a:cubicBezTo>
                <a:cubicBezTo>
                  <a:pt x="2413" y="142"/>
                  <a:pt x="2413" y="142"/>
                  <a:pt x="2413" y="142"/>
                </a:cubicBezTo>
                <a:moveTo>
                  <a:pt x="2444" y="142"/>
                </a:moveTo>
                <a:cubicBezTo>
                  <a:pt x="2438" y="142"/>
                  <a:pt x="2433" y="146"/>
                  <a:pt x="2432" y="152"/>
                </a:cubicBezTo>
                <a:cubicBezTo>
                  <a:pt x="2432" y="158"/>
                  <a:pt x="2437" y="162"/>
                  <a:pt x="2443" y="162"/>
                </a:cubicBezTo>
                <a:cubicBezTo>
                  <a:pt x="2449" y="162"/>
                  <a:pt x="2454" y="157"/>
                  <a:pt x="2454" y="152"/>
                </a:cubicBezTo>
                <a:cubicBezTo>
                  <a:pt x="2454" y="146"/>
                  <a:pt x="2450" y="142"/>
                  <a:pt x="2444" y="142"/>
                </a:cubicBezTo>
                <a:cubicBezTo>
                  <a:pt x="2444" y="142"/>
                  <a:pt x="2444" y="142"/>
                  <a:pt x="2444" y="142"/>
                </a:cubicBezTo>
                <a:moveTo>
                  <a:pt x="2474" y="141"/>
                </a:moveTo>
                <a:cubicBezTo>
                  <a:pt x="2468" y="141"/>
                  <a:pt x="2463" y="146"/>
                  <a:pt x="2463" y="152"/>
                </a:cubicBezTo>
                <a:cubicBezTo>
                  <a:pt x="2463" y="157"/>
                  <a:pt x="2468" y="162"/>
                  <a:pt x="2474" y="162"/>
                </a:cubicBezTo>
                <a:cubicBezTo>
                  <a:pt x="2480" y="162"/>
                  <a:pt x="2485" y="157"/>
                  <a:pt x="2485" y="151"/>
                </a:cubicBezTo>
                <a:cubicBezTo>
                  <a:pt x="2485" y="146"/>
                  <a:pt x="2480" y="141"/>
                  <a:pt x="2474" y="141"/>
                </a:cubicBezTo>
                <a:cubicBezTo>
                  <a:pt x="2474" y="141"/>
                  <a:pt x="2474" y="141"/>
                  <a:pt x="2474" y="141"/>
                </a:cubicBezTo>
                <a:moveTo>
                  <a:pt x="2505" y="141"/>
                </a:moveTo>
                <a:cubicBezTo>
                  <a:pt x="2499" y="141"/>
                  <a:pt x="2494" y="146"/>
                  <a:pt x="2494" y="151"/>
                </a:cubicBezTo>
                <a:cubicBezTo>
                  <a:pt x="2494" y="157"/>
                  <a:pt x="2499" y="161"/>
                  <a:pt x="2505" y="161"/>
                </a:cubicBezTo>
                <a:cubicBezTo>
                  <a:pt x="2511" y="161"/>
                  <a:pt x="2516" y="157"/>
                  <a:pt x="2516" y="151"/>
                </a:cubicBezTo>
                <a:cubicBezTo>
                  <a:pt x="2516" y="145"/>
                  <a:pt x="2511" y="141"/>
                  <a:pt x="2505" y="141"/>
                </a:cubicBezTo>
                <a:cubicBezTo>
                  <a:pt x="2505" y="141"/>
                  <a:pt x="2505" y="141"/>
                  <a:pt x="2505" y="141"/>
                </a:cubicBezTo>
                <a:moveTo>
                  <a:pt x="2755" y="138"/>
                </a:moveTo>
                <a:cubicBezTo>
                  <a:pt x="2749" y="138"/>
                  <a:pt x="2744" y="143"/>
                  <a:pt x="2745" y="149"/>
                </a:cubicBezTo>
                <a:cubicBezTo>
                  <a:pt x="2745" y="154"/>
                  <a:pt x="2750" y="159"/>
                  <a:pt x="2757" y="159"/>
                </a:cubicBezTo>
                <a:cubicBezTo>
                  <a:pt x="2763" y="159"/>
                  <a:pt x="2767" y="154"/>
                  <a:pt x="2766" y="148"/>
                </a:cubicBezTo>
                <a:cubicBezTo>
                  <a:pt x="2766" y="143"/>
                  <a:pt x="2761" y="138"/>
                  <a:pt x="2755" y="138"/>
                </a:cubicBezTo>
                <a:cubicBezTo>
                  <a:pt x="2755" y="138"/>
                  <a:pt x="2755" y="138"/>
                  <a:pt x="2755" y="138"/>
                </a:cubicBezTo>
                <a:moveTo>
                  <a:pt x="2785" y="138"/>
                </a:moveTo>
                <a:cubicBezTo>
                  <a:pt x="2779" y="138"/>
                  <a:pt x="2775" y="143"/>
                  <a:pt x="2776" y="148"/>
                </a:cubicBezTo>
                <a:cubicBezTo>
                  <a:pt x="2776" y="154"/>
                  <a:pt x="2782" y="158"/>
                  <a:pt x="2788" y="158"/>
                </a:cubicBezTo>
                <a:cubicBezTo>
                  <a:pt x="2794" y="158"/>
                  <a:pt x="2798" y="154"/>
                  <a:pt x="2797" y="148"/>
                </a:cubicBezTo>
                <a:cubicBezTo>
                  <a:pt x="2797" y="142"/>
                  <a:pt x="2791" y="138"/>
                  <a:pt x="2786" y="138"/>
                </a:cubicBezTo>
                <a:cubicBezTo>
                  <a:pt x="2786" y="138"/>
                  <a:pt x="2785" y="138"/>
                  <a:pt x="2785" y="138"/>
                </a:cubicBezTo>
                <a:moveTo>
                  <a:pt x="2847" y="137"/>
                </a:moveTo>
                <a:cubicBezTo>
                  <a:pt x="2841" y="137"/>
                  <a:pt x="2837" y="142"/>
                  <a:pt x="2838" y="148"/>
                </a:cubicBezTo>
                <a:cubicBezTo>
                  <a:pt x="2838" y="153"/>
                  <a:pt x="2844" y="158"/>
                  <a:pt x="2850" y="158"/>
                </a:cubicBezTo>
                <a:cubicBezTo>
                  <a:pt x="2856" y="158"/>
                  <a:pt x="2860" y="153"/>
                  <a:pt x="2860" y="147"/>
                </a:cubicBezTo>
                <a:cubicBezTo>
                  <a:pt x="2859" y="142"/>
                  <a:pt x="2853" y="137"/>
                  <a:pt x="2847" y="137"/>
                </a:cubicBezTo>
                <a:cubicBezTo>
                  <a:pt x="2847" y="137"/>
                  <a:pt x="2847" y="137"/>
                  <a:pt x="2847" y="137"/>
                </a:cubicBezTo>
                <a:moveTo>
                  <a:pt x="2878" y="137"/>
                </a:moveTo>
                <a:cubicBezTo>
                  <a:pt x="2872" y="137"/>
                  <a:pt x="2868" y="142"/>
                  <a:pt x="2869" y="147"/>
                </a:cubicBezTo>
                <a:cubicBezTo>
                  <a:pt x="2870" y="153"/>
                  <a:pt x="2875" y="158"/>
                  <a:pt x="2881" y="157"/>
                </a:cubicBezTo>
                <a:cubicBezTo>
                  <a:pt x="2887" y="157"/>
                  <a:pt x="2892" y="153"/>
                  <a:pt x="2891" y="147"/>
                </a:cubicBezTo>
                <a:cubicBezTo>
                  <a:pt x="2890" y="142"/>
                  <a:pt x="2884" y="137"/>
                  <a:pt x="2879" y="137"/>
                </a:cubicBezTo>
                <a:cubicBezTo>
                  <a:pt x="2878" y="137"/>
                  <a:pt x="2878" y="137"/>
                  <a:pt x="2878" y="137"/>
                </a:cubicBezTo>
                <a:moveTo>
                  <a:pt x="2909" y="136"/>
                </a:moveTo>
                <a:cubicBezTo>
                  <a:pt x="2903" y="136"/>
                  <a:pt x="2899" y="141"/>
                  <a:pt x="2900" y="147"/>
                </a:cubicBezTo>
                <a:cubicBezTo>
                  <a:pt x="2900" y="152"/>
                  <a:pt x="2906" y="157"/>
                  <a:pt x="2912" y="157"/>
                </a:cubicBezTo>
                <a:cubicBezTo>
                  <a:pt x="2918" y="157"/>
                  <a:pt x="2922" y="152"/>
                  <a:pt x="2921" y="147"/>
                </a:cubicBezTo>
                <a:cubicBezTo>
                  <a:pt x="2920" y="141"/>
                  <a:pt x="2915" y="136"/>
                  <a:pt x="2909" y="136"/>
                </a:cubicBezTo>
                <a:cubicBezTo>
                  <a:pt x="2909" y="136"/>
                  <a:pt x="2909" y="136"/>
                  <a:pt x="2909" y="136"/>
                </a:cubicBezTo>
                <a:moveTo>
                  <a:pt x="2940" y="136"/>
                </a:moveTo>
                <a:cubicBezTo>
                  <a:pt x="2934" y="136"/>
                  <a:pt x="2930" y="141"/>
                  <a:pt x="2931" y="146"/>
                </a:cubicBezTo>
                <a:cubicBezTo>
                  <a:pt x="2931" y="152"/>
                  <a:pt x="2937" y="157"/>
                  <a:pt x="2943" y="157"/>
                </a:cubicBezTo>
                <a:cubicBezTo>
                  <a:pt x="2949" y="157"/>
                  <a:pt x="2953" y="152"/>
                  <a:pt x="2952" y="146"/>
                </a:cubicBezTo>
                <a:cubicBezTo>
                  <a:pt x="2951" y="141"/>
                  <a:pt x="2946" y="136"/>
                  <a:pt x="2940" y="136"/>
                </a:cubicBezTo>
                <a:cubicBezTo>
                  <a:pt x="2940" y="136"/>
                  <a:pt x="2940" y="136"/>
                  <a:pt x="2940" y="136"/>
                </a:cubicBezTo>
                <a:moveTo>
                  <a:pt x="2971" y="136"/>
                </a:moveTo>
                <a:cubicBezTo>
                  <a:pt x="2965" y="136"/>
                  <a:pt x="2961" y="141"/>
                  <a:pt x="2961" y="146"/>
                </a:cubicBezTo>
                <a:cubicBezTo>
                  <a:pt x="2962" y="152"/>
                  <a:pt x="2968" y="156"/>
                  <a:pt x="2974" y="156"/>
                </a:cubicBezTo>
                <a:cubicBezTo>
                  <a:pt x="2980" y="156"/>
                  <a:pt x="2984" y="152"/>
                  <a:pt x="2983" y="146"/>
                </a:cubicBezTo>
                <a:cubicBezTo>
                  <a:pt x="2982" y="140"/>
                  <a:pt x="2977" y="136"/>
                  <a:pt x="2971" y="136"/>
                </a:cubicBezTo>
                <a:cubicBezTo>
                  <a:pt x="2971" y="136"/>
                  <a:pt x="2971" y="136"/>
                  <a:pt x="2971" y="136"/>
                </a:cubicBezTo>
                <a:moveTo>
                  <a:pt x="3001" y="136"/>
                </a:moveTo>
                <a:cubicBezTo>
                  <a:pt x="2995" y="136"/>
                  <a:pt x="2991" y="140"/>
                  <a:pt x="2992" y="146"/>
                </a:cubicBezTo>
                <a:cubicBezTo>
                  <a:pt x="2993" y="152"/>
                  <a:pt x="2999" y="156"/>
                  <a:pt x="3005" y="156"/>
                </a:cubicBezTo>
                <a:cubicBezTo>
                  <a:pt x="3011" y="156"/>
                  <a:pt x="3015" y="151"/>
                  <a:pt x="3014" y="146"/>
                </a:cubicBezTo>
                <a:cubicBezTo>
                  <a:pt x="3013" y="140"/>
                  <a:pt x="3007" y="136"/>
                  <a:pt x="3001" y="136"/>
                </a:cubicBezTo>
                <a:cubicBezTo>
                  <a:pt x="3001" y="136"/>
                  <a:pt x="3001" y="136"/>
                  <a:pt x="3001" y="136"/>
                </a:cubicBezTo>
                <a:moveTo>
                  <a:pt x="3032" y="135"/>
                </a:moveTo>
                <a:cubicBezTo>
                  <a:pt x="3026" y="135"/>
                  <a:pt x="3022" y="140"/>
                  <a:pt x="3023" y="146"/>
                </a:cubicBezTo>
                <a:cubicBezTo>
                  <a:pt x="3024" y="151"/>
                  <a:pt x="3030" y="156"/>
                  <a:pt x="3036" y="156"/>
                </a:cubicBezTo>
                <a:cubicBezTo>
                  <a:pt x="3042" y="156"/>
                  <a:pt x="3046" y="151"/>
                  <a:pt x="3045" y="145"/>
                </a:cubicBezTo>
                <a:cubicBezTo>
                  <a:pt x="3044" y="140"/>
                  <a:pt x="3038" y="135"/>
                  <a:pt x="3032" y="135"/>
                </a:cubicBezTo>
                <a:cubicBezTo>
                  <a:pt x="3032" y="135"/>
                  <a:pt x="3032" y="135"/>
                  <a:pt x="3032" y="135"/>
                </a:cubicBezTo>
                <a:moveTo>
                  <a:pt x="3063" y="135"/>
                </a:moveTo>
                <a:cubicBezTo>
                  <a:pt x="3057" y="135"/>
                  <a:pt x="3053" y="140"/>
                  <a:pt x="3054" y="145"/>
                </a:cubicBezTo>
                <a:cubicBezTo>
                  <a:pt x="3056" y="151"/>
                  <a:pt x="3061" y="156"/>
                  <a:pt x="3067" y="155"/>
                </a:cubicBezTo>
                <a:cubicBezTo>
                  <a:pt x="3074" y="155"/>
                  <a:pt x="3077" y="151"/>
                  <a:pt x="3076" y="145"/>
                </a:cubicBezTo>
                <a:cubicBezTo>
                  <a:pt x="3075" y="139"/>
                  <a:pt x="3069" y="135"/>
                  <a:pt x="3063" y="135"/>
                </a:cubicBezTo>
                <a:cubicBezTo>
                  <a:pt x="3063" y="135"/>
                  <a:pt x="3063" y="135"/>
                  <a:pt x="3063" y="135"/>
                </a:cubicBezTo>
                <a:moveTo>
                  <a:pt x="3094" y="135"/>
                </a:moveTo>
                <a:cubicBezTo>
                  <a:pt x="3088" y="135"/>
                  <a:pt x="3085" y="139"/>
                  <a:pt x="3086" y="145"/>
                </a:cubicBezTo>
                <a:cubicBezTo>
                  <a:pt x="3087" y="151"/>
                  <a:pt x="3093" y="155"/>
                  <a:pt x="3099" y="155"/>
                </a:cubicBezTo>
                <a:cubicBezTo>
                  <a:pt x="3105" y="155"/>
                  <a:pt x="3109" y="150"/>
                  <a:pt x="3108" y="145"/>
                </a:cubicBezTo>
                <a:cubicBezTo>
                  <a:pt x="3106" y="139"/>
                  <a:pt x="3100" y="135"/>
                  <a:pt x="3095" y="135"/>
                </a:cubicBezTo>
                <a:cubicBezTo>
                  <a:pt x="3094" y="135"/>
                  <a:pt x="3094" y="135"/>
                  <a:pt x="3094" y="135"/>
                </a:cubicBezTo>
                <a:moveTo>
                  <a:pt x="3125" y="134"/>
                </a:moveTo>
                <a:cubicBezTo>
                  <a:pt x="3119" y="134"/>
                  <a:pt x="3115" y="139"/>
                  <a:pt x="3117" y="145"/>
                </a:cubicBezTo>
                <a:cubicBezTo>
                  <a:pt x="3118" y="150"/>
                  <a:pt x="3124" y="155"/>
                  <a:pt x="3130" y="155"/>
                </a:cubicBezTo>
                <a:cubicBezTo>
                  <a:pt x="3136" y="155"/>
                  <a:pt x="3140" y="150"/>
                  <a:pt x="3139" y="145"/>
                </a:cubicBezTo>
                <a:cubicBezTo>
                  <a:pt x="3137" y="139"/>
                  <a:pt x="3131" y="134"/>
                  <a:pt x="3125" y="134"/>
                </a:cubicBezTo>
                <a:cubicBezTo>
                  <a:pt x="3125" y="134"/>
                  <a:pt x="3125" y="134"/>
                  <a:pt x="3125" y="134"/>
                </a:cubicBezTo>
                <a:moveTo>
                  <a:pt x="3156" y="134"/>
                </a:moveTo>
                <a:cubicBezTo>
                  <a:pt x="3150" y="134"/>
                  <a:pt x="3147" y="139"/>
                  <a:pt x="3148" y="144"/>
                </a:cubicBezTo>
                <a:cubicBezTo>
                  <a:pt x="3149" y="150"/>
                  <a:pt x="3155" y="155"/>
                  <a:pt x="3161" y="155"/>
                </a:cubicBezTo>
                <a:cubicBezTo>
                  <a:pt x="3167" y="155"/>
                  <a:pt x="3171" y="150"/>
                  <a:pt x="3170" y="144"/>
                </a:cubicBezTo>
                <a:cubicBezTo>
                  <a:pt x="3168" y="139"/>
                  <a:pt x="3162" y="134"/>
                  <a:pt x="3156" y="134"/>
                </a:cubicBezTo>
                <a:cubicBezTo>
                  <a:pt x="3156" y="134"/>
                  <a:pt x="3156" y="134"/>
                  <a:pt x="3156" y="134"/>
                </a:cubicBezTo>
                <a:moveTo>
                  <a:pt x="3187" y="134"/>
                </a:moveTo>
                <a:cubicBezTo>
                  <a:pt x="3181" y="134"/>
                  <a:pt x="3177" y="138"/>
                  <a:pt x="3179" y="144"/>
                </a:cubicBezTo>
                <a:cubicBezTo>
                  <a:pt x="3180" y="150"/>
                  <a:pt x="3186" y="154"/>
                  <a:pt x="3192" y="154"/>
                </a:cubicBezTo>
                <a:cubicBezTo>
                  <a:pt x="3198" y="154"/>
                  <a:pt x="3202" y="150"/>
                  <a:pt x="3201" y="144"/>
                </a:cubicBezTo>
                <a:cubicBezTo>
                  <a:pt x="3199" y="138"/>
                  <a:pt x="3193" y="134"/>
                  <a:pt x="3187" y="134"/>
                </a:cubicBezTo>
                <a:cubicBezTo>
                  <a:pt x="3187" y="134"/>
                  <a:pt x="3187" y="134"/>
                  <a:pt x="3187" y="134"/>
                </a:cubicBezTo>
                <a:moveTo>
                  <a:pt x="3218" y="133"/>
                </a:moveTo>
                <a:cubicBezTo>
                  <a:pt x="3212" y="134"/>
                  <a:pt x="3209" y="138"/>
                  <a:pt x="3210" y="144"/>
                </a:cubicBezTo>
                <a:cubicBezTo>
                  <a:pt x="3212" y="150"/>
                  <a:pt x="3218" y="154"/>
                  <a:pt x="3224" y="154"/>
                </a:cubicBezTo>
                <a:cubicBezTo>
                  <a:pt x="3230" y="154"/>
                  <a:pt x="3233" y="149"/>
                  <a:pt x="3232" y="144"/>
                </a:cubicBezTo>
                <a:cubicBezTo>
                  <a:pt x="3230" y="138"/>
                  <a:pt x="3224" y="133"/>
                  <a:pt x="3218" y="133"/>
                </a:cubicBezTo>
                <a:cubicBezTo>
                  <a:pt x="3218" y="133"/>
                  <a:pt x="3218" y="133"/>
                  <a:pt x="3218" y="133"/>
                </a:cubicBezTo>
                <a:moveTo>
                  <a:pt x="3250" y="133"/>
                </a:moveTo>
                <a:cubicBezTo>
                  <a:pt x="3244" y="133"/>
                  <a:pt x="3241" y="138"/>
                  <a:pt x="3242" y="144"/>
                </a:cubicBezTo>
                <a:cubicBezTo>
                  <a:pt x="3244" y="149"/>
                  <a:pt x="3250" y="154"/>
                  <a:pt x="3256" y="154"/>
                </a:cubicBezTo>
                <a:cubicBezTo>
                  <a:pt x="3262" y="154"/>
                  <a:pt x="3266" y="149"/>
                  <a:pt x="3264" y="143"/>
                </a:cubicBezTo>
                <a:cubicBezTo>
                  <a:pt x="3263" y="138"/>
                  <a:pt x="3256" y="133"/>
                  <a:pt x="3250" y="133"/>
                </a:cubicBezTo>
                <a:cubicBezTo>
                  <a:pt x="3250" y="133"/>
                  <a:pt x="3250" y="133"/>
                  <a:pt x="3250" y="133"/>
                </a:cubicBezTo>
                <a:moveTo>
                  <a:pt x="3281" y="133"/>
                </a:moveTo>
                <a:cubicBezTo>
                  <a:pt x="3275" y="133"/>
                  <a:pt x="3272" y="138"/>
                  <a:pt x="3273" y="143"/>
                </a:cubicBezTo>
                <a:cubicBezTo>
                  <a:pt x="3275" y="149"/>
                  <a:pt x="3281" y="153"/>
                  <a:pt x="3287" y="153"/>
                </a:cubicBezTo>
                <a:cubicBezTo>
                  <a:pt x="3293" y="153"/>
                  <a:pt x="3297" y="149"/>
                  <a:pt x="3295" y="143"/>
                </a:cubicBezTo>
                <a:cubicBezTo>
                  <a:pt x="3293" y="137"/>
                  <a:pt x="3287" y="133"/>
                  <a:pt x="3281" y="133"/>
                </a:cubicBezTo>
                <a:cubicBezTo>
                  <a:pt x="3281" y="133"/>
                  <a:pt x="3281" y="133"/>
                  <a:pt x="3281" y="133"/>
                </a:cubicBezTo>
                <a:moveTo>
                  <a:pt x="3312" y="133"/>
                </a:moveTo>
                <a:cubicBezTo>
                  <a:pt x="3306" y="133"/>
                  <a:pt x="3302" y="137"/>
                  <a:pt x="3304" y="143"/>
                </a:cubicBezTo>
                <a:cubicBezTo>
                  <a:pt x="3306" y="149"/>
                  <a:pt x="3312" y="153"/>
                  <a:pt x="3318" y="153"/>
                </a:cubicBezTo>
                <a:cubicBezTo>
                  <a:pt x="3324" y="153"/>
                  <a:pt x="3328" y="148"/>
                  <a:pt x="3326" y="143"/>
                </a:cubicBezTo>
                <a:cubicBezTo>
                  <a:pt x="3324" y="137"/>
                  <a:pt x="3318" y="133"/>
                  <a:pt x="3312" y="133"/>
                </a:cubicBezTo>
                <a:cubicBezTo>
                  <a:pt x="3312" y="133"/>
                  <a:pt x="3312" y="133"/>
                  <a:pt x="3312" y="133"/>
                </a:cubicBezTo>
                <a:moveTo>
                  <a:pt x="3343" y="132"/>
                </a:moveTo>
                <a:cubicBezTo>
                  <a:pt x="3337" y="132"/>
                  <a:pt x="3333" y="137"/>
                  <a:pt x="3335" y="143"/>
                </a:cubicBezTo>
                <a:cubicBezTo>
                  <a:pt x="3337" y="148"/>
                  <a:pt x="3343" y="153"/>
                  <a:pt x="3349" y="153"/>
                </a:cubicBezTo>
                <a:cubicBezTo>
                  <a:pt x="3355" y="153"/>
                  <a:pt x="3359" y="148"/>
                  <a:pt x="3357" y="142"/>
                </a:cubicBezTo>
                <a:cubicBezTo>
                  <a:pt x="3355" y="137"/>
                  <a:pt x="3349" y="132"/>
                  <a:pt x="3343" y="132"/>
                </a:cubicBezTo>
                <a:cubicBezTo>
                  <a:pt x="3343" y="132"/>
                  <a:pt x="3343" y="132"/>
                  <a:pt x="3343" y="132"/>
                </a:cubicBezTo>
                <a:moveTo>
                  <a:pt x="3374" y="132"/>
                </a:moveTo>
                <a:cubicBezTo>
                  <a:pt x="3368" y="132"/>
                  <a:pt x="3364" y="137"/>
                  <a:pt x="3366" y="142"/>
                </a:cubicBezTo>
                <a:cubicBezTo>
                  <a:pt x="3368" y="148"/>
                  <a:pt x="3374" y="153"/>
                  <a:pt x="3380" y="153"/>
                </a:cubicBezTo>
                <a:cubicBezTo>
                  <a:pt x="3386" y="153"/>
                  <a:pt x="3390" y="148"/>
                  <a:pt x="3388" y="142"/>
                </a:cubicBezTo>
                <a:cubicBezTo>
                  <a:pt x="3386" y="137"/>
                  <a:pt x="3380" y="132"/>
                  <a:pt x="3374" y="132"/>
                </a:cubicBezTo>
                <a:cubicBezTo>
                  <a:pt x="3374" y="132"/>
                  <a:pt x="3374" y="132"/>
                  <a:pt x="3374" y="132"/>
                </a:cubicBezTo>
                <a:moveTo>
                  <a:pt x="3405" y="132"/>
                </a:moveTo>
                <a:cubicBezTo>
                  <a:pt x="3399" y="132"/>
                  <a:pt x="3396" y="136"/>
                  <a:pt x="3398" y="142"/>
                </a:cubicBezTo>
                <a:cubicBezTo>
                  <a:pt x="3399" y="148"/>
                  <a:pt x="3406" y="152"/>
                  <a:pt x="3412" y="152"/>
                </a:cubicBezTo>
                <a:cubicBezTo>
                  <a:pt x="3418" y="152"/>
                  <a:pt x="3421" y="148"/>
                  <a:pt x="3419" y="142"/>
                </a:cubicBezTo>
                <a:cubicBezTo>
                  <a:pt x="3417" y="136"/>
                  <a:pt x="3411" y="132"/>
                  <a:pt x="3405" y="132"/>
                </a:cubicBezTo>
                <a:cubicBezTo>
                  <a:pt x="3405" y="132"/>
                  <a:pt x="3405" y="132"/>
                  <a:pt x="3405" y="132"/>
                </a:cubicBezTo>
                <a:moveTo>
                  <a:pt x="3436" y="131"/>
                </a:moveTo>
                <a:cubicBezTo>
                  <a:pt x="3430" y="132"/>
                  <a:pt x="3426" y="136"/>
                  <a:pt x="3428" y="142"/>
                </a:cubicBezTo>
                <a:cubicBezTo>
                  <a:pt x="3430" y="147"/>
                  <a:pt x="3437" y="152"/>
                  <a:pt x="3443" y="152"/>
                </a:cubicBezTo>
                <a:cubicBezTo>
                  <a:pt x="3449" y="152"/>
                  <a:pt x="3452" y="147"/>
                  <a:pt x="3450" y="142"/>
                </a:cubicBezTo>
                <a:cubicBezTo>
                  <a:pt x="3448" y="136"/>
                  <a:pt x="3442" y="131"/>
                  <a:pt x="3436" y="131"/>
                </a:cubicBezTo>
                <a:cubicBezTo>
                  <a:pt x="3436" y="131"/>
                  <a:pt x="3436" y="131"/>
                  <a:pt x="3436" y="131"/>
                </a:cubicBezTo>
                <a:moveTo>
                  <a:pt x="3467" y="131"/>
                </a:moveTo>
                <a:cubicBezTo>
                  <a:pt x="3461" y="131"/>
                  <a:pt x="3457" y="136"/>
                  <a:pt x="3460" y="142"/>
                </a:cubicBezTo>
                <a:cubicBezTo>
                  <a:pt x="3462" y="147"/>
                  <a:pt x="3468" y="152"/>
                  <a:pt x="3474" y="152"/>
                </a:cubicBezTo>
                <a:cubicBezTo>
                  <a:pt x="3480" y="152"/>
                  <a:pt x="3483" y="147"/>
                  <a:pt x="3481" y="141"/>
                </a:cubicBezTo>
                <a:cubicBezTo>
                  <a:pt x="3479" y="136"/>
                  <a:pt x="3473" y="131"/>
                  <a:pt x="3467" y="131"/>
                </a:cubicBezTo>
                <a:cubicBezTo>
                  <a:pt x="3467" y="131"/>
                  <a:pt x="3467" y="131"/>
                  <a:pt x="3467" y="131"/>
                </a:cubicBezTo>
                <a:moveTo>
                  <a:pt x="3497" y="131"/>
                </a:moveTo>
                <a:cubicBezTo>
                  <a:pt x="3491" y="131"/>
                  <a:pt x="3488" y="136"/>
                  <a:pt x="3490" y="141"/>
                </a:cubicBezTo>
                <a:cubicBezTo>
                  <a:pt x="3493" y="147"/>
                  <a:pt x="3499" y="151"/>
                  <a:pt x="3505" y="151"/>
                </a:cubicBezTo>
                <a:cubicBezTo>
                  <a:pt x="3511" y="151"/>
                  <a:pt x="3514" y="147"/>
                  <a:pt x="3512" y="141"/>
                </a:cubicBezTo>
                <a:cubicBezTo>
                  <a:pt x="3510" y="135"/>
                  <a:pt x="3503" y="131"/>
                  <a:pt x="3497" y="131"/>
                </a:cubicBezTo>
                <a:cubicBezTo>
                  <a:pt x="3497" y="131"/>
                  <a:pt x="3497" y="131"/>
                  <a:pt x="3497" y="131"/>
                </a:cubicBezTo>
                <a:moveTo>
                  <a:pt x="3528" y="131"/>
                </a:moveTo>
                <a:cubicBezTo>
                  <a:pt x="3522" y="131"/>
                  <a:pt x="3519" y="135"/>
                  <a:pt x="3522" y="141"/>
                </a:cubicBezTo>
                <a:cubicBezTo>
                  <a:pt x="3524" y="147"/>
                  <a:pt x="3530" y="151"/>
                  <a:pt x="3537" y="151"/>
                </a:cubicBezTo>
                <a:cubicBezTo>
                  <a:pt x="3543" y="151"/>
                  <a:pt x="3546" y="146"/>
                  <a:pt x="3543" y="141"/>
                </a:cubicBezTo>
                <a:cubicBezTo>
                  <a:pt x="3541" y="135"/>
                  <a:pt x="3535" y="131"/>
                  <a:pt x="3529" y="131"/>
                </a:cubicBezTo>
                <a:cubicBezTo>
                  <a:pt x="3529" y="131"/>
                  <a:pt x="3528" y="131"/>
                  <a:pt x="3528" y="131"/>
                </a:cubicBezTo>
                <a:moveTo>
                  <a:pt x="3561" y="130"/>
                </a:moveTo>
                <a:cubicBezTo>
                  <a:pt x="3555" y="130"/>
                  <a:pt x="3552" y="135"/>
                  <a:pt x="3555" y="141"/>
                </a:cubicBezTo>
                <a:cubicBezTo>
                  <a:pt x="3557" y="146"/>
                  <a:pt x="3564" y="151"/>
                  <a:pt x="3570" y="151"/>
                </a:cubicBezTo>
                <a:cubicBezTo>
                  <a:pt x="3576" y="151"/>
                  <a:pt x="3579" y="146"/>
                  <a:pt x="3576" y="140"/>
                </a:cubicBezTo>
                <a:cubicBezTo>
                  <a:pt x="3574" y="135"/>
                  <a:pt x="3567" y="130"/>
                  <a:pt x="3561" y="130"/>
                </a:cubicBezTo>
                <a:cubicBezTo>
                  <a:pt x="3561" y="130"/>
                  <a:pt x="3561" y="130"/>
                  <a:pt x="3561" y="130"/>
                </a:cubicBezTo>
                <a:moveTo>
                  <a:pt x="3592" y="130"/>
                </a:moveTo>
                <a:cubicBezTo>
                  <a:pt x="3586" y="130"/>
                  <a:pt x="3583" y="135"/>
                  <a:pt x="3585" y="140"/>
                </a:cubicBezTo>
                <a:cubicBezTo>
                  <a:pt x="3588" y="146"/>
                  <a:pt x="3594" y="151"/>
                  <a:pt x="3600" y="151"/>
                </a:cubicBezTo>
                <a:cubicBezTo>
                  <a:pt x="3606" y="150"/>
                  <a:pt x="3609" y="146"/>
                  <a:pt x="3607" y="140"/>
                </a:cubicBezTo>
                <a:cubicBezTo>
                  <a:pt x="3605" y="135"/>
                  <a:pt x="3598" y="130"/>
                  <a:pt x="3592" y="130"/>
                </a:cubicBezTo>
                <a:cubicBezTo>
                  <a:pt x="3592" y="130"/>
                  <a:pt x="3592" y="130"/>
                  <a:pt x="3592" y="130"/>
                </a:cubicBezTo>
                <a:moveTo>
                  <a:pt x="3623" y="130"/>
                </a:moveTo>
                <a:cubicBezTo>
                  <a:pt x="3617" y="130"/>
                  <a:pt x="3614" y="134"/>
                  <a:pt x="3616" y="140"/>
                </a:cubicBezTo>
                <a:cubicBezTo>
                  <a:pt x="3619" y="146"/>
                  <a:pt x="3625" y="150"/>
                  <a:pt x="3631" y="150"/>
                </a:cubicBezTo>
                <a:cubicBezTo>
                  <a:pt x="3637" y="150"/>
                  <a:pt x="3640" y="146"/>
                  <a:pt x="3638" y="140"/>
                </a:cubicBezTo>
                <a:cubicBezTo>
                  <a:pt x="3635" y="134"/>
                  <a:pt x="3629" y="130"/>
                  <a:pt x="3623" y="130"/>
                </a:cubicBezTo>
                <a:cubicBezTo>
                  <a:pt x="3623" y="130"/>
                  <a:pt x="3623" y="130"/>
                  <a:pt x="3623" y="130"/>
                </a:cubicBezTo>
                <a:moveTo>
                  <a:pt x="3654" y="129"/>
                </a:moveTo>
                <a:cubicBezTo>
                  <a:pt x="3648" y="129"/>
                  <a:pt x="3645" y="134"/>
                  <a:pt x="3647" y="140"/>
                </a:cubicBezTo>
                <a:cubicBezTo>
                  <a:pt x="3650" y="145"/>
                  <a:pt x="3657" y="150"/>
                  <a:pt x="3663" y="150"/>
                </a:cubicBezTo>
                <a:cubicBezTo>
                  <a:pt x="3669" y="150"/>
                  <a:pt x="3672" y="145"/>
                  <a:pt x="3669" y="140"/>
                </a:cubicBezTo>
                <a:cubicBezTo>
                  <a:pt x="3667" y="134"/>
                  <a:pt x="3660" y="129"/>
                  <a:pt x="3654" y="129"/>
                </a:cubicBezTo>
                <a:cubicBezTo>
                  <a:pt x="3654" y="129"/>
                  <a:pt x="3654" y="129"/>
                  <a:pt x="3654" y="129"/>
                </a:cubicBezTo>
                <a:moveTo>
                  <a:pt x="3685" y="129"/>
                </a:moveTo>
                <a:cubicBezTo>
                  <a:pt x="3679" y="129"/>
                  <a:pt x="3676" y="134"/>
                  <a:pt x="3679" y="139"/>
                </a:cubicBezTo>
                <a:cubicBezTo>
                  <a:pt x="3681" y="145"/>
                  <a:pt x="3688" y="150"/>
                  <a:pt x="3694" y="150"/>
                </a:cubicBezTo>
                <a:cubicBezTo>
                  <a:pt x="3700" y="150"/>
                  <a:pt x="3703" y="145"/>
                  <a:pt x="3700" y="139"/>
                </a:cubicBezTo>
                <a:cubicBezTo>
                  <a:pt x="3698" y="134"/>
                  <a:pt x="3691" y="129"/>
                  <a:pt x="3685" y="129"/>
                </a:cubicBezTo>
                <a:cubicBezTo>
                  <a:pt x="3685" y="129"/>
                  <a:pt x="3685" y="129"/>
                  <a:pt x="3685" y="129"/>
                </a:cubicBezTo>
                <a:moveTo>
                  <a:pt x="3716" y="129"/>
                </a:moveTo>
                <a:cubicBezTo>
                  <a:pt x="3710" y="129"/>
                  <a:pt x="3707" y="134"/>
                  <a:pt x="3710" y="139"/>
                </a:cubicBezTo>
                <a:cubicBezTo>
                  <a:pt x="3712" y="145"/>
                  <a:pt x="3719" y="149"/>
                  <a:pt x="3725" y="149"/>
                </a:cubicBezTo>
                <a:cubicBezTo>
                  <a:pt x="3731" y="149"/>
                  <a:pt x="3734" y="145"/>
                  <a:pt x="3731" y="139"/>
                </a:cubicBezTo>
                <a:cubicBezTo>
                  <a:pt x="3729" y="133"/>
                  <a:pt x="3722" y="129"/>
                  <a:pt x="3716" y="129"/>
                </a:cubicBezTo>
                <a:cubicBezTo>
                  <a:pt x="3716" y="129"/>
                  <a:pt x="3716" y="129"/>
                  <a:pt x="3716" y="129"/>
                </a:cubicBezTo>
                <a:moveTo>
                  <a:pt x="3747" y="129"/>
                </a:moveTo>
                <a:cubicBezTo>
                  <a:pt x="3741" y="129"/>
                  <a:pt x="3738" y="133"/>
                  <a:pt x="3741" y="139"/>
                </a:cubicBezTo>
                <a:cubicBezTo>
                  <a:pt x="3743" y="145"/>
                  <a:pt x="3750" y="149"/>
                  <a:pt x="3756" y="149"/>
                </a:cubicBezTo>
                <a:cubicBezTo>
                  <a:pt x="3762" y="149"/>
                  <a:pt x="3765" y="144"/>
                  <a:pt x="3762" y="139"/>
                </a:cubicBezTo>
                <a:cubicBezTo>
                  <a:pt x="3760" y="133"/>
                  <a:pt x="3753" y="129"/>
                  <a:pt x="3747" y="129"/>
                </a:cubicBezTo>
                <a:cubicBezTo>
                  <a:pt x="3747" y="129"/>
                  <a:pt x="3747" y="129"/>
                  <a:pt x="3747" y="129"/>
                </a:cubicBezTo>
                <a:moveTo>
                  <a:pt x="3777" y="128"/>
                </a:moveTo>
                <a:cubicBezTo>
                  <a:pt x="3771" y="128"/>
                  <a:pt x="3769" y="133"/>
                  <a:pt x="3772" y="139"/>
                </a:cubicBezTo>
                <a:cubicBezTo>
                  <a:pt x="3774" y="144"/>
                  <a:pt x="3781" y="149"/>
                  <a:pt x="3787" y="149"/>
                </a:cubicBezTo>
                <a:cubicBezTo>
                  <a:pt x="3793" y="149"/>
                  <a:pt x="3796" y="144"/>
                  <a:pt x="3793" y="138"/>
                </a:cubicBezTo>
                <a:cubicBezTo>
                  <a:pt x="3790" y="133"/>
                  <a:pt x="3783" y="128"/>
                  <a:pt x="3777" y="128"/>
                </a:cubicBezTo>
                <a:cubicBezTo>
                  <a:pt x="3777" y="128"/>
                  <a:pt x="3777" y="128"/>
                  <a:pt x="3777" y="128"/>
                </a:cubicBezTo>
                <a:moveTo>
                  <a:pt x="3808" y="128"/>
                </a:moveTo>
                <a:cubicBezTo>
                  <a:pt x="3802" y="128"/>
                  <a:pt x="3800" y="133"/>
                  <a:pt x="3803" y="138"/>
                </a:cubicBezTo>
                <a:cubicBezTo>
                  <a:pt x="3805" y="144"/>
                  <a:pt x="3813" y="149"/>
                  <a:pt x="3819" y="149"/>
                </a:cubicBezTo>
                <a:cubicBezTo>
                  <a:pt x="3825" y="148"/>
                  <a:pt x="3827" y="144"/>
                  <a:pt x="3824" y="138"/>
                </a:cubicBezTo>
                <a:cubicBezTo>
                  <a:pt x="3822" y="132"/>
                  <a:pt x="3814" y="128"/>
                  <a:pt x="3808" y="128"/>
                </a:cubicBezTo>
                <a:cubicBezTo>
                  <a:pt x="3808" y="128"/>
                  <a:pt x="3808" y="128"/>
                  <a:pt x="3808" y="128"/>
                </a:cubicBezTo>
                <a:moveTo>
                  <a:pt x="3839" y="128"/>
                </a:moveTo>
                <a:cubicBezTo>
                  <a:pt x="3833" y="128"/>
                  <a:pt x="3830" y="132"/>
                  <a:pt x="3833" y="138"/>
                </a:cubicBezTo>
                <a:cubicBezTo>
                  <a:pt x="3836" y="144"/>
                  <a:pt x="3843" y="148"/>
                  <a:pt x="3849" y="148"/>
                </a:cubicBezTo>
                <a:cubicBezTo>
                  <a:pt x="3855" y="148"/>
                  <a:pt x="3858" y="144"/>
                  <a:pt x="3855" y="138"/>
                </a:cubicBezTo>
                <a:cubicBezTo>
                  <a:pt x="3852" y="132"/>
                  <a:pt x="3845" y="128"/>
                  <a:pt x="3839" y="128"/>
                </a:cubicBezTo>
                <a:cubicBezTo>
                  <a:pt x="3839" y="128"/>
                  <a:pt x="3839" y="128"/>
                  <a:pt x="3839" y="128"/>
                </a:cubicBezTo>
                <a:moveTo>
                  <a:pt x="3870" y="127"/>
                </a:moveTo>
                <a:cubicBezTo>
                  <a:pt x="3864" y="127"/>
                  <a:pt x="3861" y="132"/>
                  <a:pt x="3864" y="138"/>
                </a:cubicBezTo>
                <a:cubicBezTo>
                  <a:pt x="3867" y="143"/>
                  <a:pt x="3875" y="148"/>
                  <a:pt x="3881" y="148"/>
                </a:cubicBezTo>
                <a:cubicBezTo>
                  <a:pt x="3887" y="148"/>
                  <a:pt x="3889" y="143"/>
                  <a:pt x="3886" y="138"/>
                </a:cubicBezTo>
                <a:cubicBezTo>
                  <a:pt x="3883" y="132"/>
                  <a:pt x="3876" y="127"/>
                  <a:pt x="3870" y="127"/>
                </a:cubicBezTo>
                <a:cubicBezTo>
                  <a:pt x="3870" y="127"/>
                  <a:pt x="3870" y="127"/>
                  <a:pt x="3870" y="127"/>
                </a:cubicBezTo>
                <a:moveTo>
                  <a:pt x="3901" y="127"/>
                </a:moveTo>
                <a:cubicBezTo>
                  <a:pt x="3895" y="127"/>
                  <a:pt x="3893" y="132"/>
                  <a:pt x="3896" y="137"/>
                </a:cubicBezTo>
                <a:cubicBezTo>
                  <a:pt x="3899" y="143"/>
                  <a:pt x="3906" y="148"/>
                  <a:pt x="3912" y="148"/>
                </a:cubicBezTo>
                <a:cubicBezTo>
                  <a:pt x="3918" y="148"/>
                  <a:pt x="3921" y="143"/>
                  <a:pt x="3918" y="137"/>
                </a:cubicBezTo>
                <a:cubicBezTo>
                  <a:pt x="3914" y="132"/>
                  <a:pt x="3907" y="127"/>
                  <a:pt x="3901" y="127"/>
                </a:cubicBezTo>
                <a:cubicBezTo>
                  <a:pt x="3901" y="127"/>
                  <a:pt x="3901" y="127"/>
                  <a:pt x="3901" y="127"/>
                </a:cubicBezTo>
                <a:moveTo>
                  <a:pt x="3932" y="127"/>
                </a:moveTo>
                <a:cubicBezTo>
                  <a:pt x="3926" y="127"/>
                  <a:pt x="3924" y="131"/>
                  <a:pt x="3927" y="137"/>
                </a:cubicBezTo>
                <a:cubicBezTo>
                  <a:pt x="3930" y="143"/>
                  <a:pt x="3937" y="147"/>
                  <a:pt x="3943" y="147"/>
                </a:cubicBezTo>
                <a:cubicBezTo>
                  <a:pt x="3949" y="147"/>
                  <a:pt x="3951" y="143"/>
                  <a:pt x="3948" y="137"/>
                </a:cubicBezTo>
                <a:cubicBezTo>
                  <a:pt x="3945" y="131"/>
                  <a:pt x="3938" y="127"/>
                  <a:pt x="3932" y="127"/>
                </a:cubicBezTo>
                <a:cubicBezTo>
                  <a:pt x="3932" y="127"/>
                  <a:pt x="3932" y="127"/>
                  <a:pt x="3932" y="127"/>
                </a:cubicBezTo>
                <a:moveTo>
                  <a:pt x="3963" y="126"/>
                </a:moveTo>
                <a:cubicBezTo>
                  <a:pt x="3957" y="127"/>
                  <a:pt x="3955" y="131"/>
                  <a:pt x="3958" y="137"/>
                </a:cubicBezTo>
                <a:cubicBezTo>
                  <a:pt x="3961" y="143"/>
                  <a:pt x="3968" y="147"/>
                  <a:pt x="3974" y="147"/>
                </a:cubicBezTo>
                <a:cubicBezTo>
                  <a:pt x="3980" y="147"/>
                  <a:pt x="3983" y="142"/>
                  <a:pt x="3979" y="137"/>
                </a:cubicBezTo>
                <a:cubicBezTo>
                  <a:pt x="3976" y="131"/>
                  <a:pt x="3969" y="126"/>
                  <a:pt x="3963" y="126"/>
                </a:cubicBezTo>
                <a:cubicBezTo>
                  <a:pt x="3963" y="126"/>
                  <a:pt x="3963" y="126"/>
                  <a:pt x="3963" y="126"/>
                </a:cubicBezTo>
                <a:moveTo>
                  <a:pt x="3993" y="126"/>
                </a:moveTo>
                <a:cubicBezTo>
                  <a:pt x="3988" y="126"/>
                  <a:pt x="3985" y="131"/>
                  <a:pt x="3988" y="137"/>
                </a:cubicBezTo>
                <a:cubicBezTo>
                  <a:pt x="3992" y="142"/>
                  <a:pt x="3999" y="147"/>
                  <a:pt x="4005" y="147"/>
                </a:cubicBezTo>
                <a:cubicBezTo>
                  <a:pt x="4011" y="147"/>
                  <a:pt x="4014" y="142"/>
                  <a:pt x="4010" y="136"/>
                </a:cubicBezTo>
                <a:cubicBezTo>
                  <a:pt x="4007" y="131"/>
                  <a:pt x="4000" y="126"/>
                  <a:pt x="3994" y="126"/>
                </a:cubicBezTo>
                <a:cubicBezTo>
                  <a:pt x="3994" y="126"/>
                  <a:pt x="3994" y="126"/>
                  <a:pt x="3993" y="126"/>
                </a:cubicBezTo>
                <a:moveTo>
                  <a:pt x="997" y="125"/>
                </a:moveTo>
                <a:cubicBezTo>
                  <a:pt x="991" y="125"/>
                  <a:pt x="984" y="130"/>
                  <a:pt x="981" y="135"/>
                </a:cubicBezTo>
                <a:cubicBezTo>
                  <a:pt x="977" y="141"/>
                  <a:pt x="979" y="145"/>
                  <a:pt x="986" y="145"/>
                </a:cubicBezTo>
                <a:cubicBezTo>
                  <a:pt x="992" y="145"/>
                  <a:pt x="999" y="141"/>
                  <a:pt x="1002" y="135"/>
                </a:cubicBezTo>
                <a:cubicBezTo>
                  <a:pt x="1006" y="130"/>
                  <a:pt x="1003" y="125"/>
                  <a:pt x="998" y="125"/>
                </a:cubicBezTo>
                <a:cubicBezTo>
                  <a:pt x="998" y="125"/>
                  <a:pt x="997" y="125"/>
                  <a:pt x="997" y="125"/>
                </a:cubicBezTo>
                <a:moveTo>
                  <a:pt x="1027" y="125"/>
                </a:moveTo>
                <a:cubicBezTo>
                  <a:pt x="1021" y="125"/>
                  <a:pt x="1013" y="129"/>
                  <a:pt x="1010" y="135"/>
                </a:cubicBezTo>
                <a:cubicBezTo>
                  <a:pt x="1007" y="141"/>
                  <a:pt x="1009" y="145"/>
                  <a:pt x="1015" y="145"/>
                </a:cubicBezTo>
                <a:cubicBezTo>
                  <a:pt x="1021" y="145"/>
                  <a:pt x="1028" y="140"/>
                  <a:pt x="1032" y="135"/>
                </a:cubicBezTo>
                <a:cubicBezTo>
                  <a:pt x="1035" y="129"/>
                  <a:pt x="1033" y="125"/>
                  <a:pt x="1027" y="125"/>
                </a:cubicBezTo>
                <a:cubicBezTo>
                  <a:pt x="1027" y="125"/>
                  <a:pt x="1027" y="125"/>
                  <a:pt x="1027" y="125"/>
                </a:cubicBezTo>
                <a:moveTo>
                  <a:pt x="1305" y="125"/>
                </a:moveTo>
                <a:cubicBezTo>
                  <a:pt x="1299" y="125"/>
                  <a:pt x="1292" y="129"/>
                  <a:pt x="1289" y="135"/>
                </a:cubicBezTo>
                <a:cubicBezTo>
                  <a:pt x="1286" y="141"/>
                  <a:pt x="1289" y="145"/>
                  <a:pt x="1295" y="145"/>
                </a:cubicBezTo>
                <a:cubicBezTo>
                  <a:pt x="1301" y="145"/>
                  <a:pt x="1308" y="140"/>
                  <a:pt x="1311" y="135"/>
                </a:cubicBezTo>
                <a:cubicBezTo>
                  <a:pt x="1313" y="129"/>
                  <a:pt x="1311" y="125"/>
                  <a:pt x="1305" y="125"/>
                </a:cubicBezTo>
                <a:cubicBezTo>
                  <a:pt x="1305" y="125"/>
                  <a:pt x="1305" y="125"/>
                  <a:pt x="1305" y="125"/>
                </a:cubicBezTo>
                <a:moveTo>
                  <a:pt x="1336" y="124"/>
                </a:moveTo>
                <a:cubicBezTo>
                  <a:pt x="1330" y="125"/>
                  <a:pt x="1323" y="129"/>
                  <a:pt x="1320" y="135"/>
                </a:cubicBezTo>
                <a:cubicBezTo>
                  <a:pt x="1318" y="140"/>
                  <a:pt x="1321" y="145"/>
                  <a:pt x="1327" y="145"/>
                </a:cubicBezTo>
                <a:cubicBezTo>
                  <a:pt x="1333" y="145"/>
                  <a:pt x="1340" y="140"/>
                  <a:pt x="1342" y="135"/>
                </a:cubicBezTo>
                <a:cubicBezTo>
                  <a:pt x="1345" y="129"/>
                  <a:pt x="1342" y="124"/>
                  <a:pt x="1336" y="124"/>
                </a:cubicBezTo>
                <a:cubicBezTo>
                  <a:pt x="1336" y="124"/>
                  <a:pt x="1336" y="124"/>
                  <a:pt x="1336" y="124"/>
                </a:cubicBezTo>
                <a:moveTo>
                  <a:pt x="1367" y="124"/>
                </a:moveTo>
                <a:cubicBezTo>
                  <a:pt x="1361" y="124"/>
                  <a:pt x="1354" y="129"/>
                  <a:pt x="1351" y="134"/>
                </a:cubicBezTo>
                <a:cubicBezTo>
                  <a:pt x="1349" y="140"/>
                  <a:pt x="1352" y="145"/>
                  <a:pt x="1358" y="145"/>
                </a:cubicBezTo>
                <a:cubicBezTo>
                  <a:pt x="1364" y="144"/>
                  <a:pt x="1370" y="140"/>
                  <a:pt x="1373" y="134"/>
                </a:cubicBezTo>
                <a:cubicBezTo>
                  <a:pt x="1375" y="129"/>
                  <a:pt x="1373" y="124"/>
                  <a:pt x="1367" y="124"/>
                </a:cubicBezTo>
                <a:cubicBezTo>
                  <a:pt x="1367" y="124"/>
                  <a:pt x="1367" y="124"/>
                  <a:pt x="1367" y="124"/>
                </a:cubicBezTo>
                <a:moveTo>
                  <a:pt x="1611" y="120"/>
                </a:moveTo>
                <a:cubicBezTo>
                  <a:pt x="1605" y="120"/>
                  <a:pt x="1598" y="125"/>
                  <a:pt x="1597" y="131"/>
                </a:cubicBezTo>
                <a:cubicBezTo>
                  <a:pt x="1595" y="136"/>
                  <a:pt x="1598" y="141"/>
                  <a:pt x="1604" y="141"/>
                </a:cubicBezTo>
                <a:cubicBezTo>
                  <a:pt x="1610" y="141"/>
                  <a:pt x="1616" y="136"/>
                  <a:pt x="1618" y="130"/>
                </a:cubicBezTo>
                <a:cubicBezTo>
                  <a:pt x="1620" y="125"/>
                  <a:pt x="1617" y="120"/>
                  <a:pt x="1611" y="120"/>
                </a:cubicBezTo>
                <a:cubicBezTo>
                  <a:pt x="1611" y="120"/>
                  <a:pt x="1611" y="120"/>
                  <a:pt x="1611" y="120"/>
                </a:cubicBezTo>
                <a:moveTo>
                  <a:pt x="1642" y="120"/>
                </a:moveTo>
                <a:cubicBezTo>
                  <a:pt x="1636" y="120"/>
                  <a:pt x="1630" y="125"/>
                  <a:pt x="1628" y="130"/>
                </a:cubicBezTo>
                <a:cubicBezTo>
                  <a:pt x="1626" y="136"/>
                  <a:pt x="1629" y="140"/>
                  <a:pt x="1635" y="140"/>
                </a:cubicBezTo>
                <a:cubicBezTo>
                  <a:pt x="1641" y="140"/>
                  <a:pt x="1648" y="136"/>
                  <a:pt x="1649" y="130"/>
                </a:cubicBezTo>
                <a:cubicBezTo>
                  <a:pt x="1651" y="125"/>
                  <a:pt x="1648" y="120"/>
                  <a:pt x="1642" y="120"/>
                </a:cubicBezTo>
                <a:cubicBezTo>
                  <a:pt x="1642" y="120"/>
                  <a:pt x="1642" y="120"/>
                  <a:pt x="1642" y="120"/>
                </a:cubicBezTo>
                <a:moveTo>
                  <a:pt x="1673" y="120"/>
                </a:moveTo>
                <a:cubicBezTo>
                  <a:pt x="1667" y="120"/>
                  <a:pt x="1660" y="124"/>
                  <a:pt x="1659" y="130"/>
                </a:cubicBezTo>
                <a:cubicBezTo>
                  <a:pt x="1657" y="136"/>
                  <a:pt x="1660" y="140"/>
                  <a:pt x="1666" y="140"/>
                </a:cubicBezTo>
                <a:cubicBezTo>
                  <a:pt x="1672" y="140"/>
                  <a:pt x="1678" y="135"/>
                  <a:pt x="1680" y="130"/>
                </a:cubicBezTo>
                <a:cubicBezTo>
                  <a:pt x="1682" y="124"/>
                  <a:pt x="1679" y="120"/>
                  <a:pt x="1673" y="120"/>
                </a:cubicBezTo>
                <a:cubicBezTo>
                  <a:pt x="1673" y="120"/>
                  <a:pt x="1673" y="120"/>
                  <a:pt x="1673" y="120"/>
                </a:cubicBezTo>
                <a:moveTo>
                  <a:pt x="1704" y="119"/>
                </a:moveTo>
                <a:cubicBezTo>
                  <a:pt x="1698" y="120"/>
                  <a:pt x="1691" y="124"/>
                  <a:pt x="1689" y="130"/>
                </a:cubicBezTo>
                <a:cubicBezTo>
                  <a:pt x="1688" y="135"/>
                  <a:pt x="1691" y="140"/>
                  <a:pt x="1697" y="140"/>
                </a:cubicBezTo>
                <a:cubicBezTo>
                  <a:pt x="1703" y="140"/>
                  <a:pt x="1709" y="135"/>
                  <a:pt x="1711" y="130"/>
                </a:cubicBezTo>
                <a:cubicBezTo>
                  <a:pt x="1713" y="124"/>
                  <a:pt x="1710" y="119"/>
                  <a:pt x="1704" y="119"/>
                </a:cubicBezTo>
                <a:cubicBezTo>
                  <a:pt x="1704" y="119"/>
                  <a:pt x="1704" y="119"/>
                  <a:pt x="1704" y="119"/>
                </a:cubicBezTo>
                <a:moveTo>
                  <a:pt x="1734" y="119"/>
                </a:moveTo>
                <a:cubicBezTo>
                  <a:pt x="1728" y="119"/>
                  <a:pt x="1722" y="124"/>
                  <a:pt x="1720" y="129"/>
                </a:cubicBezTo>
                <a:cubicBezTo>
                  <a:pt x="1719" y="135"/>
                  <a:pt x="1722" y="140"/>
                  <a:pt x="1728" y="140"/>
                </a:cubicBezTo>
                <a:cubicBezTo>
                  <a:pt x="1734" y="139"/>
                  <a:pt x="1740" y="135"/>
                  <a:pt x="1742" y="129"/>
                </a:cubicBezTo>
                <a:cubicBezTo>
                  <a:pt x="1744" y="124"/>
                  <a:pt x="1740" y="119"/>
                  <a:pt x="1734" y="119"/>
                </a:cubicBezTo>
                <a:cubicBezTo>
                  <a:pt x="1734" y="119"/>
                  <a:pt x="1734" y="119"/>
                  <a:pt x="1734" y="119"/>
                </a:cubicBezTo>
                <a:moveTo>
                  <a:pt x="1765" y="119"/>
                </a:moveTo>
                <a:cubicBezTo>
                  <a:pt x="1759" y="119"/>
                  <a:pt x="1753" y="124"/>
                  <a:pt x="1751" y="129"/>
                </a:cubicBezTo>
                <a:cubicBezTo>
                  <a:pt x="1750" y="135"/>
                  <a:pt x="1753" y="139"/>
                  <a:pt x="1759" y="139"/>
                </a:cubicBezTo>
                <a:cubicBezTo>
                  <a:pt x="1765" y="139"/>
                  <a:pt x="1771" y="135"/>
                  <a:pt x="1773" y="129"/>
                </a:cubicBezTo>
                <a:cubicBezTo>
                  <a:pt x="1774" y="123"/>
                  <a:pt x="1771" y="119"/>
                  <a:pt x="1765" y="119"/>
                </a:cubicBezTo>
                <a:cubicBezTo>
                  <a:pt x="1765" y="119"/>
                  <a:pt x="1765" y="119"/>
                  <a:pt x="1765" y="119"/>
                </a:cubicBezTo>
                <a:moveTo>
                  <a:pt x="1797" y="119"/>
                </a:moveTo>
                <a:cubicBezTo>
                  <a:pt x="1791" y="119"/>
                  <a:pt x="1785" y="123"/>
                  <a:pt x="1783" y="129"/>
                </a:cubicBezTo>
                <a:cubicBezTo>
                  <a:pt x="1782" y="134"/>
                  <a:pt x="1785" y="139"/>
                  <a:pt x="1791" y="139"/>
                </a:cubicBezTo>
                <a:cubicBezTo>
                  <a:pt x="1797" y="139"/>
                  <a:pt x="1803" y="134"/>
                  <a:pt x="1805" y="129"/>
                </a:cubicBezTo>
                <a:cubicBezTo>
                  <a:pt x="1806" y="123"/>
                  <a:pt x="1803" y="119"/>
                  <a:pt x="1797" y="119"/>
                </a:cubicBezTo>
                <a:cubicBezTo>
                  <a:pt x="1797" y="119"/>
                  <a:pt x="1797" y="119"/>
                  <a:pt x="1797" y="119"/>
                </a:cubicBezTo>
                <a:moveTo>
                  <a:pt x="1827" y="118"/>
                </a:moveTo>
                <a:cubicBezTo>
                  <a:pt x="1821" y="118"/>
                  <a:pt x="1815" y="123"/>
                  <a:pt x="1814" y="129"/>
                </a:cubicBezTo>
                <a:cubicBezTo>
                  <a:pt x="1812" y="134"/>
                  <a:pt x="1816" y="139"/>
                  <a:pt x="1822" y="139"/>
                </a:cubicBezTo>
                <a:cubicBezTo>
                  <a:pt x="1828" y="139"/>
                  <a:pt x="1834" y="134"/>
                  <a:pt x="1836" y="128"/>
                </a:cubicBezTo>
                <a:cubicBezTo>
                  <a:pt x="1837" y="123"/>
                  <a:pt x="1833" y="118"/>
                  <a:pt x="1828" y="118"/>
                </a:cubicBezTo>
                <a:cubicBezTo>
                  <a:pt x="1828" y="118"/>
                  <a:pt x="1827" y="118"/>
                  <a:pt x="1827" y="118"/>
                </a:cubicBezTo>
                <a:moveTo>
                  <a:pt x="1858" y="118"/>
                </a:moveTo>
                <a:cubicBezTo>
                  <a:pt x="1852" y="118"/>
                  <a:pt x="1846" y="123"/>
                  <a:pt x="1845" y="128"/>
                </a:cubicBezTo>
                <a:cubicBezTo>
                  <a:pt x="1843" y="134"/>
                  <a:pt x="1847" y="138"/>
                  <a:pt x="1853" y="138"/>
                </a:cubicBezTo>
                <a:cubicBezTo>
                  <a:pt x="1859" y="138"/>
                  <a:pt x="1865" y="134"/>
                  <a:pt x="1867" y="128"/>
                </a:cubicBezTo>
                <a:cubicBezTo>
                  <a:pt x="1868" y="122"/>
                  <a:pt x="1864" y="118"/>
                  <a:pt x="1858" y="118"/>
                </a:cubicBezTo>
                <a:cubicBezTo>
                  <a:pt x="1858" y="118"/>
                  <a:pt x="1858" y="118"/>
                  <a:pt x="1858" y="118"/>
                </a:cubicBezTo>
                <a:moveTo>
                  <a:pt x="1889" y="118"/>
                </a:moveTo>
                <a:cubicBezTo>
                  <a:pt x="1883" y="118"/>
                  <a:pt x="1878" y="122"/>
                  <a:pt x="1876" y="128"/>
                </a:cubicBezTo>
                <a:cubicBezTo>
                  <a:pt x="1875" y="134"/>
                  <a:pt x="1879" y="138"/>
                  <a:pt x="1885" y="138"/>
                </a:cubicBezTo>
                <a:cubicBezTo>
                  <a:pt x="1891" y="138"/>
                  <a:pt x="1896" y="133"/>
                  <a:pt x="1898" y="128"/>
                </a:cubicBezTo>
                <a:cubicBezTo>
                  <a:pt x="1899" y="122"/>
                  <a:pt x="1895" y="118"/>
                  <a:pt x="1890" y="118"/>
                </a:cubicBezTo>
                <a:cubicBezTo>
                  <a:pt x="1890" y="118"/>
                  <a:pt x="1889" y="118"/>
                  <a:pt x="1889" y="118"/>
                </a:cubicBezTo>
                <a:moveTo>
                  <a:pt x="2813" y="109"/>
                </a:moveTo>
                <a:cubicBezTo>
                  <a:pt x="2807" y="109"/>
                  <a:pt x="2803" y="114"/>
                  <a:pt x="2804" y="120"/>
                </a:cubicBezTo>
                <a:cubicBezTo>
                  <a:pt x="2804" y="125"/>
                  <a:pt x="2810" y="130"/>
                  <a:pt x="2816" y="130"/>
                </a:cubicBezTo>
                <a:cubicBezTo>
                  <a:pt x="2822" y="130"/>
                  <a:pt x="2826" y="125"/>
                  <a:pt x="2825" y="120"/>
                </a:cubicBezTo>
                <a:cubicBezTo>
                  <a:pt x="2825" y="114"/>
                  <a:pt x="2819" y="109"/>
                  <a:pt x="2813" y="109"/>
                </a:cubicBezTo>
                <a:cubicBezTo>
                  <a:pt x="2813" y="109"/>
                  <a:pt x="2813" y="109"/>
                  <a:pt x="2813" y="109"/>
                </a:cubicBezTo>
                <a:moveTo>
                  <a:pt x="2844" y="109"/>
                </a:moveTo>
                <a:cubicBezTo>
                  <a:pt x="2838" y="109"/>
                  <a:pt x="2834" y="114"/>
                  <a:pt x="2834" y="119"/>
                </a:cubicBezTo>
                <a:cubicBezTo>
                  <a:pt x="2835" y="125"/>
                  <a:pt x="2841" y="130"/>
                  <a:pt x="2847" y="130"/>
                </a:cubicBezTo>
                <a:cubicBezTo>
                  <a:pt x="2853" y="130"/>
                  <a:pt x="2857" y="125"/>
                  <a:pt x="2856" y="119"/>
                </a:cubicBezTo>
                <a:cubicBezTo>
                  <a:pt x="2855" y="114"/>
                  <a:pt x="2850" y="109"/>
                  <a:pt x="2844" y="109"/>
                </a:cubicBezTo>
                <a:cubicBezTo>
                  <a:pt x="2844" y="109"/>
                  <a:pt x="2844" y="109"/>
                  <a:pt x="2844" y="109"/>
                </a:cubicBezTo>
                <a:moveTo>
                  <a:pt x="2905" y="109"/>
                </a:moveTo>
                <a:cubicBezTo>
                  <a:pt x="2899" y="109"/>
                  <a:pt x="2895" y="113"/>
                  <a:pt x="2895" y="119"/>
                </a:cubicBezTo>
                <a:cubicBezTo>
                  <a:pt x="2896" y="125"/>
                  <a:pt x="2902" y="129"/>
                  <a:pt x="2908" y="129"/>
                </a:cubicBezTo>
                <a:cubicBezTo>
                  <a:pt x="2914" y="129"/>
                  <a:pt x="2918" y="124"/>
                  <a:pt x="2917" y="119"/>
                </a:cubicBezTo>
                <a:cubicBezTo>
                  <a:pt x="2916" y="113"/>
                  <a:pt x="2911" y="109"/>
                  <a:pt x="2905" y="109"/>
                </a:cubicBezTo>
                <a:cubicBezTo>
                  <a:pt x="2905" y="109"/>
                  <a:pt x="2905" y="109"/>
                  <a:pt x="2905" y="109"/>
                </a:cubicBezTo>
                <a:moveTo>
                  <a:pt x="2690" y="108"/>
                </a:moveTo>
                <a:cubicBezTo>
                  <a:pt x="2684" y="108"/>
                  <a:pt x="2679" y="113"/>
                  <a:pt x="2680" y="119"/>
                </a:cubicBezTo>
                <a:cubicBezTo>
                  <a:pt x="2680" y="124"/>
                  <a:pt x="2685" y="129"/>
                  <a:pt x="2691" y="129"/>
                </a:cubicBezTo>
                <a:cubicBezTo>
                  <a:pt x="2697" y="129"/>
                  <a:pt x="2702" y="124"/>
                  <a:pt x="2701" y="118"/>
                </a:cubicBezTo>
                <a:cubicBezTo>
                  <a:pt x="2701" y="113"/>
                  <a:pt x="2696" y="108"/>
                  <a:pt x="2690" y="108"/>
                </a:cubicBezTo>
                <a:cubicBezTo>
                  <a:pt x="2690" y="108"/>
                  <a:pt x="2690" y="108"/>
                  <a:pt x="2690" y="108"/>
                </a:cubicBezTo>
                <a:moveTo>
                  <a:pt x="2935" y="108"/>
                </a:moveTo>
                <a:cubicBezTo>
                  <a:pt x="2929" y="108"/>
                  <a:pt x="2925" y="113"/>
                  <a:pt x="2926" y="119"/>
                </a:cubicBezTo>
                <a:cubicBezTo>
                  <a:pt x="2927" y="124"/>
                  <a:pt x="2933" y="129"/>
                  <a:pt x="2939" y="129"/>
                </a:cubicBezTo>
                <a:cubicBezTo>
                  <a:pt x="2944" y="129"/>
                  <a:pt x="2949" y="124"/>
                  <a:pt x="2948" y="118"/>
                </a:cubicBezTo>
                <a:cubicBezTo>
                  <a:pt x="2947" y="113"/>
                  <a:pt x="2941" y="108"/>
                  <a:pt x="2935" y="108"/>
                </a:cubicBezTo>
                <a:cubicBezTo>
                  <a:pt x="2935" y="108"/>
                  <a:pt x="2935" y="108"/>
                  <a:pt x="2935" y="108"/>
                </a:cubicBezTo>
                <a:moveTo>
                  <a:pt x="2966" y="108"/>
                </a:moveTo>
                <a:cubicBezTo>
                  <a:pt x="2960" y="108"/>
                  <a:pt x="2956" y="113"/>
                  <a:pt x="2957" y="118"/>
                </a:cubicBezTo>
                <a:cubicBezTo>
                  <a:pt x="2958" y="124"/>
                  <a:pt x="2963" y="128"/>
                  <a:pt x="2969" y="128"/>
                </a:cubicBezTo>
                <a:cubicBezTo>
                  <a:pt x="2975" y="128"/>
                  <a:pt x="2979" y="124"/>
                  <a:pt x="2978" y="118"/>
                </a:cubicBezTo>
                <a:cubicBezTo>
                  <a:pt x="2977" y="112"/>
                  <a:pt x="2972" y="108"/>
                  <a:pt x="2966" y="108"/>
                </a:cubicBezTo>
                <a:cubicBezTo>
                  <a:pt x="2966" y="108"/>
                  <a:pt x="2966" y="108"/>
                  <a:pt x="2966" y="108"/>
                </a:cubicBezTo>
                <a:moveTo>
                  <a:pt x="2996" y="108"/>
                </a:moveTo>
                <a:cubicBezTo>
                  <a:pt x="2990" y="108"/>
                  <a:pt x="2986" y="112"/>
                  <a:pt x="2987" y="118"/>
                </a:cubicBezTo>
                <a:cubicBezTo>
                  <a:pt x="2988" y="124"/>
                  <a:pt x="2994" y="128"/>
                  <a:pt x="3000" y="128"/>
                </a:cubicBezTo>
                <a:cubicBezTo>
                  <a:pt x="3006" y="128"/>
                  <a:pt x="3010" y="123"/>
                  <a:pt x="3009" y="118"/>
                </a:cubicBezTo>
                <a:cubicBezTo>
                  <a:pt x="3008" y="112"/>
                  <a:pt x="3002" y="108"/>
                  <a:pt x="2996" y="108"/>
                </a:cubicBezTo>
                <a:cubicBezTo>
                  <a:pt x="2996" y="108"/>
                  <a:pt x="2996" y="108"/>
                  <a:pt x="2996" y="108"/>
                </a:cubicBezTo>
                <a:moveTo>
                  <a:pt x="3026" y="107"/>
                </a:moveTo>
                <a:cubicBezTo>
                  <a:pt x="3020" y="107"/>
                  <a:pt x="3017" y="112"/>
                  <a:pt x="3018" y="118"/>
                </a:cubicBezTo>
                <a:cubicBezTo>
                  <a:pt x="3019" y="123"/>
                  <a:pt x="3025" y="128"/>
                  <a:pt x="3031" y="128"/>
                </a:cubicBezTo>
                <a:cubicBezTo>
                  <a:pt x="3036" y="128"/>
                  <a:pt x="3040" y="123"/>
                  <a:pt x="3039" y="117"/>
                </a:cubicBezTo>
                <a:cubicBezTo>
                  <a:pt x="3038" y="112"/>
                  <a:pt x="3032" y="107"/>
                  <a:pt x="3027" y="107"/>
                </a:cubicBezTo>
                <a:cubicBezTo>
                  <a:pt x="3026" y="107"/>
                  <a:pt x="3026" y="107"/>
                  <a:pt x="3026" y="107"/>
                </a:cubicBezTo>
                <a:moveTo>
                  <a:pt x="3057" y="107"/>
                </a:moveTo>
                <a:cubicBezTo>
                  <a:pt x="3051" y="107"/>
                  <a:pt x="3047" y="112"/>
                  <a:pt x="3049" y="117"/>
                </a:cubicBezTo>
                <a:cubicBezTo>
                  <a:pt x="3050" y="123"/>
                  <a:pt x="3056" y="128"/>
                  <a:pt x="3062" y="128"/>
                </a:cubicBezTo>
                <a:cubicBezTo>
                  <a:pt x="3067" y="128"/>
                  <a:pt x="3071" y="123"/>
                  <a:pt x="3070" y="117"/>
                </a:cubicBezTo>
                <a:cubicBezTo>
                  <a:pt x="3069" y="112"/>
                  <a:pt x="3063" y="107"/>
                  <a:pt x="3057" y="107"/>
                </a:cubicBezTo>
                <a:cubicBezTo>
                  <a:pt x="3057" y="107"/>
                  <a:pt x="3057" y="107"/>
                  <a:pt x="3057" y="107"/>
                </a:cubicBezTo>
                <a:moveTo>
                  <a:pt x="3088" y="107"/>
                </a:moveTo>
                <a:cubicBezTo>
                  <a:pt x="3082" y="107"/>
                  <a:pt x="3078" y="111"/>
                  <a:pt x="3080" y="117"/>
                </a:cubicBezTo>
                <a:cubicBezTo>
                  <a:pt x="3081" y="123"/>
                  <a:pt x="3087" y="127"/>
                  <a:pt x="3093" y="127"/>
                </a:cubicBezTo>
                <a:cubicBezTo>
                  <a:pt x="3099" y="127"/>
                  <a:pt x="3103" y="123"/>
                  <a:pt x="3101" y="117"/>
                </a:cubicBezTo>
                <a:cubicBezTo>
                  <a:pt x="3100" y="111"/>
                  <a:pt x="3094" y="107"/>
                  <a:pt x="3088" y="107"/>
                </a:cubicBezTo>
                <a:cubicBezTo>
                  <a:pt x="3088" y="107"/>
                  <a:pt x="3088" y="107"/>
                  <a:pt x="3088" y="107"/>
                </a:cubicBezTo>
                <a:moveTo>
                  <a:pt x="3119" y="106"/>
                </a:moveTo>
                <a:cubicBezTo>
                  <a:pt x="3113" y="107"/>
                  <a:pt x="3109" y="111"/>
                  <a:pt x="3110" y="117"/>
                </a:cubicBezTo>
                <a:cubicBezTo>
                  <a:pt x="3112" y="122"/>
                  <a:pt x="3118" y="127"/>
                  <a:pt x="3123" y="127"/>
                </a:cubicBezTo>
                <a:cubicBezTo>
                  <a:pt x="3129" y="127"/>
                  <a:pt x="3133" y="122"/>
                  <a:pt x="3132" y="117"/>
                </a:cubicBezTo>
                <a:cubicBezTo>
                  <a:pt x="3130" y="111"/>
                  <a:pt x="3125" y="106"/>
                  <a:pt x="3119" y="106"/>
                </a:cubicBezTo>
                <a:cubicBezTo>
                  <a:pt x="3119" y="106"/>
                  <a:pt x="3119" y="106"/>
                  <a:pt x="3119" y="106"/>
                </a:cubicBezTo>
                <a:moveTo>
                  <a:pt x="3149" y="106"/>
                </a:moveTo>
                <a:cubicBezTo>
                  <a:pt x="3143" y="106"/>
                  <a:pt x="3140" y="111"/>
                  <a:pt x="3141" y="117"/>
                </a:cubicBezTo>
                <a:cubicBezTo>
                  <a:pt x="3142" y="122"/>
                  <a:pt x="3148" y="127"/>
                  <a:pt x="3154" y="127"/>
                </a:cubicBezTo>
                <a:cubicBezTo>
                  <a:pt x="3160" y="127"/>
                  <a:pt x="3164" y="122"/>
                  <a:pt x="3163" y="116"/>
                </a:cubicBezTo>
                <a:cubicBezTo>
                  <a:pt x="3161" y="111"/>
                  <a:pt x="3155" y="106"/>
                  <a:pt x="3149" y="106"/>
                </a:cubicBezTo>
                <a:cubicBezTo>
                  <a:pt x="3149" y="106"/>
                  <a:pt x="3149" y="106"/>
                  <a:pt x="3149" y="106"/>
                </a:cubicBezTo>
                <a:moveTo>
                  <a:pt x="3180" y="106"/>
                </a:moveTo>
                <a:cubicBezTo>
                  <a:pt x="3174" y="106"/>
                  <a:pt x="3170" y="111"/>
                  <a:pt x="3172" y="116"/>
                </a:cubicBezTo>
                <a:cubicBezTo>
                  <a:pt x="3173" y="122"/>
                  <a:pt x="3179" y="126"/>
                  <a:pt x="3185" y="126"/>
                </a:cubicBezTo>
                <a:cubicBezTo>
                  <a:pt x="3191" y="126"/>
                  <a:pt x="3195" y="122"/>
                  <a:pt x="3193" y="116"/>
                </a:cubicBezTo>
                <a:cubicBezTo>
                  <a:pt x="3192" y="110"/>
                  <a:pt x="3186" y="106"/>
                  <a:pt x="3180" y="106"/>
                </a:cubicBezTo>
                <a:cubicBezTo>
                  <a:pt x="3180" y="106"/>
                  <a:pt x="3180" y="106"/>
                  <a:pt x="3180" y="106"/>
                </a:cubicBezTo>
                <a:moveTo>
                  <a:pt x="3211" y="106"/>
                </a:moveTo>
                <a:cubicBezTo>
                  <a:pt x="3205" y="106"/>
                  <a:pt x="3201" y="110"/>
                  <a:pt x="3203" y="116"/>
                </a:cubicBezTo>
                <a:cubicBezTo>
                  <a:pt x="3204" y="122"/>
                  <a:pt x="3210" y="126"/>
                  <a:pt x="3216" y="126"/>
                </a:cubicBezTo>
                <a:cubicBezTo>
                  <a:pt x="3222" y="126"/>
                  <a:pt x="3226" y="121"/>
                  <a:pt x="3224" y="116"/>
                </a:cubicBezTo>
                <a:cubicBezTo>
                  <a:pt x="3223" y="110"/>
                  <a:pt x="3217" y="106"/>
                  <a:pt x="3211" y="106"/>
                </a:cubicBezTo>
                <a:cubicBezTo>
                  <a:pt x="3211" y="106"/>
                  <a:pt x="3211" y="106"/>
                  <a:pt x="3211" y="106"/>
                </a:cubicBezTo>
                <a:moveTo>
                  <a:pt x="3242" y="105"/>
                </a:moveTo>
                <a:cubicBezTo>
                  <a:pt x="3236" y="105"/>
                  <a:pt x="3233" y="110"/>
                  <a:pt x="3235" y="116"/>
                </a:cubicBezTo>
                <a:cubicBezTo>
                  <a:pt x="3236" y="121"/>
                  <a:pt x="3242" y="126"/>
                  <a:pt x="3248" y="126"/>
                </a:cubicBezTo>
                <a:cubicBezTo>
                  <a:pt x="3254" y="126"/>
                  <a:pt x="3258" y="121"/>
                  <a:pt x="3256" y="115"/>
                </a:cubicBezTo>
                <a:cubicBezTo>
                  <a:pt x="3254" y="110"/>
                  <a:pt x="3248" y="105"/>
                  <a:pt x="3243" y="105"/>
                </a:cubicBezTo>
                <a:cubicBezTo>
                  <a:pt x="3242" y="105"/>
                  <a:pt x="3242" y="105"/>
                  <a:pt x="3242" y="105"/>
                </a:cubicBezTo>
                <a:moveTo>
                  <a:pt x="3273" y="105"/>
                </a:moveTo>
                <a:cubicBezTo>
                  <a:pt x="3267" y="105"/>
                  <a:pt x="3263" y="110"/>
                  <a:pt x="3265" y="115"/>
                </a:cubicBezTo>
                <a:cubicBezTo>
                  <a:pt x="3267" y="121"/>
                  <a:pt x="3273" y="126"/>
                  <a:pt x="3279" y="126"/>
                </a:cubicBezTo>
                <a:cubicBezTo>
                  <a:pt x="3285" y="125"/>
                  <a:pt x="3288" y="121"/>
                  <a:pt x="3287" y="115"/>
                </a:cubicBezTo>
                <a:cubicBezTo>
                  <a:pt x="3285" y="110"/>
                  <a:pt x="3279" y="105"/>
                  <a:pt x="3273" y="105"/>
                </a:cubicBezTo>
                <a:cubicBezTo>
                  <a:pt x="3273" y="105"/>
                  <a:pt x="3273" y="105"/>
                  <a:pt x="3273" y="105"/>
                </a:cubicBezTo>
                <a:moveTo>
                  <a:pt x="3303" y="105"/>
                </a:moveTo>
                <a:cubicBezTo>
                  <a:pt x="3297" y="105"/>
                  <a:pt x="3294" y="109"/>
                  <a:pt x="3296" y="115"/>
                </a:cubicBezTo>
                <a:cubicBezTo>
                  <a:pt x="3297" y="121"/>
                  <a:pt x="3303" y="125"/>
                  <a:pt x="3309" y="125"/>
                </a:cubicBezTo>
                <a:cubicBezTo>
                  <a:pt x="3315" y="125"/>
                  <a:pt x="3319" y="121"/>
                  <a:pt x="3317" y="115"/>
                </a:cubicBezTo>
                <a:cubicBezTo>
                  <a:pt x="3315" y="109"/>
                  <a:pt x="3309" y="105"/>
                  <a:pt x="3303" y="105"/>
                </a:cubicBezTo>
                <a:cubicBezTo>
                  <a:pt x="3303" y="105"/>
                  <a:pt x="3303" y="105"/>
                  <a:pt x="3303" y="105"/>
                </a:cubicBezTo>
                <a:moveTo>
                  <a:pt x="3334" y="104"/>
                </a:moveTo>
                <a:cubicBezTo>
                  <a:pt x="3328" y="104"/>
                  <a:pt x="3324" y="109"/>
                  <a:pt x="3326" y="115"/>
                </a:cubicBezTo>
                <a:cubicBezTo>
                  <a:pt x="3328" y="120"/>
                  <a:pt x="3334" y="125"/>
                  <a:pt x="3340" y="125"/>
                </a:cubicBezTo>
                <a:cubicBezTo>
                  <a:pt x="3346" y="125"/>
                  <a:pt x="3349" y="120"/>
                  <a:pt x="3348" y="115"/>
                </a:cubicBezTo>
                <a:cubicBezTo>
                  <a:pt x="3346" y="109"/>
                  <a:pt x="3340" y="104"/>
                  <a:pt x="3334" y="104"/>
                </a:cubicBezTo>
                <a:cubicBezTo>
                  <a:pt x="3334" y="104"/>
                  <a:pt x="3334" y="104"/>
                  <a:pt x="3334" y="104"/>
                </a:cubicBezTo>
                <a:moveTo>
                  <a:pt x="3364" y="104"/>
                </a:moveTo>
                <a:cubicBezTo>
                  <a:pt x="3358" y="104"/>
                  <a:pt x="3355" y="109"/>
                  <a:pt x="3357" y="114"/>
                </a:cubicBezTo>
                <a:cubicBezTo>
                  <a:pt x="3359" y="120"/>
                  <a:pt x="3365" y="125"/>
                  <a:pt x="3371" y="125"/>
                </a:cubicBezTo>
                <a:cubicBezTo>
                  <a:pt x="3377" y="125"/>
                  <a:pt x="3380" y="120"/>
                  <a:pt x="3378" y="114"/>
                </a:cubicBezTo>
                <a:cubicBezTo>
                  <a:pt x="3377" y="109"/>
                  <a:pt x="3370" y="104"/>
                  <a:pt x="3364" y="104"/>
                </a:cubicBezTo>
                <a:cubicBezTo>
                  <a:pt x="3364" y="104"/>
                  <a:pt x="3364" y="104"/>
                  <a:pt x="3364" y="104"/>
                </a:cubicBezTo>
                <a:moveTo>
                  <a:pt x="3395" y="104"/>
                </a:moveTo>
                <a:cubicBezTo>
                  <a:pt x="3389" y="104"/>
                  <a:pt x="3386" y="108"/>
                  <a:pt x="3388" y="114"/>
                </a:cubicBezTo>
                <a:cubicBezTo>
                  <a:pt x="3390" y="120"/>
                  <a:pt x="3396" y="124"/>
                  <a:pt x="3402" y="124"/>
                </a:cubicBezTo>
                <a:cubicBezTo>
                  <a:pt x="3408" y="124"/>
                  <a:pt x="3412" y="120"/>
                  <a:pt x="3410" y="114"/>
                </a:cubicBezTo>
                <a:cubicBezTo>
                  <a:pt x="3408" y="108"/>
                  <a:pt x="3401" y="104"/>
                  <a:pt x="3395" y="104"/>
                </a:cubicBezTo>
                <a:cubicBezTo>
                  <a:pt x="3395" y="104"/>
                  <a:pt x="3395" y="104"/>
                  <a:pt x="3395" y="104"/>
                </a:cubicBezTo>
                <a:moveTo>
                  <a:pt x="3426" y="103"/>
                </a:moveTo>
                <a:cubicBezTo>
                  <a:pt x="3420" y="104"/>
                  <a:pt x="3417" y="108"/>
                  <a:pt x="3419" y="114"/>
                </a:cubicBezTo>
                <a:cubicBezTo>
                  <a:pt x="3421" y="120"/>
                  <a:pt x="3427" y="124"/>
                  <a:pt x="3433" y="124"/>
                </a:cubicBezTo>
                <a:cubicBezTo>
                  <a:pt x="3439" y="124"/>
                  <a:pt x="3442" y="119"/>
                  <a:pt x="3440" y="114"/>
                </a:cubicBezTo>
                <a:cubicBezTo>
                  <a:pt x="3438" y="108"/>
                  <a:pt x="3432" y="103"/>
                  <a:pt x="3426" y="103"/>
                </a:cubicBezTo>
                <a:cubicBezTo>
                  <a:pt x="3426" y="103"/>
                  <a:pt x="3426" y="103"/>
                  <a:pt x="3426" y="103"/>
                </a:cubicBezTo>
                <a:moveTo>
                  <a:pt x="3550" y="102"/>
                </a:moveTo>
                <a:cubicBezTo>
                  <a:pt x="3544" y="102"/>
                  <a:pt x="3541" y="106"/>
                  <a:pt x="3543" y="112"/>
                </a:cubicBezTo>
                <a:cubicBezTo>
                  <a:pt x="3545" y="118"/>
                  <a:pt x="3552" y="122"/>
                  <a:pt x="3558" y="122"/>
                </a:cubicBezTo>
                <a:cubicBezTo>
                  <a:pt x="3564" y="122"/>
                  <a:pt x="3567" y="117"/>
                  <a:pt x="3565" y="112"/>
                </a:cubicBezTo>
                <a:cubicBezTo>
                  <a:pt x="3562" y="106"/>
                  <a:pt x="3556" y="102"/>
                  <a:pt x="3550" y="102"/>
                </a:cubicBezTo>
                <a:cubicBezTo>
                  <a:pt x="3550" y="102"/>
                  <a:pt x="3550" y="102"/>
                  <a:pt x="3550" y="102"/>
                </a:cubicBezTo>
                <a:moveTo>
                  <a:pt x="3580" y="101"/>
                </a:moveTo>
                <a:cubicBezTo>
                  <a:pt x="3574" y="101"/>
                  <a:pt x="3571" y="106"/>
                  <a:pt x="3573" y="112"/>
                </a:cubicBezTo>
                <a:cubicBezTo>
                  <a:pt x="3576" y="117"/>
                  <a:pt x="3582" y="122"/>
                  <a:pt x="3588" y="122"/>
                </a:cubicBezTo>
                <a:cubicBezTo>
                  <a:pt x="3594" y="122"/>
                  <a:pt x="3597" y="117"/>
                  <a:pt x="3595" y="111"/>
                </a:cubicBezTo>
                <a:cubicBezTo>
                  <a:pt x="3593" y="106"/>
                  <a:pt x="3586" y="101"/>
                  <a:pt x="3580" y="101"/>
                </a:cubicBezTo>
                <a:cubicBezTo>
                  <a:pt x="3580" y="101"/>
                  <a:pt x="3580" y="101"/>
                  <a:pt x="3580" y="101"/>
                </a:cubicBezTo>
                <a:moveTo>
                  <a:pt x="3610" y="101"/>
                </a:moveTo>
                <a:cubicBezTo>
                  <a:pt x="3604" y="101"/>
                  <a:pt x="3602" y="106"/>
                  <a:pt x="3604" y="111"/>
                </a:cubicBezTo>
                <a:cubicBezTo>
                  <a:pt x="3606" y="117"/>
                  <a:pt x="3613" y="122"/>
                  <a:pt x="3619" y="122"/>
                </a:cubicBezTo>
                <a:cubicBezTo>
                  <a:pt x="3625" y="121"/>
                  <a:pt x="3628" y="117"/>
                  <a:pt x="3625" y="111"/>
                </a:cubicBezTo>
                <a:cubicBezTo>
                  <a:pt x="3623" y="105"/>
                  <a:pt x="3616" y="101"/>
                  <a:pt x="3610" y="101"/>
                </a:cubicBezTo>
                <a:cubicBezTo>
                  <a:pt x="3610" y="101"/>
                  <a:pt x="3610" y="101"/>
                  <a:pt x="3610" y="101"/>
                </a:cubicBezTo>
                <a:moveTo>
                  <a:pt x="1621" y="91"/>
                </a:moveTo>
                <a:cubicBezTo>
                  <a:pt x="1615" y="91"/>
                  <a:pt x="1609" y="96"/>
                  <a:pt x="1607" y="101"/>
                </a:cubicBezTo>
                <a:cubicBezTo>
                  <a:pt x="1605" y="107"/>
                  <a:pt x="1608" y="111"/>
                  <a:pt x="1614" y="111"/>
                </a:cubicBezTo>
                <a:cubicBezTo>
                  <a:pt x="1620" y="111"/>
                  <a:pt x="1626" y="107"/>
                  <a:pt x="1628" y="101"/>
                </a:cubicBezTo>
                <a:cubicBezTo>
                  <a:pt x="1630" y="95"/>
                  <a:pt x="1627" y="91"/>
                  <a:pt x="1621" y="91"/>
                </a:cubicBezTo>
                <a:cubicBezTo>
                  <a:pt x="1621" y="91"/>
                  <a:pt x="1621" y="91"/>
                  <a:pt x="1621" y="91"/>
                </a:cubicBezTo>
                <a:moveTo>
                  <a:pt x="1652" y="91"/>
                </a:moveTo>
                <a:cubicBezTo>
                  <a:pt x="1646" y="91"/>
                  <a:pt x="1640" y="95"/>
                  <a:pt x="1638" y="101"/>
                </a:cubicBezTo>
                <a:cubicBezTo>
                  <a:pt x="1636" y="107"/>
                  <a:pt x="1639" y="111"/>
                  <a:pt x="1645" y="111"/>
                </a:cubicBezTo>
                <a:cubicBezTo>
                  <a:pt x="1651" y="111"/>
                  <a:pt x="1657" y="106"/>
                  <a:pt x="1659" y="101"/>
                </a:cubicBezTo>
                <a:cubicBezTo>
                  <a:pt x="1661" y="95"/>
                  <a:pt x="1658" y="91"/>
                  <a:pt x="1652" y="91"/>
                </a:cubicBezTo>
                <a:cubicBezTo>
                  <a:pt x="1652" y="91"/>
                  <a:pt x="1652" y="91"/>
                  <a:pt x="1652" y="91"/>
                </a:cubicBezTo>
                <a:moveTo>
                  <a:pt x="1682" y="90"/>
                </a:moveTo>
                <a:cubicBezTo>
                  <a:pt x="1676" y="90"/>
                  <a:pt x="1670" y="95"/>
                  <a:pt x="1668" y="101"/>
                </a:cubicBezTo>
                <a:cubicBezTo>
                  <a:pt x="1666" y="106"/>
                  <a:pt x="1670" y="111"/>
                  <a:pt x="1676" y="111"/>
                </a:cubicBezTo>
                <a:cubicBezTo>
                  <a:pt x="1682" y="111"/>
                  <a:pt x="1688" y="106"/>
                  <a:pt x="1690" y="100"/>
                </a:cubicBezTo>
                <a:cubicBezTo>
                  <a:pt x="1691" y="95"/>
                  <a:pt x="1688" y="90"/>
                  <a:pt x="1682" y="90"/>
                </a:cubicBezTo>
                <a:cubicBezTo>
                  <a:pt x="1682" y="90"/>
                  <a:pt x="1682" y="90"/>
                  <a:pt x="1682" y="90"/>
                </a:cubicBezTo>
                <a:moveTo>
                  <a:pt x="1713" y="90"/>
                </a:moveTo>
                <a:cubicBezTo>
                  <a:pt x="1707" y="90"/>
                  <a:pt x="1701" y="95"/>
                  <a:pt x="1699" y="100"/>
                </a:cubicBezTo>
                <a:cubicBezTo>
                  <a:pt x="1697" y="106"/>
                  <a:pt x="1700" y="110"/>
                  <a:pt x="1706" y="110"/>
                </a:cubicBezTo>
                <a:cubicBezTo>
                  <a:pt x="1712" y="110"/>
                  <a:pt x="1718" y="106"/>
                  <a:pt x="1720" y="100"/>
                </a:cubicBezTo>
                <a:cubicBezTo>
                  <a:pt x="1722" y="95"/>
                  <a:pt x="1719" y="90"/>
                  <a:pt x="1713" y="90"/>
                </a:cubicBezTo>
                <a:cubicBezTo>
                  <a:pt x="1713" y="90"/>
                  <a:pt x="1713" y="90"/>
                  <a:pt x="1713" y="90"/>
                </a:cubicBezTo>
                <a:moveTo>
                  <a:pt x="1743" y="90"/>
                </a:moveTo>
                <a:cubicBezTo>
                  <a:pt x="1737" y="90"/>
                  <a:pt x="1731" y="94"/>
                  <a:pt x="1729" y="100"/>
                </a:cubicBezTo>
                <a:cubicBezTo>
                  <a:pt x="1727" y="106"/>
                  <a:pt x="1731" y="110"/>
                  <a:pt x="1737" y="110"/>
                </a:cubicBezTo>
                <a:cubicBezTo>
                  <a:pt x="1743" y="110"/>
                  <a:pt x="1749" y="105"/>
                  <a:pt x="1751" y="100"/>
                </a:cubicBezTo>
                <a:cubicBezTo>
                  <a:pt x="1752" y="94"/>
                  <a:pt x="1749" y="90"/>
                  <a:pt x="1743" y="90"/>
                </a:cubicBezTo>
                <a:cubicBezTo>
                  <a:pt x="1743" y="90"/>
                  <a:pt x="1743" y="90"/>
                  <a:pt x="1743" y="90"/>
                </a:cubicBezTo>
                <a:moveTo>
                  <a:pt x="1773" y="89"/>
                </a:moveTo>
                <a:cubicBezTo>
                  <a:pt x="1768" y="90"/>
                  <a:pt x="1761" y="94"/>
                  <a:pt x="1760" y="100"/>
                </a:cubicBezTo>
                <a:cubicBezTo>
                  <a:pt x="1758" y="105"/>
                  <a:pt x="1762" y="110"/>
                  <a:pt x="1768" y="110"/>
                </a:cubicBezTo>
                <a:cubicBezTo>
                  <a:pt x="1774" y="110"/>
                  <a:pt x="1780" y="105"/>
                  <a:pt x="1781" y="100"/>
                </a:cubicBezTo>
                <a:cubicBezTo>
                  <a:pt x="1783" y="94"/>
                  <a:pt x="1779" y="89"/>
                  <a:pt x="1774" y="89"/>
                </a:cubicBezTo>
                <a:cubicBezTo>
                  <a:pt x="1774" y="89"/>
                  <a:pt x="1774" y="89"/>
                  <a:pt x="1773" y="89"/>
                </a:cubicBezTo>
                <a:moveTo>
                  <a:pt x="1805" y="89"/>
                </a:moveTo>
                <a:cubicBezTo>
                  <a:pt x="1799" y="89"/>
                  <a:pt x="1793" y="94"/>
                  <a:pt x="1791" y="99"/>
                </a:cubicBezTo>
                <a:cubicBezTo>
                  <a:pt x="1790" y="105"/>
                  <a:pt x="1793" y="110"/>
                  <a:pt x="1799" y="109"/>
                </a:cubicBezTo>
                <a:cubicBezTo>
                  <a:pt x="1805" y="109"/>
                  <a:pt x="1811" y="105"/>
                  <a:pt x="1813" y="99"/>
                </a:cubicBezTo>
                <a:cubicBezTo>
                  <a:pt x="1814" y="94"/>
                  <a:pt x="1811" y="89"/>
                  <a:pt x="1805" y="89"/>
                </a:cubicBezTo>
                <a:cubicBezTo>
                  <a:pt x="1805" y="89"/>
                  <a:pt x="1805" y="89"/>
                  <a:pt x="1805" y="89"/>
                </a:cubicBezTo>
                <a:moveTo>
                  <a:pt x="1835" y="89"/>
                </a:moveTo>
                <a:cubicBezTo>
                  <a:pt x="1829" y="89"/>
                  <a:pt x="1823" y="93"/>
                  <a:pt x="1822" y="99"/>
                </a:cubicBezTo>
                <a:cubicBezTo>
                  <a:pt x="1820" y="105"/>
                  <a:pt x="1824" y="109"/>
                  <a:pt x="1830" y="109"/>
                </a:cubicBezTo>
                <a:cubicBezTo>
                  <a:pt x="1836" y="109"/>
                  <a:pt x="1842" y="105"/>
                  <a:pt x="1843" y="99"/>
                </a:cubicBezTo>
                <a:cubicBezTo>
                  <a:pt x="1845" y="93"/>
                  <a:pt x="1841" y="89"/>
                  <a:pt x="1835" y="89"/>
                </a:cubicBezTo>
                <a:cubicBezTo>
                  <a:pt x="1835" y="89"/>
                  <a:pt x="1835" y="89"/>
                  <a:pt x="1835" y="89"/>
                </a:cubicBezTo>
                <a:moveTo>
                  <a:pt x="1866" y="89"/>
                </a:moveTo>
                <a:cubicBezTo>
                  <a:pt x="1860" y="89"/>
                  <a:pt x="1854" y="93"/>
                  <a:pt x="1852" y="99"/>
                </a:cubicBezTo>
                <a:cubicBezTo>
                  <a:pt x="1851" y="104"/>
                  <a:pt x="1855" y="109"/>
                  <a:pt x="1861" y="109"/>
                </a:cubicBezTo>
                <a:cubicBezTo>
                  <a:pt x="1867" y="109"/>
                  <a:pt x="1872" y="104"/>
                  <a:pt x="1874" y="99"/>
                </a:cubicBezTo>
                <a:cubicBezTo>
                  <a:pt x="1875" y="93"/>
                  <a:pt x="1872" y="89"/>
                  <a:pt x="1866" y="89"/>
                </a:cubicBezTo>
                <a:cubicBezTo>
                  <a:pt x="1866" y="89"/>
                  <a:pt x="1866" y="89"/>
                  <a:pt x="1866" y="89"/>
                </a:cubicBezTo>
                <a:moveTo>
                  <a:pt x="1897" y="88"/>
                </a:moveTo>
                <a:cubicBezTo>
                  <a:pt x="1891" y="88"/>
                  <a:pt x="1885" y="93"/>
                  <a:pt x="1883" y="99"/>
                </a:cubicBezTo>
                <a:cubicBezTo>
                  <a:pt x="1882" y="104"/>
                  <a:pt x="1886" y="109"/>
                  <a:pt x="1892" y="109"/>
                </a:cubicBezTo>
                <a:cubicBezTo>
                  <a:pt x="1898" y="109"/>
                  <a:pt x="1903" y="104"/>
                  <a:pt x="1905" y="98"/>
                </a:cubicBezTo>
                <a:cubicBezTo>
                  <a:pt x="1906" y="93"/>
                  <a:pt x="1902" y="88"/>
                  <a:pt x="1897" y="88"/>
                </a:cubicBezTo>
                <a:cubicBezTo>
                  <a:pt x="1897" y="88"/>
                  <a:pt x="1897" y="88"/>
                  <a:pt x="1897" y="88"/>
                </a:cubicBezTo>
                <a:moveTo>
                  <a:pt x="1927" y="88"/>
                </a:moveTo>
                <a:cubicBezTo>
                  <a:pt x="1921" y="88"/>
                  <a:pt x="1915" y="93"/>
                  <a:pt x="1914" y="98"/>
                </a:cubicBezTo>
                <a:cubicBezTo>
                  <a:pt x="1912" y="104"/>
                  <a:pt x="1916" y="108"/>
                  <a:pt x="1922" y="108"/>
                </a:cubicBezTo>
                <a:cubicBezTo>
                  <a:pt x="1928" y="108"/>
                  <a:pt x="1934" y="104"/>
                  <a:pt x="1935" y="98"/>
                </a:cubicBezTo>
                <a:cubicBezTo>
                  <a:pt x="1936" y="92"/>
                  <a:pt x="1933" y="88"/>
                  <a:pt x="1927" y="88"/>
                </a:cubicBezTo>
                <a:cubicBezTo>
                  <a:pt x="1927" y="88"/>
                  <a:pt x="1927" y="88"/>
                  <a:pt x="1927" y="88"/>
                </a:cubicBezTo>
                <a:moveTo>
                  <a:pt x="2688" y="79"/>
                </a:moveTo>
                <a:cubicBezTo>
                  <a:pt x="2682" y="79"/>
                  <a:pt x="2678" y="84"/>
                  <a:pt x="2678" y="90"/>
                </a:cubicBezTo>
                <a:cubicBezTo>
                  <a:pt x="2678" y="95"/>
                  <a:pt x="2683" y="100"/>
                  <a:pt x="2689" y="100"/>
                </a:cubicBezTo>
                <a:cubicBezTo>
                  <a:pt x="2695" y="100"/>
                  <a:pt x="2700" y="95"/>
                  <a:pt x="2699" y="89"/>
                </a:cubicBezTo>
                <a:cubicBezTo>
                  <a:pt x="2699" y="84"/>
                  <a:pt x="2694" y="79"/>
                  <a:pt x="2688" y="79"/>
                </a:cubicBezTo>
                <a:cubicBezTo>
                  <a:pt x="2688" y="79"/>
                  <a:pt x="2688" y="79"/>
                  <a:pt x="2688" y="79"/>
                </a:cubicBezTo>
                <a:moveTo>
                  <a:pt x="2718" y="79"/>
                </a:moveTo>
                <a:cubicBezTo>
                  <a:pt x="2712" y="79"/>
                  <a:pt x="2708" y="84"/>
                  <a:pt x="2708" y="89"/>
                </a:cubicBezTo>
                <a:cubicBezTo>
                  <a:pt x="2709" y="95"/>
                  <a:pt x="2714" y="99"/>
                  <a:pt x="2720" y="99"/>
                </a:cubicBezTo>
                <a:cubicBezTo>
                  <a:pt x="2726" y="99"/>
                  <a:pt x="2730" y="95"/>
                  <a:pt x="2730" y="89"/>
                </a:cubicBezTo>
                <a:cubicBezTo>
                  <a:pt x="2729" y="83"/>
                  <a:pt x="2724" y="79"/>
                  <a:pt x="2718" y="79"/>
                </a:cubicBezTo>
                <a:cubicBezTo>
                  <a:pt x="2718" y="79"/>
                  <a:pt x="2718" y="79"/>
                  <a:pt x="2718" y="79"/>
                </a:cubicBezTo>
                <a:moveTo>
                  <a:pt x="2990" y="78"/>
                </a:moveTo>
                <a:cubicBezTo>
                  <a:pt x="2985" y="78"/>
                  <a:pt x="2981" y="83"/>
                  <a:pt x="2982" y="88"/>
                </a:cubicBezTo>
                <a:cubicBezTo>
                  <a:pt x="2983" y="94"/>
                  <a:pt x="2988" y="99"/>
                  <a:pt x="2994" y="99"/>
                </a:cubicBezTo>
                <a:cubicBezTo>
                  <a:pt x="3000" y="99"/>
                  <a:pt x="3004" y="94"/>
                  <a:pt x="3003" y="88"/>
                </a:cubicBezTo>
                <a:cubicBezTo>
                  <a:pt x="3002" y="83"/>
                  <a:pt x="2996" y="78"/>
                  <a:pt x="2990" y="78"/>
                </a:cubicBezTo>
                <a:cubicBezTo>
                  <a:pt x="2990" y="78"/>
                  <a:pt x="2990" y="78"/>
                  <a:pt x="2990" y="78"/>
                </a:cubicBezTo>
                <a:moveTo>
                  <a:pt x="3021" y="78"/>
                </a:moveTo>
                <a:cubicBezTo>
                  <a:pt x="3015" y="78"/>
                  <a:pt x="3011" y="82"/>
                  <a:pt x="3012" y="88"/>
                </a:cubicBezTo>
                <a:cubicBezTo>
                  <a:pt x="3013" y="94"/>
                  <a:pt x="3019" y="98"/>
                  <a:pt x="3025" y="98"/>
                </a:cubicBezTo>
                <a:cubicBezTo>
                  <a:pt x="3030" y="98"/>
                  <a:pt x="3034" y="94"/>
                  <a:pt x="3033" y="88"/>
                </a:cubicBezTo>
                <a:cubicBezTo>
                  <a:pt x="3032" y="82"/>
                  <a:pt x="3026" y="78"/>
                  <a:pt x="3021" y="78"/>
                </a:cubicBezTo>
                <a:cubicBezTo>
                  <a:pt x="3021" y="78"/>
                  <a:pt x="3021" y="78"/>
                  <a:pt x="3021" y="78"/>
                </a:cubicBezTo>
                <a:moveTo>
                  <a:pt x="3051" y="77"/>
                </a:moveTo>
                <a:cubicBezTo>
                  <a:pt x="3045" y="78"/>
                  <a:pt x="3041" y="82"/>
                  <a:pt x="3042" y="88"/>
                </a:cubicBezTo>
                <a:cubicBezTo>
                  <a:pt x="3044" y="94"/>
                  <a:pt x="3049" y="98"/>
                  <a:pt x="3055" y="98"/>
                </a:cubicBezTo>
                <a:cubicBezTo>
                  <a:pt x="3061" y="98"/>
                  <a:pt x="3065" y="93"/>
                  <a:pt x="3064" y="88"/>
                </a:cubicBezTo>
                <a:cubicBezTo>
                  <a:pt x="3063" y="82"/>
                  <a:pt x="3057" y="77"/>
                  <a:pt x="3051" y="77"/>
                </a:cubicBezTo>
                <a:cubicBezTo>
                  <a:pt x="3051" y="77"/>
                  <a:pt x="3051" y="77"/>
                  <a:pt x="3051" y="77"/>
                </a:cubicBezTo>
                <a:moveTo>
                  <a:pt x="3082" y="77"/>
                </a:moveTo>
                <a:cubicBezTo>
                  <a:pt x="3076" y="77"/>
                  <a:pt x="3072" y="82"/>
                  <a:pt x="3073" y="88"/>
                </a:cubicBezTo>
                <a:cubicBezTo>
                  <a:pt x="3074" y="93"/>
                  <a:pt x="3080" y="98"/>
                  <a:pt x="3086" y="98"/>
                </a:cubicBezTo>
                <a:cubicBezTo>
                  <a:pt x="3092" y="98"/>
                  <a:pt x="3096" y="93"/>
                  <a:pt x="3095" y="87"/>
                </a:cubicBezTo>
                <a:cubicBezTo>
                  <a:pt x="3093" y="82"/>
                  <a:pt x="3088" y="77"/>
                  <a:pt x="3082" y="77"/>
                </a:cubicBezTo>
                <a:cubicBezTo>
                  <a:pt x="3082" y="77"/>
                  <a:pt x="3082" y="77"/>
                  <a:pt x="3082" y="77"/>
                </a:cubicBezTo>
                <a:moveTo>
                  <a:pt x="3112" y="77"/>
                </a:moveTo>
                <a:cubicBezTo>
                  <a:pt x="3106" y="77"/>
                  <a:pt x="3102" y="82"/>
                  <a:pt x="3103" y="87"/>
                </a:cubicBezTo>
                <a:cubicBezTo>
                  <a:pt x="3105" y="93"/>
                  <a:pt x="3111" y="97"/>
                  <a:pt x="3117" y="97"/>
                </a:cubicBezTo>
                <a:cubicBezTo>
                  <a:pt x="3122" y="97"/>
                  <a:pt x="3126" y="93"/>
                  <a:pt x="3125" y="87"/>
                </a:cubicBezTo>
                <a:cubicBezTo>
                  <a:pt x="3123" y="81"/>
                  <a:pt x="3118" y="77"/>
                  <a:pt x="3112" y="77"/>
                </a:cubicBezTo>
                <a:cubicBezTo>
                  <a:pt x="3112" y="77"/>
                  <a:pt x="3112" y="77"/>
                  <a:pt x="3112" y="77"/>
                </a:cubicBezTo>
                <a:moveTo>
                  <a:pt x="3142" y="77"/>
                </a:moveTo>
                <a:cubicBezTo>
                  <a:pt x="3136" y="77"/>
                  <a:pt x="3133" y="81"/>
                  <a:pt x="3134" y="87"/>
                </a:cubicBezTo>
                <a:cubicBezTo>
                  <a:pt x="3135" y="93"/>
                  <a:pt x="3141" y="97"/>
                  <a:pt x="3147" y="97"/>
                </a:cubicBezTo>
                <a:cubicBezTo>
                  <a:pt x="3153" y="97"/>
                  <a:pt x="3157" y="92"/>
                  <a:pt x="3155" y="87"/>
                </a:cubicBezTo>
                <a:cubicBezTo>
                  <a:pt x="3154" y="81"/>
                  <a:pt x="3148" y="77"/>
                  <a:pt x="3142" y="77"/>
                </a:cubicBezTo>
                <a:cubicBezTo>
                  <a:pt x="3142" y="77"/>
                  <a:pt x="3142" y="77"/>
                  <a:pt x="3142" y="77"/>
                </a:cubicBezTo>
                <a:moveTo>
                  <a:pt x="3172" y="76"/>
                </a:moveTo>
                <a:cubicBezTo>
                  <a:pt x="3166" y="76"/>
                  <a:pt x="3163" y="81"/>
                  <a:pt x="3164" y="87"/>
                </a:cubicBezTo>
                <a:cubicBezTo>
                  <a:pt x="3166" y="92"/>
                  <a:pt x="3172" y="97"/>
                  <a:pt x="3177" y="97"/>
                </a:cubicBezTo>
                <a:cubicBezTo>
                  <a:pt x="3183" y="97"/>
                  <a:pt x="3187" y="92"/>
                  <a:pt x="3185" y="86"/>
                </a:cubicBezTo>
                <a:cubicBezTo>
                  <a:pt x="3184" y="81"/>
                  <a:pt x="3178" y="76"/>
                  <a:pt x="3172" y="76"/>
                </a:cubicBezTo>
                <a:cubicBezTo>
                  <a:pt x="3172" y="76"/>
                  <a:pt x="3172" y="76"/>
                  <a:pt x="3172" y="76"/>
                </a:cubicBezTo>
                <a:moveTo>
                  <a:pt x="3536" y="66"/>
                </a:moveTo>
                <a:cubicBezTo>
                  <a:pt x="3530" y="66"/>
                  <a:pt x="3527" y="71"/>
                  <a:pt x="3529" y="77"/>
                </a:cubicBezTo>
                <a:cubicBezTo>
                  <a:pt x="3531" y="82"/>
                  <a:pt x="3538" y="87"/>
                  <a:pt x="3544" y="87"/>
                </a:cubicBezTo>
                <a:cubicBezTo>
                  <a:pt x="3550" y="87"/>
                  <a:pt x="3553" y="82"/>
                  <a:pt x="3550" y="77"/>
                </a:cubicBezTo>
                <a:cubicBezTo>
                  <a:pt x="3548" y="71"/>
                  <a:pt x="3542" y="66"/>
                  <a:pt x="3536" y="66"/>
                </a:cubicBezTo>
                <a:cubicBezTo>
                  <a:pt x="3536" y="66"/>
                  <a:pt x="3536" y="66"/>
                  <a:pt x="3536" y="66"/>
                </a:cubicBezTo>
                <a:moveTo>
                  <a:pt x="1421" y="62"/>
                </a:moveTo>
                <a:cubicBezTo>
                  <a:pt x="1415" y="63"/>
                  <a:pt x="1408" y="67"/>
                  <a:pt x="1406" y="73"/>
                </a:cubicBezTo>
                <a:cubicBezTo>
                  <a:pt x="1403" y="78"/>
                  <a:pt x="1406" y="83"/>
                  <a:pt x="1412" y="83"/>
                </a:cubicBezTo>
                <a:cubicBezTo>
                  <a:pt x="1418" y="83"/>
                  <a:pt x="1424" y="78"/>
                  <a:pt x="1427" y="73"/>
                </a:cubicBezTo>
                <a:cubicBezTo>
                  <a:pt x="1429" y="67"/>
                  <a:pt x="1426" y="62"/>
                  <a:pt x="1421" y="62"/>
                </a:cubicBezTo>
                <a:cubicBezTo>
                  <a:pt x="1421" y="62"/>
                  <a:pt x="1421" y="62"/>
                  <a:pt x="1421" y="62"/>
                </a:cubicBezTo>
                <a:moveTo>
                  <a:pt x="1512" y="62"/>
                </a:moveTo>
                <a:cubicBezTo>
                  <a:pt x="1506" y="62"/>
                  <a:pt x="1499" y="66"/>
                  <a:pt x="1497" y="72"/>
                </a:cubicBezTo>
                <a:cubicBezTo>
                  <a:pt x="1495" y="77"/>
                  <a:pt x="1498" y="82"/>
                  <a:pt x="1504" y="82"/>
                </a:cubicBezTo>
                <a:cubicBezTo>
                  <a:pt x="1509" y="82"/>
                  <a:pt x="1516" y="77"/>
                  <a:pt x="1518" y="72"/>
                </a:cubicBezTo>
                <a:cubicBezTo>
                  <a:pt x="1520" y="66"/>
                  <a:pt x="1517" y="62"/>
                  <a:pt x="1512" y="62"/>
                </a:cubicBezTo>
                <a:cubicBezTo>
                  <a:pt x="1512" y="62"/>
                  <a:pt x="1512" y="62"/>
                  <a:pt x="1512" y="62"/>
                </a:cubicBezTo>
                <a:moveTo>
                  <a:pt x="1543" y="61"/>
                </a:moveTo>
                <a:cubicBezTo>
                  <a:pt x="1537" y="61"/>
                  <a:pt x="1531" y="66"/>
                  <a:pt x="1529" y="71"/>
                </a:cubicBezTo>
                <a:cubicBezTo>
                  <a:pt x="1527" y="77"/>
                  <a:pt x="1530" y="82"/>
                  <a:pt x="1535" y="82"/>
                </a:cubicBezTo>
                <a:cubicBezTo>
                  <a:pt x="1541" y="81"/>
                  <a:pt x="1548" y="77"/>
                  <a:pt x="1550" y="71"/>
                </a:cubicBezTo>
                <a:cubicBezTo>
                  <a:pt x="1552" y="66"/>
                  <a:pt x="1549" y="61"/>
                  <a:pt x="1543" y="61"/>
                </a:cubicBezTo>
                <a:cubicBezTo>
                  <a:pt x="1543" y="61"/>
                  <a:pt x="1543" y="61"/>
                  <a:pt x="1543" y="61"/>
                </a:cubicBezTo>
                <a:moveTo>
                  <a:pt x="1572" y="61"/>
                </a:moveTo>
                <a:cubicBezTo>
                  <a:pt x="1566" y="61"/>
                  <a:pt x="1559" y="66"/>
                  <a:pt x="1557" y="71"/>
                </a:cubicBezTo>
                <a:cubicBezTo>
                  <a:pt x="1555" y="77"/>
                  <a:pt x="1558" y="81"/>
                  <a:pt x="1564" y="81"/>
                </a:cubicBezTo>
                <a:cubicBezTo>
                  <a:pt x="1570" y="81"/>
                  <a:pt x="1576" y="77"/>
                  <a:pt x="1578" y="71"/>
                </a:cubicBezTo>
                <a:cubicBezTo>
                  <a:pt x="1580" y="65"/>
                  <a:pt x="1577" y="61"/>
                  <a:pt x="1572" y="61"/>
                </a:cubicBezTo>
                <a:cubicBezTo>
                  <a:pt x="1572" y="61"/>
                  <a:pt x="1572" y="61"/>
                  <a:pt x="1572" y="61"/>
                </a:cubicBezTo>
                <a:moveTo>
                  <a:pt x="1602" y="61"/>
                </a:moveTo>
                <a:cubicBezTo>
                  <a:pt x="1596" y="61"/>
                  <a:pt x="1589" y="65"/>
                  <a:pt x="1587" y="71"/>
                </a:cubicBezTo>
                <a:cubicBezTo>
                  <a:pt x="1585" y="77"/>
                  <a:pt x="1588" y="81"/>
                  <a:pt x="1594" y="81"/>
                </a:cubicBezTo>
                <a:cubicBezTo>
                  <a:pt x="1600" y="81"/>
                  <a:pt x="1606" y="76"/>
                  <a:pt x="1608" y="71"/>
                </a:cubicBezTo>
                <a:cubicBezTo>
                  <a:pt x="1610" y="65"/>
                  <a:pt x="1607" y="61"/>
                  <a:pt x="1602" y="61"/>
                </a:cubicBezTo>
                <a:cubicBezTo>
                  <a:pt x="1602" y="61"/>
                  <a:pt x="1602" y="61"/>
                  <a:pt x="1602" y="61"/>
                </a:cubicBezTo>
                <a:moveTo>
                  <a:pt x="1632" y="60"/>
                </a:moveTo>
                <a:cubicBezTo>
                  <a:pt x="1626" y="60"/>
                  <a:pt x="1620" y="65"/>
                  <a:pt x="1618" y="71"/>
                </a:cubicBezTo>
                <a:cubicBezTo>
                  <a:pt x="1616" y="76"/>
                  <a:pt x="1619" y="81"/>
                  <a:pt x="1625" y="81"/>
                </a:cubicBezTo>
                <a:cubicBezTo>
                  <a:pt x="1631" y="81"/>
                  <a:pt x="1637" y="76"/>
                  <a:pt x="1639" y="70"/>
                </a:cubicBezTo>
                <a:cubicBezTo>
                  <a:pt x="1641" y="65"/>
                  <a:pt x="1638" y="60"/>
                  <a:pt x="1632" y="60"/>
                </a:cubicBezTo>
                <a:cubicBezTo>
                  <a:pt x="1632" y="60"/>
                  <a:pt x="1632" y="60"/>
                  <a:pt x="1632" y="60"/>
                </a:cubicBezTo>
                <a:moveTo>
                  <a:pt x="1662" y="60"/>
                </a:moveTo>
                <a:cubicBezTo>
                  <a:pt x="1656" y="60"/>
                  <a:pt x="1650" y="65"/>
                  <a:pt x="1648" y="70"/>
                </a:cubicBezTo>
                <a:cubicBezTo>
                  <a:pt x="1646" y="76"/>
                  <a:pt x="1649" y="80"/>
                  <a:pt x="1655" y="80"/>
                </a:cubicBezTo>
                <a:cubicBezTo>
                  <a:pt x="1661" y="80"/>
                  <a:pt x="1667" y="76"/>
                  <a:pt x="1669" y="70"/>
                </a:cubicBezTo>
                <a:cubicBezTo>
                  <a:pt x="1671" y="64"/>
                  <a:pt x="1668" y="60"/>
                  <a:pt x="1662" y="60"/>
                </a:cubicBezTo>
                <a:cubicBezTo>
                  <a:pt x="1662" y="60"/>
                  <a:pt x="1662" y="60"/>
                  <a:pt x="1662" y="60"/>
                </a:cubicBezTo>
                <a:moveTo>
                  <a:pt x="1692" y="60"/>
                </a:moveTo>
                <a:cubicBezTo>
                  <a:pt x="1686" y="60"/>
                  <a:pt x="1680" y="64"/>
                  <a:pt x="1678" y="70"/>
                </a:cubicBezTo>
                <a:cubicBezTo>
                  <a:pt x="1676" y="76"/>
                  <a:pt x="1680" y="80"/>
                  <a:pt x="1686" y="80"/>
                </a:cubicBezTo>
                <a:cubicBezTo>
                  <a:pt x="1691" y="80"/>
                  <a:pt x="1698" y="75"/>
                  <a:pt x="1699" y="70"/>
                </a:cubicBezTo>
                <a:cubicBezTo>
                  <a:pt x="1701" y="64"/>
                  <a:pt x="1698" y="60"/>
                  <a:pt x="1692" y="60"/>
                </a:cubicBezTo>
                <a:cubicBezTo>
                  <a:pt x="1692" y="60"/>
                  <a:pt x="1692" y="60"/>
                  <a:pt x="1692" y="60"/>
                </a:cubicBezTo>
                <a:moveTo>
                  <a:pt x="1722" y="59"/>
                </a:moveTo>
                <a:cubicBezTo>
                  <a:pt x="1716" y="59"/>
                  <a:pt x="1710" y="64"/>
                  <a:pt x="1708" y="70"/>
                </a:cubicBezTo>
                <a:cubicBezTo>
                  <a:pt x="1707" y="75"/>
                  <a:pt x="1710" y="80"/>
                  <a:pt x="1716" y="80"/>
                </a:cubicBezTo>
                <a:cubicBezTo>
                  <a:pt x="1722" y="80"/>
                  <a:pt x="1728" y="75"/>
                  <a:pt x="1730" y="69"/>
                </a:cubicBezTo>
                <a:cubicBezTo>
                  <a:pt x="1731" y="64"/>
                  <a:pt x="1728" y="59"/>
                  <a:pt x="1722" y="59"/>
                </a:cubicBezTo>
                <a:cubicBezTo>
                  <a:pt x="1722" y="59"/>
                  <a:pt x="1722" y="59"/>
                  <a:pt x="1722" y="59"/>
                </a:cubicBezTo>
                <a:moveTo>
                  <a:pt x="1752" y="59"/>
                </a:moveTo>
                <a:cubicBezTo>
                  <a:pt x="1746" y="59"/>
                  <a:pt x="1740" y="64"/>
                  <a:pt x="1738" y="69"/>
                </a:cubicBezTo>
                <a:cubicBezTo>
                  <a:pt x="1737" y="75"/>
                  <a:pt x="1740" y="80"/>
                  <a:pt x="1746" y="79"/>
                </a:cubicBezTo>
                <a:cubicBezTo>
                  <a:pt x="1752" y="79"/>
                  <a:pt x="1758" y="75"/>
                  <a:pt x="1760" y="69"/>
                </a:cubicBezTo>
                <a:cubicBezTo>
                  <a:pt x="1761" y="64"/>
                  <a:pt x="1758" y="59"/>
                  <a:pt x="1752" y="59"/>
                </a:cubicBezTo>
                <a:cubicBezTo>
                  <a:pt x="1752" y="59"/>
                  <a:pt x="1752" y="59"/>
                  <a:pt x="1752" y="59"/>
                </a:cubicBezTo>
                <a:moveTo>
                  <a:pt x="1782" y="59"/>
                </a:moveTo>
                <a:cubicBezTo>
                  <a:pt x="1776" y="59"/>
                  <a:pt x="1770" y="63"/>
                  <a:pt x="1769" y="69"/>
                </a:cubicBezTo>
                <a:cubicBezTo>
                  <a:pt x="1767" y="75"/>
                  <a:pt x="1771" y="79"/>
                  <a:pt x="1776" y="79"/>
                </a:cubicBezTo>
                <a:cubicBezTo>
                  <a:pt x="1782" y="79"/>
                  <a:pt x="1788" y="74"/>
                  <a:pt x="1790" y="69"/>
                </a:cubicBezTo>
                <a:cubicBezTo>
                  <a:pt x="1792" y="63"/>
                  <a:pt x="1788" y="59"/>
                  <a:pt x="1782" y="59"/>
                </a:cubicBezTo>
                <a:cubicBezTo>
                  <a:pt x="1782" y="59"/>
                  <a:pt x="1782" y="59"/>
                  <a:pt x="1782" y="59"/>
                </a:cubicBezTo>
                <a:moveTo>
                  <a:pt x="1813" y="58"/>
                </a:moveTo>
                <a:cubicBezTo>
                  <a:pt x="1808" y="59"/>
                  <a:pt x="1802" y="63"/>
                  <a:pt x="1800" y="69"/>
                </a:cubicBezTo>
                <a:cubicBezTo>
                  <a:pt x="1798" y="74"/>
                  <a:pt x="1802" y="79"/>
                  <a:pt x="1808" y="79"/>
                </a:cubicBezTo>
                <a:cubicBezTo>
                  <a:pt x="1814" y="79"/>
                  <a:pt x="1820" y="74"/>
                  <a:pt x="1821" y="69"/>
                </a:cubicBezTo>
                <a:cubicBezTo>
                  <a:pt x="1823" y="63"/>
                  <a:pt x="1819" y="58"/>
                  <a:pt x="1813" y="58"/>
                </a:cubicBezTo>
                <a:cubicBezTo>
                  <a:pt x="1813" y="58"/>
                  <a:pt x="1813" y="58"/>
                  <a:pt x="1813" y="58"/>
                </a:cubicBezTo>
                <a:moveTo>
                  <a:pt x="1843" y="58"/>
                </a:moveTo>
                <a:cubicBezTo>
                  <a:pt x="1837" y="58"/>
                  <a:pt x="1832" y="63"/>
                  <a:pt x="1830" y="68"/>
                </a:cubicBezTo>
                <a:cubicBezTo>
                  <a:pt x="1829" y="74"/>
                  <a:pt x="1832" y="79"/>
                  <a:pt x="1838" y="79"/>
                </a:cubicBezTo>
                <a:cubicBezTo>
                  <a:pt x="1844" y="78"/>
                  <a:pt x="1850" y="74"/>
                  <a:pt x="1851" y="68"/>
                </a:cubicBezTo>
                <a:cubicBezTo>
                  <a:pt x="1853" y="63"/>
                  <a:pt x="1849" y="58"/>
                  <a:pt x="1843" y="58"/>
                </a:cubicBezTo>
                <a:cubicBezTo>
                  <a:pt x="1843" y="58"/>
                  <a:pt x="1843" y="58"/>
                  <a:pt x="1843" y="58"/>
                </a:cubicBezTo>
                <a:moveTo>
                  <a:pt x="1873" y="58"/>
                </a:moveTo>
                <a:cubicBezTo>
                  <a:pt x="1868" y="58"/>
                  <a:pt x="1862" y="63"/>
                  <a:pt x="1860" y="68"/>
                </a:cubicBezTo>
                <a:cubicBezTo>
                  <a:pt x="1859" y="74"/>
                  <a:pt x="1862" y="78"/>
                  <a:pt x="1868" y="78"/>
                </a:cubicBezTo>
                <a:cubicBezTo>
                  <a:pt x="1874" y="78"/>
                  <a:pt x="1880" y="74"/>
                  <a:pt x="1881" y="68"/>
                </a:cubicBezTo>
                <a:cubicBezTo>
                  <a:pt x="1883" y="62"/>
                  <a:pt x="1879" y="58"/>
                  <a:pt x="1874" y="58"/>
                </a:cubicBezTo>
                <a:cubicBezTo>
                  <a:pt x="1873" y="58"/>
                  <a:pt x="1873" y="58"/>
                  <a:pt x="1873" y="58"/>
                </a:cubicBezTo>
                <a:moveTo>
                  <a:pt x="1904" y="58"/>
                </a:moveTo>
                <a:cubicBezTo>
                  <a:pt x="1898" y="58"/>
                  <a:pt x="1892" y="62"/>
                  <a:pt x="1891" y="68"/>
                </a:cubicBezTo>
                <a:cubicBezTo>
                  <a:pt x="1889" y="73"/>
                  <a:pt x="1893" y="78"/>
                  <a:pt x="1899" y="78"/>
                </a:cubicBezTo>
                <a:cubicBezTo>
                  <a:pt x="1905" y="78"/>
                  <a:pt x="1911" y="73"/>
                  <a:pt x="1912" y="68"/>
                </a:cubicBezTo>
                <a:cubicBezTo>
                  <a:pt x="1913" y="62"/>
                  <a:pt x="1910" y="58"/>
                  <a:pt x="1904" y="58"/>
                </a:cubicBezTo>
                <a:cubicBezTo>
                  <a:pt x="1904" y="58"/>
                  <a:pt x="1904" y="58"/>
                  <a:pt x="1904" y="58"/>
                </a:cubicBezTo>
                <a:moveTo>
                  <a:pt x="1934" y="57"/>
                </a:moveTo>
                <a:cubicBezTo>
                  <a:pt x="1928" y="57"/>
                  <a:pt x="1922" y="62"/>
                  <a:pt x="1921" y="68"/>
                </a:cubicBezTo>
                <a:cubicBezTo>
                  <a:pt x="1920" y="73"/>
                  <a:pt x="1923" y="78"/>
                  <a:pt x="1929" y="78"/>
                </a:cubicBezTo>
                <a:cubicBezTo>
                  <a:pt x="1935" y="78"/>
                  <a:pt x="1941" y="73"/>
                  <a:pt x="1942" y="67"/>
                </a:cubicBezTo>
                <a:cubicBezTo>
                  <a:pt x="1943" y="62"/>
                  <a:pt x="1940" y="57"/>
                  <a:pt x="1934" y="57"/>
                </a:cubicBezTo>
                <a:cubicBezTo>
                  <a:pt x="1934" y="57"/>
                  <a:pt x="1934" y="57"/>
                  <a:pt x="1934" y="57"/>
                </a:cubicBezTo>
                <a:moveTo>
                  <a:pt x="1964" y="57"/>
                </a:moveTo>
                <a:cubicBezTo>
                  <a:pt x="1958" y="57"/>
                  <a:pt x="1952" y="62"/>
                  <a:pt x="1951" y="67"/>
                </a:cubicBezTo>
                <a:cubicBezTo>
                  <a:pt x="1950" y="73"/>
                  <a:pt x="1954" y="77"/>
                  <a:pt x="1959" y="77"/>
                </a:cubicBezTo>
                <a:cubicBezTo>
                  <a:pt x="1965" y="77"/>
                  <a:pt x="1971" y="73"/>
                  <a:pt x="1972" y="67"/>
                </a:cubicBezTo>
                <a:cubicBezTo>
                  <a:pt x="1973" y="61"/>
                  <a:pt x="1970" y="57"/>
                  <a:pt x="1964" y="57"/>
                </a:cubicBezTo>
                <a:cubicBezTo>
                  <a:pt x="1964" y="57"/>
                  <a:pt x="1964" y="57"/>
                  <a:pt x="1964" y="57"/>
                </a:cubicBezTo>
                <a:moveTo>
                  <a:pt x="2293" y="56"/>
                </a:moveTo>
                <a:cubicBezTo>
                  <a:pt x="2287" y="56"/>
                  <a:pt x="2282" y="61"/>
                  <a:pt x="2281" y="66"/>
                </a:cubicBezTo>
                <a:cubicBezTo>
                  <a:pt x="2281" y="72"/>
                  <a:pt x="2285" y="76"/>
                  <a:pt x="2291" y="76"/>
                </a:cubicBezTo>
                <a:cubicBezTo>
                  <a:pt x="2297" y="76"/>
                  <a:pt x="2302" y="72"/>
                  <a:pt x="2303" y="66"/>
                </a:cubicBezTo>
                <a:cubicBezTo>
                  <a:pt x="2303" y="60"/>
                  <a:pt x="2299" y="56"/>
                  <a:pt x="2293" y="56"/>
                </a:cubicBezTo>
                <a:cubicBezTo>
                  <a:pt x="2293" y="56"/>
                  <a:pt x="2293" y="56"/>
                  <a:pt x="2293" y="56"/>
                </a:cubicBezTo>
                <a:moveTo>
                  <a:pt x="2325" y="56"/>
                </a:moveTo>
                <a:cubicBezTo>
                  <a:pt x="2320" y="56"/>
                  <a:pt x="2315" y="60"/>
                  <a:pt x="2314" y="66"/>
                </a:cubicBezTo>
                <a:cubicBezTo>
                  <a:pt x="2314" y="72"/>
                  <a:pt x="2318" y="76"/>
                  <a:pt x="2324" y="76"/>
                </a:cubicBezTo>
                <a:cubicBezTo>
                  <a:pt x="2330" y="76"/>
                  <a:pt x="2335" y="71"/>
                  <a:pt x="2335" y="66"/>
                </a:cubicBezTo>
                <a:cubicBezTo>
                  <a:pt x="2336" y="60"/>
                  <a:pt x="2331" y="56"/>
                  <a:pt x="2326" y="56"/>
                </a:cubicBezTo>
                <a:cubicBezTo>
                  <a:pt x="2326" y="56"/>
                  <a:pt x="2326" y="56"/>
                  <a:pt x="2325" y="56"/>
                </a:cubicBezTo>
                <a:moveTo>
                  <a:pt x="2355" y="55"/>
                </a:moveTo>
                <a:cubicBezTo>
                  <a:pt x="2350" y="55"/>
                  <a:pt x="2345" y="60"/>
                  <a:pt x="2344" y="66"/>
                </a:cubicBezTo>
                <a:cubicBezTo>
                  <a:pt x="2344" y="71"/>
                  <a:pt x="2348" y="76"/>
                  <a:pt x="2354" y="76"/>
                </a:cubicBezTo>
                <a:cubicBezTo>
                  <a:pt x="2360" y="76"/>
                  <a:pt x="2365" y="71"/>
                  <a:pt x="2365" y="65"/>
                </a:cubicBezTo>
                <a:cubicBezTo>
                  <a:pt x="2366" y="60"/>
                  <a:pt x="2361" y="55"/>
                  <a:pt x="2356" y="55"/>
                </a:cubicBezTo>
                <a:cubicBezTo>
                  <a:pt x="2355" y="55"/>
                  <a:pt x="2355" y="55"/>
                  <a:pt x="2355" y="55"/>
                </a:cubicBezTo>
                <a:moveTo>
                  <a:pt x="2386" y="55"/>
                </a:moveTo>
                <a:cubicBezTo>
                  <a:pt x="2380" y="55"/>
                  <a:pt x="2375" y="60"/>
                  <a:pt x="2375" y="65"/>
                </a:cubicBezTo>
                <a:cubicBezTo>
                  <a:pt x="2375" y="71"/>
                  <a:pt x="2379" y="75"/>
                  <a:pt x="2385" y="75"/>
                </a:cubicBezTo>
                <a:cubicBezTo>
                  <a:pt x="2391" y="75"/>
                  <a:pt x="2396" y="71"/>
                  <a:pt x="2396" y="65"/>
                </a:cubicBezTo>
                <a:cubicBezTo>
                  <a:pt x="2396" y="59"/>
                  <a:pt x="2392" y="55"/>
                  <a:pt x="2386" y="55"/>
                </a:cubicBezTo>
                <a:cubicBezTo>
                  <a:pt x="2386" y="55"/>
                  <a:pt x="2386" y="55"/>
                  <a:pt x="2386" y="55"/>
                </a:cubicBezTo>
                <a:moveTo>
                  <a:pt x="3075" y="46"/>
                </a:moveTo>
                <a:cubicBezTo>
                  <a:pt x="3069" y="47"/>
                  <a:pt x="3065" y="51"/>
                  <a:pt x="3067" y="57"/>
                </a:cubicBezTo>
                <a:cubicBezTo>
                  <a:pt x="3068" y="63"/>
                  <a:pt x="3073" y="67"/>
                  <a:pt x="3079" y="67"/>
                </a:cubicBezTo>
                <a:cubicBezTo>
                  <a:pt x="3085" y="67"/>
                  <a:pt x="3089" y="62"/>
                  <a:pt x="3088" y="57"/>
                </a:cubicBezTo>
                <a:cubicBezTo>
                  <a:pt x="3086" y="51"/>
                  <a:pt x="3081" y="46"/>
                  <a:pt x="3075" y="46"/>
                </a:cubicBezTo>
                <a:cubicBezTo>
                  <a:pt x="3075" y="46"/>
                  <a:pt x="3075" y="46"/>
                  <a:pt x="3075" y="46"/>
                </a:cubicBezTo>
                <a:moveTo>
                  <a:pt x="3105" y="46"/>
                </a:moveTo>
                <a:cubicBezTo>
                  <a:pt x="3099" y="46"/>
                  <a:pt x="3095" y="51"/>
                  <a:pt x="3096" y="57"/>
                </a:cubicBezTo>
                <a:cubicBezTo>
                  <a:pt x="3098" y="62"/>
                  <a:pt x="3104" y="67"/>
                  <a:pt x="3109" y="67"/>
                </a:cubicBezTo>
                <a:cubicBezTo>
                  <a:pt x="3115" y="67"/>
                  <a:pt x="3119" y="62"/>
                  <a:pt x="3117" y="56"/>
                </a:cubicBezTo>
                <a:cubicBezTo>
                  <a:pt x="3116" y="51"/>
                  <a:pt x="3110" y="46"/>
                  <a:pt x="3105" y="46"/>
                </a:cubicBezTo>
                <a:cubicBezTo>
                  <a:pt x="3105" y="46"/>
                  <a:pt x="3105" y="46"/>
                  <a:pt x="3105" y="46"/>
                </a:cubicBezTo>
                <a:moveTo>
                  <a:pt x="3135" y="46"/>
                </a:moveTo>
                <a:cubicBezTo>
                  <a:pt x="3129" y="46"/>
                  <a:pt x="3125" y="51"/>
                  <a:pt x="3127" y="56"/>
                </a:cubicBezTo>
                <a:cubicBezTo>
                  <a:pt x="3128" y="62"/>
                  <a:pt x="3134" y="66"/>
                  <a:pt x="3140" y="66"/>
                </a:cubicBezTo>
                <a:cubicBezTo>
                  <a:pt x="3145" y="66"/>
                  <a:pt x="3149" y="62"/>
                  <a:pt x="3148" y="56"/>
                </a:cubicBezTo>
                <a:cubicBezTo>
                  <a:pt x="3146" y="50"/>
                  <a:pt x="3140" y="46"/>
                  <a:pt x="3135" y="46"/>
                </a:cubicBezTo>
                <a:cubicBezTo>
                  <a:pt x="3135" y="46"/>
                  <a:pt x="3135" y="46"/>
                  <a:pt x="3135" y="46"/>
                </a:cubicBezTo>
                <a:moveTo>
                  <a:pt x="3164" y="46"/>
                </a:moveTo>
                <a:cubicBezTo>
                  <a:pt x="3158" y="46"/>
                  <a:pt x="3155" y="50"/>
                  <a:pt x="3156" y="56"/>
                </a:cubicBezTo>
                <a:cubicBezTo>
                  <a:pt x="3158" y="62"/>
                  <a:pt x="3164" y="66"/>
                  <a:pt x="3170" y="66"/>
                </a:cubicBezTo>
                <a:cubicBezTo>
                  <a:pt x="3175" y="66"/>
                  <a:pt x="3179" y="61"/>
                  <a:pt x="3177" y="56"/>
                </a:cubicBezTo>
                <a:cubicBezTo>
                  <a:pt x="3176" y="50"/>
                  <a:pt x="3170" y="46"/>
                  <a:pt x="3164" y="46"/>
                </a:cubicBezTo>
                <a:cubicBezTo>
                  <a:pt x="3164" y="46"/>
                  <a:pt x="3164" y="46"/>
                  <a:pt x="3164" y="46"/>
                </a:cubicBezTo>
                <a:moveTo>
                  <a:pt x="1436" y="33"/>
                </a:moveTo>
                <a:cubicBezTo>
                  <a:pt x="1430" y="33"/>
                  <a:pt x="1423" y="38"/>
                  <a:pt x="1421" y="43"/>
                </a:cubicBezTo>
                <a:cubicBezTo>
                  <a:pt x="1418" y="49"/>
                  <a:pt x="1421" y="53"/>
                  <a:pt x="1427" y="53"/>
                </a:cubicBezTo>
                <a:cubicBezTo>
                  <a:pt x="1433" y="53"/>
                  <a:pt x="1439" y="49"/>
                  <a:pt x="1442" y="43"/>
                </a:cubicBezTo>
                <a:cubicBezTo>
                  <a:pt x="1444" y="38"/>
                  <a:pt x="1441" y="33"/>
                  <a:pt x="1436" y="33"/>
                </a:cubicBezTo>
                <a:cubicBezTo>
                  <a:pt x="1436" y="33"/>
                  <a:pt x="1436" y="33"/>
                  <a:pt x="1436" y="33"/>
                </a:cubicBezTo>
                <a:moveTo>
                  <a:pt x="1465" y="33"/>
                </a:moveTo>
                <a:cubicBezTo>
                  <a:pt x="1459" y="33"/>
                  <a:pt x="1453" y="37"/>
                  <a:pt x="1450" y="43"/>
                </a:cubicBezTo>
                <a:cubicBezTo>
                  <a:pt x="1448" y="49"/>
                  <a:pt x="1451" y="53"/>
                  <a:pt x="1457" y="53"/>
                </a:cubicBezTo>
                <a:cubicBezTo>
                  <a:pt x="1463" y="53"/>
                  <a:pt x="1469" y="48"/>
                  <a:pt x="1471" y="43"/>
                </a:cubicBezTo>
                <a:cubicBezTo>
                  <a:pt x="1474" y="37"/>
                  <a:pt x="1471" y="33"/>
                  <a:pt x="1465" y="33"/>
                </a:cubicBezTo>
                <a:cubicBezTo>
                  <a:pt x="1465" y="33"/>
                  <a:pt x="1465" y="33"/>
                  <a:pt x="1465" y="33"/>
                </a:cubicBezTo>
                <a:moveTo>
                  <a:pt x="1493" y="32"/>
                </a:moveTo>
                <a:cubicBezTo>
                  <a:pt x="1488" y="33"/>
                  <a:pt x="1481" y="37"/>
                  <a:pt x="1479" y="43"/>
                </a:cubicBezTo>
                <a:cubicBezTo>
                  <a:pt x="1477" y="48"/>
                  <a:pt x="1479" y="53"/>
                  <a:pt x="1485" y="53"/>
                </a:cubicBezTo>
                <a:cubicBezTo>
                  <a:pt x="1491" y="53"/>
                  <a:pt x="1498" y="48"/>
                  <a:pt x="1500" y="43"/>
                </a:cubicBezTo>
                <a:cubicBezTo>
                  <a:pt x="1502" y="37"/>
                  <a:pt x="1499" y="32"/>
                  <a:pt x="1494" y="32"/>
                </a:cubicBezTo>
                <a:cubicBezTo>
                  <a:pt x="1494" y="32"/>
                  <a:pt x="1493" y="32"/>
                  <a:pt x="1493" y="32"/>
                </a:cubicBezTo>
                <a:moveTo>
                  <a:pt x="1525" y="32"/>
                </a:moveTo>
                <a:cubicBezTo>
                  <a:pt x="1519" y="32"/>
                  <a:pt x="1512" y="37"/>
                  <a:pt x="1510" y="42"/>
                </a:cubicBezTo>
                <a:cubicBezTo>
                  <a:pt x="1508" y="48"/>
                  <a:pt x="1511" y="53"/>
                  <a:pt x="1517" y="52"/>
                </a:cubicBezTo>
                <a:cubicBezTo>
                  <a:pt x="1523" y="52"/>
                  <a:pt x="1529" y="48"/>
                  <a:pt x="1531" y="42"/>
                </a:cubicBezTo>
                <a:cubicBezTo>
                  <a:pt x="1533" y="37"/>
                  <a:pt x="1530" y="32"/>
                  <a:pt x="1525" y="32"/>
                </a:cubicBezTo>
                <a:cubicBezTo>
                  <a:pt x="1525" y="32"/>
                  <a:pt x="1525" y="32"/>
                  <a:pt x="1525" y="32"/>
                </a:cubicBezTo>
                <a:moveTo>
                  <a:pt x="1582" y="32"/>
                </a:moveTo>
                <a:cubicBezTo>
                  <a:pt x="1577" y="32"/>
                  <a:pt x="1570" y="36"/>
                  <a:pt x="1568" y="42"/>
                </a:cubicBezTo>
                <a:cubicBezTo>
                  <a:pt x="1566" y="47"/>
                  <a:pt x="1569" y="52"/>
                  <a:pt x="1575" y="52"/>
                </a:cubicBezTo>
                <a:cubicBezTo>
                  <a:pt x="1581" y="52"/>
                  <a:pt x="1587" y="47"/>
                  <a:pt x="1589" y="42"/>
                </a:cubicBezTo>
                <a:cubicBezTo>
                  <a:pt x="1591" y="36"/>
                  <a:pt x="1588" y="32"/>
                  <a:pt x="1583" y="32"/>
                </a:cubicBezTo>
                <a:cubicBezTo>
                  <a:pt x="1582" y="32"/>
                  <a:pt x="1582" y="32"/>
                  <a:pt x="1582" y="32"/>
                </a:cubicBezTo>
                <a:moveTo>
                  <a:pt x="1612" y="31"/>
                </a:moveTo>
                <a:cubicBezTo>
                  <a:pt x="1606" y="31"/>
                  <a:pt x="1600" y="36"/>
                  <a:pt x="1598" y="42"/>
                </a:cubicBezTo>
                <a:cubicBezTo>
                  <a:pt x="1596" y="47"/>
                  <a:pt x="1599" y="52"/>
                  <a:pt x="1605" y="52"/>
                </a:cubicBezTo>
                <a:cubicBezTo>
                  <a:pt x="1611" y="52"/>
                  <a:pt x="1617" y="47"/>
                  <a:pt x="1619" y="41"/>
                </a:cubicBezTo>
                <a:cubicBezTo>
                  <a:pt x="1621" y="36"/>
                  <a:pt x="1618" y="31"/>
                  <a:pt x="1612" y="31"/>
                </a:cubicBezTo>
                <a:cubicBezTo>
                  <a:pt x="1612" y="31"/>
                  <a:pt x="1612" y="31"/>
                  <a:pt x="1612" y="31"/>
                </a:cubicBezTo>
                <a:moveTo>
                  <a:pt x="1642" y="31"/>
                </a:moveTo>
                <a:cubicBezTo>
                  <a:pt x="1636" y="31"/>
                  <a:pt x="1630" y="36"/>
                  <a:pt x="1628" y="41"/>
                </a:cubicBezTo>
                <a:cubicBezTo>
                  <a:pt x="1626" y="47"/>
                  <a:pt x="1629" y="51"/>
                  <a:pt x="1635" y="51"/>
                </a:cubicBezTo>
                <a:cubicBezTo>
                  <a:pt x="1641" y="51"/>
                  <a:pt x="1647" y="47"/>
                  <a:pt x="1649" y="41"/>
                </a:cubicBezTo>
                <a:cubicBezTo>
                  <a:pt x="1651" y="35"/>
                  <a:pt x="1648" y="31"/>
                  <a:pt x="1642" y="31"/>
                </a:cubicBezTo>
                <a:cubicBezTo>
                  <a:pt x="1642" y="31"/>
                  <a:pt x="1642" y="31"/>
                  <a:pt x="1642" y="31"/>
                </a:cubicBezTo>
                <a:moveTo>
                  <a:pt x="1672" y="31"/>
                </a:moveTo>
                <a:cubicBezTo>
                  <a:pt x="1666" y="31"/>
                  <a:pt x="1660" y="35"/>
                  <a:pt x="1658" y="41"/>
                </a:cubicBezTo>
                <a:cubicBezTo>
                  <a:pt x="1656" y="46"/>
                  <a:pt x="1659" y="51"/>
                  <a:pt x="1665" y="51"/>
                </a:cubicBezTo>
                <a:cubicBezTo>
                  <a:pt x="1671" y="51"/>
                  <a:pt x="1677" y="46"/>
                  <a:pt x="1679" y="41"/>
                </a:cubicBezTo>
                <a:cubicBezTo>
                  <a:pt x="1681" y="35"/>
                  <a:pt x="1678" y="31"/>
                  <a:pt x="1672" y="31"/>
                </a:cubicBezTo>
                <a:cubicBezTo>
                  <a:pt x="1672" y="31"/>
                  <a:pt x="1672" y="31"/>
                  <a:pt x="1672" y="31"/>
                </a:cubicBezTo>
                <a:moveTo>
                  <a:pt x="1702" y="30"/>
                </a:moveTo>
                <a:cubicBezTo>
                  <a:pt x="1696" y="30"/>
                  <a:pt x="1690" y="35"/>
                  <a:pt x="1688" y="41"/>
                </a:cubicBezTo>
                <a:cubicBezTo>
                  <a:pt x="1686" y="46"/>
                  <a:pt x="1689" y="51"/>
                  <a:pt x="1695" y="51"/>
                </a:cubicBezTo>
                <a:cubicBezTo>
                  <a:pt x="1701" y="51"/>
                  <a:pt x="1707" y="46"/>
                  <a:pt x="1709" y="40"/>
                </a:cubicBezTo>
                <a:cubicBezTo>
                  <a:pt x="1710" y="35"/>
                  <a:pt x="1707" y="30"/>
                  <a:pt x="1702" y="30"/>
                </a:cubicBezTo>
                <a:cubicBezTo>
                  <a:pt x="1702" y="30"/>
                  <a:pt x="1702" y="30"/>
                  <a:pt x="1702" y="30"/>
                </a:cubicBezTo>
                <a:moveTo>
                  <a:pt x="1731" y="30"/>
                </a:moveTo>
                <a:cubicBezTo>
                  <a:pt x="1726" y="30"/>
                  <a:pt x="1719" y="35"/>
                  <a:pt x="1718" y="40"/>
                </a:cubicBezTo>
                <a:cubicBezTo>
                  <a:pt x="1716" y="46"/>
                  <a:pt x="1719" y="50"/>
                  <a:pt x="1725" y="50"/>
                </a:cubicBezTo>
                <a:cubicBezTo>
                  <a:pt x="1731" y="50"/>
                  <a:pt x="1737" y="46"/>
                  <a:pt x="1739" y="40"/>
                </a:cubicBezTo>
                <a:cubicBezTo>
                  <a:pt x="1740" y="34"/>
                  <a:pt x="1737" y="30"/>
                  <a:pt x="1731" y="30"/>
                </a:cubicBezTo>
                <a:cubicBezTo>
                  <a:pt x="1731" y="30"/>
                  <a:pt x="1731" y="30"/>
                  <a:pt x="1731" y="30"/>
                </a:cubicBezTo>
                <a:moveTo>
                  <a:pt x="1761" y="30"/>
                </a:moveTo>
                <a:cubicBezTo>
                  <a:pt x="1755" y="30"/>
                  <a:pt x="1749" y="34"/>
                  <a:pt x="1747" y="40"/>
                </a:cubicBezTo>
                <a:cubicBezTo>
                  <a:pt x="1746" y="46"/>
                  <a:pt x="1749" y="50"/>
                  <a:pt x="1755" y="50"/>
                </a:cubicBezTo>
                <a:cubicBezTo>
                  <a:pt x="1761" y="50"/>
                  <a:pt x="1767" y="45"/>
                  <a:pt x="1768" y="40"/>
                </a:cubicBezTo>
                <a:cubicBezTo>
                  <a:pt x="1770" y="34"/>
                  <a:pt x="1767" y="30"/>
                  <a:pt x="1761" y="30"/>
                </a:cubicBezTo>
                <a:cubicBezTo>
                  <a:pt x="1761" y="30"/>
                  <a:pt x="1761" y="30"/>
                  <a:pt x="1761" y="30"/>
                </a:cubicBezTo>
                <a:moveTo>
                  <a:pt x="1791" y="29"/>
                </a:moveTo>
                <a:cubicBezTo>
                  <a:pt x="1785" y="29"/>
                  <a:pt x="1779" y="34"/>
                  <a:pt x="1777" y="40"/>
                </a:cubicBezTo>
                <a:cubicBezTo>
                  <a:pt x="1776" y="45"/>
                  <a:pt x="1779" y="50"/>
                  <a:pt x="1785" y="50"/>
                </a:cubicBezTo>
                <a:cubicBezTo>
                  <a:pt x="1791" y="50"/>
                  <a:pt x="1797" y="45"/>
                  <a:pt x="1798" y="39"/>
                </a:cubicBezTo>
                <a:cubicBezTo>
                  <a:pt x="1800" y="34"/>
                  <a:pt x="1796" y="29"/>
                  <a:pt x="1791" y="29"/>
                </a:cubicBezTo>
                <a:cubicBezTo>
                  <a:pt x="1791" y="29"/>
                  <a:pt x="1791" y="29"/>
                  <a:pt x="1791" y="29"/>
                </a:cubicBezTo>
                <a:moveTo>
                  <a:pt x="1821" y="29"/>
                </a:moveTo>
                <a:cubicBezTo>
                  <a:pt x="1816" y="29"/>
                  <a:pt x="1810" y="34"/>
                  <a:pt x="1808" y="39"/>
                </a:cubicBezTo>
                <a:cubicBezTo>
                  <a:pt x="1807" y="45"/>
                  <a:pt x="1810" y="49"/>
                  <a:pt x="1816" y="49"/>
                </a:cubicBezTo>
                <a:cubicBezTo>
                  <a:pt x="1822" y="49"/>
                  <a:pt x="1828" y="45"/>
                  <a:pt x="1829" y="39"/>
                </a:cubicBezTo>
                <a:cubicBezTo>
                  <a:pt x="1831" y="34"/>
                  <a:pt x="1827" y="29"/>
                  <a:pt x="1821" y="29"/>
                </a:cubicBezTo>
                <a:cubicBezTo>
                  <a:pt x="1821" y="29"/>
                  <a:pt x="1821" y="29"/>
                  <a:pt x="1821" y="29"/>
                </a:cubicBezTo>
                <a:moveTo>
                  <a:pt x="1851" y="29"/>
                </a:moveTo>
                <a:cubicBezTo>
                  <a:pt x="1845" y="29"/>
                  <a:pt x="1839" y="33"/>
                  <a:pt x="1838" y="39"/>
                </a:cubicBezTo>
                <a:cubicBezTo>
                  <a:pt x="1836" y="45"/>
                  <a:pt x="1840" y="49"/>
                  <a:pt x="1846" y="49"/>
                </a:cubicBezTo>
                <a:cubicBezTo>
                  <a:pt x="1851" y="49"/>
                  <a:pt x="1857" y="44"/>
                  <a:pt x="1859" y="39"/>
                </a:cubicBezTo>
                <a:cubicBezTo>
                  <a:pt x="1860" y="33"/>
                  <a:pt x="1857" y="29"/>
                  <a:pt x="1851" y="29"/>
                </a:cubicBezTo>
                <a:cubicBezTo>
                  <a:pt x="1851" y="29"/>
                  <a:pt x="1851" y="29"/>
                  <a:pt x="1851" y="29"/>
                </a:cubicBezTo>
                <a:moveTo>
                  <a:pt x="1881" y="28"/>
                </a:moveTo>
                <a:cubicBezTo>
                  <a:pt x="1875" y="28"/>
                  <a:pt x="1869" y="33"/>
                  <a:pt x="1868" y="39"/>
                </a:cubicBezTo>
                <a:cubicBezTo>
                  <a:pt x="1866" y="44"/>
                  <a:pt x="1870" y="49"/>
                  <a:pt x="1876" y="49"/>
                </a:cubicBezTo>
                <a:cubicBezTo>
                  <a:pt x="1881" y="49"/>
                  <a:pt x="1887" y="44"/>
                  <a:pt x="1889" y="39"/>
                </a:cubicBezTo>
                <a:cubicBezTo>
                  <a:pt x="1890" y="33"/>
                  <a:pt x="1887" y="28"/>
                  <a:pt x="1881" y="28"/>
                </a:cubicBezTo>
                <a:cubicBezTo>
                  <a:pt x="1881" y="28"/>
                  <a:pt x="1881" y="28"/>
                  <a:pt x="1881" y="28"/>
                </a:cubicBezTo>
                <a:moveTo>
                  <a:pt x="1911" y="28"/>
                </a:moveTo>
                <a:cubicBezTo>
                  <a:pt x="1905" y="28"/>
                  <a:pt x="1899" y="33"/>
                  <a:pt x="1898" y="38"/>
                </a:cubicBezTo>
                <a:cubicBezTo>
                  <a:pt x="1897" y="44"/>
                  <a:pt x="1900" y="49"/>
                  <a:pt x="1906" y="48"/>
                </a:cubicBezTo>
                <a:cubicBezTo>
                  <a:pt x="1912" y="48"/>
                  <a:pt x="1918" y="44"/>
                  <a:pt x="1919" y="38"/>
                </a:cubicBezTo>
                <a:cubicBezTo>
                  <a:pt x="1920" y="33"/>
                  <a:pt x="1917" y="28"/>
                  <a:pt x="1911" y="28"/>
                </a:cubicBezTo>
                <a:cubicBezTo>
                  <a:pt x="1911" y="28"/>
                  <a:pt x="1911" y="28"/>
                  <a:pt x="1911" y="28"/>
                </a:cubicBezTo>
                <a:moveTo>
                  <a:pt x="1940" y="28"/>
                </a:moveTo>
                <a:cubicBezTo>
                  <a:pt x="1935" y="28"/>
                  <a:pt x="1929" y="32"/>
                  <a:pt x="1928" y="38"/>
                </a:cubicBezTo>
                <a:cubicBezTo>
                  <a:pt x="1926" y="44"/>
                  <a:pt x="1930" y="48"/>
                  <a:pt x="1936" y="48"/>
                </a:cubicBezTo>
                <a:cubicBezTo>
                  <a:pt x="1942" y="48"/>
                  <a:pt x="1947" y="44"/>
                  <a:pt x="1949" y="38"/>
                </a:cubicBezTo>
                <a:cubicBezTo>
                  <a:pt x="1950" y="32"/>
                  <a:pt x="1946" y="28"/>
                  <a:pt x="1941" y="28"/>
                </a:cubicBezTo>
                <a:cubicBezTo>
                  <a:pt x="1940" y="28"/>
                  <a:pt x="1940" y="28"/>
                  <a:pt x="1940" y="28"/>
                </a:cubicBezTo>
                <a:moveTo>
                  <a:pt x="1970" y="27"/>
                </a:moveTo>
                <a:cubicBezTo>
                  <a:pt x="1964" y="28"/>
                  <a:pt x="1959" y="32"/>
                  <a:pt x="1958" y="38"/>
                </a:cubicBezTo>
                <a:cubicBezTo>
                  <a:pt x="1956" y="43"/>
                  <a:pt x="1960" y="48"/>
                  <a:pt x="1966" y="48"/>
                </a:cubicBezTo>
                <a:cubicBezTo>
                  <a:pt x="1972" y="48"/>
                  <a:pt x="1977" y="43"/>
                  <a:pt x="1978" y="38"/>
                </a:cubicBezTo>
                <a:cubicBezTo>
                  <a:pt x="1980" y="32"/>
                  <a:pt x="1976" y="27"/>
                  <a:pt x="1970" y="27"/>
                </a:cubicBezTo>
                <a:cubicBezTo>
                  <a:pt x="1970" y="27"/>
                  <a:pt x="1970" y="27"/>
                  <a:pt x="1970" y="27"/>
                </a:cubicBezTo>
                <a:moveTo>
                  <a:pt x="2357" y="24"/>
                </a:moveTo>
                <a:cubicBezTo>
                  <a:pt x="2352" y="24"/>
                  <a:pt x="2347" y="28"/>
                  <a:pt x="2346" y="34"/>
                </a:cubicBezTo>
                <a:cubicBezTo>
                  <a:pt x="2346" y="40"/>
                  <a:pt x="2350" y="44"/>
                  <a:pt x="2356" y="44"/>
                </a:cubicBezTo>
                <a:cubicBezTo>
                  <a:pt x="2362" y="44"/>
                  <a:pt x="2367" y="39"/>
                  <a:pt x="2367" y="34"/>
                </a:cubicBezTo>
                <a:cubicBezTo>
                  <a:pt x="2367" y="28"/>
                  <a:pt x="2363" y="24"/>
                  <a:pt x="2357" y="24"/>
                </a:cubicBezTo>
                <a:cubicBezTo>
                  <a:pt x="2357" y="24"/>
                  <a:pt x="2357" y="24"/>
                  <a:pt x="2357" y="24"/>
                </a:cubicBezTo>
                <a:moveTo>
                  <a:pt x="2388" y="23"/>
                </a:moveTo>
                <a:cubicBezTo>
                  <a:pt x="2382" y="23"/>
                  <a:pt x="2377" y="28"/>
                  <a:pt x="2377" y="34"/>
                </a:cubicBezTo>
                <a:cubicBezTo>
                  <a:pt x="2376" y="39"/>
                  <a:pt x="2381" y="44"/>
                  <a:pt x="2387" y="44"/>
                </a:cubicBezTo>
                <a:cubicBezTo>
                  <a:pt x="2392" y="44"/>
                  <a:pt x="2397" y="39"/>
                  <a:pt x="2398" y="33"/>
                </a:cubicBezTo>
                <a:cubicBezTo>
                  <a:pt x="2398" y="28"/>
                  <a:pt x="2393" y="23"/>
                  <a:pt x="2388" y="23"/>
                </a:cubicBezTo>
                <a:cubicBezTo>
                  <a:pt x="2388" y="23"/>
                  <a:pt x="2388" y="23"/>
                  <a:pt x="2388" y="23"/>
                </a:cubicBezTo>
                <a:moveTo>
                  <a:pt x="2952" y="19"/>
                </a:moveTo>
                <a:cubicBezTo>
                  <a:pt x="2946" y="19"/>
                  <a:pt x="2942" y="24"/>
                  <a:pt x="2943" y="30"/>
                </a:cubicBezTo>
                <a:cubicBezTo>
                  <a:pt x="2944" y="35"/>
                  <a:pt x="2949" y="40"/>
                  <a:pt x="2955" y="40"/>
                </a:cubicBezTo>
                <a:cubicBezTo>
                  <a:pt x="2961" y="40"/>
                  <a:pt x="2965" y="35"/>
                  <a:pt x="2964" y="29"/>
                </a:cubicBezTo>
                <a:cubicBezTo>
                  <a:pt x="2963" y="24"/>
                  <a:pt x="2957" y="19"/>
                  <a:pt x="2952" y="19"/>
                </a:cubicBezTo>
                <a:cubicBezTo>
                  <a:pt x="2952" y="19"/>
                  <a:pt x="2952" y="19"/>
                  <a:pt x="2952" y="19"/>
                </a:cubicBezTo>
                <a:moveTo>
                  <a:pt x="2979" y="19"/>
                </a:moveTo>
                <a:cubicBezTo>
                  <a:pt x="2974" y="19"/>
                  <a:pt x="2970" y="24"/>
                  <a:pt x="2971" y="29"/>
                </a:cubicBezTo>
                <a:cubicBezTo>
                  <a:pt x="2972" y="35"/>
                  <a:pt x="2977" y="40"/>
                  <a:pt x="2983" y="39"/>
                </a:cubicBezTo>
                <a:cubicBezTo>
                  <a:pt x="2989" y="39"/>
                  <a:pt x="2993" y="35"/>
                  <a:pt x="2992" y="29"/>
                </a:cubicBezTo>
                <a:cubicBezTo>
                  <a:pt x="2991" y="23"/>
                  <a:pt x="2985" y="19"/>
                  <a:pt x="2980" y="19"/>
                </a:cubicBezTo>
                <a:cubicBezTo>
                  <a:pt x="2979" y="19"/>
                  <a:pt x="2979" y="19"/>
                  <a:pt x="2979" y="19"/>
                </a:cubicBezTo>
                <a:moveTo>
                  <a:pt x="3009" y="19"/>
                </a:moveTo>
                <a:cubicBezTo>
                  <a:pt x="3003" y="19"/>
                  <a:pt x="2999" y="23"/>
                  <a:pt x="3000" y="29"/>
                </a:cubicBezTo>
                <a:cubicBezTo>
                  <a:pt x="3002" y="35"/>
                  <a:pt x="3007" y="39"/>
                  <a:pt x="3013" y="39"/>
                </a:cubicBezTo>
                <a:cubicBezTo>
                  <a:pt x="3019" y="39"/>
                  <a:pt x="3022" y="34"/>
                  <a:pt x="3021" y="29"/>
                </a:cubicBezTo>
                <a:cubicBezTo>
                  <a:pt x="3020" y="23"/>
                  <a:pt x="3015" y="19"/>
                  <a:pt x="3009" y="19"/>
                </a:cubicBezTo>
                <a:cubicBezTo>
                  <a:pt x="3009" y="19"/>
                  <a:pt x="3009" y="19"/>
                  <a:pt x="3009" y="19"/>
                </a:cubicBezTo>
                <a:moveTo>
                  <a:pt x="1505" y="5"/>
                </a:moveTo>
                <a:cubicBezTo>
                  <a:pt x="1499" y="5"/>
                  <a:pt x="1492" y="9"/>
                  <a:pt x="1490" y="15"/>
                </a:cubicBezTo>
                <a:cubicBezTo>
                  <a:pt x="1488" y="21"/>
                  <a:pt x="1491" y="25"/>
                  <a:pt x="1496" y="25"/>
                </a:cubicBezTo>
                <a:cubicBezTo>
                  <a:pt x="1502" y="25"/>
                  <a:pt x="1509" y="20"/>
                  <a:pt x="1511" y="15"/>
                </a:cubicBezTo>
                <a:cubicBezTo>
                  <a:pt x="1513" y="9"/>
                  <a:pt x="1510" y="5"/>
                  <a:pt x="1505" y="5"/>
                </a:cubicBezTo>
                <a:cubicBezTo>
                  <a:pt x="1505" y="5"/>
                  <a:pt x="1505" y="5"/>
                  <a:pt x="1505" y="5"/>
                </a:cubicBezTo>
                <a:moveTo>
                  <a:pt x="1534" y="4"/>
                </a:moveTo>
                <a:cubicBezTo>
                  <a:pt x="1528" y="5"/>
                  <a:pt x="1522" y="9"/>
                  <a:pt x="1520" y="15"/>
                </a:cubicBezTo>
                <a:cubicBezTo>
                  <a:pt x="1517" y="20"/>
                  <a:pt x="1520" y="25"/>
                  <a:pt x="1526" y="25"/>
                </a:cubicBezTo>
                <a:cubicBezTo>
                  <a:pt x="1532" y="25"/>
                  <a:pt x="1538" y="20"/>
                  <a:pt x="1540" y="15"/>
                </a:cubicBezTo>
                <a:cubicBezTo>
                  <a:pt x="1542" y="9"/>
                  <a:pt x="1540" y="4"/>
                  <a:pt x="1534" y="4"/>
                </a:cubicBezTo>
                <a:cubicBezTo>
                  <a:pt x="1534" y="4"/>
                  <a:pt x="1534" y="4"/>
                  <a:pt x="1534" y="4"/>
                </a:cubicBezTo>
                <a:moveTo>
                  <a:pt x="1563" y="4"/>
                </a:moveTo>
                <a:cubicBezTo>
                  <a:pt x="1558" y="4"/>
                  <a:pt x="1551" y="9"/>
                  <a:pt x="1549" y="14"/>
                </a:cubicBezTo>
                <a:cubicBezTo>
                  <a:pt x="1547" y="20"/>
                  <a:pt x="1550" y="25"/>
                  <a:pt x="1556" y="25"/>
                </a:cubicBezTo>
                <a:cubicBezTo>
                  <a:pt x="1561" y="24"/>
                  <a:pt x="1568" y="20"/>
                  <a:pt x="1570" y="14"/>
                </a:cubicBezTo>
                <a:cubicBezTo>
                  <a:pt x="1572" y="9"/>
                  <a:pt x="1569" y="4"/>
                  <a:pt x="1563" y="4"/>
                </a:cubicBezTo>
                <a:cubicBezTo>
                  <a:pt x="1563" y="4"/>
                  <a:pt x="1563" y="4"/>
                  <a:pt x="1563" y="4"/>
                </a:cubicBezTo>
                <a:moveTo>
                  <a:pt x="1593" y="4"/>
                </a:moveTo>
                <a:cubicBezTo>
                  <a:pt x="1587" y="4"/>
                  <a:pt x="1581" y="9"/>
                  <a:pt x="1578" y="14"/>
                </a:cubicBezTo>
                <a:cubicBezTo>
                  <a:pt x="1576" y="20"/>
                  <a:pt x="1579" y="24"/>
                  <a:pt x="1585" y="24"/>
                </a:cubicBezTo>
                <a:cubicBezTo>
                  <a:pt x="1591" y="24"/>
                  <a:pt x="1597" y="20"/>
                  <a:pt x="1599" y="14"/>
                </a:cubicBezTo>
                <a:cubicBezTo>
                  <a:pt x="1601" y="8"/>
                  <a:pt x="1598" y="4"/>
                  <a:pt x="1593" y="4"/>
                </a:cubicBezTo>
                <a:cubicBezTo>
                  <a:pt x="1593" y="4"/>
                  <a:pt x="1593" y="4"/>
                  <a:pt x="1593" y="4"/>
                </a:cubicBezTo>
                <a:moveTo>
                  <a:pt x="1622" y="4"/>
                </a:moveTo>
                <a:cubicBezTo>
                  <a:pt x="1616" y="4"/>
                  <a:pt x="1610" y="8"/>
                  <a:pt x="1608" y="14"/>
                </a:cubicBezTo>
                <a:cubicBezTo>
                  <a:pt x="1606" y="19"/>
                  <a:pt x="1609" y="24"/>
                  <a:pt x="1615" y="24"/>
                </a:cubicBezTo>
                <a:cubicBezTo>
                  <a:pt x="1620" y="24"/>
                  <a:pt x="1627" y="19"/>
                  <a:pt x="1629" y="14"/>
                </a:cubicBezTo>
                <a:cubicBezTo>
                  <a:pt x="1630" y="8"/>
                  <a:pt x="1628" y="4"/>
                  <a:pt x="1622" y="4"/>
                </a:cubicBezTo>
                <a:cubicBezTo>
                  <a:pt x="1622" y="4"/>
                  <a:pt x="1622" y="4"/>
                  <a:pt x="1622" y="4"/>
                </a:cubicBezTo>
                <a:moveTo>
                  <a:pt x="1829" y="1"/>
                </a:moveTo>
                <a:cubicBezTo>
                  <a:pt x="1823" y="1"/>
                  <a:pt x="1817" y="6"/>
                  <a:pt x="1816" y="12"/>
                </a:cubicBezTo>
                <a:cubicBezTo>
                  <a:pt x="1814" y="17"/>
                  <a:pt x="1818" y="22"/>
                  <a:pt x="1823" y="22"/>
                </a:cubicBezTo>
                <a:cubicBezTo>
                  <a:pt x="1829" y="22"/>
                  <a:pt x="1835" y="17"/>
                  <a:pt x="1836" y="11"/>
                </a:cubicBezTo>
                <a:cubicBezTo>
                  <a:pt x="1838" y="6"/>
                  <a:pt x="1835" y="1"/>
                  <a:pt x="1829" y="1"/>
                </a:cubicBezTo>
                <a:cubicBezTo>
                  <a:pt x="1829" y="1"/>
                  <a:pt x="1829" y="1"/>
                  <a:pt x="1829" y="1"/>
                </a:cubicBezTo>
                <a:moveTo>
                  <a:pt x="1858" y="1"/>
                </a:moveTo>
                <a:cubicBezTo>
                  <a:pt x="1852" y="1"/>
                  <a:pt x="1847" y="6"/>
                  <a:pt x="1845" y="11"/>
                </a:cubicBezTo>
                <a:cubicBezTo>
                  <a:pt x="1844" y="17"/>
                  <a:pt x="1847" y="21"/>
                  <a:pt x="1853" y="21"/>
                </a:cubicBezTo>
                <a:cubicBezTo>
                  <a:pt x="1859" y="21"/>
                  <a:pt x="1864" y="17"/>
                  <a:pt x="1866" y="11"/>
                </a:cubicBezTo>
                <a:cubicBezTo>
                  <a:pt x="1867" y="6"/>
                  <a:pt x="1864" y="1"/>
                  <a:pt x="1858" y="1"/>
                </a:cubicBezTo>
                <a:cubicBezTo>
                  <a:pt x="1858" y="1"/>
                  <a:pt x="1858" y="1"/>
                  <a:pt x="1858" y="1"/>
                </a:cubicBezTo>
                <a:moveTo>
                  <a:pt x="1888" y="1"/>
                </a:moveTo>
                <a:cubicBezTo>
                  <a:pt x="1882" y="1"/>
                  <a:pt x="1876" y="5"/>
                  <a:pt x="1875" y="11"/>
                </a:cubicBezTo>
                <a:cubicBezTo>
                  <a:pt x="1873" y="17"/>
                  <a:pt x="1877" y="21"/>
                  <a:pt x="1883" y="21"/>
                </a:cubicBezTo>
                <a:cubicBezTo>
                  <a:pt x="1888" y="21"/>
                  <a:pt x="1894" y="16"/>
                  <a:pt x="1895" y="11"/>
                </a:cubicBezTo>
                <a:cubicBezTo>
                  <a:pt x="1897" y="5"/>
                  <a:pt x="1893" y="1"/>
                  <a:pt x="1888" y="1"/>
                </a:cubicBezTo>
                <a:cubicBezTo>
                  <a:pt x="1888" y="1"/>
                  <a:pt x="1888" y="1"/>
                  <a:pt x="1888" y="1"/>
                </a:cubicBezTo>
                <a:moveTo>
                  <a:pt x="1917" y="0"/>
                </a:moveTo>
                <a:cubicBezTo>
                  <a:pt x="1912" y="0"/>
                  <a:pt x="1906" y="5"/>
                  <a:pt x="1905" y="11"/>
                </a:cubicBezTo>
                <a:cubicBezTo>
                  <a:pt x="1903" y="16"/>
                  <a:pt x="1907" y="21"/>
                  <a:pt x="1913" y="21"/>
                </a:cubicBezTo>
                <a:cubicBezTo>
                  <a:pt x="1918" y="21"/>
                  <a:pt x="1924" y="16"/>
                  <a:pt x="1925" y="10"/>
                </a:cubicBezTo>
                <a:cubicBezTo>
                  <a:pt x="1927" y="5"/>
                  <a:pt x="1923" y="0"/>
                  <a:pt x="1918" y="0"/>
                </a:cubicBezTo>
                <a:cubicBezTo>
                  <a:pt x="1917" y="0"/>
                  <a:pt x="1917" y="0"/>
                  <a:pt x="1917" y="0"/>
                </a:cubicBezTo>
                <a:moveTo>
                  <a:pt x="1947" y="0"/>
                </a:moveTo>
                <a:cubicBezTo>
                  <a:pt x="1941" y="0"/>
                  <a:pt x="1935" y="5"/>
                  <a:pt x="1934" y="10"/>
                </a:cubicBezTo>
                <a:cubicBezTo>
                  <a:pt x="1933" y="16"/>
                  <a:pt x="1936" y="21"/>
                  <a:pt x="1942" y="20"/>
                </a:cubicBezTo>
                <a:cubicBezTo>
                  <a:pt x="1948" y="20"/>
                  <a:pt x="1953" y="16"/>
                  <a:pt x="1955" y="10"/>
                </a:cubicBezTo>
                <a:cubicBezTo>
                  <a:pt x="1956" y="5"/>
                  <a:pt x="1952" y="0"/>
                  <a:pt x="1947" y="0"/>
                </a:cubicBezTo>
                <a:cubicBezTo>
                  <a:pt x="1947" y="0"/>
                  <a:pt x="1947" y="0"/>
                  <a:pt x="1947" y="0"/>
                </a:cubicBezTo>
                <a:moveTo>
                  <a:pt x="1976" y="0"/>
                </a:moveTo>
                <a:cubicBezTo>
                  <a:pt x="1970" y="0"/>
                  <a:pt x="1965" y="4"/>
                  <a:pt x="1964" y="10"/>
                </a:cubicBezTo>
                <a:cubicBezTo>
                  <a:pt x="1962" y="16"/>
                  <a:pt x="1966" y="20"/>
                  <a:pt x="1972" y="20"/>
                </a:cubicBezTo>
                <a:cubicBezTo>
                  <a:pt x="1977" y="20"/>
                  <a:pt x="1983" y="15"/>
                  <a:pt x="1984" y="10"/>
                </a:cubicBezTo>
                <a:cubicBezTo>
                  <a:pt x="1985" y="4"/>
                  <a:pt x="1982" y="0"/>
                  <a:pt x="1976" y="0"/>
                </a:cubicBezTo>
                <a:cubicBezTo>
                  <a:pt x="1976" y="0"/>
                  <a:pt x="1976" y="0"/>
                  <a:pt x="1976" y="0"/>
                </a:cubicBezTo>
              </a:path>
            </a:pathLst>
          </a:custGeom>
          <a:gradFill>
            <a:gsLst>
              <a:gs pos="0">
                <a:srgbClr val="E8EBF1">
                  <a:alpha val="64000"/>
                </a:srgbClr>
              </a:gs>
              <a:gs pos="100000">
                <a:srgbClr val="FFFFFF">
                  <a:alpha val="85000"/>
                </a:srgbClr>
              </a:gs>
            </a:gsLst>
            <a:lin ang="5400000" scaled="1"/>
          </a:gradFill>
          <a:ln>
            <a:noFill/>
          </a:ln>
        </p:spPr>
        <p:txBody>
          <a:bodyPr vert="horz" wrap="square" lIns="91440" tIns="45720" rIns="91440" bIns="45720" numCol="1" anchor="t" anchorCtr="0" compatLnSpc="1">
            <a:prstTxWarp prst="textNoShape">
              <a:avLst/>
            </a:prstTxWarp>
          </a:bodyPr>
          <a:lstStyle/>
          <a:p>
            <a:endParaRPr lang="en-US"/>
          </a:p>
        </p:txBody>
      </p:sp>
      <p:graphicFrame>
        <p:nvGraphicFramePr>
          <p:cNvPr id="1825" name="Object 1824" hidden="1"/>
          <p:cNvGraphicFramePr>
            <a:graphicFrameLocks noChangeAspect="1"/>
          </p:cNvGraphicFramePr>
          <p:nvPr>
            <p:custDataLst>
              <p:tags r:id="rId2"/>
            </p:custDataLst>
            <p:extLst>
              <p:ext uri="{D42A27DB-BD31-4B8C-83A1-F6EECF244321}">
                <p14:modId xmlns:p14="http://schemas.microsoft.com/office/powerpoint/2010/main" val="2128505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36" name="Freeform 445"/>
          <p:cNvSpPr>
            <a:spLocks noEditPoints="1"/>
          </p:cNvSpPr>
          <p:nvPr/>
        </p:nvSpPr>
        <p:spPr bwMode="auto">
          <a:xfrm>
            <a:off x="-2690555" y="1594725"/>
            <a:ext cx="4273550" cy="2517052"/>
          </a:xfrm>
          <a:custGeom>
            <a:avLst/>
            <a:gdLst>
              <a:gd name="T0" fmla="*/ 3738 w 4455"/>
              <a:gd name="T1" fmla="*/ 1115 h 2623"/>
              <a:gd name="T2" fmla="*/ 4011 w 4455"/>
              <a:gd name="T3" fmla="*/ 515 h 2623"/>
              <a:gd name="T4" fmla="*/ 3906 w 4455"/>
              <a:gd name="T5" fmla="*/ 228 h 2623"/>
              <a:gd name="T6" fmla="*/ 3105 w 4455"/>
              <a:gd name="T7" fmla="*/ 210 h 2623"/>
              <a:gd name="T8" fmla="*/ 2810 w 4455"/>
              <a:gd name="T9" fmla="*/ 527 h 2623"/>
              <a:gd name="T10" fmla="*/ 2296 w 4455"/>
              <a:gd name="T11" fmla="*/ 560 h 2623"/>
              <a:gd name="T12" fmla="*/ 2373 w 4455"/>
              <a:gd name="T13" fmla="*/ 825 h 2623"/>
              <a:gd name="T14" fmla="*/ 2332 w 4455"/>
              <a:gd name="T15" fmla="*/ 1155 h 2623"/>
              <a:gd name="T16" fmla="*/ 1877 w 4455"/>
              <a:gd name="T17" fmla="*/ 1447 h 2623"/>
              <a:gd name="T18" fmla="*/ 2577 w 4455"/>
              <a:gd name="T19" fmla="*/ 1406 h 2623"/>
              <a:gd name="T20" fmla="*/ 3363 w 4455"/>
              <a:gd name="T21" fmla="*/ 1451 h 2623"/>
              <a:gd name="T22" fmla="*/ 2360 w 4455"/>
              <a:gd name="T23" fmla="*/ 536 h 2623"/>
              <a:gd name="T24" fmla="*/ 2551 w 4455"/>
              <a:gd name="T25" fmla="*/ 1715 h 2623"/>
              <a:gd name="T26" fmla="*/ 2693 w 4455"/>
              <a:gd name="T27" fmla="*/ 870 h 2623"/>
              <a:gd name="T28" fmla="*/ 3146 w 4455"/>
              <a:gd name="T29" fmla="*/ 271 h 2623"/>
              <a:gd name="T30" fmla="*/ 351 w 4455"/>
              <a:gd name="T31" fmla="*/ 597 h 2623"/>
              <a:gd name="T32" fmla="*/ 989 w 4455"/>
              <a:gd name="T33" fmla="*/ 1303 h 2623"/>
              <a:gd name="T34" fmla="*/ 1341 w 4455"/>
              <a:gd name="T35" fmla="*/ 746 h 2623"/>
              <a:gd name="T36" fmla="*/ 1125 w 4455"/>
              <a:gd name="T37" fmla="*/ 478 h 2623"/>
              <a:gd name="T38" fmla="*/ 741 w 4455"/>
              <a:gd name="T39" fmla="*/ 352 h 2623"/>
              <a:gd name="T40" fmla="*/ 177 w 4455"/>
              <a:gd name="T41" fmla="*/ 559 h 2623"/>
              <a:gd name="T42" fmla="*/ 493 w 4455"/>
              <a:gd name="T43" fmla="*/ 725 h 2623"/>
              <a:gd name="T44" fmla="*/ 627 w 4455"/>
              <a:gd name="T45" fmla="*/ 1387 h 2623"/>
              <a:gd name="T46" fmla="*/ 1161 w 4455"/>
              <a:gd name="T47" fmla="*/ 2501 h 2623"/>
              <a:gd name="T48" fmla="*/ 1343 w 4455"/>
              <a:gd name="T49" fmla="*/ 2236 h 2623"/>
              <a:gd name="T50" fmla="*/ 1036 w 4455"/>
              <a:gd name="T51" fmla="*/ 1018 h 2623"/>
              <a:gd name="T52" fmla="*/ 910 w 4455"/>
              <a:gd name="T53" fmla="*/ 954 h 2623"/>
              <a:gd name="T54" fmla="*/ 484 w 4455"/>
              <a:gd name="T55" fmla="*/ 736 h 2623"/>
              <a:gd name="T56" fmla="*/ 759 w 4455"/>
              <a:gd name="T57" fmla="*/ 656 h 2623"/>
              <a:gd name="T58" fmla="*/ 1434 w 4455"/>
              <a:gd name="T59" fmla="*/ 1762 h 2623"/>
              <a:gd name="T60" fmla="*/ 1894 w 4455"/>
              <a:gd name="T61" fmla="*/ 178 h 2623"/>
              <a:gd name="T62" fmla="*/ 1433 w 4455"/>
              <a:gd name="T63" fmla="*/ 220 h 2623"/>
              <a:gd name="T64" fmla="*/ 1519 w 4455"/>
              <a:gd name="T65" fmla="*/ 699 h 2623"/>
              <a:gd name="T66" fmla="*/ 3906 w 4455"/>
              <a:gd name="T67" fmla="*/ 1904 h 2623"/>
              <a:gd name="T68" fmla="*/ 1345 w 4455"/>
              <a:gd name="T69" fmla="*/ 159 h 2623"/>
              <a:gd name="T70" fmla="*/ 1482 w 4455"/>
              <a:gd name="T71" fmla="*/ 3 h 2623"/>
              <a:gd name="T72" fmla="*/ 1273 w 4455"/>
              <a:gd name="T73" fmla="*/ 498 h 2623"/>
              <a:gd name="T74" fmla="*/ 1221 w 4455"/>
              <a:gd name="T75" fmla="*/ 400 h 2623"/>
              <a:gd name="T76" fmla="*/ 1007 w 4455"/>
              <a:gd name="T77" fmla="*/ 314 h 2623"/>
              <a:gd name="T78" fmla="*/ 3594 w 4455"/>
              <a:gd name="T79" fmla="*/ 1719 h 2623"/>
              <a:gd name="T80" fmla="*/ 3898 w 4455"/>
              <a:gd name="T81" fmla="*/ 1152 h 2623"/>
              <a:gd name="T82" fmla="*/ 3549 w 4455"/>
              <a:gd name="T83" fmla="*/ 1820 h 2623"/>
              <a:gd name="T84" fmla="*/ 2277 w 4455"/>
              <a:gd name="T85" fmla="*/ 281 h 2623"/>
              <a:gd name="T86" fmla="*/ 1069 w 4455"/>
              <a:gd name="T87" fmla="*/ 225 h 2623"/>
              <a:gd name="T88" fmla="*/ 2867 w 4455"/>
              <a:gd name="T89" fmla="*/ 99 h 2623"/>
              <a:gd name="T90" fmla="*/ 3724 w 4455"/>
              <a:gd name="T91" fmla="*/ 1779 h 2623"/>
              <a:gd name="T92" fmla="*/ 2305 w 4455"/>
              <a:gd name="T93" fmla="*/ 256 h 2623"/>
              <a:gd name="T94" fmla="*/ 1168 w 4455"/>
              <a:gd name="T95" fmla="*/ 120 h 2623"/>
              <a:gd name="T96" fmla="*/ 3805 w 4455"/>
              <a:gd name="T97" fmla="*/ 1611 h 2623"/>
              <a:gd name="T98" fmla="*/ 2564 w 4455"/>
              <a:gd name="T99" fmla="*/ 147 h 2623"/>
              <a:gd name="T100" fmla="*/ 3801 w 4455"/>
              <a:gd name="T101" fmla="*/ 1569 h 2623"/>
              <a:gd name="T102" fmla="*/ 945 w 4455"/>
              <a:gd name="T103" fmla="*/ 204 h 2623"/>
              <a:gd name="T104" fmla="*/ 4008 w 4455"/>
              <a:gd name="T105" fmla="*/ 955 h 2623"/>
              <a:gd name="T106" fmla="*/ 3920 w 4455"/>
              <a:gd name="T107" fmla="*/ 2306 h 2623"/>
              <a:gd name="T108" fmla="*/ 3805 w 4455"/>
              <a:gd name="T109" fmla="*/ 1763 h 2623"/>
              <a:gd name="T110" fmla="*/ 1028 w 4455"/>
              <a:gd name="T111" fmla="*/ 170 h 2623"/>
              <a:gd name="T112" fmla="*/ 3778 w 4455"/>
              <a:gd name="T113" fmla="*/ 1216 h 2623"/>
              <a:gd name="T114" fmla="*/ 1178 w 4455"/>
              <a:gd name="T115" fmla="*/ 467 h 2623"/>
              <a:gd name="T116" fmla="*/ 1109 w 4455"/>
              <a:gd name="T117" fmla="*/ 1416 h 2623"/>
              <a:gd name="T118" fmla="*/ 910 w 4455"/>
              <a:gd name="T119" fmla="*/ 1311 h 2623"/>
              <a:gd name="T120" fmla="*/ 1277 w 4455"/>
              <a:gd name="T121" fmla="*/ 1520 h 2623"/>
              <a:gd name="T122" fmla="*/ 4124 w 4455"/>
              <a:gd name="T123" fmla="*/ 1817 h 2623"/>
              <a:gd name="T124" fmla="*/ 189 w 4455"/>
              <a:gd name="T125" fmla="*/ 669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55" h="2623">
                <a:moveTo>
                  <a:pt x="3416" y="1498"/>
                </a:moveTo>
                <a:cubicBezTo>
                  <a:pt x="3416" y="1498"/>
                  <a:pt x="3418" y="1497"/>
                  <a:pt x="3418" y="1498"/>
                </a:cubicBezTo>
                <a:cubicBezTo>
                  <a:pt x="3422" y="1501"/>
                  <a:pt x="3426" y="1503"/>
                  <a:pt x="3427" y="1508"/>
                </a:cubicBezTo>
                <a:cubicBezTo>
                  <a:pt x="3427" y="1512"/>
                  <a:pt x="3428" y="1515"/>
                  <a:pt x="3430" y="1519"/>
                </a:cubicBezTo>
                <a:cubicBezTo>
                  <a:pt x="3433" y="1528"/>
                  <a:pt x="3434" y="1538"/>
                  <a:pt x="3440" y="1547"/>
                </a:cubicBezTo>
                <a:cubicBezTo>
                  <a:pt x="3441" y="1548"/>
                  <a:pt x="3442" y="1551"/>
                  <a:pt x="3442" y="1553"/>
                </a:cubicBezTo>
                <a:cubicBezTo>
                  <a:pt x="3443" y="1555"/>
                  <a:pt x="3443" y="1557"/>
                  <a:pt x="3444" y="1559"/>
                </a:cubicBezTo>
                <a:cubicBezTo>
                  <a:pt x="3446" y="1567"/>
                  <a:pt x="3446" y="1575"/>
                  <a:pt x="3444" y="1583"/>
                </a:cubicBezTo>
                <a:cubicBezTo>
                  <a:pt x="3443" y="1586"/>
                  <a:pt x="3443" y="1588"/>
                  <a:pt x="3443" y="1590"/>
                </a:cubicBezTo>
                <a:cubicBezTo>
                  <a:pt x="3445" y="1596"/>
                  <a:pt x="3444" y="1602"/>
                  <a:pt x="3442" y="1608"/>
                </a:cubicBezTo>
                <a:cubicBezTo>
                  <a:pt x="3440" y="1614"/>
                  <a:pt x="3441" y="1620"/>
                  <a:pt x="3448" y="1622"/>
                </a:cubicBezTo>
                <a:cubicBezTo>
                  <a:pt x="3449" y="1623"/>
                  <a:pt x="3449" y="1623"/>
                  <a:pt x="3450" y="1623"/>
                </a:cubicBezTo>
                <a:cubicBezTo>
                  <a:pt x="3456" y="1631"/>
                  <a:pt x="3463" y="1640"/>
                  <a:pt x="3469" y="1648"/>
                </a:cubicBezTo>
                <a:cubicBezTo>
                  <a:pt x="3472" y="1652"/>
                  <a:pt x="3472" y="1657"/>
                  <a:pt x="3472" y="1662"/>
                </a:cubicBezTo>
                <a:cubicBezTo>
                  <a:pt x="3472" y="1663"/>
                  <a:pt x="3473" y="1664"/>
                  <a:pt x="3474" y="1665"/>
                </a:cubicBezTo>
                <a:cubicBezTo>
                  <a:pt x="3475" y="1668"/>
                  <a:pt x="3476" y="1671"/>
                  <a:pt x="3476" y="1675"/>
                </a:cubicBezTo>
                <a:cubicBezTo>
                  <a:pt x="3475" y="1678"/>
                  <a:pt x="3477" y="1681"/>
                  <a:pt x="3479" y="1684"/>
                </a:cubicBezTo>
                <a:cubicBezTo>
                  <a:pt x="3482" y="1687"/>
                  <a:pt x="3486" y="1691"/>
                  <a:pt x="3487" y="1696"/>
                </a:cubicBezTo>
                <a:cubicBezTo>
                  <a:pt x="3487" y="1697"/>
                  <a:pt x="3489" y="1698"/>
                  <a:pt x="3490" y="1699"/>
                </a:cubicBezTo>
                <a:cubicBezTo>
                  <a:pt x="3492" y="1701"/>
                  <a:pt x="3494" y="1702"/>
                  <a:pt x="3495" y="1704"/>
                </a:cubicBezTo>
                <a:cubicBezTo>
                  <a:pt x="3498" y="1708"/>
                  <a:pt x="3502" y="1710"/>
                  <a:pt x="3507" y="1713"/>
                </a:cubicBezTo>
                <a:cubicBezTo>
                  <a:pt x="3512" y="1715"/>
                  <a:pt x="3517" y="1718"/>
                  <a:pt x="3523" y="1721"/>
                </a:cubicBezTo>
                <a:cubicBezTo>
                  <a:pt x="3522" y="1721"/>
                  <a:pt x="3522" y="1721"/>
                  <a:pt x="3522" y="1721"/>
                </a:cubicBezTo>
                <a:cubicBezTo>
                  <a:pt x="3523" y="1721"/>
                  <a:pt x="3523" y="1721"/>
                  <a:pt x="3524" y="1721"/>
                </a:cubicBezTo>
                <a:cubicBezTo>
                  <a:pt x="3523" y="1721"/>
                  <a:pt x="3523" y="1721"/>
                  <a:pt x="3523" y="1721"/>
                </a:cubicBezTo>
                <a:cubicBezTo>
                  <a:pt x="3524" y="1720"/>
                  <a:pt x="3525" y="1719"/>
                  <a:pt x="3526" y="1718"/>
                </a:cubicBezTo>
                <a:cubicBezTo>
                  <a:pt x="3528" y="1717"/>
                  <a:pt x="3529" y="1715"/>
                  <a:pt x="3528" y="1712"/>
                </a:cubicBezTo>
                <a:cubicBezTo>
                  <a:pt x="3526" y="1708"/>
                  <a:pt x="3524" y="1703"/>
                  <a:pt x="3521" y="1699"/>
                </a:cubicBezTo>
                <a:cubicBezTo>
                  <a:pt x="3517" y="1695"/>
                  <a:pt x="3517" y="1690"/>
                  <a:pt x="3516" y="1684"/>
                </a:cubicBezTo>
                <a:cubicBezTo>
                  <a:pt x="3516" y="1681"/>
                  <a:pt x="3516" y="1678"/>
                  <a:pt x="3516" y="1674"/>
                </a:cubicBezTo>
                <a:cubicBezTo>
                  <a:pt x="3516" y="1670"/>
                  <a:pt x="3515" y="1667"/>
                  <a:pt x="3513" y="1664"/>
                </a:cubicBezTo>
                <a:cubicBezTo>
                  <a:pt x="3509" y="1659"/>
                  <a:pt x="3504" y="1654"/>
                  <a:pt x="3499" y="1650"/>
                </a:cubicBezTo>
                <a:cubicBezTo>
                  <a:pt x="3493" y="1647"/>
                  <a:pt x="3489" y="1641"/>
                  <a:pt x="3482" y="1638"/>
                </a:cubicBezTo>
                <a:cubicBezTo>
                  <a:pt x="3477" y="1636"/>
                  <a:pt x="3474" y="1632"/>
                  <a:pt x="3474" y="1626"/>
                </a:cubicBezTo>
                <a:cubicBezTo>
                  <a:pt x="3474" y="1623"/>
                  <a:pt x="3473" y="1620"/>
                  <a:pt x="3471" y="1618"/>
                </a:cubicBezTo>
                <a:cubicBezTo>
                  <a:pt x="3467" y="1614"/>
                  <a:pt x="3465" y="1610"/>
                  <a:pt x="3463" y="1605"/>
                </a:cubicBezTo>
                <a:cubicBezTo>
                  <a:pt x="3459" y="1604"/>
                  <a:pt x="3456" y="1601"/>
                  <a:pt x="3455" y="1596"/>
                </a:cubicBezTo>
                <a:cubicBezTo>
                  <a:pt x="3455" y="1593"/>
                  <a:pt x="3455" y="1590"/>
                  <a:pt x="3456" y="1587"/>
                </a:cubicBezTo>
                <a:cubicBezTo>
                  <a:pt x="3460" y="1575"/>
                  <a:pt x="3464" y="1563"/>
                  <a:pt x="3465" y="1550"/>
                </a:cubicBezTo>
                <a:cubicBezTo>
                  <a:pt x="3465" y="1549"/>
                  <a:pt x="3465" y="1549"/>
                  <a:pt x="3466" y="1548"/>
                </a:cubicBezTo>
                <a:cubicBezTo>
                  <a:pt x="3466" y="1548"/>
                  <a:pt x="3467" y="1547"/>
                  <a:pt x="3468" y="1547"/>
                </a:cubicBezTo>
                <a:cubicBezTo>
                  <a:pt x="3469" y="1547"/>
                  <a:pt x="3470" y="1547"/>
                  <a:pt x="3471" y="1548"/>
                </a:cubicBezTo>
                <a:cubicBezTo>
                  <a:pt x="3472" y="1548"/>
                  <a:pt x="3473" y="1550"/>
                  <a:pt x="3473" y="1551"/>
                </a:cubicBezTo>
                <a:cubicBezTo>
                  <a:pt x="3474" y="1557"/>
                  <a:pt x="3477" y="1559"/>
                  <a:pt x="3483" y="1559"/>
                </a:cubicBezTo>
                <a:cubicBezTo>
                  <a:pt x="3485" y="1559"/>
                  <a:pt x="3487" y="1559"/>
                  <a:pt x="3488" y="1560"/>
                </a:cubicBezTo>
                <a:cubicBezTo>
                  <a:pt x="3493" y="1564"/>
                  <a:pt x="3500" y="1567"/>
                  <a:pt x="3503" y="1574"/>
                </a:cubicBezTo>
                <a:cubicBezTo>
                  <a:pt x="3507" y="1582"/>
                  <a:pt x="3515" y="1587"/>
                  <a:pt x="3521" y="1593"/>
                </a:cubicBezTo>
                <a:cubicBezTo>
                  <a:pt x="3523" y="1592"/>
                  <a:pt x="3525" y="1591"/>
                  <a:pt x="3526" y="1591"/>
                </a:cubicBezTo>
                <a:cubicBezTo>
                  <a:pt x="3529" y="1593"/>
                  <a:pt x="3532" y="1594"/>
                  <a:pt x="3532" y="1600"/>
                </a:cubicBezTo>
                <a:cubicBezTo>
                  <a:pt x="3532" y="1604"/>
                  <a:pt x="3532" y="1608"/>
                  <a:pt x="3532" y="1613"/>
                </a:cubicBezTo>
                <a:cubicBezTo>
                  <a:pt x="3532" y="1614"/>
                  <a:pt x="3535" y="1615"/>
                  <a:pt x="3536" y="1614"/>
                </a:cubicBezTo>
                <a:cubicBezTo>
                  <a:pt x="3537" y="1614"/>
                  <a:pt x="3538" y="1614"/>
                  <a:pt x="3538" y="1614"/>
                </a:cubicBezTo>
                <a:cubicBezTo>
                  <a:pt x="3544" y="1607"/>
                  <a:pt x="3551" y="1601"/>
                  <a:pt x="3557" y="1595"/>
                </a:cubicBezTo>
                <a:cubicBezTo>
                  <a:pt x="3558" y="1594"/>
                  <a:pt x="3560" y="1592"/>
                  <a:pt x="3562" y="1592"/>
                </a:cubicBezTo>
                <a:cubicBezTo>
                  <a:pt x="3571" y="1590"/>
                  <a:pt x="3577" y="1584"/>
                  <a:pt x="3583" y="1579"/>
                </a:cubicBezTo>
                <a:cubicBezTo>
                  <a:pt x="3587" y="1575"/>
                  <a:pt x="3589" y="1571"/>
                  <a:pt x="3590" y="1566"/>
                </a:cubicBezTo>
                <a:cubicBezTo>
                  <a:pt x="3592" y="1558"/>
                  <a:pt x="3593" y="1551"/>
                  <a:pt x="3590" y="1543"/>
                </a:cubicBezTo>
                <a:cubicBezTo>
                  <a:pt x="3590" y="1543"/>
                  <a:pt x="3590" y="1542"/>
                  <a:pt x="3590" y="1542"/>
                </a:cubicBezTo>
                <a:cubicBezTo>
                  <a:pt x="3588" y="1532"/>
                  <a:pt x="3585" y="1523"/>
                  <a:pt x="3580" y="1514"/>
                </a:cubicBezTo>
                <a:cubicBezTo>
                  <a:pt x="3578" y="1510"/>
                  <a:pt x="3576" y="1507"/>
                  <a:pt x="3573" y="1505"/>
                </a:cubicBezTo>
                <a:cubicBezTo>
                  <a:pt x="3568" y="1499"/>
                  <a:pt x="3561" y="1495"/>
                  <a:pt x="3555" y="1491"/>
                </a:cubicBezTo>
                <a:cubicBezTo>
                  <a:pt x="3551" y="1488"/>
                  <a:pt x="3547" y="1485"/>
                  <a:pt x="3546" y="1479"/>
                </a:cubicBezTo>
                <a:cubicBezTo>
                  <a:pt x="3545" y="1477"/>
                  <a:pt x="3543" y="1475"/>
                  <a:pt x="3541" y="1473"/>
                </a:cubicBezTo>
                <a:cubicBezTo>
                  <a:pt x="3539" y="1471"/>
                  <a:pt x="3538" y="1470"/>
                  <a:pt x="3536" y="1468"/>
                </a:cubicBezTo>
                <a:cubicBezTo>
                  <a:pt x="3535" y="1468"/>
                  <a:pt x="3535" y="1466"/>
                  <a:pt x="3535" y="1466"/>
                </a:cubicBezTo>
                <a:cubicBezTo>
                  <a:pt x="3534" y="1460"/>
                  <a:pt x="3533" y="1453"/>
                  <a:pt x="3538" y="1449"/>
                </a:cubicBezTo>
                <a:cubicBezTo>
                  <a:pt x="3541" y="1447"/>
                  <a:pt x="3542" y="1444"/>
                  <a:pt x="3543" y="1440"/>
                </a:cubicBezTo>
                <a:cubicBezTo>
                  <a:pt x="3543" y="1438"/>
                  <a:pt x="3545" y="1436"/>
                  <a:pt x="3547" y="1435"/>
                </a:cubicBezTo>
                <a:cubicBezTo>
                  <a:pt x="3553" y="1431"/>
                  <a:pt x="3559" y="1428"/>
                  <a:pt x="3565" y="1425"/>
                </a:cubicBezTo>
                <a:cubicBezTo>
                  <a:pt x="3567" y="1424"/>
                  <a:pt x="3569" y="1424"/>
                  <a:pt x="3570" y="1424"/>
                </a:cubicBezTo>
                <a:cubicBezTo>
                  <a:pt x="3572" y="1425"/>
                  <a:pt x="3573" y="1426"/>
                  <a:pt x="3575" y="1426"/>
                </a:cubicBezTo>
                <a:cubicBezTo>
                  <a:pt x="3579" y="1427"/>
                  <a:pt x="3582" y="1428"/>
                  <a:pt x="3583" y="1433"/>
                </a:cubicBezTo>
                <a:cubicBezTo>
                  <a:pt x="3583" y="1436"/>
                  <a:pt x="3585" y="1439"/>
                  <a:pt x="3588" y="1441"/>
                </a:cubicBezTo>
                <a:cubicBezTo>
                  <a:pt x="3591" y="1443"/>
                  <a:pt x="3595" y="1442"/>
                  <a:pt x="3596" y="1438"/>
                </a:cubicBezTo>
                <a:cubicBezTo>
                  <a:pt x="3596" y="1437"/>
                  <a:pt x="3596" y="1435"/>
                  <a:pt x="3596" y="1433"/>
                </a:cubicBezTo>
                <a:cubicBezTo>
                  <a:pt x="3596" y="1434"/>
                  <a:pt x="3596" y="1434"/>
                  <a:pt x="3596" y="1434"/>
                </a:cubicBezTo>
                <a:cubicBezTo>
                  <a:pt x="3596" y="1433"/>
                  <a:pt x="3596" y="1433"/>
                  <a:pt x="3596" y="1433"/>
                </a:cubicBezTo>
                <a:cubicBezTo>
                  <a:pt x="3596" y="1433"/>
                  <a:pt x="3596" y="1433"/>
                  <a:pt x="3596" y="1433"/>
                </a:cubicBezTo>
                <a:cubicBezTo>
                  <a:pt x="3595" y="1432"/>
                  <a:pt x="3595" y="1432"/>
                  <a:pt x="3595" y="1431"/>
                </a:cubicBezTo>
                <a:cubicBezTo>
                  <a:pt x="3595" y="1430"/>
                  <a:pt x="3596" y="1429"/>
                  <a:pt x="3597" y="1428"/>
                </a:cubicBezTo>
                <a:cubicBezTo>
                  <a:pt x="3604" y="1427"/>
                  <a:pt x="3611" y="1423"/>
                  <a:pt x="3618" y="1421"/>
                </a:cubicBezTo>
                <a:cubicBezTo>
                  <a:pt x="3624" y="1419"/>
                  <a:pt x="3630" y="1415"/>
                  <a:pt x="3633" y="1409"/>
                </a:cubicBezTo>
                <a:cubicBezTo>
                  <a:pt x="3634" y="1407"/>
                  <a:pt x="3635" y="1407"/>
                  <a:pt x="3637" y="1408"/>
                </a:cubicBezTo>
                <a:cubicBezTo>
                  <a:pt x="3639" y="1409"/>
                  <a:pt x="3640" y="1410"/>
                  <a:pt x="3643" y="1409"/>
                </a:cubicBezTo>
                <a:cubicBezTo>
                  <a:pt x="3647" y="1407"/>
                  <a:pt x="3652" y="1406"/>
                  <a:pt x="3657" y="1405"/>
                </a:cubicBezTo>
                <a:cubicBezTo>
                  <a:pt x="3661" y="1405"/>
                  <a:pt x="3664" y="1403"/>
                  <a:pt x="3668" y="1402"/>
                </a:cubicBezTo>
                <a:cubicBezTo>
                  <a:pt x="3671" y="1400"/>
                  <a:pt x="3675" y="1398"/>
                  <a:pt x="3676" y="1394"/>
                </a:cubicBezTo>
                <a:cubicBezTo>
                  <a:pt x="3676" y="1392"/>
                  <a:pt x="3678" y="1392"/>
                  <a:pt x="3679" y="1391"/>
                </a:cubicBezTo>
                <a:cubicBezTo>
                  <a:pt x="3684" y="1387"/>
                  <a:pt x="3690" y="1384"/>
                  <a:pt x="3693" y="1378"/>
                </a:cubicBezTo>
                <a:cubicBezTo>
                  <a:pt x="3693" y="1377"/>
                  <a:pt x="3693" y="1376"/>
                  <a:pt x="3693" y="1376"/>
                </a:cubicBezTo>
                <a:cubicBezTo>
                  <a:pt x="3698" y="1374"/>
                  <a:pt x="3700" y="1369"/>
                  <a:pt x="3702" y="1365"/>
                </a:cubicBezTo>
                <a:cubicBezTo>
                  <a:pt x="3703" y="1363"/>
                  <a:pt x="3705" y="1363"/>
                  <a:pt x="3706" y="1362"/>
                </a:cubicBezTo>
                <a:cubicBezTo>
                  <a:pt x="3709" y="1361"/>
                  <a:pt x="3710" y="1360"/>
                  <a:pt x="3709" y="1357"/>
                </a:cubicBezTo>
                <a:cubicBezTo>
                  <a:pt x="3708" y="1353"/>
                  <a:pt x="3708" y="1349"/>
                  <a:pt x="3708" y="1344"/>
                </a:cubicBezTo>
                <a:cubicBezTo>
                  <a:pt x="3708" y="1342"/>
                  <a:pt x="3707" y="1339"/>
                  <a:pt x="3710" y="1338"/>
                </a:cubicBezTo>
                <a:cubicBezTo>
                  <a:pt x="3715" y="1335"/>
                  <a:pt x="3718" y="1330"/>
                  <a:pt x="3719" y="1324"/>
                </a:cubicBezTo>
                <a:cubicBezTo>
                  <a:pt x="3719" y="1321"/>
                  <a:pt x="3720" y="1318"/>
                  <a:pt x="3723" y="1315"/>
                </a:cubicBezTo>
                <a:cubicBezTo>
                  <a:pt x="3727" y="1312"/>
                  <a:pt x="3728" y="1309"/>
                  <a:pt x="3728" y="1304"/>
                </a:cubicBezTo>
                <a:cubicBezTo>
                  <a:pt x="3728" y="1301"/>
                  <a:pt x="3728" y="1298"/>
                  <a:pt x="3730" y="1296"/>
                </a:cubicBezTo>
                <a:cubicBezTo>
                  <a:pt x="3733" y="1291"/>
                  <a:pt x="3731" y="1288"/>
                  <a:pt x="3728" y="1284"/>
                </a:cubicBezTo>
                <a:cubicBezTo>
                  <a:pt x="3726" y="1282"/>
                  <a:pt x="3724" y="1281"/>
                  <a:pt x="3722" y="1279"/>
                </a:cubicBezTo>
                <a:cubicBezTo>
                  <a:pt x="3720" y="1277"/>
                  <a:pt x="3718" y="1277"/>
                  <a:pt x="3716" y="1278"/>
                </a:cubicBezTo>
                <a:cubicBezTo>
                  <a:pt x="3716" y="1278"/>
                  <a:pt x="3716" y="1278"/>
                  <a:pt x="3716" y="1278"/>
                </a:cubicBezTo>
                <a:cubicBezTo>
                  <a:pt x="3715" y="1278"/>
                  <a:pt x="3715" y="1278"/>
                  <a:pt x="3715" y="1278"/>
                </a:cubicBezTo>
                <a:cubicBezTo>
                  <a:pt x="3715" y="1278"/>
                  <a:pt x="3715" y="1278"/>
                  <a:pt x="3715" y="1278"/>
                </a:cubicBezTo>
                <a:cubicBezTo>
                  <a:pt x="3715" y="1278"/>
                  <a:pt x="3716" y="1278"/>
                  <a:pt x="3716" y="1278"/>
                </a:cubicBezTo>
                <a:cubicBezTo>
                  <a:pt x="3716" y="1276"/>
                  <a:pt x="3716" y="1274"/>
                  <a:pt x="3717" y="1273"/>
                </a:cubicBezTo>
                <a:cubicBezTo>
                  <a:pt x="3719" y="1271"/>
                  <a:pt x="3721" y="1270"/>
                  <a:pt x="3723" y="1268"/>
                </a:cubicBezTo>
                <a:cubicBezTo>
                  <a:pt x="3724" y="1266"/>
                  <a:pt x="3724" y="1264"/>
                  <a:pt x="3723" y="1262"/>
                </a:cubicBezTo>
                <a:cubicBezTo>
                  <a:pt x="3722" y="1259"/>
                  <a:pt x="3718" y="1257"/>
                  <a:pt x="3716" y="1255"/>
                </a:cubicBezTo>
                <a:cubicBezTo>
                  <a:pt x="3715" y="1255"/>
                  <a:pt x="3715" y="1255"/>
                  <a:pt x="3715" y="1255"/>
                </a:cubicBezTo>
                <a:cubicBezTo>
                  <a:pt x="3714" y="1254"/>
                  <a:pt x="3714" y="1254"/>
                  <a:pt x="3714" y="1254"/>
                </a:cubicBezTo>
                <a:cubicBezTo>
                  <a:pt x="3715" y="1254"/>
                  <a:pt x="3715" y="1254"/>
                  <a:pt x="3715" y="1254"/>
                </a:cubicBezTo>
                <a:cubicBezTo>
                  <a:pt x="3715" y="1254"/>
                  <a:pt x="3716" y="1255"/>
                  <a:pt x="3716" y="1255"/>
                </a:cubicBezTo>
                <a:cubicBezTo>
                  <a:pt x="3717" y="1254"/>
                  <a:pt x="3718" y="1254"/>
                  <a:pt x="3718" y="1254"/>
                </a:cubicBezTo>
                <a:cubicBezTo>
                  <a:pt x="3722" y="1252"/>
                  <a:pt x="3723" y="1249"/>
                  <a:pt x="3720" y="1246"/>
                </a:cubicBezTo>
                <a:cubicBezTo>
                  <a:pt x="3718" y="1244"/>
                  <a:pt x="3717" y="1242"/>
                  <a:pt x="3714" y="1240"/>
                </a:cubicBezTo>
                <a:cubicBezTo>
                  <a:pt x="3710" y="1238"/>
                  <a:pt x="3708" y="1235"/>
                  <a:pt x="3706" y="1231"/>
                </a:cubicBezTo>
                <a:cubicBezTo>
                  <a:pt x="3703" y="1225"/>
                  <a:pt x="3700" y="1220"/>
                  <a:pt x="3697" y="1215"/>
                </a:cubicBezTo>
                <a:cubicBezTo>
                  <a:pt x="3695" y="1211"/>
                  <a:pt x="3693" y="1208"/>
                  <a:pt x="3689" y="1207"/>
                </a:cubicBezTo>
                <a:cubicBezTo>
                  <a:pt x="3687" y="1206"/>
                  <a:pt x="3686" y="1204"/>
                  <a:pt x="3684" y="1203"/>
                </a:cubicBezTo>
                <a:cubicBezTo>
                  <a:pt x="3679" y="1201"/>
                  <a:pt x="3678" y="1197"/>
                  <a:pt x="3678" y="1192"/>
                </a:cubicBezTo>
                <a:cubicBezTo>
                  <a:pt x="3678" y="1189"/>
                  <a:pt x="3679" y="1186"/>
                  <a:pt x="3681" y="1183"/>
                </a:cubicBezTo>
                <a:cubicBezTo>
                  <a:pt x="3683" y="1181"/>
                  <a:pt x="3684" y="1179"/>
                  <a:pt x="3685" y="1176"/>
                </a:cubicBezTo>
                <a:cubicBezTo>
                  <a:pt x="3687" y="1171"/>
                  <a:pt x="3691" y="1168"/>
                  <a:pt x="3695" y="1166"/>
                </a:cubicBezTo>
                <a:cubicBezTo>
                  <a:pt x="3700" y="1163"/>
                  <a:pt x="3704" y="1161"/>
                  <a:pt x="3709" y="1161"/>
                </a:cubicBezTo>
                <a:cubicBezTo>
                  <a:pt x="3711" y="1161"/>
                  <a:pt x="3712" y="1159"/>
                  <a:pt x="3712" y="1158"/>
                </a:cubicBezTo>
                <a:cubicBezTo>
                  <a:pt x="3713" y="1156"/>
                  <a:pt x="3713" y="1154"/>
                  <a:pt x="3713" y="1153"/>
                </a:cubicBezTo>
                <a:cubicBezTo>
                  <a:pt x="3713" y="1150"/>
                  <a:pt x="3711" y="1147"/>
                  <a:pt x="3708" y="1147"/>
                </a:cubicBezTo>
                <a:cubicBezTo>
                  <a:pt x="3705" y="1147"/>
                  <a:pt x="3703" y="1147"/>
                  <a:pt x="3700" y="1147"/>
                </a:cubicBezTo>
                <a:cubicBezTo>
                  <a:pt x="3698" y="1147"/>
                  <a:pt x="3696" y="1147"/>
                  <a:pt x="3694" y="1146"/>
                </a:cubicBezTo>
                <a:cubicBezTo>
                  <a:pt x="3692" y="1146"/>
                  <a:pt x="3690" y="1144"/>
                  <a:pt x="3688" y="1143"/>
                </a:cubicBezTo>
                <a:cubicBezTo>
                  <a:pt x="3686" y="1142"/>
                  <a:pt x="3684" y="1143"/>
                  <a:pt x="3682" y="1144"/>
                </a:cubicBezTo>
                <a:cubicBezTo>
                  <a:pt x="3678" y="1146"/>
                  <a:pt x="3675" y="1149"/>
                  <a:pt x="3672" y="1153"/>
                </a:cubicBezTo>
                <a:cubicBezTo>
                  <a:pt x="3671" y="1154"/>
                  <a:pt x="3669" y="1154"/>
                  <a:pt x="3668" y="1155"/>
                </a:cubicBezTo>
                <a:cubicBezTo>
                  <a:pt x="3665" y="1156"/>
                  <a:pt x="3663" y="1154"/>
                  <a:pt x="3661" y="1151"/>
                </a:cubicBezTo>
                <a:cubicBezTo>
                  <a:pt x="3660" y="1147"/>
                  <a:pt x="3658" y="1144"/>
                  <a:pt x="3653" y="1142"/>
                </a:cubicBezTo>
                <a:cubicBezTo>
                  <a:pt x="3648" y="1141"/>
                  <a:pt x="3644" y="1137"/>
                  <a:pt x="3641" y="1133"/>
                </a:cubicBezTo>
                <a:cubicBezTo>
                  <a:pt x="3638" y="1130"/>
                  <a:pt x="3641" y="1123"/>
                  <a:pt x="3645" y="1123"/>
                </a:cubicBezTo>
                <a:cubicBezTo>
                  <a:pt x="3646" y="1122"/>
                  <a:pt x="3648" y="1122"/>
                  <a:pt x="3650" y="1122"/>
                </a:cubicBezTo>
                <a:cubicBezTo>
                  <a:pt x="3653" y="1122"/>
                  <a:pt x="3656" y="1120"/>
                  <a:pt x="3657" y="1117"/>
                </a:cubicBezTo>
                <a:cubicBezTo>
                  <a:pt x="3659" y="1110"/>
                  <a:pt x="3660" y="1104"/>
                  <a:pt x="3667" y="1101"/>
                </a:cubicBezTo>
                <a:cubicBezTo>
                  <a:pt x="3669" y="1100"/>
                  <a:pt x="3670" y="1097"/>
                  <a:pt x="3671" y="1095"/>
                </a:cubicBezTo>
                <a:cubicBezTo>
                  <a:pt x="3672" y="1092"/>
                  <a:pt x="3674" y="1089"/>
                  <a:pt x="3675" y="1087"/>
                </a:cubicBezTo>
                <a:cubicBezTo>
                  <a:pt x="3676" y="1085"/>
                  <a:pt x="3678" y="1084"/>
                  <a:pt x="3679" y="1084"/>
                </a:cubicBezTo>
                <a:cubicBezTo>
                  <a:pt x="3684" y="1083"/>
                  <a:pt x="3687" y="1085"/>
                  <a:pt x="3689" y="1088"/>
                </a:cubicBezTo>
                <a:cubicBezTo>
                  <a:pt x="3692" y="1091"/>
                  <a:pt x="3691" y="1093"/>
                  <a:pt x="3690" y="1096"/>
                </a:cubicBezTo>
                <a:cubicBezTo>
                  <a:pt x="3689" y="1097"/>
                  <a:pt x="3689" y="1098"/>
                  <a:pt x="3688" y="1099"/>
                </a:cubicBezTo>
                <a:cubicBezTo>
                  <a:pt x="3686" y="1102"/>
                  <a:pt x="3685" y="1106"/>
                  <a:pt x="3687" y="1110"/>
                </a:cubicBezTo>
                <a:cubicBezTo>
                  <a:pt x="3688" y="1111"/>
                  <a:pt x="3688" y="1113"/>
                  <a:pt x="3689" y="1114"/>
                </a:cubicBezTo>
                <a:cubicBezTo>
                  <a:pt x="3690" y="1117"/>
                  <a:pt x="3688" y="1118"/>
                  <a:pt x="3687" y="1120"/>
                </a:cubicBezTo>
                <a:cubicBezTo>
                  <a:pt x="3686" y="1120"/>
                  <a:pt x="3686" y="1121"/>
                  <a:pt x="3686" y="1121"/>
                </a:cubicBezTo>
                <a:cubicBezTo>
                  <a:pt x="3686" y="1122"/>
                  <a:pt x="3686" y="1124"/>
                  <a:pt x="3687" y="1124"/>
                </a:cubicBezTo>
                <a:cubicBezTo>
                  <a:pt x="3688" y="1125"/>
                  <a:pt x="3689" y="1125"/>
                  <a:pt x="3690" y="1125"/>
                </a:cubicBezTo>
                <a:cubicBezTo>
                  <a:pt x="3693" y="1123"/>
                  <a:pt x="3696" y="1121"/>
                  <a:pt x="3698" y="1117"/>
                </a:cubicBezTo>
                <a:cubicBezTo>
                  <a:pt x="3704" y="1109"/>
                  <a:pt x="3713" y="1106"/>
                  <a:pt x="3722" y="1104"/>
                </a:cubicBezTo>
                <a:cubicBezTo>
                  <a:pt x="3724" y="1104"/>
                  <a:pt x="3725" y="1104"/>
                  <a:pt x="3727" y="1105"/>
                </a:cubicBezTo>
                <a:cubicBezTo>
                  <a:pt x="3728" y="1105"/>
                  <a:pt x="3730" y="1106"/>
                  <a:pt x="3731" y="1106"/>
                </a:cubicBezTo>
                <a:cubicBezTo>
                  <a:pt x="3738" y="1109"/>
                  <a:pt x="3738" y="1109"/>
                  <a:pt x="3738" y="1115"/>
                </a:cubicBezTo>
                <a:cubicBezTo>
                  <a:pt x="3738" y="1121"/>
                  <a:pt x="3738" y="1126"/>
                  <a:pt x="3738" y="1132"/>
                </a:cubicBezTo>
                <a:cubicBezTo>
                  <a:pt x="3738" y="1135"/>
                  <a:pt x="3739" y="1137"/>
                  <a:pt x="3741" y="1139"/>
                </a:cubicBezTo>
                <a:cubicBezTo>
                  <a:pt x="3743" y="1141"/>
                  <a:pt x="3744" y="1142"/>
                  <a:pt x="3747" y="1141"/>
                </a:cubicBezTo>
                <a:cubicBezTo>
                  <a:pt x="3748" y="1141"/>
                  <a:pt x="3750" y="1140"/>
                  <a:pt x="3752" y="1140"/>
                </a:cubicBezTo>
                <a:cubicBezTo>
                  <a:pt x="3754" y="1139"/>
                  <a:pt x="3757" y="1140"/>
                  <a:pt x="3759" y="1142"/>
                </a:cubicBezTo>
                <a:cubicBezTo>
                  <a:pt x="3761" y="1144"/>
                  <a:pt x="3763" y="1146"/>
                  <a:pt x="3765" y="1148"/>
                </a:cubicBezTo>
                <a:cubicBezTo>
                  <a:pt x="3767" y="1150"/>
                  <a:pt x="3766" y="1151"/>
                  <a:pt x="3764" y="1155"/>
                </a:cubicBezTo>
                <a:cubicBezTo>
                  <a:pt x="3762" y="1157"/>
                  <a:pt x="3761" y="1159"/>
                  <a:pt x="3763" y="1160"/>
                </a:cubicBezTo>
                <a:cubicBezTo>
                  <a:pt x="3769" y="1166"/>
                  <a:pt x="3771" y="1173"/>
                  <a:pt x="3770" y="1181"/>
                </a:cubicBezTo>
                <a:cubicBezTo>
                  <a:pt x="3770" y="1184"/>
                  <a:pt x="3769" y="1186"/>
                  <a:pt x="3769" y="1188"/>
                </a:cubicBezTo>
                <a:cubicBezTo>
                  <a:pt x="3770" y="1193"/>
                  <a:pt x="3772" y="1196"/>
                  <a:pt x="3774" y="1200"/>
                </a:cubicBezTo>
                <a:cubicBezTo>
                  <a:pt x="3774" y="1200"/>
                  <a:pt x="3775" y="1200"/>
                  <a:pt x="3776" y="1200"/>
                </a:cubicBezTo>
                <a:cubicBezTo>
                  <a:pt x="3779" y="1200"/>
                  <a:pt x="3781" y="1198"/>
                  <a:pt x="3783" y="1196"/>
                </a:cubicBezTo>
                <a:cubicBezTo>
                  <a:pt x="3786" y="1193"/>
                  <a:pt x="3789" y="1192"/>
                  <a:pt x="3793" y="1192"/>
                </a:cubicBezTo>
                <a:cubicBezTo>
                  <a:pt x="3795" y="1192"/>
                  <a:pt x="3797" y="1192"/>
                  <a:pt x="3798" y="1192"/>
                </a:cubicBezTo>
                <a:cubicBezTo>
                  <a:pt x="3802" y="1193"/>
                  <a:pt x="3804" y="1191"/>
                  <a:pt x="3806" y="1188"/>
                </a:cubicBezTo>
                <a:cubicBezTo>
                  <a:pt x="3811" y="1182"/>
                  <a:pt x="3812" y="1176"/>
                  <a:pt x="3810" y="1169"/>
                </a:cubicBezTo>
                <a:cubicBezTo>
                  <a:pt x="3809" y="1166"/>
                  <a:pt x="3808" y="1163"/>
                  <a:pt x="3807" y="1160"/>
                </a:cubicBezTo>
                <a:cubicBezTo>
                  <a:pt x="3803" y="1147"/>
                  <a:pt x="3803" y="1147"/>
                  <a:pt x="3795" y="1137"/>
                </a:cubicBezTo>
                <a:cubicBezTo>
                  <a:pt x="3791" y="1133"/>
                  <a:pt x="3788" y="1130"/>
                  <a:pt x="3786" y="1125"/>
                </a:cubicBezTo>
                <a:cubicBezTo>
                  <a:pt x="3784" y="1121"/>
                  <a:pt x="3781" y="1118"/>
                  <a:pt x="3777" y="1116"/>
                </a:cubicBezTo>
                <a:cubicBezTo>
                  <a:pt x="3774" y="1114"/>
                  <a:pt x="3771" y="1112"/>
                  <a:pt x="3769" y="1110"/>
                </a:cubicBezTo>
                <a:cubicBezTo>
                  <a:pt x="3766" y="1108"/>
                  <a:pt x="3765" y="1102"/>
                  <a:pt x="3767" y="1100"/>
                </a:cubicBezTo>
                <a:cubicBezTo>
                  <a:pt x="3768" y="1098"/>
                  <a:pt x="3770" y="1096"/>
                  <a:pt x="3771" y="1095"/>
                </a:cubicBezTo>
                <a:cubicBezTo>
                  <a:pt x="3774" y="1092"/>
                  <a:pt x="3777" y="1089"/>
                  <a:pt x="3779" y="1086"/>
                </a:cubicBezTo>
                <a:cubicBezTo>
                  <a:pt x="3786" y="1079"/>
                  <a:pt x="3788" y="1072"/>
                  <a:pt x="3785" y="1062"/>
                </a:cubicBezTo>
                <a:cubicBezTo>
                  <a:pt x="3783" y="1055"/>
                  <a:pt x="3785" y="1049"/>
                  <a:pt x="3790" y="1044"/>
                </a:cubicBezTo>
                <a:cubicBezTo>
                  <a:pt x="3792" y="1043"/>
                  <a:pt x="3794" y="1041"/>
                  <a:pt x="3795" y="1040"/>
                </a:cubicBezTo>
                <a:cubicBezTo>
                  <a:pt x="3797" y="1038"/>
                  <a:pt x="3798" y="1037"/>
                  <a:pt x="3799" y="1035"/>
                </a:cubicBezTo>
                <a:cubicBezTo>
                  <a:pt x="3801" y="1032"/>
                  <a:pt x="3801" y="1028"/>
                  <a:pt x="3805" y="1027"/>
                </a:cubicBezTo>
                <a:cubicBezTo>
                  <a:pt x="3810" y="1026"/>
                  <a:pt x="3812" y="1030"/>
                  <a:pt x="3815" y="1032"/>
                </a:cubicBezTo>
                <a:cubicBezTo>
                  <a:pt x="3819" y="1033"/>
                  <a:pt x="3822" y="1034"/>
                  <a:pt x="3826" y="1032"/>
                </a:cubicBezTo>
                <a:cubicBezTo>
                  <a:pt x="3830" y="1030"/>
                  <a:pt x="3833" y="1028"/>
                  <a:pt x="3835" y="1025"/>
                </a:cubicBezTo>
                <a:cubicBezTo>
                  <a:pt x="3839" y="1020"/>
                  <a:pt x="3843" y="1014"/>
                  <a:pt x="3845" y="1008"/>
                </a:cubicBezTo>
                <a:cubicBezTo>
                  <a:pt x="3848" y="998"/>
                  <a:pt x="3854" y="989"/>
                  <a:pt x="3856" y="979"/>
                </a:cubicBezTo>
                <a:cubicBezTo>
                  <a:pt x="3857" y="977"/>
                  <a:pt x="3857" y="974"/>
                  <a:pt x="3859" y="973"/>
                </a:cubicBezTo>
                <a:cubicBezTo>
                  <a:pt x="3865" y="964"/>
                  <a:pt x="3866" y="953"/>
                  <a:pt x="3867" y="943"/>
                </a:cubicBezTo>
                <a:cubicBezTo>
                  <a:pt x="3868" y="934"/>
                  <a:pt x="3872" y="926"/>
                  <a:pt x="3871" y="917"/>
                </a:cubicBezTo>
                <a:cubicBezTo>
                  <a:pt x="3871" y="916"/>
                  <a:pt x="3872" y="914"/>
                  <a:pt x="3873" y="912"/>
                </a:cubicBezTo>
                <a:cubicBezTo>
                  <a:pt x="3877" y="907"/>
                  <a:pt x="3875" y="901"/>
                  <a:pt x="3875" y="895"/>
                </a:cubicBezTo>
                <a:cubicBezTo>
                  <a:pt x="3874" y="884"/>
                  <a:pt x="3871" y="873"/>
                  <a:pt x="3865" y="864"/>
                </a:cubicBezTo>
                <a:cubicBezTo>
                  <a:pt x="3863" y="860"/>
                  <a:pt x="3861" y="856"/>
                  <a:pt x="3861" y="851"/>
                </a:cubicBezTo>
                <a:cubicBezTo>
                  <a:pt x="3861" y="842"/>
                  <a:pt x="3861" y="833"/>
                  <a:pt x="3861" y="823"/>
                </a:cubicBezTo>
                <a:cubicBezTo>
                  <a:pt x="3860" y="822"/>
                  <a:pt x="3861" y="821"/>
                  <a:pt x="3862" y="821"/>
                </a:cubicBezTo>
                <a:cubicBezTo>
                  <a:pt x="3862" y="821"/>
                  <a:pt x="3863" y="821"/>
                  <a:pt x="3863" y="821"/>
                </a:cubicBezTo>
                <a:cubicBezTo>
                  <a:pt x="3866" y="826"/>
                  <a:pt x="3870" y="831"/>
                  <a:pt x="3875" y="835"/>
                </a:cubicBezTo>
                <a:cubicBezTo>
                  <a:pt x="3879" y="840"/>
                  <a:pt x="3878" y="847"/>
                  <a:pt x="3881" y="852"/>
                </a:cubicBezTo>
                <a:cubicBezTo>
                  <a:pt x="3882" y="855"/>
                  <a:pt x="3883" y="857"/>
                  <a:pt x="3885" y="859"/>
                </a:cubicBezTo>
                <a:cubicBezTo>
                  <a:pt x="3888" y="865"/>
                  <a:pt x="3890" y="872"/>
                  <a:pt x="3890" y="878"/>
                </a:cubicBezTo>
                <a:cubicBezTo>
                  <a:pt x="3890" y="879"/>
                  <a:pt x="3890" y="881"/>
                  <a:pt x="3891" y="882"/>
                </a:cubicBezTo>
                <a:cubicBezTo>
                  <a:pt x="3893" y="889"/>
                  <a:pt x="3893" y="897"/>
                  <a:pt x="3899" y="903"/>
                </a:cubicBezTo>
                <a:cubicBezTo>
                  <a:pt x="3901" y="906"/>
                  <a:pt x="3902" y="910"/>
                  <a:pt x="3902" y="914"/>
                </a:cubicBezTo>
                <a:cubicBezTo>
                  <a:pt x="3903" y="919"/>
                  <a:pt x="3904" y="925"/>
                  <a:pt x="3907" y="929"/>
                </a:cubicBezTo>
                <a:cubicBezTo>
                  <a:pt x="3909" y="933"/>
                  <a:pt x="3910" y="937"/>
                  <a:pt x="3909" y="941"/>
                </a:cubicBezTo>
                <a:cubicBezTo>
                  <a:pt x="3909" y="942"/>
                  <a:pt x="3909" y="944"/>
                  <a:pt x="3910" y="945"/>
                </a:cubicBezTo>
                <a:cubicBezTo>
                  <a:pt x="3911" y="949"/>
                  <a:pt x="3913" y="953"/>
                  <a:pt x="3917" y="954"/>
                </a:cubicBezTo>
                <a:cubicBezTo>
                  <a:pt x="3917" y="954"/>
                  <a:pt x="3919" y="954"/>
                  <a:pt x="3919" y="953"/>
                </a:cubicBezTo>
                <a:cubicBezTo>
                  <a:pt x="3919" y="951"/>
                  <a:pt x="3919" y="949"/>
                  <a:pt x="3919" y="947"/>
                </a:cubicBezTo>
                <a:cubicBezTo>
                  <a:pt x="3919" y="943"/>
                  <a:pt x="3921" y="942"/>
                  <a:pt x="3924" y="943"/>
                </a:cubicBezTo>
                <a:cubicBezTo>
                  <a:pt x="3928" y="943"/>
                  <a:pt x="3930" y="946"/>
                  <a:pt x="3933" y="947"/>
                </a:cubicBezTo>
                <a:cubicBezTo>
                  <a:pt x="3933" y="947"/>
                  <a:pt x="3934" y="947"/>
                  <a:pt x="3935" y="947"/>
                </a:cubicBezTo>
                <a:cubicBezTo>
                  <a:pt x="3935" y="946"/>
                  <a:pt x="3936" y="945"/>
                  <a:pt x="3936" y="944"/>
                </a:cubicBezTo>
                <a:cubicBezTo>
                  <a:pt x="3935" y="941"/>
                  <a:pt x="3934" y="936"/>
                  <a:pt x="3930" y="935"/>
                </a:cubicBezTo>
                <a:cubicBezTo>
                  <a:pt x="3923" y="932"/>
                  <a:pt x="3922" y="923"/>
                  <a:pt x="3916" y="920"/>
                </a:cubicBezTo>
                <a:cubicBezTo>
                  <a:pt x="3914" y="915"/>
                  <a:pt x="3912" y="912"/>
                  <a:pt x="3911" y="907"/>
                </a:cubicBezTo>
                <a:cubicBezTo>
                  <a:pt x="3910" y="902"/>
                  <a:pt x="3909" y="896"/>
                  <a:pt x="3908" y="891"/>
                </a:cubicBezTo>
                <a:cubicBezTo>
                  <a:pt x="3908" y="889"/>
                  <a:pt x="3908" y="888"/>
                  <a:pt x="3908" y="886"/>
                </a:cubicBezTo>
                <a:cubicBezTo>
                  <a:pt x="3908" y="884"/>
                  <a:pt x="3910" y="882"/>
                  <a:pt x="3912" y="881"/>
                </a:cubicBezTo>
                <a:cubicBezTo>
                  <a:pt x="3915" y="881"/>
                  <a:pt x="3917" y="881"/>
                  <a:pt x="3920" y="881"/>
                </a:cubicBezTo>
                <a:cubicBezTo>
                  <a:pt x="3921" y="878"/>
                  <a:pt x="3920" y="875"/>
                  <a:pt x="3918" y="873"/>
                </a:cubicBezTo>
                <a:cubicBezTo>
                  <a:pt x="3908" y="856"/>
                  <a:pt x="3899" y="838"/>
                  <a:pt x="3887" y="823"/>
                </a:cubicBezTo>
                <a:cubicBezTo>
                  <a:pt x="3883" y="818"/>
                  <a:pt x="3880" y="813"/>
                  <a:pt x="3881" y="806"/>
                </a:cubicBezTo>
                <a:cubicBezTo>
                  <a:pt x="3881" y="804"/>
                  <a:pt x="3880" y="801"/>
                  <a:pt x="3879" y="798"/>
                </a:cubicBezTo>
                <a:cubicBezTo>
                  <a:pt x="3874" y="791"/>
                  <a:pt x="3872" y="782"/>
                  <a:pt x="3865" y="776"/>
                </a:cubicBezTo>
                <a:cubicBezTo>
                  <a:pt x="3862" y="774"/>
                  <a:pt x="3862" y="771"/>
                  <a:pt x="3860" y="768"/>
                </a:cubicBezTo>
                <a:cubicBezTo>
                  <a:pt x="3858" y="765"/>
                  <a:pt x="3855" y="763"/>
                  <a:pt x="3852" y="763"/>
                </a:cubicBezTo>
                <a:cubicBezTo>
                  <a:pt x="3851" y="763"/>
                  <a:pt x="3850" y="764"/>
                  <a:pt x="3849" y="764"/>
                </a:cubicBezTo>
                <a:cubicBezTo>
                  <a:pt x="3849" y="765"/>
                  <a:pt x="3849" y="766"/>
                  <a:pt x="3849" y="766"/>
                </a:cubicBezTo>
                <a:cubicBezTo>
                  <a:pt x="3850" y="767"/>
                  <a:pt x="3850" y="768"/>
                  <a:pt x="3851" y="769"/>
                </a:cubicBezTo>
                <a:cubicBezTo>
                  <a:pt x="3856" y="775"/>
                  <a:pt x="3856" y="775"/>
                  <a:pt x="3851" y="784"/>
                </a:cubicBezTo>
                <a:cubicBezTo>
                  <a:pt x="3851" y="785"/>
                  <a:pt x="3850" y="786"/>
                  <a:pt x="3851" y="787"/>
                </a:cubicBezTo>
                <a:cubicBezTo>
                  <a:pt x="3851" y="789"/>
                  <a:pt x="3852" y="791"/>
                  <a:pt x="3853" y="793"/>
                </a:cubicBezTo>
                <a:cubicBezTo>
                  <a:pt x="3857" y="798"/>
                  <a:pt x="3858" y="804"/>
                  <a:pt x="3859" y="810"/>
                </a:cubicBezTo>
                <a:cubicBezTo>
                  <a:pt x="3859" y="811"/>
                  <a:pt x="3858" y="812"/>
                  <a:pt x="3858" y="813"/>
                </a:cubicBezTo>
                <a:cubicBezTo>
                  <a:pt x="3857" y="814"/>
                  <a:pt x="3855" y="813"/>
                  <a:pt x="3854" y="810"/>
                </a:cubicBezTo>
                <a:cubicBezTo>
                  <a:pt x="3854" y="807"/>
                  <a:pt x="3853" y="804"/>
                  <a:pt x="3851" y="801"/>
                </a:cubicBezTo>
                <a:cubicBezTo>
                  <a:pt x="3849" y="800"/>
                  <a:pt x="3848" y="798"/>
                  <a:pt x="3848" y="795"/>
                </a:cubicBezTo>
                <a:cubicBezTo>
                  <a:pt x="3849" y="790"/>
                  <a:pt x="3846" y="787"/>
                  <a:pt x="3842" y="785"/>
                </a:cubicBezTo>
                <a:cubicBezTo>
                  <a:pt x="3836" y="780"/>
                  <a:pt x="3829" y="777"/>
                  <a:pt x="3822" y="772"/>
                </a:cubicBezTo>
                <a:cubicBezTo>
                  <a:pt x="3821" y="771"/>
                  <a:pt x="3819" y="771"/>
                  <a:pt x="3818" y="771"/>
                </a:cubicBezTo>
                <a:cubicBezTo>
                  <a:pt x="3815" y="771"/>
                  <a:pt x="3812" y="772"/>
                  <a:pt x="3810" y="772"/>
                </a:cubicBezTo>
                <a:cubicBezTo>
                  <a:pt x="3806" y="772"/>
                  <a:pt x="3805" y="773"/>
                  <a:pt x="3804" y="776"/>
                </a:cubicBezTo>
                <a:cubicBezTo>
                  <a:pt x="3803" y="780"/>
                  <a:pt x="3802" y="784"/>
                  <a:pt x="3799" y="786"/>
                </a:cubicBezTo>
                <a:cubicBezTo>
                  <a:pt x="3798" y="787"/>
                  <a:pt x="3797" y="786"/>
                  <a:pt x="3797" y="786"/>
                </a:cubicBezTo>
                <a:cubicBezTo>
                  <a:pt x="3795" y="782"/>
                  <a:pt x="3793" y="777"/>
                  <a:pt x="3791" y="773"/>
                </a:cubicBezTo>
                <a:cubicBezTo>
                  <a:pt x="3791" y="773"/>
                  <a:pt x="3790" y="772"/>
                  <a:pt x="3790" y="772"/>
                </a:cubicBezTo>
                <a:cubicBezTo>
                  <a:pt x="3789" y="772"/>
                  <a:pt x="3788" y="773"/>
                  <a:pt x="3787" y="774"/>
                </a:cubicBezTo>
                <a:cubicBezTo>
                  <a:pt x="3785" y="776"/>
                  <a:pt x="3786" y="778"/>
                  <a:pt x="3786" y="780"/>
                </a:cubicBezTo>
                <a:cubicBezTo>
                  <a:pt x="3786" y="781"/>
                  <a:pt x="3786" y="782"/>
                  <a:pt x="3785" y="783"/>
                </a:cubicBezTo>
                <a:cubicBezTo>
                  <a:pt x="3784" y="783"/>
                  <a:pt x="3783" y="783"/>
                  <a:pt x="3782" y="782"/>
                </a:cubicBezTo>
                <a:cubicBezTo>
                  <a:pt x="3781" y="777"/>
                  <a:pt x="3779" y="773"/>
                  <a:pt x="3778" y="769"/>
                </a:cubicBezTo>
                <a:cubicBezTo>
                  <a:pt x="3776" y="765"/>
                  <a:pt x="3774" y="765"/>
                  <a:pt x="3770" y="766"/>
                </a:cubicBezTo>
                <a:cubicBezTo>
                  <a:pt x="3768" y="766"/>
                  <a:pt x="3767" y="767"/>
                  <a:pt x="3765" y="767"/>
                </a:cubicBezTo>
                <a:cubicBezTo>
                  <a:pt x="3764" y="768"/>
                  <a:pt x="3762" y="767"/>
                  <a:pt x="3760" y="767"/>
                </a:cubicBezTo>
                <a:cubicBezTo>
                  <a:pt x="3757" y="767"/>
                  <a:pt x="3755" y="764"/>
                  <a:pt x="3756" y="762"/>
                </a:cubicBezTo>
                <a:cubicBezTo>
                  <a:pt x="3757" y="760"/>
                  <a:pt x="3757" y="758"/>
                  <a:pt x="3758" y="757"/>
                </a:cubicBezTo>
                <a:cubicBezTo>
                  <a:pt x="3760" y="752"/>
                  <a:pt x="3763" y="747"/>
                  <a:pt x="3766" y="743"/>
                </a:cubicBezTo>
                <a:cubicBezTo>
                  <a:pt x="3769" y="737"/>
                  <a:pt x="3772" y="732"/>
                  <a:pt x="3772" y="726"/>
                </a:cubicBezTo>
                <a:cubicBezTo>
                  <a:pt x="3773" y="715"/>
                  <a:pt x="3777" y="704"/>
                  <a:pt x="3782" y="694"/>
                </a:cubicBezTo>
                <a:cubicBezTo>
                  <a:pt x="3785" y="687"/>
                  <a:pt x="3788" y="680"/>
                  <a:pt x="3786" y="672"/>
                </a:cubicBezTo>
                <a:cubicBezTo>
                  <a:pt x="3785" y="669"/>
                  <a:pt x="3786" y="665"/>
                  <a:pt x="3788" y="663"/>
                </a:cubicBezTo>
                <a:cubicBezTo>
                  <a:pt x="3791" y="658"/>
                  <a:pt x="3792" y="654"/>
                  <a:pt x="3790" y="649"/>
                </a:cubicBezTo>
                <a:cubicBezTo>
                  <a:pt x="3790" y="646"/>
                  <a:pt x="3791" y="644"/>
                  <a:pt x="3792" y="642"/>
                </a:cubicBezTo>
                <a:cubicBezTo>
                  <a:pt x="3794" y="638"/>
                  <a:pt x="3798" y="635"/>
                  <a:pt x="3803" y="634"/>
                </a:cubicBezTo>
                <a:cubicBezTo>
                  <a:pt x="3810" y="633"/>
                  <a:pt x="3816" y="630"/>
                  <a:pt x="3822" y="627"/>
                </a:cubicBezTo>
                <a:cubicBezTo>
                  <a:pt x="3824" y="626"/>
                  <a:pt x="3827" y="627"/>
                  <a:pt x="3830" y="628"/>
                </a:cubicBezTo>
                <a:cubicBezTo>
                  <a:pt x="3833" y="630"/>
                  <a:pt x="3835" y="629"/>
                  <a:pt x="3837" y="626"/>
                </a:cubicBezTo>
                <a:cubicBezTo>
                  <a:pt x="3839" y="622"/>
                  <a:pt x="3843" y="621"/>
                  <a:pt x="3846" y="621"/>
                </a:cubicBezTo>
                <a:cubicBezTo>
                  <a:pt x="3853" y="623"/>
                  <a:pt x="3858" y="619"/>
                  <a:pt x="3864" y="619"/>
                </a:cubicBezTo>
                <a:cubicBezTo>
                  <a:pt x="3865" y="619"/>
                  <a:pt x="3866" y="618"/>
                  <a:pt x="3866" y="617"/>
                </a:cubicBezTo>
                <a:cubicBezTo>
                  <a:pt x="3867" y="614"/>
                  <a:pt x="3867" y="611"/>
                  <a:pt x="3868" y="609"/>
                </a:cubicBezTo>
                <a:cubicBezTo>
                  <a:pt x="3869" y="606"/>
                  <a:pt x="3872" y="604"/>
                  <a:pt x="3875" y="604"/>
                </a:cubicBezTo>
                <a:cubicBezTo>
                  <a:pt x="3882" y="605"/>
                  <a:pt x="3890" y="606"/>
                  <a:pt x="3897" y="607"/>
                </a:cubicBezTo>
                <a:cubicBezTo>
                  <a:pt x="3899" y="607"/>
                  <a:pt x="3900" y="608"/>
                  <a:pt x="3902" y="609"/>
                </a:cubicBezTo>
                <a:cubicBezTo>
                  <a:pt x="3902" y="609"/>
                  <a:pt x="3903" y="611"/>
                  <a:pt x="3903" y="612"/>
                </a:cubicBezTo>
                <a:cubicBezTo>
                  <a:pt x="3902" y="613"/>
                  <a:pt x="3901" y="613"/>
                  <a:pt x="3901" y="614"/>
                </a:cubicBezTo>
                <a:cubicBezTo>
                  <a:pt x="3900" y="617"/>
                  <a:pt x="3900" y="618"/>
                  <a:pt x="3902" y="620"/>
                </a:cubicBezTo>
                <a:cubicBezTo>
                  <a:pt x="3904" y="622"/>
                  <a:pt x="3906" y="623"/>
                  <a:pt x="3908" y="622"/>
                </a:cubicBezTo>
                <a:cubicBezTo>
                  <a:pt x="3913" y="619"/>
                  <a:pt x="3920" y="617"/>
                  <a:pt x="3924" y="611"/>
                </a:cubicBezTo>
                <a:cubicBezTo>
                  <a:pt x="3925" y="609"/>
                  <a:pt x="3927" y="608"/>
                  <a:pt x="3930" y="609"/>
                </a:cubicBezTo>
                <a:cubicBezTo>
                  <a:pt x="3932" y="610"/>
                  <a:pt x="3934" y="609"/>
                  <a:pt x="3935" y="607"/>
                </a:cubicBezTo>
                <a:cubicBezTo>
                  <a:pt x="3937" y="605"/>
                  <a:pt x="3942" y="604"/>
                  <a:pt x="3941" y="600"/>
                </a:cubicBezTo>
                <a:cubicBezTo>
                  <a:pt x="3940" y="596"/>
                  <a:pt x="3936" y="596"/>
                  <a:pt x="3933" y="595"/>
                </a:cubicBezTo>
                <a:cubicBezTo>
                  <a:pt x="3932" y="595"/>
                  <a:pt x="3932" y="595"/>
                  <a:pt x="3931" y="595"/>
                </a:cubicBezTo>
                <a:cubicBezTo>
                  <a:pt x="3929" y="595"/>
                  <a:pt x="3928" y="594"/>
                  <a:pt x="3928" y="592"/>
                </a:cubicBezTo>
                <a:cubicBezTo>
                  <a:pt x="3925" y="586"/>
                  <a:pt x="3925" y="580"/>
                  <a:pt x="3927" y="574"/>
                </a:cubicBezTo>
                <a:cubicBezTo>
                  <a:pt x="3927" y="573"/>
                  <a:pt x="3928" y="572"/>
                  <a:pt x="3928" y="571"/>
                </a:cubicBezTo>
                <a:cubicBezTo>
                  <a:pt x="3930" y="567"/>
                  <a:pt x="3931" y="562"/>
                  <a:pt x="3930" y="557"/>
                </a:cubicBezTo>
                <a:cubicBezTo>
                  <a:pt x="3930" y="550"/>
                  <a:pt x="3931" y="544"/>
                  <a:pt x="3930" y="537"/>
                </a:cubicBezTo>
                <a:cubicBezTo>
                  <a:pt x="3930" y="532"/>
                  <a:pt x="3932" y="529"/>
                  <a:pt x="3937" y="527"/>
                </a:cubicBezTo>
                <a:cubicBezTo>
                  <a:pt x="3940" y="525"/>
                  <a:pt x="3944" y="524"/>
                  <a:pt x="3948" y="522"/>
                </a:cubicBezTo>
                <a:cubicBezTo>
                  <a:pt x="3951" y="520"/>
                  <a:pt x="3955" y="520"/>
                  <a:pt x="3959" y="521"/>
                </a:cubicBezTo>
                <a:cubicBezTo>
                  <a:pt x="3961" y="522"/>
                  <a:pt x="3963" y="520"/>
                  <a:pt x="3964" y="519"/>
                </a:cubicBezTo>
                <a:cubicBezTo>
                  <a:pt x="3966" y="518"/>
                  <a:pt x="3968" y="519"/>
                  <a:pt x="3968" y="520"/>
                </a:cubicBezTo>
                <a:cubicBezTo>
                  <a:pt x="3969" y="524"/>
                  <a:pt x="3969" y="528"/>
                  <a:pt x="3970" y="532"/>
                </a:cubicBezTo>
                <a:cubicBezTo>
                  <a:pt x="3970" y="535"/>
                  <a:pt x="3972" y="538"/>
                  <a:pt x="3975" y="540"/>
                </a:cubicBezTo>
                <a:cubicBezTo>
                  <a:pt x="3978" y="542"/>
                  <a:pt x="3982" y="543"/>
                  <a:pt x="3984" y="545"/>
                </a:cubicBezTo>
                <a:cubicBezTo>
                  <a:pt x="3985" y="546"/>
                  <a:pt x="3987" y="545"/>
                  <a:pt x="3987" y="544"/>
                </a:cubicBezTo>
                <a:cubicBezTo>
                  <a:pt x="3988" y="543"/>
                  <a:pt x="3989" y="542"/>
                  <a:pt x="3990" y="540"/>
                </a:cubicBezTo>
                <a:cubicBezTo>
                  <a:pt x="3991" y="534"/>
                  <a:pt x="3992" y="527"/>
                  <a:pt x="3993" y="521"/>
                </a:cubicBezTo>
                <a:cubicBezTo>
                  <a:pt x="3994" y="516"/>
                  <a:pt x="3996" y="514"/>
                  <a:pt x="4000" y="512"/>
                </a:cubicBezTo>
                <a:cubicBezTo>
                  <a:pt x="4002" y="512"/>
                  <a:pt x="4002" y="509"/>
                  <a:pt x="4002" y="507"/>
                </a:cubicBezTo>
                <a:cubicBezTo>
                  <a:pt x="4002" y="507"/>
                  <a:pt x="4002" y="507"/>
                  <a:pt x="4001" y="506"/>
                </a:cubicBezTo>
                <a:cubicBezTo>
                  <a:pt x="3994" y="501"/>
                  <a:pt x="3992" y="492"/>
                  <a:pt x="3990" y="483"/>
                </a:cubicBezTo>
                <a:cubicBezTo>
                  <a:pt x="3990" y="483"/>
                  <a:pt x="3991" y="482"/>
                  <a:pt x="3991" y="482"/>
                </a:cubicBezTo>
                <a:cubicBezTo>
                  <a:pt x="3993" y="478"/>
                  <a:pt x="3998" y="477"/>
                  <a:pt x="4003" y="478"/>
                </a:cubicBezTo>
                <a:cubicBezTo>
                  <a:pt x="4004" y="479"/>
                  <a:pt x="4005" y="481"/>
                  <a:pt x="4004" y="483"/>
                </a:cubicBezTo>
                <a:cubicBezTo>
                  <a:pt x="4001" y="487"/>
                  <a:pt x="4002" y="492"/>
                  <a:pt x="4005" y="497"/>
                </a:cubicBezTo>
                <a:cubicBezTo>
                  <a:pt x="4008" y="502"/>
                  <a:pt x="4012" y="508"/>
                  <a:pt x="4011" y="515"/>
                </a:cubicBezTo>
                <a:cubicBezTo>
                  <a:pt x="4011" y="516"/>
                  <a:pt x="4012" y="517"/>
                  <a:pt x="4013" y="518"/>
                </a:cubicBezTo>
                <a:cubicBezTo>
                  <a:pt x="4017" y="522"/>
                  <a:pt x="4014" y="529"/>
                  <a:pt x="4017" y="534"/>
                </a:cubicBezTo>
                <a:cubicBezTo>
                  <a:pt x="4016" y="537"/>
                  <a:pt x="4013" y="540"/>
                  <a:pt x="4010" y="543"/>
                </a:cubicBezTo>
                <a:cubicBezTo>
                  <a:pt x="4010" y="543"/>
                  <a:pt x="4010" y="544"/>
                  <a:pt x="4009" y="544"/>
                </a:cubicBezTo>
                <a:cubicBezTo>
                  <a:pt x="4007" y="547"/>
                  <a:pt x="4006" y="550"/>
                  <a:pt x="4006" y="553"/>
                </a:cubicBezTo>
                <a:cubicBezTo>
                  <a:pt x="4007" y="562"/>
                  <a:pt x="4007" y="571"/>
                  <a:pt x="4004" y="579"/>
                </a:cubicBezTo>
                <a:cubicBezTo>
                  <a:pt x="4003" y="581"/>
                  <a:pt x="4003" y="583"/>
                  <a:pt x="4003" y="586"/>
                </a:cubicBezTo>
                <a:cubicBezTo>
                  <a:pt x="4003" y="594"/>
                  <a:pt x="4002" y="602"/>
                  <a:pt x="4003" y="610"/>
                </a:cubicBezTo>
                <a:cubicBezTo>
                  <a:pt x="4003" y="617"/>
                  <a:pt x="4002" y="623"/>
                  <a:pt x="3997" y="629"/>
                </a:cubicBezTo>
                <a:cubicBezTo>
                  <a:pt x="3996" y="630"/>
                  <a:pt x="3996" y="632"/>
                  <a:pt x="3995" y="633"/>
                </a:cubicBezTo>
                <a:cubicBezTo>
                  <a:pt x="3994" y="634"/>
                  <a:pt x="3993" y="635"/>
                  <a:pt x="3991" y="636"/>
                </a:cubicBezTo>
                <a:cubicBezTo>
                  <a:pt x="3987" y="640"/>
                  <a:pt x="3987" y="640"/>
                  <a:pt x="3989" y="644"/>
                </a:cubicBezTo>
                <a:cubicBezTo>
                  <a:pt x="3993" y="648"/>
                  <a:pt x="3993" y="653"/>
                  <a:pt x="3992" y="658"/>
                </a:cubicBezTo>
                <a:cubicBezTo>
                  <a:pt x="3992" y="660"/>
                  <a:pt x="3991" y="663"/>
                  <a:pt x="3990" y="665"/>
                </a:cubicBezTo>
                <a:cubicBezTo>
                  <a:pt x="3988" y="669"/>
                  <a:pt x="3988" y="673"/>
                  <a:pt x="3989" y="677"/>
                </a:cubicBezTo>
                <a:cubicBezTo>
                  <a:pt x="3990" y="683"/>
                  <a:pt x="3993" y="689"/>
                  <a:pt x="3994" y="696"/>
                </a:cubicBezTo>
                <a:cubicBezTo>
                  <a:pt x="4000" y="717"/>
                  <a:pt x="4012" y="734"/>
                  <a:pt x="4024" y="752"/>
                </a:cubicBezTo>
                <a:cubicBezTo>
                  <a:pt x="4027" y="757"/>
                  <a:pt x="4031" y="762"/>
                  <a:pt x="4034" y="767"/>
                </a:cubicBezTo>
                <a:cubicBezTo>
                  <a:pt x="4036" y="771"/>
                  <a:pt x="4037" y="775"/>
                  <a:pt x="4040" y="777"/>
                </a:cubicBezTo>
                <a:cubicBezTo>
                  <a:pt x="4044" y="780"/>
                  <a:pt x="4047" y="785"/>
                  <a:pt x="4049" y="789"/>
                </a:cubicBezTo>
                <a:cubicBezTo>
                  <a:pt x="4051" y="793"/>
                  <a:pt x="4052" y="798"/>
                  <a:pt x="4054" y="803"/>
                </a:cubicBezTo>
                <a:cubicBezTo>
                  <a:pt x="4056" y="808"/>
                  <a:pt x="4061" y="810"/>
                  <a:pt x="4065" y="812"/>
                </a:cubicBezTo>
                <a:cubicBezTo>
                  <a:pt x="4065" y="812"/>
                  <a:pt x="4066" y="812"/>
                  <a:pt x="4066" y="812"/>
                </a:cubicBezTo>
                <a:cubicBezTo>
                  <a:pt x="4070" y="809"/>
                  <a:pt x="4070" y="805"/>
                  <a:pt x="4072" y="802"/>
                </a:cubicBezTo>
                <a:cubicBezTo>
                  <a:pt x="4076" y="793"/>
                  <a:pt x="4076" y="784"/>
                  <a:pt x="4073" y="775"/>
                </a:cubicBezTo>
                <a:cubicBezTo>
                  <a:pt x="4069" y="765"/>
                  <a:pt x="4068" y="762"/>
                  <a:pt x="4079" y="756"/>
                </a:cubicBezTo>
                <a:cubicBezTo>
                  <a:pt x="4080" y="756"/>
                  <a:pt x="4080" y="756"/>
                  <a:pt x="4081" y="755"/>
                </a:cubicBezTo>
                <a:cubicBezTo>
                  <a:pt x="4083" y="754"/>
                  <a:pt x="4083" y="753"/>
                  <a:pt x="4082" y="751"/>
                </a:cubicBezTo>
                <a:cubicBezTo>
                  <a:pt x="4080" y="749"/>
                  <a:pt x="4079" y="747"/>
                  <a:pt x="4077" y="744"/>
                </a:cubicBezTo>
                <a:cubicBezTo>
                  <a:pt x="4076" y="742"/>
                  <a:pt x="4075" y="740"/>
                  <a:pt x="4075" y="738"/>
                </a:cubicBezTo>
                <a:cubicBezTo>
                  <a:pt x="4075" y="733"/>
                  <a:pt x="4076" y="728"/>
                  <a:pt x="4076" y="723"/>
                </a:cubicBezTo>
                <a:cubicBezTo>
                  <a:pt x="4077" y="720"/>
                  <a:pt x="4079" y="717"/>
                  <a:pt x="4082" y="716"/>
                </a:cubicBezTo>
                <a:cubicBezTo>
                  <a:pt x="4085" y="715"/>
                  <a:pt x="4087" y="714"/>
                  <a:pt x="4090" y="713"/>
                </a:cubicBezTo>
                <a:cubicBezTo>
                  <a:pt x="4092" y="711"/>
                  <a:pt x="4092" y="707"/>
                  <a:pt x="4091" y="705"/>
                </a:cubicBezTo>
                <a:cubicBezTo>
                  <a:pt x="4088" y="702"/>
                  <a:pt x="4086" y="699"/>
                  <a:pt x="4083" y="696"/>
                </a:cubicBezTo>
                <a:cubicBezTo>
                  <a:pt x="4076" y="689"/>
                  <a:pt x="4074" y="680"/>
                  <a:pt x="4076" y="671"/>
                </a:cubicBezTo>
                <a:cubicBezTo>
                  <a:pt x="4076" y="669"/>
                  <a:pt x="4078" y="668"/>
                  <a:pt x="4079" y="668"/>
                </a:cubicBezTo>
                <a:cubicBezTo>
                  <a:pt x="4080" y="668"/>
                  <a:pt x="4081" y="668"/>
                  <a:pt x="4082" y="668"/>
                </a:cubicBezTo>
                <a:cubicBezTo>
                  <a:pt x="4086" y="669"/>
                  <a:pt x="4089" y="664"/>
                  <a:pt x="4087" y="662"/>
                </a:cubicBezTo>
                <a:cubicBezTo>
                  <a:pt x="4085" y="658"/>
                  <a:pt x="4082" y="654"/>
                  <a:pt x="4080" y="651"/>
                </a:cubicBezTo>
                <a:cubicBezTo>
                  <a:pt x="4079" y="647"/>
                  <a:pt x="4077" y="646"/>
                  <a:pt x="4073" y="646"/>
                </a:cubicBezTo>
                <a:cubicBezTo>
                  <a:pt x="4072" y="646"/>
                  <a:pt x="4071" y="646"/>
                  <a:pt x="4070" y="645"/>
                </a:cubicBezTo>
                <a:cubicBezTo>
                  <a:pt x="4068" y="640"/>
                  <a:pt x="4066" y="636"/>
                  <a:pt x="4068" y="631"/>
                </a:cubicBezTo>
                <a:cubicBezTo>
                  <a:pt x="4069" y="629"/>
                  <a:pt x="4068" y="628"/>
                  <a:pt x="4068" y="626"/>
                </a:cubicBezTo>
                <a:cubicBezTo>
                  <a:pt x="4068" y="624"/>
                  <a:pt x="4067" y="623"/>
                  <a:pt x="4066" y="622"/>
                </a:cubicBezTo>
                <a:cubicBezTo>
                  <a:pt x="4064" y="619"/>
                  <a:pt x="4061" y="618"/>
                  <a:pt x="4057" y="617"/>
                </a:cubicBezTo>
                <a:cubicBezTo>
                  <a:pt x="4057" y="617"/>
                  <a:pt x="4055" y="618"/>
                  <a:pt x="4055" y="619"/>
                </a:cubicBezTo>
                <a:cubicBezTo>
                  <a:pt x="4054" y="620"/>
                  <a:pt x="4053" y="621"/>
                  <a:pt x="4052" y="622"/>
                </a:cubicBezTo>
                <a:cubicBezTo>
                  <a:pt x="4052" y="622"/>
                  <a:pt x="4052" y="622"/>
                  <a:pt x="4052" y="622"/>
                </a:cubicBezTo>
                <a:cubicBezTo>
                  <a:pt x="4052" y="623"/>
                  <a:pt x="4053" y="623"/>
                  <a:pt x="4053" y="623"/>
                </a:cubicBezTo>
                <a:cubicBezTo>
                  <a:pt x="4053" y="623"/>
                  <a:pt x="4053" y="623"/>
                  <a:pt x="4053" y="623"/>
                </a:cubicBezTo>
                <a:cubicBezTo>
                  <a:pt x="4053" y="624"/>
                  <a:pt x="4053" y="624"/>
                  <a:pt x="4053" y="623"/>
                </a:cubicBezTo>
                <a:cubicBezTo>
                  <a:pt x="4052" y="623"/>
                  <a:pt x="4052" y="623"/>
                  <a:pt x="4052" y="623"/>
                </a:cubicBezTo>
                <a:cubicBezTo>
                  <a:pt x="4052" y="623"/>
                  <a:pt x="4052" y="623"/>
                  <a:pt x="4052" y="622"/>
                </a:cubicBezTo>
                <a:cubicBezTo>
                  <a:pt x="4049" y="621"/>
                  <a:pt x="4047" y="619"/>
                  <a:pt x="4046" y="615"/>
                </a:cubicBezTo>
                <a:cubicBezTo>
                  <a:pt x="4043" y="610"/>
                  <a:pt x="4043" y="604"/>
                  <a:pt x="4043" y="598"/>
                </a:cubicBezTo>
                <a:cubicBezTo>
                  <a:pt x="4044" y="588"/>
                  <a:pt x="4043" y="579"/>
                  <a:pt x="4038" y="571"/>
                </a:cubicBezTo>
                <a:cubicBezTo>
                  <a:pt x="4037" y="570"/>
                  <a:pt x="4037" y="569"/>
                  <a:pt x="4037" y="567"/>
                </a:cubicBezTo>
                <a:cubicBezTo>
                  <a:pt x="4035" y="562"/>
                  <a:pt x="4038" y="557"/>
                  <a:pt x="4044" y="555"/>
                </a:cubicBezTo>
                <a:cubicBezTo>
                  <a:pt x="4045" y="555"/>
                  <a:pt x="4046" y="555"/>
                  <a:pt x="4047" y="555"/>
                </a:cubicBezTo>
                <a:cubicBezTo>
                  <a:pt x="4051" y="555"/>
                  <a:pt x="4051" y="555"/>
                  <a:pt x="4052" y="552"/>
                </a:cubicBezTo>
                <a:cubicBezTo>
                  <a:pt x="4052" y="549"/>
                  <a:pt x="4053" y="546"/>
                  <a:pt x="4055" y="544"/>
                </a:cubicBezTo>
                <a:cubicBezTo>
                  <a:pt x="4056" y="543"/>
                  <a:pt x="4058" y="543"/>
                  <a:pt x="4059" y="544"/>
                </a:cubicBezTo>
                <a:cubicBezTo>
                  <a:pt x="4060" y="546"/>
                  <a:pt x="4061" y="549"/>
                  <a:pt x="4063" y="551"/>
                </a:cubicBezTo>
                <a:cubicBezTo>
                  <a:pt x="4063" y="552"/>
                  <a:pt x="4065" y="552"/>
                  <a:pt x="4066" y="552"/>
                </a:cubicBezTo>
                <a:cubicBezTo>
                  <a:pt x="4067" y="552"/>
                  <a:pt x="4068" y="551"/>
                  <a:pt x="4068" y="550"/>
                </a:cubicBezTo>
                <a:cubicBezTo>
                  <a:pt x="4069" y="547"/>
                  <a:pt x="4069" y="544"/>
                  <a:pt x="4070" y="542"/>
                </a:cubicBezTo>
                <a:cubicBezTo>
                  <a:pt x="4070" y="538"/>
                  <a:pt x="4073" y="535"/>
                  <a:pt x="4075" y="532"/>
                </a:cubicBezTo>
                <a:cubicBezTo>
                  <a:pt x="4078" y="528"/>
                  <a:pt x="4083" y="526"/>
                  <a:pt x="4088" y="525"/>
                </a:cubicBezTo>
                <a:cubicBezTo>
                  <a:pt x="4092" y="525"/>
                  <a:pt x="4094" y="527"/>
                  <a:pt x="4097" y="529"/>
                </a:cubicBezTo>
                <a:cubicBezTo>
                  <a:pt x="4100" y="531"/>
                  <a:pt x="4103" y="533"/>
                  <a:pt x="4105" y="535"/>
                </a:cubicBezTo>
                <a:cubicBezTo>
                  <a:pt x="4106" y="535"/>
                  <a:pt x="4107" y="536"/>
                  <a:pt x="4108" y="536"/>
                </a:cubicBezTo>
                <a:cubicBezTo>
                  <a:pt x="4110" y="537"/>
                  <a:pt x="4111" y="537"/>
                  <a:pt x="4113" y="537"/>
                </a:cubicBezTo>
                <a:cubicBezTo>
                  <a:pt x="4114" y="537"/>
                  <a:pt x="4116" y="536"/>
                  <a:pt x="4116" y="534"/>
                </a:cubicBezTo>
                <a:cubicBezTo>
                  <a:pt x="4116" y="530"/>
                  <a:pt x="4113" y="527"/>
                  <a:pt x="4114" y="523"/>
                </a:cubicBezTo>
                <a:cubicBezTo>
                  <a:pt x="4115" y="519"/>
                  <a:pt x="4115" y="515"/>
                  <a:pt x="4116" y="512"/>
                </a:cubicBezTo>
                <a:cubicBezTo>
                  <a:pt x="4118" y="506"/>
                  <a:pt x="4119" y="501"/>
                  <a:pt x="4119" y="496"/>
                </a:cubicBezTo>
                <a:cubicBezTo>
                  <a:pt x="4120" y="487"/>
                  <a:pt x="4122" y="479"/>
                  <a:pt x="4126" y="472"/>
                </a:cubicBezTo>
                <a:cubicBezTo>
                  <a:pt x="4129" y="468"/>
                  <a:pt x="4131" y="464"/>
                  <a:pt x="4133" y="459"/>
                </a:cubicBezTo>
                <a:cubicBezTo>
                  <a:pt x="4136" y="452"/>
                  <a:pt x="4140" y="446"/>
                  <a:pt x="4146" y="441"/>
                </a:cubicBezTo>
                <a:cubicBezTo>
                  <a:pt x="4148" y="439"/>
                  <a:pt x="4151" y="438"/>
                  <a:pt x="4154" y="438"/>
                </a:cubicBezTo>
                <a:cubicBezTo>
                  <a:pt x="4157" y="438"/>
                  <a:pt x="4161" y="438"/>
                  <a:pt x="4165" y="438"/>
                </a:cubicBezTo>
                <a:cubicBezTo>
                  <a:pt x="4167" y="438"/>
                  <a:pt x="4169" y="438"/>
                  <a:pt x="4170" y="437"/>
                </a:cubicBezTo>
                <a:cubicBezTo>
                  <a:pt x="4171" y="437"/>
                  <a:pt x="4172" y="436"/>
                  <a:pt x="4172" y="435"/>
                </a:cubicBezTo>
                <a:cubicBezTo>
                  <a:pt x="4172" y="428"/>
                  <a:pt x="4173" y="421"/>
                  <a:pt x="4166" y="416"/>
                </a:cubicBezTo>
                <a:cubicBezTo>
                  <a:pt x="4164" y="414"/>
                  <a:pt x="4164" y="412"/>
                  <a:pt x="4162" y="410"/>
                </a:cubicBezTo>
                <a:cubicBezTo>
                  <a:pt x="4162" y="409"/>
                  <a:pt x="4161" y="407"/>
                  <a:pt x="4159" y="407"/>
                </a:cubicBezTo>
                <a:cubicBezTo>
                  <a:pt x="4153" y="404"/>
                  <a:pt x="4149" y="399"/>
                  <a:pt x="4142" y="398"/>
                </a:cubicBezTo>
                <a:cubicBezTo>
                  <a:pt x="4142" y="398"/>
                  <a:pt x="4142" y="398"/>
                  <a:pt x="4142" y="398"/>
                </a:cubicBezTo>
                <a:cubicBezTo>
                  <a:pt x="4141" y="398"/>
                  <a:pt x="4141" y="398"/>
                  <a:pt x="4141" y="398"/>
                </a:cubicBezTo>
                <a:cubicBezTo>
                  <a:pt x="4142" y="398"/>
                  <a:pt x="4142" y="398"/>
                  <a:pt x="4142" y="398"/>
                </a:cubicBezTo>
                <a:cubicBezTo>
                  <a:pt x="4142" y="398"/>
                  <a:pt x="4142" y="398"/>
                  <a:pt x="4142" y="398"/>
                </a:cubicBezTo>
                <a:cubicBezTo>
                  <a:pt x="4141" y="396"/>
                  <a:pt x="4141" y="394"/>
                  <a:pt x="4140" y="392"/>
                </a:cubicBezTo>
                <a:cubicBezTo>
                  <a:pt x="4139" y="388"/>
                  <a:pt x="4137" y="385"/>
                  <a:pt x="4132" y="385"/>
                </a:cubicBezTo>
                <a:cubicBezTo>
                  <a:pt x="4131" y="385"/>
                  <a:pt x="4130" y="385"/>
                  <a:pt x="4129" y="384"/>
                </a:cubicBezTo>
                <a:cubicBezTo>
                  <a:pt x="4129" y="383"/>
                  <a:pt x="4129" y="382"/>
                  <a:pt x="4128" y="381"/>
                </a:cubicBezTo>
                <a:cubicBezTo>
                  <a:pt x="4126" y="376"/>
                  <a:pt x="4124" y="375"/>
                  <a:pt x="4119" y="376"/>
                </a:cubicBezTo>
                <a:cubicBezTo>
                  <a:pt x="4114" y="377"/>
                  <a:pt x="4111" y="374"/>
                  <a:pt x="4108" y="371"/>
                </a:cubicBezTo>
                <a:cubicBezTo>
                  <a:pt x="4107" y="370"/>
                  <a:pt x="4108" y="367"/>
                  <a:pt x="4109" y="367"/>
                </a:cubicBezTo>
                <a:cubicBezTo>
                  <a:pt x="4111" y="366"/>
                  <a:pt x="4113" y="365"/>
                  <a:pt x="4115" y="365"/>
                </a:cubicBezTo>
                <a:cubicBezTo>
                  <a:pt x="4122" y="363"/>
                  <a:pt x="4124" y="359"/>
                  <a:pt x="4125" y="353"/>
                </a:cubicBezTo>
                <a:cubicBezTo>
                  <a:pt x="4125" y="346"/>
                  <a:pt x="4125" y="340"/>
                  <a:pt x="4125" y="333"/>
                </a:cubicBezTo>
                <a:cubicBezTo>
                  <a:pt x="4125" y="331"/>
                  <a:pt x="4125" y="329"/>
                  <a:pt x="4124" y="327"/>
                </a:cubicBezTo>
                <a:cubicBezTo>
                  <a:pt x="4123" y="324"/>
                  <a:pt x="4121" y="322"/>
                  <a:pt x="4120" y="319"/>
                </a:cubicBezTo>
                <a:cubicBezTo>
                  <a:pt x="4118" y="315"/>
                  <a:pt x="4116" y="313"/>
                  <a:pt x="4112" y="312"/>
                </a:cubicBezTo>
                <a:cubicBezTo>
                  <a:pt x="4108" y="312"/>
                  <a:pt x="4105" y="309"/>
                  <a:pt x="4102" y="306"/>
                </a:cubicBezTo>
                <a:cubicBezTo>
                  <a:pt x="4101" y="305"/>
                  <a:pt x="4101" y="303"/>
                  <a:pt x="4102" y="301"/>
                </a:cubicBezTo>
                <a:cubicBezTo>
                  <a:pt x="4103" y="300"/>
                  <a:pt x="4103" y="298"/>
                  <a:pt x="4104" y="297"/>
                </a:cubicBezTo>
                <a:cubicBezTo>
                  <a:pt x="4105" y="294"/>
                  <a:pt x="4108" y="294"/>
                  <a:pt x="4108" y="296"/>
                </a:cubicBezTo>
                <a:cubicBezTo>
                  <a:pt x="4110" y="300"/>
                  <a:pt x="4112" y="303"/>
                  <a:pt x="4116" y="304"/>
                </a:cubicBezTo>
                <a:cubicBezTo>
                  <a:pt x="4126" y="310"/>
                  <a:pt x="4127" y="309"/>
                  <a:pt x="4132" y="299"/>
                </a:cubicBezTo>
                <a:cubicBezTo>
                  <a:pt x="4132" y="298"/>
                  <a:pt x="4132" y="297"/>
                  <a:pt x="4133" y="296"/>
                </a:cubicBezTo>
                <a:cubicBezTo>
                  <a:pt x="4135" y="293"/>
                  <a:pt x="4138" y="291"/>
                  <a:pt x="4141" y="291"/>
                </a:cubicBezTo>
                <a:cubicBezTo>
                  <a:pt x="4143" y="290"/>
                  <a:pt x="4145" y="292"/>
                  <a:pt x="4147" y="293"/>
                </a:cubicBezTo>
                <a:cubicBezTo>
                  <a:pt x="4149" y="295"/>
                  <a:pt x="4151" y="297"/>
                  <a:pt x="4152" y="299"/>
                </a:cubicBezTo>
                <a:cubicBezTo>
                  <a:pt x="4155" y="303"/>
                  <a:pt x="4159" y="303"/>
                  <a:pt x="4163" y="301"/>
                </a:cubicBezTo>
                <a:cubicBezTo>
                  <a:pt x="4166" y="299"/>
                  <a:pt x="4170" y="298"/>
                  <a:pt x="4174" y="298"/>
                </a:cubicBezTo>
                <a:cubicBezTo>
                  <a:pt x="4176" y="299"/>
                  <a:pt x="4179" y="299"/>
                  <a:pt x="4182" y="299"/>
                </a:cubicBezTo>
                <a:cubicBezTo>
                  <a:pt x="4184" y="299"/>
                  <a:pt x="4186" y="298"/>
                  <a:pt x="4188" y="298"/>
                </a:cubicBezTo>
                <a:cubicBezTo>
                  <a:pt x="4189" y="297"/>
                  <a:pt x="4190" y="297"/>
                  <a:pt x="4191" y="296"/>
                </a:cubicBezTo>
                <a:cubicBezTo>
                  <a:pt x="4192" y="295"/>
                  <a:pt x="4193" y="294"/>
                  <a:pt x="4193" y="293"/>
                </a:cubicBezTo>
                <a:cubicBezTo>
                  <a:pt x="4192" y="288"/>
                  <a:pt x="4192" y="282"/>
                  <a:pt x="4184" y="281"/>
                </a:cubicBezTo>
                <a:cubicBezTo>
                  <a:pt x="4182" y="281"/>
                  <a:pt x="4181" y="278"/>
                  <a:pt x="4180" y="276"/>
                </a:cubicBezTo>
                <a:cubicBezTo>
                  <a:pt x="4180" y="275"/>
                  <a:pt x="4180" y="274"/>
                  <a:pt x="4180" y="273"/>
                </a:cubicBezTo>
                <a:cubicBezTo>
                  <a:pt x="4181" y="268"/>
                  <a:pt x="4179" y="263"/>
                  <a:pt x="4174" y="260"/>
                </a:cubicBezTo>
                <a:cubicBezTo>
                  <a:pt x="4172" y="259"/>
                  <a:pt x="4171" y="256"/>
                  <a:pt x="4169" y="254"/>
                </a:cubicBezTo>
                <a:cubicBezTo>
                  <a:pt x="4167" y="252"/>
                  <a:pt x="4167" y="251"/>
                  <a:pt x="4169" y="249"/>
                </a:cubicBezTo>
                <a:cubicBezTo>
                  <a:pt x="4173" y="246"/>
                  <a:pt x="4175" y="241"/>
                  <a:pt x="4177" y="236"/>
                </a:cubicBezTo>
                <a:cubicBezTo>
                  <a:pt x="4177" y="235"/>
                  <a:pt x="4177" y="233"/>
                  <a:pt x="4176" y="232"/>
                </a:cubicBezTo>
                <a:cubicBezTo>
                  <a:pt x="4171" y="227"/>
                  <a:pt x="4169" y="220"/>
                  <a:pt x="4169" y="214"/>
                </a:cubicBezTo>
                <a:cubicBezTo>
                  <a:pt x="4169" y="211"/>
                  <a:pt x="4168" y="211"/>
                  <a:pt x="4166" y="211"/>
                </a:cubicBezTo>
                <a:cubicBezTo>
                  <a:pt x="4165" y="211"/>
                  <a:pt x="4164" y="211"/>
                  <a:pt x="4163" y="211"/>
                </a:cubicBezTo>
                <a:cubicBezTo>
                  <a:pt x="4157" y="210"/>
                  <a:pt x="4152" y="207"/>
                  <a:pt x="4146" y="207"/>
                </a:cubicBezTo>
                <a:cubicBezTo>
                  <a:pt x="4144" y="207"/>
                  <a:pt x="4142" y="205"/>
                  <a:pt x="4140" y="204"/>
                </a:cubicBezTo>
                <a:cubicBezTo>
                  <a:pt x="4136" y="202"/>
                  <a:pt x="4133" y="203"/>
                  <a:pt x="4131" y="205"/>
                </a:cubicBezTo>
                <a:cubicBezTo>
                  <a:pt x="4127" y="209"/>
                  <a:pt x="4124" y="213"/>
                  <a:pt x="4119" y="214"/>
                </a:cubicBezTo>
                <a:cubicBezTo>
                  <a:pt x="4118" y="214"/>
                  <a:pt x="4117" y="215"/>
                  <a:pt x="4117" y="216"/>
                </a:cubicBezTo>
                <a:cubicBezTo>
                  <a:pt x="4115" y="218"/>
                  <a:pt x="4115" y="221"/>
                  <a:pt x="4116" y="222"/>
                </a:cubicBezTo>
                <a:cubicBezTo>
                  <a:pt x="4119" y="225"/>
                  <a:pt x="4122" y="228"/>
                  <a:pt x="4124" y="231"/>
                </a:cubicBezTo>
                <a:cubicBezTo>
                  <a:pt x="4125" y="233"/>
                  <a:pt x="4125" y="235"/>
                  <a:pt x="4124" y="237"/>
                </a:cubicBezTo>
                <a:cubicBezTo>
                  <a:pt x="4124" y="238"/>
                  <a:pt x="4123" y="239"/>
                  <a:pt x="4122" y="239"/>
                </a:cubicBezTo>
                <a:cubicBezTo>
                  <a:pt x="4121" y="239"/>
                  <a:pt x="4121" y="239"/>
                  <a:pt x="4120" y="239"/>
                </a:cubicBezTo>
                <a:cubicBezTo>
                  <a:pt x="4117" y="231"/>
                  <a:pt x="4108" y="226"/>
                  <a:pt x="4104" y="218"/>
                </a:cubicBezTo>
                <a:cubicBezTo>
                  <a:pt x="4098" y="213"/>
                  <a:pt x="4093" y="208"/>
                  <a:pt x="4084" y="210"/>
                </a:cubicBezTo>
                <a:cubicBezTo>
                  <a:pt x="4081" y="211"/>
                  <a:pt x="4077" y="211"/>
                  <a:pt x="4074" y="210"/>
                </a:cubicBezTo>
                <a:cubicBezTo>
                  <a:pt x="4069" y="208"/>
                  <a:pt x="4064" y="208"/>
                  <a:pt x="4059" y="208"/>
                </a:cubicBezTo>
                <a:cubicBezTo>
                  <a:pt x="4053" y="208"/>
                  <a:pt x="4048" y="208"/>
                  <a:pt x="4042" y="206"/>
                </a:cubicBezTo>
                <a:cubicBezTo>
                  <a:pt x="4036" y="204"/>
                  <a:pt x="4031" y="204"/>
                  <a:pt x="4025" y="206"/>
                </a:cubicBezTo>
                <a:cubicBezTo>
                  <a:pt x="4021" y="207"/>
                  <a:pt x="4018" y="206"/>
                  <a:pt x="4015" y="204"/>
                </a:cubicBezTo>
                <a:cubicBezTo>
                  <a:pt x="4012" y="201"/>
                  <a:pt x="4008" y="200"/>
                  <a:pt x="4004" y="199"/>
                </a:cubicBezTo>
                <a:cubicBezTo>
                  <a:pt x="3992" y="198"/>
                  <a:pt x="3981" y="194"/>
                  <a:pt x="3968" y="195"/>
                </a:cubicBezTo>
                <a:cubicBezTo>
                  <a:pt x="3967" y="195"/>
                  <a:pt x="3965" y="195"/>
                  <a:pt x="3963" y="195"/>
                </a:cubicBezTo>
                <a:cubicBezTo>
                  <a:pt x="3956" y="193"/>
                  <a:pt x="3948" y="195"/>
                  <a:pt x="3941" y="198"/>
                </a:cubicBezTo>
                <a:cubicBezTo>
                  <a:pt x="3936" y="200"/>
                  <a:pt x="3931" y="203"/>
                  <a:pt x="3926" y="203"/>
                </a:cubicBezTo>
                <a:cubicBezTo>
                  <a:pt x="3920" y="204"/>
                  <a:pt x="3914" y="206"/>
                  <a:pt x="3908" y="206"/>
                </a:cubicBezTo>
                <a:cubicBezTo>
                  <a:pt x="3905" y="206"/>
                  <a:pt x="3902" y="206"/>
                  <a:pt x="3900" y="207"/>
                </a:cubicBezTo>
                <a:cubicBezTo>
                  <a:pt x="3898" y="207"/>
                  <a:pt x="3898" y="208"/>
                  <a:pt x="3898" y="209"/>
                </a:cubicBezTo>
                <a:cubicBezTo>
                  <a:pt x="3899" y="215"/>
                  <a:pt x="3904" y="218"/>
                  <a:pt x="3903" y="225"/>
                </a:cubicBezTo>
                <a:cubicBezTo>
                  <a:pt x="3903" y="225"/>
                  <a:pt x="3905" y="227"/>
                  <a:pt x="3906" y="228"/>
                </a:cubicBezTo>
                <a:cubicBezTo>
                  <a:pt x="3910" y="229"/>
                  <a:pt x="3914" y="230"/>
                  <a:pt x="3917" y="234"/>
                </a:cubicBezTo>
                <a:cubicBezTo>
                  <a:pt x="3921" y="238"/>
                  <a:pt x="3924" y="241"/>
                  <a:pt x="3927" y="245"/>
                </a:cubicBezTo>
                <a:cubicBezTo>
                  <a:pt x="3928" y="247"/>
                  <a:pt x="3928" y="250"/>
                  <a:pt x="3927" y="251"/>
                </a:cubicBezTo>
                <a:cubicBezTo>
                  <a:pt x="3925" y="253"/>
                  <a:pt x="3923" y="254"/>
                  <a:pt x="3922" y="256"/>
                </a:cubicBezTo>
                <a:cubicBezTo>
                  <a:pt x="3919" y="258"/>
                  <a:pt x="3916" y="258"/>
                  <a:pt x="3914" y="255"/>
                </a:cubicBezTo>
                <a:cubicBezTo>
                  <a:pt x="3911" y="248"/>
                  <a:pt x="3905" y="246"/>
                  <a:pt x="3898" y="245"/>
                </a:cubicBezTo>
                <a:cubicBezTo>
                  <a:pt x="3897" y="245"/>
                  <a:pt x="3896" y="245"/>
                  <a:pt x="3895" y="245"/>
                </a:cubicBezTo>
                <a:cubicBezTo>
                  <a:pt x="3894" y="244"/>
                  <a:pt x="3892" y="243"/>
                  <a:pt x="3891" y="242"/>
                </a:cubicBezTo>
                <a:cubicBezTo>
                  <a:pt x="3890" y="240"/>
                  <a:pt x="3889" y="238"/>
                  <a:pt x="3888" y="236"/>
                </a:cubicBezTo>
                <a:cubicBezTo>
                  <a:pt x="3887" y="235"/>
                  <a:pt x="3888" y="234"/>
                  <a:pt x="3888" y="233"/>
                </a:cubicBezTo>
                <a:cubicBezTo>
                  <a:pt x="3892" y="230"/>
                  <a:pt x="3891" y="226"/>
                  <a:pt x="3889" y="223"/>
                </a:cubicBezTo>
                <a:cubicBezTo>
                  <a:pt x="3887" y="219"/>
                  <a:pt x="3883" y="219"/>
                  <a:pt x="3879" y="219"/>
                </a:cubicBezTo>
                <a:cubicBezTo>
                  <a:pt x="3877" y="219"/>
                  <a:pt x="3873" y="223"/>
                  <a:pt x="3873" y="225"/>
                </a:cubicBezTo>
                <a:cubicBezTo>
                  <a:pt x="3873" y="229"/>
                  <a:pt x="3873" y="233"/>
                  <a:pt x="3873" y="238"/>
                </a:cubicBezTo>
                <a:cubicBezTo>
                  <a:pt x="3873" y="241"/>
                  <a:pt x="3871" y="243"/>
                  <a:pt x="3868" y="244"/>
                </a:cubicBezTo>
                <a:cubicBezTo>
                  <a:pt x="3863" y="245"/>
                  <a:pt x="3857" y="245"/>
                  <a:pt x="3852" y="246"/>
                </a:cubicBezTo>
                <a:cubicBezTo>
                  <a:pt x="3848" y="248"/>
                  <a:pt x="3845" y="248"/>
                  <a:pt x="3841" y="247"/>
                </a:cubicBezTo>
                <a:cubicBezTo>
                  <a:pt x="3840" y="247"/>
                  <a:pt x="3838" y="247"/>
                  <a:pt x="3838" y="248"/>
                </a:cubicBezTo>
                <a:cubicBezTo>
                  <a:pt x="3831" y="251"/>
                  <a:pt x="3825" y="254"/>
                  <a:pt x="3819" y="258"/>
                </a:cubicBezTo>
                <a:cubicBezTo>
                  <a:pt x="3810" y="263"/>
                  <a:pt x="3801" y="266"/>
                  <a:pt x="3791" y="265"/>
                </a:cubicBezTo>
                <a:cubicBezTo>
                  <a:pt x="3788" y="265"/>
                  <a:pt x="3787" y="263"/>
                  <a:pt x="3786" y="261"/>
                </a:cubicBezTo>
                <a:cubicBezTo>
                  <a:pt x="3785" y="260"/>
                  <a:pt x="3785" y="260"/>
                  <a:pt x="3785" y="259"/>
                </a:cubicBezTo>
                <a:cubicBezTo>
                  <a:pt x="3783" y="249"/>
                  <a:pt x="3777" y="241"/>
                  <a:pt x="3768" y="236"/>
                </a:cubicBezTo>
                <a:cubicBezTo>
                  <a:pt x="3767" y="236"/>
                  <a:pt x="3766" y="235"/>
                  <a:pt x="3766" y="234"/>
                </a:cubicBezTo>
                <a:cubicBezTo>
                  <a:pt x="3756" y="228"/>
                  <a:pt x="3746" y="224"/>
                  <a:pt x="3735" y="230"/>
                </a:cubicBezTo>
                <a:cubicBezTo>
                  <a:pt x="3733" y="231"/>
                  <a:pt x="3731" y="232"/>
                  <a:pt x="3729" y="232"/>
                </a:cubicBezTo>
                <a:cubicBezTo>
                  <a:pt x="3720" y="236"/>
                  <a:pt x="3711" y="240"/>
                  <a:pt x="3704" y="245"/>
                </a:cubicBezTo>
                <a:cubicBezTo>
                  <a:pt x="3700" y="248"/>
                  <a:pt x="3696" y="251"/>
                  <a:pt x="3691" y="254"/>
                </a:cubicBezTo>
                <a:cubicBezTo>
                  <a:pt x="3688" y="255"/>
                  <a:pt x="3684" y="254"/>
                  <a:pt x="3683" y="251"/>
                </a:cubicBezTo>
                <a:cubicBezTo>
                  <a:pt x="3681" y="247"/>
                  <a:pt x="3679" y="245"/>
                  <a:pt x="3675" y="243"/>
                </a:cubicBezTo>
                <a:cubicBezTo>
                  <a:pt x="3673" y="242"/>
                  <a:pt x="3670" y="241"/>
                  <a:pt x="3668" y="240"/>
                </a:cubicBezTo>
                <a:cubicBezTo>
                  <a:pt x="3665" y="238"/>
                  <a:pt x="3663" y="240"/>
                  <a:pt x="3660" y="241"/>
                </a:cubicBezTo>
                <a:cubicBezTo>
                  <a:pt x="3658" y="244"/>
                  <a:pt x="3657" y="244"/>
                  <a:pt x="3655" y="242"/>
                </a:cubicBezTo>
                <a:cubicBezTo>
                  <a:pt x="3653" y="240"/>
                  <a:pt x="3651" y="239"/>
                  <a:pt x="3649" y="240"/>
                </a:cubicBezTo>
                <a:cubicBezTo>
                  <a:pt x="3647" y="240"/>
                  <a:pt x="3646" y="240"/>
                  <a:pt x="3644" y="239"/>
                </a:cubicBezTo>
                <a:cubicBezTo>
                  <a:pt x="3642" y="236"/>
                  <a:pt x="3639" y="236"/>
                  <a:pt x="3636" y="235"/>
                </a:cubicBezTo>
                <a:cubicBezTo>
                  <a:pt x="3634" y="235"/>
                  <a:pt x="3634" y="234"/>
                  <a:pt x="3635" y="232"/>
                </a:cubicBezTo>
                <a:cubicBezTo>
                  <a:pt x="3638" y="228"/>
                  <a:pt x="3638" y="225"/>
                  <a:pt x="3635" y="223"/>
                </a:cubicBezTo>
                <a:cubicBezTo>
                  <a:pt x="3635" y="222"/>
                  <a:pt x="3634" y="222"/>
                  <a:pt x="3634" y="221"/>
                </a:cubicBezTo>
                <a:cubicBezTo>
                  <a:pt x="3628" y="218"/>
                  <a:pt x="3621" y="215"/>
                  <a:pt x="3614" y="217"/>
                </a:cubicBezTo>
                <a:cubicBezTo>
                  <a:pt x="3611" y="217"/>
                  <a:pt x="3607" y="218"/>
                  <a:pt x="3604" y="219"/>
                </a:cubicBezTo>
                <a:cubicBezTo>
                  <a:pt x="3602" y="220"/>
                  <a:pt x="3600" y="221"/>
                  <a:pt x="3599" y="222"/>
                </a:cubicBezTo>
                <a:cubicBezTo>
                  <a:pt x="3595" y="227"/>
                  <a:pt x="3591" y="228"/>
                  <a:pt x="3586" y="226"/>
                </a:cubicBezTo>
                <a:cubicBezTo>
                  <a:pt x="3580" y="224"/>
                  <a:pt x="3574" y="225"/>
                  <a:pt x="3568" y="225"/>
                </a:cubicBezTo>
                <a:cubicBezTo>
                  <a:pt x="3560" y="225"/>
                  <a:pt x="3553" y="226"/>
                  <a:pt x="3546" y="227"/>
                </a:cubicBezTo>
                <a:cubicBezTo>
                  <a:pt x="3539" y="227"/>
                  <a:pt x="3532" y="229"/>
                  <a:pt x="3525" y="226"/>
                </a:cubicBezTo>
                <a:cubicBezTo>
                  <a:pt x="3524" y="226"/>
                  <a:pt x="3522" y="227"/>
                  <a:pt x="3520" y="228"/>
                </a:cubicBezTo>
                <a:cubicBezTo>
                  <a:pt x="3520" y="228"/>
                  <a:pt x="3519" y="230"/>
                  <a:pt x="3519" y="231"/>
                </a:cubicBezTo>
                <a:cubicBezTo>
                  <a:pt x="3519" y="231"/>
                  <a:pt x="3520" y="232"/>
                  <a:pt x="3520" y="232"/>
                </a:cubicBezTo>
                <a:cubicBezTo>
                  <a:pt x="3523" y="233"/>
                  <a:pt x="3525" y="234"/>
                  <a:pt x="3528" y="235"/>
                </a:cubicBezTo>
                <a:cubicBezTo>
                  <a:pt x="3529" y="235"/>
                  <a:pt x="3529" y="236"/>
                  <a:pt x="3530" y="237"/>
                </a:cubicBezTo>
                <a:cubicBezTo>
                  <a:pt x="3530" y="238"/>
                  <a:pt x="3529" y="240"/>
                  <a:pt x="3527" y="241"/>
                </a:cubicBezTo>
                <a:cubicBezTo>
                  <a:pt x="3526" y="242"/>
                  <a:pt x="3524" y="242"/>
                  <a:pt x="3523" y="243"/>
                </a:cubicBezTo>
                <a:cubicBezTo>
                  <a:pt x="3520" y="245"/>
                  <a:pt x="3518" y="248"/>
                  <a:pt x="3518" y="251"/>
                </a:cubicBezTo>
                <a:cubicBezTo>
                  <a:pt x="3519" y="254"/>
                  <a:pt x="3521" y="256"/>
                  <a:pt x="3524" y="257"/>
                </a:cubicBezTo>
                <a:cubicBezTo>
                  <a:pt x="3526" y="257"/>
                  <a:pt x="3528" y="257"/>
                  <a:pt x="3530" y="257"/>
                </a:cubicBezTo>
                <a:cubicBezTo>
                  <a:pt x="3530" y="256"/>
                  <a:pt x="3530" y="256"/>
                  <a:pt x="3530" y="256"/>
                </a:cubicBezTo>
                <a:cubicBezTo>
                  <a:pt x="3530" y="255"/>
                  <a:pt x="3530" y="255"/>
                  <a:pt x="3530" y="255"/>
                </a:cubicBezTo>
                <a:cubicBezTo>
                  <a:pt x="3530" y="257"/>
                  <a:pt x="3530" y="257"/>
                  <a:pt x="3530" y="257"/>
                </a:cubicBezTo>
                <a:cubicBezTo>
                  <a:pt x="3530" y="257"/>
                  <a:pt x="3530" y="257"/>
                  <a:pt x="3530" y="257"/>
                </a:cubicBezTo>
                <a:cubicBezTo>
                  <a:pt x="3530" y="259"/>
                  <a:pt x="3530" y="262"/>
                  <a:pt x="3531" y="264"/>
                </a:cubicBezTo>
                <a:cubicBezTo>
                  <a:pt x="3534" y="268"/>
                  <a:pt x="3536" y="271"/>
                  <a:pt x="3540" y="274"/>
                </a:cubicBezTo>
                <a:cubicBezTo>
                  <a:pt x="3542" y="275"/>
                  <a:pt x="3542" y="276"/>
                  <a:pt x="3541" y="278"/>
                </a:cubicBezTo>
                <a:cubicBezTo>
                  <a:pt x="3540" y="279"/>
                  <a:pt x="3538" y="280"/>
                  <a:pt x="3536" y="279"/>
                </a:cubicBezTo>
                <a:cubicBezTo>
                  <a:pt x="3533" y="277"/>
                  <a:pt x="3530" y="276"/>
                  <a:pt x="3526" y="279"/>
                </a:cubicBezTo>
                <a:cubicBezTo>
                  <a:pt x="3524" y="280"/>
                  <a:pt x="3521" y="282"/>
                  <a:pt x="3519" y="283"/>
                </a:cubicBezTo>
                <a:cubicBezTo>
                  <a:pt x="3516" y="286"/>
                  <a:pt x="3513" y="286"/>
                  <a:pt x="3510" y="286"/>
                </a:cubicBezTo>
                <a:cubicBezTo>
                  <a:pt x="3507" y="285"/>
                  <a:pt x="3504" y="285"/>
                  <a:pt x="3502" y="285"/>
                </a:cubicBezTo>
                <a:cubicBezTo>
                  <a:pt x="3498" y="286"/>
                  <a:pt x="3494" y="287"/>
                  <a:pt x="3493" y="292"/>
                </a:cubicBezTo>
                <a:cubicBezTo>
                  <a:pt x="3492" y="296"/>
                  <a:pt x="3489" y="298"/>
                  <a:pt x="3485" y="298"/>
                </a:cubicBezTo>
                <a:cubicBezTo>
                  <a:pt x="3476" y="299"/>
                  <a:pt x="3469" y="297"/>
                  <a:pt x="3463" y="291"/>
                </a:cubicBezTo>
                <a:cubicBezTo>
                  <a:pt x="3463" y="291"/>
                  <a:pt x="3462" y="291"/>
                  <a:pt x="3462" y="291"/>
                </a:cubicBezTo>
                <a:cubicBezTo>
                  <a:pt x="3461" y="290"/>
                  <a:pt x="3461" y="291"/>
                  <a:pt x="3461" y="291"/>
                </a:cubicBezTo>
                <a:cubicBezTo>
                  <a:pt x="3460" y="291"/>
                  <a:pt x="3460" y="292"/>
                  <a:pt x="3460" y="292"/>
                </a:cubicBezTo>
                <a:cubicBezTo>
                  <a:pt x="3460" y="297"/>
                  <a:pt x="3461" y="302"/>
                  <a:pt x="3463" y="307"/>
                </a:cubicBezTo>
                <a:cubicBezTo>
                  <a:pt x="3466" y="313"/>
                  <a:pt x="3468" y="319"/>
                  <a:pt x="3469" y="325"/>
                </a:cubicBezTo>
                <a:cubicBezTo>
                  <a:pt x="3469" y="327"/>
                  <a:pt x="3468" y="328"/>
                  <a:pt x="3466" y="328"/>
                </a:cubicBezTo>
                <a:cubicBezTo>
                  <a:pt x="3463" y="328"/>
                  <a:pt x="3460" y="327"/>
                  <a:pt x="3457" y="326"/>
                </a:cubicBezTo>
                <a:cubicBezTo>
                  <a:pt x="3447" y="323"/>
                  <a:pt x="3440" y="315"/>
                  <a:pt x="3432" y="310"/>
                </a:cubicBezTo>
                <a:cubicBezTo>
                  <a:pt x="3432" y="310"/>
                  <a:pt x="3432" y="309"/>
                  <a:pt x="3432" y="308"/>
                </a:cubicBezTo>
                <a:cubicBezTo>
                  <a:pt x="3431" y="304"/>
                  <a:pt x="3431" y="304"/>
                  <a:pt x="3427" y="306"/>
                </a:cubicBezTo>
                <a:cubicBezTo>
                  <a:pt x="3424" y="308"/>
                  <a:pt x="3422" y="308"/>
                  <a:pt x="3420" y="306"/>
                </a:cubicBezTo>
                <a:cubicBezTo>
                  <a:pt x="3419" y="305"/>
                  <a:pt x="3418" y="303"/>
                  <a:pt x="3418" y="302"/>
                </a:cubicBezTo>
                <a:cubicBezTo>
                  <a:pt x="3418" y="302"/>
                  <a:pt x="3418" y="302"/>
                  <a:pt x="3417" y="302"/>
                </a:cubicBezTo>
                <a:cubicBezTo>
                  <a:pt x="3417" y="302"/>
                  <a:pt x="3417" y="302"/>
                  <a:pt x="3417" y="302"/>
                </a:cubicBezTo>
                <a:cubicBezTo>
                  <a:pt x="3416" y="302"/>
                  <a:pt x="3415" y="302"/>
                  <a:pt x="3414" y="300"/>
                </a:cubicBezTo>
                <a:cubicBezTo>
                  <a:pt x="3414" y="300"/>
                  <a:pt x="3415" y="300"/>
                  <a:pt x="3415" y="300"/>
                </a:cubicBezTo>
                <a:cubicBezTo>
                  <a:pt x="3416" y="300"/>
                  <a:pt x="3416" y="301"/>
                  <a:pt x="3417" y="302"/>
                </a:cubicBezTo>
                <a:cubicBezTo>
                  <a:pt x="3417" y="302"/>
                  <a:pt x="3417" y="302"/>
                  <a:pt x="3418" y="302"/>
                </a:cubicBezTo>
                <a:cubicBezTo>
                  <a:pt x="3418" y="302"/>
                  <a:pt x="3418" y="302"/>
                  <a:pt x="3418" y="302"/>
                </a:cubicBezTo>
                <a:cubicBezTo>
                  <a:pt x="3420" y="301"/>
                  <a:pt x="3421" y="300"/>
                  <a:pt x="3423" y="299"/>
                </a:cubicBezTo>
                <a:cubicBezTo>
                  <a:pt x="3424" y="298"/>
                  <a:pt x="3424" y="297"/>
                  <a:pt x="3424" y="296"/>
                </a:cubicBezTo>
                <a:cubicBezTo>
                  <a:pt x="3424" y="292"/>
                  <a:pt x="3421" y="289"/>
                  <a:pt x="3419" y="286"/>
                </a:cubicBezTo>
                <a:cubicBezTo>
                  <a:pt x="3417" y="284"/>
                  <a:pt x="3414" y="284"/>
                  <a:pt x="3411" y="284"/>
                </a:cubicBezTo>
                <a:cubicBezTo>
                  <a:pt x="3409" y="284"/>
                  <a:pt x="3408" y="283"/>
                  <a:pt x="3409" y="281"/>
                </a:cubicBezTo>
                <a:cubicBezTo>
                  <a:pt x="3409" y="278"/>
                  <a:pt x="3410" y="276"/>
                  <a:pt x="3408" y="275"/>
                </a:cubicBezTo>
                <a:cubicBezTo>
                  <a:pt x="3404" y="270"/>
                  <a:pt x="3400" y="266"/>
                  <a:pt x="3396" y="262"/>
                </a:cubicBezTo>
                <a:cubicBezTo>
                  <a:pt x="3392" y="259"/>
                  <a:pt x="3377" y="255"/>
                  <a:pt x="3372" y="255"/>
                </a:cubicBezTo>
                <a:cubicBezTo>
                  <a:pt x="3371" y="255"/>
                  <a:pt x="3370" y="255"/>
                  <a:pt x="3369" y="256"/>
                </a:cubicBezTo>
                <a:cubicBezTo>
                  <a:pt x="3367" y="257"/>
                  <a:pt x="3365" y="258"/>
                  <a:pt x="3362" y="257"/>
                </a:cubicBezTo>
                <a:cubicBezTo>
                  <a:pt x="3355" y="255"/>
                  <a:pt x="3348" y="254"/>
                  <a:pt x="3341" y="256"/>
                </a:cubicBezTo>
                <a:cubicBezTo>
                  <a:pt x="3339" y="256"/>
                  <a:pt x="3337" y="258"/>
                  <a:pt x="3335" y="259"/>
                </a:cubicBezTo>
                <a:cubicBezTo>
                  <a:pt x="3332" y="261"/>
                  <a:pt x="3331" y="264"/>
                  <a:pt x="3333" y="267"/>
                </a:cubicBezTo>
                <a:cubicBezTo>
                  <a:pt x="3335" y="271"/>
                  <a:pt x="3337" y="275"/>
                  <a:pt x="3340" y="279"/>
                </a:cubicBezTo>
                <a:cubicBezTo>
                  <a:pt x="3340" y="280"/>
                  <a:pt x="3340" y="283"/>
                  <a:pt x="3339" y="283"/>
                </a:cubicBezTo>
                <a:cubicBezTo>
                  <a:pt x="3332" y="286"/>
                  <a:pt x="3326" y="289"/>
                  <a:pt x="3319" y="291"/>
                </a:cubicBezTo>
                <a:cubicBezTo>
                  <a:pt x="3315" y="292"/>
                  <a:pt x="3310" y="292"/>
                  <a:pt x="3307" y="288"/>
                </a:cubicBezTo>
                <a:cubicBezTo>
                  <a:pt x="3304" y="286"/>
                  <a:pt x="3304" y="287"/>
                  <a:pt x="3301" y="288"/>
                </a:cubicBezTo>
                <a:cubicBezTo>
                  <a:pt x="3294" y="294"/>
                  <a:pt x="3287" y="292"/>
                  <a:pt x="3285" y="283"/>
                </a:cubicBezTo>
                <a:cubicBezTo>
                  <a:pt x="3285" y="282"/>
                  <a:pt x="3285" y="281"/>
                  <a:pt x="3285" y="280"/>
                </a:cubicBezTo>
                <a:cubicBezTo>
                  <a:pt x="3285" y="277"/>
                  <a:pt x="3281" y="276"/>
                  <a:pt x="3279" y="276"/>
                </a:cubicBezTo>
                <a:cubicBezTo>
                  <a:pt x="3270" y="278"/>
                  <a:pt x="3262" y="280"/>
                  <a:pt x="3253" y="281"/>
                </a:cubicBezTo>
                <a:cubicBezTo>
                  <a:pt x="3250" y="282"/>
                  <a:pt x="3247" y="283"/>
                  <a:pt x="3244" y="284"/>
                </a:cubicBezTo>
                <a:cubicBezTo>
                  <a:pt x="3240" y="286"/>
                  <a:pt x="3237" y="288"/>
                  <a:pt x="3234" y="290"/>
                </a:cubicBezTo>
                <a:cubicBezTo>
                  <a:pt x="3231" y="289"/>
                  <a:pt x="3227" y="287"/>
                  <a:pt x="3224" y="286"/>
                </a:cubicBezTo>
                <a:cubicBezTo>
                  <a:pt x="3223" y="285"/>
                  <a:pt x="3223" y="286"/>
                  <a:pt x="3222" y="286"/>
                </a:cubicBezTo>
                <a:cubicBezTo>
                  <a:pt x="3222" y="286"/>
                  <a:pt x="3222" y="287"/>
                  <a:pt x="3222" y="288"/>
                </a:cubicBezTo>
                <a:cubicBezTo>
                  <a:pt x="3219" y="294"/>
                  <a:pt x="3213" y="296"/>
                  <a:pt x="3209" y="292"/>
                </a:cubicBezTo>
                <a:cubicBezTo>
                  <a:pt x="3207" y="291"/>
                  <a:pt x="3206" y="289"/>
                  <a:pt x="3205" y="287"/>
                </a:cubicBezTo>
                <a:cubicBezTo>
                  <a:pt x="3204" y="285"/>
                  <a:pt x="3203" y="284"/>
                  <a:pt x="3201" y="285"/>
                </a:cubicBezTo>
                <a:cubicBezTo>
                  <a:pt x="3199" y="286"/>
                  <a:pt x="3196" y="287"/>
                  <a:pt x="3194" y="286"/>
                </a:cubicBezTo>
                <a:cubicBezTo>
                  <a:pt x="3191" y="286"/>
                  <a:pt x="3189" y="288"/>
                  <a:pt x="3188" y="291"/>
                </a:cubicBezTo>
                <a:cubicBezTo>
                  <a:pt x="3187" y="292"/>
                  <a:pt x="3187" y="294"/>
                  <a:pt x="3187" y="295"/>
                </a:cubicBezTo>
                <a:cubicBezTo>
                  <a:pt x="3187" y="298"/>
                  <a:pt x="3188" y="300"/>
                  <a:pt x="3190" y="301"/>
                </a:cubicBezTo>
                <a:cubicBezTo>
                  <a:pt x="3192" y="301"/>
                  <a:pt x="3194" y="302"/>
                  <a:pt x="3196" y="302"/>
                </a:cubicBezTo>
                <a:cubicBezTo>
                  <a:pt x="3196" y="302"/>
                  <a:pt x="3196" y="302"/>
                  <a:pt x="3196" y="302"/>
                </a:cubicBezTo>
                <a:cubicBezTo>
                  <a:pt x="3196" y="302"/>
                  <a:pt x="3196" y="302"/>
                  <a:pt x="3196" y="302"/>
                </a:cubicBezTo>
                <a:cubicBezTo>
                  <a:pt x="3196" y="301"/>
                  <a:pt x="3196" y="300"/>
                  <a:pt x="3196" y="299"/>
                </a:cubicBezTo>
                <a:cubicBezTo>
                  <a:pt x="3197" y="299"/>
                  <a:pt x="3198" y="298"/>
                  <a:pt x="3198" y="298"/>
                </a:cubicBezTo>
                <a:cubicBezTo>
                  <a:pt x="3199" y="298"/>
                  <a:pt x="3199" y="299"/>
                  <a:pt x="3199" y="299"/>
                </a:cubicBezTo>
                <a:cubicBezTo>
                  <a:pt x="3199" y="299"/>
                  <a:pt x="3198" y="300"/>
                  <a:pt x="3198" y="300"/>
                </a:cubicBezTo>
                <a:cubicBezTo>
                  <a:pt x="3197" y="301"/>
                  <a:pt x="3197" y="301"/>
                  <a:pt x="3196" y="302"/>
                </a:cubicBezTo>
                <a:cubicBezTo>
                  <a:pt x="3196" y="302"/>
                  <a:pt x="3196" y="302"/>
                  <a:pt x="3196" y="302"/>
                </a:cubicBezTo>
                <a:cubicBezTo>
                  <a:pt x="3196" y="302"/>
                  <a:pt x="3196" y="302"/>
                  <a:pt x="3196" y="302"/>
                </a:cubicBezTo>
                <a:cubicBezTo>
                  <a:pt x="3195" y="304"/>
                  <a:pt x="3195" y="306"/>
                  <a:pt x="3194" y="306"/>
                </a:cubicBezTo>
                <a:cubicBezTo>
                  <a:pt x="3191" y="309"/>
                  <a:pt x="3189" y="312"/>
                  <a:pt x="3187" y="315"/>
                </a:cubicBezTo>
                <a:cubicBezTo>
                  <a:pt x="3183" y="322"/>
                  <a:pt x="3178" y="324"/>
                  <a:pt x="3171" y="325"/>
                </a:cubicBezTo>
                <a:cubicBezTo>
                  <a:pt x="3168" y="325"/>
                  <a:pt x="3167" y="324"/>
                  <a:pt x="3168" y="322"/>
                </a:cubicBezTo>
                <a:cubicBezTo>
                  <a:pt x="3170" y="319"/>
                  <a:pt x="3170" y="316"/>
                  <a:pt x="3171" y="313"/>
                </a:cubicBezTo>
                <a:cubicBezTo>
                  <a:pt x="3171" y="309"/>
                  <a:pt x="3176" y="309"/>
                  <a:pt x="3177" y="306"/>
                </a:cubicBezTo>
                <a:cubicBezTo>
                  <a:pt x="3177" y="304"/>
                  <a:pt x="3179" y="302"/>
                  <a:pt x="3178" y="301"/>
                </a:cubicBezTo>
                <a:cubicBezTo>
                  <a:pt x="3177" y="296"/>
                  <a:pt x="3178" y="291"/>
                  <a:pt x="3181" y="287"/>
                </a:cubicBezTo>
                <a:cubicBezTo>
                  <a:pt x="3182" y="285"/>
                  <a:pt x="3182" y="283"/>
                  <a:pt x="3182" y="280"/>
                </a:cubicBezTo>
                <a:cubicBezTo>
                  <a:pt x="3181" y="278"/>
                  <a:pt x="3182" y="276"/>
                  <a:pt x="3183" y="274"/>
                </a:cubicBezTo>
                <a:cubicBezTo>
                  <a:pt x="3185" y="269"/>
                  <a:pt x="3187" y="264"/>
                  <a:pt x="3189" y="259"/>
                </a:cubicBezTo>
                <a:cubicBezTo>
                  <a:pt x="3190" y="254"/>
                  <a:pt x="3190" y="248"/>
                  <a:pt x="3192" y="243"/>
                </a:cubicBezTo>
                <a:cubicBezTo>
                  <a:pt x="3194" y="238"/>
                  <a:pt x="3194" y="233"/>
                  <a:pt x="3192" y="228"/>
                </a:cubicBezTo>
                <a:cubicBezTo>
                  <a:pt x="3189" y="223"/>
                  <a:pt x="3186" y="219"/>
                  <a:pt x="3185" y="213"/>
                </a:cubicBezTo>
                <a:cubicBezTo>
                  <a:pt x="3185" y="212"/>
                  <a:pt x="3184" y="211"/>
                  <a:pt x="3183" y="211"/>
                </a:cubicBezTo>
                <a:cubicBezTo>
                  <a:pt x="3177" y="208"/>
                  <a:pt x="3174" y="203"/>
                  <a:pt x="3170" y="198"/>
                </a:cubicBezTo>
                <a:cubicBezTo>
                  <a:pt x="3169" y="197"/>
                  <a:pt x="3167" y="197"/>
                  <a:pt x="3166" y="199"/>
                </a:cubicBezTo>
                <a:cubicBezTo>
                  <a:pt x="3165" y="200"/>
                  <a:pt x="3165" y="204"/>
                  <a:pt x="3162" y="200"/>
                </a:cubicBezTo>
                <a:cubicBezTo>
                  <a:pt x="3159" y="196"/>
                  <a:pt x="3155" y="194"/>
                  <a:pt x="3151" y="191"/>
                </a:cubicBezTo>
                <a:cubicBezTo>
                  <a:pt x="3147" y="189"/>
                  <a:pt x="3142" y="188"/>
                  <a:pt x="3139" y="186"/>
                </a:cubicBezTo>
                <a:cubicBezTo>
                  <a:pt x="3135" y="183"/>
                  <a:pt x="3132" y="182"/>
                  <a:pt x="3128" y="185"/>
                </a:cubicBezTo>
                <a:cubicBezTo>
                  <a:pt x="3122" y="189"/>
                  <a:pt x="3115" y="192"/>
                  <a:pt x="3107" y="194"/>
                </a:cubicBezTo>
                <a:cubicBezTo>
                  <a:pt x="3106" y="195"/>
                  <a:pt x="3105" y="197"/>
                  <a:pt x="3106" y="198"/>
                </a:cubicBezTo>
                <a:cubicBezTo>
                  <a:pt x="3106" y="200"/>
                  <a:pt x="3107" y="201"/>
                  <a:pt x="3108" y="203"/>
                </a:cubicBezTo>
                <a:cubicBezTo>
                  <a:pt x="3109" y="206"/>
                  <a:pt x="3108" y="208"/>
                  <a:pt x="3105" y="210"/>
                </a:cubicBezTo>
                <a:cubicBezTo>
                  <a:pt x="3102" y="212"/>
                  <a:pt x="3098" y="210"/>
                  <a:pt x="3098" y="206"/>
                </a:cubicBezTo>
                <a:cubicBezTo>
                  <a:pt x="3098" y="204"/>
                  <a:pt x="3098" y="201"/>
                  <a:pt x="3098" y="198"/>
                </a:cubicBezTo>
                <a:cubicBezTo>
                  <a:pt x="3097" y="195"/>
                  <a:pt x="3097" y="193"/>
                  <a:pt x="3096" y="190"/>
                </a:cubicBezTo>
                <a:cubicBezTo>
                  <a:pt x="3096" y="188"/>
                  <a:pt x="3092" y="185"/>
                  <a:pt x="3090" y="186"/>
                </a:cubicBezTo>
                <a:cubicBezTo>
                  <a:pt x="3088" y="186"/>
                  <a:pt x="3086" y="187"/>
                  <a:pt x="3084" y="188"/>
                </a:cubicBezTo>
                <a:cubicBezTo>
                  <a:pt x="3080" y="189"/>
                  <a:pt x="3077" y="188"/>
                  <a:pt x="3074" y="186"/>
                </a:cubicBezTo>
                <a:cubicBezTo>
                  <a:pt x="3072" y="185"/>
                  <a:pt x="3070" y="184"/>
                  <a:pt x="3071" y="181"/>
                </a:cubicBezTo>
                <a:cubicBezTo>
                  <a:pt x="3072" y="176"/>
                  <a:pt x="3069" y="173"/>
                  <a:pt x="3065" y="171"/>
                </a:cubicBezTo>
                <a:cubicBezTo>
                  <a:pt x="3059" y="171"/>
                  <a:pt x="3053" y="168"/>
                  <a:pt x="3047" y="167"/>
                </a:cubicBezTo>
                <a:cubicBezTo>
                  <a:pt x="3046" y="167"/>
                  <a:pt x="3044" y="169"/>
                  <a:pt x="3043" y="169"/>
                </a:cubicBezTo>
                <a:cubicBezTo>
                  <a:pt x="3042" y="170"/>
                  <a:pt x="3042" y="171"/>
                  <a:pt x="3041" y="172"/>
                </a:cubicBezTo>
                <a:cubicBezTo>
                  <a:pt x="3037" y="181"/>
                  <a:pt x="3035" y="191"/>
                  <a:pt x="3036" y="201"/>
                </a:cubicBezTo>
                <a:cubicBezTo>
                  <a:pt x="3036" y="207"/>
                  <a:pt x="3036" y="214"/>
                  <a:pt x="3043" y="218"/>
                </a:cubicBezTo>
                <a:cubicBezTo>
                  <a:pt x="3046" y="220"/>
                  <a:pt x="3045" y="224"/>
                  <a:pt x="3046" y="227"/>
                </a:cubicBezTo>
                <a:cubicBezTo>
                  <a:pt x="3048" y="231"/>
                  <a:pt x="3047" y="231"/>
                  <a:pt x="3044" y="231"/>
                </a:cubicBezTo>
                <a:cubicBezTo>
                  <a:pt x="3041" y="232"/>
                  <a:pt x="3037" y="232"/>
                  <a:pt x="3033" y="234"/>
                </a:cubicBezTo>
                <a:cubicBezTo>
                  <a:pt x="3032" y="235"/>
                  <a:pt x="3031" y="236"/>
                  <a:pt x="3031" y="238"/>
                </a:cubicBezTo>
                <a:cubicBezTo>
                  <a:pt x="3031" y="239"/>
                  <a:pt x="3032" y="241"/>
                  <a:pt x="3032" y="243"/>
                </a:cubicBezTo>
                <a:cubicBezTo>
                  <a:pt x="3030" y="246"/>
                  <a:pt x="3028" y="249"/>
                  <a:pt x="3026" y="252"/>
                </a:cubicBezTo>
                <a:cubicBezTo>
                  <a:pt x="3026" y="253"/>
                  <a:pt x="3024" y="254"/>
                  <a:pt x="3023" y="254"/>
                </a:cubicBezTo>
                <a:cubicBezTo>
                  <a:pt x="3020" y="256"/>
                  <a:pt x="3016" y="257"/>
                  <a:pt x="3013" y="258"/>
                </a:cubicBezTo>
                <a:cubicBezTo>
                  <a:pt x="3012" y="258"/>
                  <a:pt x="3011" y="257"/>
                  <a:pt x="3012" y="256"/>
                </a:cubicBezTo>
                <a:cubicBezTo>
                  <a:pt x="3012" y="254"/>
                  <a:pt x="3013" y="252"/>
                  <a:pt x="3013" y="250"/>
                </a:cubicBezTo>
                <a:cubicBezTo>
                  <a:pt x="3014" y="248"/>
                  <a:pt x="3012" y="246"/>
                  <a:pt x="3009" y="246"/>
                </a:cubicBezTo>
                <a:cubicBezTo>
                  <a:pt x="3006" y="246"/>
                  <a:pt x="3003" y="247"/>
                  <a:pt x="3002" y="251"/>
                </a:cubicBezTo>
                <a:cubicBezTo>
                  <a:pt x="3001" y="253"/>
                  <a:pt x="3001" y="255"/>
                  <a:pt x="2998" y="255"/>
                </a:cubicBezTo>
                <a:cubicBezTo>
                  <a:pt x="2996" y="255"/>
                  <a:pt x="2994" y="256"/>
                  <a:pt x="2991" y="256"/>
                </a:cubicBezTo>
                <a:cubicBezTo>
                  <a:pt x="2988" y="256"/>
                  <a:pt x="2985" y="259"/>
                  <a:pt x="2983" y="261"/>
                </a:cubicBezTo>
                <a:cubicBezTo>
                  <a:pt x="2980" y="264"/>
                  <a:pt x="2980" y="266"/>
                  <a:pt x="2983" y="269"/>
                </a:cubicBezTo>
                <a:cubicBezTo>
                  <a:pt x="2984" y="271"/>
                  <a:pt x="2984" y="273"/>
                  <a:pt x="2983" y="274"/>
                </a:cubicBezTo>
                <a:cubicBezTo>
                  <a:pt x="2979" y="276"/>
                  <a:pt x="2975" y="279"/>
                  <a:pt x="2971" y="281"/>
                </a:cubicBezTo>
                <a:cubicBezTo>
                  <a:pt x="2967" y="283"/>
                  <a:pt x="2963" y="285"/>
                  <a:pt x="2960" y="289"/>
                </a:cubicBezTo>
                <a:cubicBezTo>
                  <a:pt x="2957" y="292"/>
                  <a:pt x="2953" y="294"/>
                  <a:pt x="2952" y="299"/>
                </a:cubicBezTo>
                <a:cubicBezTo>
                  <a:pt x="2951" y="302"/>
                  <a:pt x="2949" y="305"/>
                  <a:pt x="2946" y="306"/>
                </a:cubicBezTo>
                <a:cubicBezTo>
                  <a:pt x="2941" y="307"/>
                  <a:pt x="2942" y="313"/>
                  <a:pt x="2939" y="315"/>
                </a:cubicBezTo>
                <a:cubicBezTo>
                  <a:pt x="2937" y="316"/>
                  <a:pt x="2936" y="318"/>
                  <a:pt x="2935" y="320"/>
                </a:cubicBezTo>
                <a:cubicBezTo>
                  <a:pt x="2933" y="324"/>
                  <a:pt x="2935" y="327"/>
                  <a:pt x="2935" y="331"/>
                </a:cubicBezTo>
                <a:cubicBezTo>
                  <a:pt x="2936" y="333"/>
                  <a:pt x="2937" y="335"/>
                  <a:pt x="2939" y="336"/>
                </a:cubicBezTo>
                <a:cubicBezTo>
                  <a:pt x="2943" y="339"/>
                  <a:pt x="2947" y="342"/>
                  <a:pt x="2951" y="344"/>
                </a:cubicBezTo>
                <a:cubicBezTo>
                  <a:pt x="2957" y="345"/>
                  <a:pt x="2962" y="348"/>
                  <a:pt x="2965" y="352"/>
                </a:cubicBezTo>
                <a:cubicBezTo>
                  <a:pt x="2966" y="353"/>
                  <a:pt x="2966" y="354"/>
                  <a:pt x="2966" y="355"/>
                </a:cubicBezTo>
                <a:cubicBezTo>
                  <a:pt x="2966" y="356"/>
                  <a:pt x="2965" y="357"/>
                  <a:pt x="2964" y="358"/>
                </a:cubicBezTo>
                <a:cubicBezTo>
                  <a:pt x="2962" y="359"/>
                  <a:pt x="2962" y="357"/>
                  <a:pt x="2961" y="355"/>
                </a:cubicBezTo>
                <a:cubicBezTo>
                  <a:pt x="2961" y="354"/>
                  <a:pt x="2960" y="352"/>
                  <a:pt x="2958" y="353"/>
                </a:cubicBezTo>
                <a:cubicBezTo>
                  <a:pt x="2956" y="353"/>
                  <a:pt x="2953" y="353"/>
                  <a:pt x="2951" y="354"/>
                </a:cubicBezTo>
                <a:cubicBezTo>
                  <a:pt x="2946" y="358"/>
                  <a:pt x="2940" y="360"/>
                  <a:pt x="2934" y="363"/>
                </a:cubicBezTo>
                <a:cubicBezTo>
                  <a:pt x="2928" y="366"/>
                  <a:pt x="2922" y="368"/>
                  <a:pt x="2916" y="370"/>
                </a:cubicBezTo>
                <a:cubicBezTo>
                  <a:pt x="2913" y="370"/>
                  <a:pt x="2911" y="371"/>
                  <a:pt x="2909" y="372"/>
                </a:cubicBezTo>
                <a:cubicBezTo>
                  <a:pt x="2903" y="374"/>
                  <a:pt x="2902" y="379"/>
                  <a:pt x="2905" y="385"/>
                </a:cubicBezTo>
                <a:cubicBezTo>
                  <a:pt x="2906" y="387"/>
                  <a:pt x="2907" y="390"/>
                  <a:pt x="2909" y="392"/>
                </a:cubicBezTo>
                <a:cubicBezTo>
                  <a:pt x="2912" y="395"/>
                  <a:pt x="2914" y="398"/>
                  <a:pt x="2915" y="402"/>
                </a:cubicBezTo>
                <a:cubicBezTo>
                  <a:pt x="2915" y="404"/>
                  <a:pt x="2916" y="406"/>
                  <a:pt x="2917" y="408"/>
                </a:cubicBezTo>
                <a:cubicBezTo>
                  <a:pt x="2918" y="410"/>
                  <a:pt x="2920" y="411"/>
                  <a:pt x="2922" y="412"/>
                </a:cubicBezTo>
                <a:cubicBezTo>
                  <a:pt x="2926" y="414"/>
                  <a:pt x="2930" y="413"/>
                  <a:pt x="2935" y="414"/>
                </a:cubicBezTo>
                <a:cubicBezTo>
                  <a:pt x="2938" y="417"/>
                  <a:pt x="2942" y="420"/>
                  <a:pt x="2945" y="424"/>
                </a:cubicBezTo>
                <a:cubicBezTo>
                  <a:pt x="2946" y="424"/>
                  <a:pt x="2947" y="424"/>
                  <a:pt x="2948" y="425"/>
                </a:cubicBezTo>
                <a:cubicBezTo>
                  <a:pt x="2951" y="426"/>
                  <a:pt x="2954" y="427"/>
                  <a:pt x="2956" y="428"/>
                </a:cubicBezTo>
                <a:cubicBezTo>
                  <a:pt x="2958" y="429"/>
                  <a:pt x="2960" y="431"/>
                  <a:pt x="2960" y="433"/>
                </a:cubicBezTo>
                <a:cubicBezTo>
                  <a:pt x="2961" y="440"/>
                  <a:pt x="2964" y="447"/>
                  <a:pt x="2968" y="453"/>
                </a:cubicBezTo>
                <a:cubicBezTo>
                  <a:pt x="2969" y="454"/>
                  <a:pt x="2968" y="456"/>
                  <a:pt x="2966" y="457"/>
                </a:cubicBezTo>
                <a:cubicBezTo>
                  <a:pt x="2964" y="458"/>
                  <a:pt x="2963" y="459"/>
                  <a:pt x="2961" y="460"/>
                </a:cubicBezTo>
                <a:cubicBezTo>
                  <a:pt x="2961" y="460"/>
                  <a:pt x="2961" y="460"/>
                  <a:pt x="2961" y="460"/>
                </a:cubicBezTo>
                <a:cubicBezTo>
                  <a:pt x="2961" y="461"/>
                  <a:pt x="2960" y="461"/>
                  <a:pt x="2960" y="462"/>
                </a:cubicBezTo>
                <a:cubicBezTo>
                  <a:pt x="2960" y="462"/>
                  <a:pt x="2960" y="462"/>
                  <a:pt x="2960" y="463"/>
                </a:cubicBezTo>
                <a:cubicBezTo>
                  <a:pt x="2960" y="462"/>
                  <a:pt x="2960" y="461"/>
                  <a:pt x="2961" y="460"/>
                </a:cubicBezTo>
                <a:cubicBezTo>
                  <a:pt x="2961" y="460"/>
                  <a:pt x="2961" y="460"/>
                  <a:pt x="2961" y="460"/>
                </a:cubicBezTo>
                <a:cubicBezTo>
                  <a:pt x="2960" y="459"/>
                  <a:pt x="2960" y="458"/>
                  <a:pt x="2959" y="458"/>
                </a:cubicBezTo>
                <a:cubicBezTo>
                  <a:pt x="2955" y="452"/>
                  <a:pt x="2953" y="446"/>
                  <a:pt x="2957" y="439"/>
                </a:cubicBezTo>
                <a:cubicBezTo>
                  <a:pt x="2957" y="438"/>
                  <a:pt x="2957" y="437"/>
                  <a:pt x="2957" y="436"/>
                </a:cubicBezTo>
                <a:cubicBezTo>
                  <a:pt x="2958" y="433"/>
                  <a:pt x="2955" y="429"/>
                  <a:pt x="2951" y="430"/>
                </a:cubicBezTo>
                <a:cubicBezTo>
                  <a:pt x="2949" y="430"/>
                  <a:pt x="2946" y="430"/>
                  <a:pt x="2943" y="431"/>
                </a:cubicBezTo>
                <a:cubicBezTo>
                  <a:pt x="2938" y="432"/>
                  <a:pt x="2934" y="431"/>
                  <a:pt x="2929" y="427"/>
                </a:cubicBezTo>
                <a:cubicBezTo>
                  <a:pt x="2927" y="425"/>
                  <a:pt x="2924" y="423"/>
                  <a:pt x="2921" y="422"/>
                </a:cubicBezTo>
                <a:cubicBezTo>
                  <a:pt x="2917" y="419"/>
                  <a:pt x="2912" y="417"/>
                  <a:pt x="2906" y="416"/>
                </a:cubicBezTo>
                <a:cubicBezTo>
                  <a:pt x="2901" y="414"/>
                  <a:pt x="2896" y="413"/>
                  <a:pt x="2891" y="411"/>
                </a:cubicBezTo>
                <a:cubicBezTo>
                  <a:pt x="2889" y="411"/>
                  <a:pt x="2887" y="411"/>
                  <a:pt x="2886" y="412"/>
                </a:cubicBezTo>
                <a:cubicBezTo>
                  <a:pt x="2884" y="415"/>
                  <a:pt x="2882" y="418"/>
                  <a:pt x="2882" y="421"/>
                </a:cubicBezTo>
                <a:cubicBezTo>
                  <a:pt x="2882" y="422"/>
                  <a:pt x="2883" y="423"/>
                  <a:pt x="2884" y="424"/>
                </a:cubicBezTo>
                <a:cubicBezTo>
                  <a:pt x="2885" y="424"/>
                  <a:pt x="2887" y="424"/>
                  <a:pt x="2888" y="425"/>
                </a:cubicBezTo>
                <a:cubicBezTo>
                  <a:pt x="2888" y="425"/>
                  <a:pt x="2888" y="425"/>
                  <a:pt x="2888" y="424"/>
                </a:cubicBezTo>
                <a:cubicBezTo>
                  <a:pt x="2889" y="424"/>
                  <a:pt x="2889" y="424"/>
                  <a:pt x="2889" y="424"/>
                </a:cubicBezTo>
                <a:cubicBezTo>
                  <a:pt x="2888" y="425"/>
                  <a:pt x="2888" y="425"/>
                  <a:pt x="2888" y="425"/>
                </a:cubicBezTo>
                <a:cubicBezTo>
                  <a:pt x="2889" y="426"/>
                  <a:pt x="2890" y="427"/>
                  <a:pt x="2892" y="427"/>
                </a:cubicBezTo>
                <a:cubicBezTo>
                  <a:pt x="2893" y="428"/>
                  <a:pt x="2895" y="428"/>
                  <a:pt x="2896" y="429"/>
                </a:cubicBezTo>
                <a:cubicBezTo>
                  <a:pt x="2898" y="430"/>
                  <a:pt x="2899" y="433"/>
                  <a:pt x="2898" y="434"/>
                </a:cubicBezTo>
                <a:cubicBezTo>
                  <a:pt x="2897" y="436"/>
                  <a:pt x="2895" y="437"/>
                  <a:pt x="2894" y="437"/>
                </a:cubicBezTo>
                <a:cubicBezTo>
                  <a:pt x="2892" y="436"/>
                  <a:pt x="2890" y="435"/>
                  <a:pt x="2888" y="434"/>
                </a:cubicBezTo>
                <a:cubicBezTo>
                  <a:pt x="2886" y="433"/>
                  <a:pt x="2885" y="432"/>
                  <a:pt x="2883" y="432"/>
                </a:cubicBezTo>
                <a:cubicBezTo>
                  <a:pt x="2881" y="432"/>
                  <a:pt x="2879" y="433"/>
                  <a:pt x="2878" y="435"/>
                </a:cubicBezTo>
                <a:cubicBezTo>
                  <a:pt x="2877" y="436"/>
                  <a:pt x="2876" y="438"/>
                  <a:pt x="2877" y="439"/>
                </a:cubicBezTo>
                <a:cubicBezTo>
                  <a:pt x="2880" y="445"/>
                  <a:pt x="2884" y="450"/>
                  <a:pt x="2891" y="452"/>
                </a:cubicBezTo>
                <a:cubicBezTo>
                  <a:pt x="2894" y="453"/>
                  <a:pt x="2898" y="454"/>
                  <a:pt x="2902" y="455"/>
                </a:cubicBezTo>
                <a:cubicBezTo>
                  <a:pt x="2904" y="455"/>
                  <a:pt x="2905" y="455"/>
                  <a:pt x="2907" y="456"/>
                </a:cubicBezTo>
                <a:cubicBezTo>
                  <a:pt x="2907" y="456"/>
                  <a:pt x="2907" y="457"/>
                  <a:pt x="2908" y="457"/>
                </a:cubicBezTo>
                <a:cubicBezTo>
                  <a:pt x="2908" y="458"/>
                  <a:pt x="2907" y="459"/>
                  <a:pt x="2906" y="459"/>
                </a:cubicBezTo>
                <a:cubicBezTo>
                  <a:pt x="2904" y="457"/>
                  <a:pt x="2901" y="456"/>
                  <a:pt x="2898" y="457"/>
                </a:cubicBezTo>
                <a:cubicBezTo>
                  <a:pt x="2893" y="458"/>
                  <a:pt x="2888" y="457"/>
                  <a:pt x="2883" y="457"/>
                </a:cubicBezTo>
                <a:cubicBezTo>
                  <a:pt x="2881" y="456"/>
                  <a:pt x="2878" y="455"/>
                  <a:pt x="2877" y="453"/>
                </a:cubicBezTo>
                <a:cubicBezTo>
                  <a:pt x="2876" y="452"/>
                  <a:pt x="2876" y="451"/>
                  <a:pt x="2875" y="450"/>
                </a:cubicBezTo>
                <a:cubicBezTo>
                  <a:pt x="2872" y="444"/>
                  <a:pt x="2869" y="439"/>
                  <a:pt x="2868" y="432"/>
                </a:cubicBezTo>
                <a:cubicBezTo>
                  <a:pt x="2868" y="426"/>
                  <a:pt x="2865" y="421"/>
                  <a:pt x="2862" y="417"/>
                </a:cubicBezTo>
                <a:cubicBezTo>
                  <a:pt x="2861" y="415"/>
                  <a:pt x="2859" y="414"/>
                  <a:pt x="2858" y="413"/>
                </a:cubicBezTo>
                <a:cubicBezTo>
                  <a:pt x="2858" y="413"/>
                  <a:pt x="2857" y="413"/>
                  <a:pt x="2857" y="413"/>
                </a:cubicBezTo>
                <a:cubicBezTo>
                  <a:pt x="2856" y="414"/>
                  <a:pt x="2856" y="414"/>
                  <a:pt x="2856" y="415"/>
                </a:cubicBezTo>
                <a:cubicBezTo>
                  <a:pt x="2857" y="419"/>
                  <a:pt x="2859" y="423"/>
                  <a:pt x="2860" y="427"/>
                </a:cubicBezTo>
                <a:cubicBezTo>
                  <a:pt x="2861" y="430"/>
                  <a:pt x="2860" y="434"/>
                  <a:pt x="2859" y="437"/>
                </a:cubicBezTo>
                <a:cubicBezTo>
                  <a:pt x="2858" y="438"/>
                  <a:pt x="2857" y="439"/>
                  <a:pt x="2857" y="439"/>
                </a:cubicBezTo>
                <a:cubicBezTo>
                  <a:pt x="2854" y="443"/>
                  <a:pt x="2853" y="446"/>
                  <a:pt x="2854" y="450"/>
                </a:cubicBezTo>
                <a:cubicBezTo>
                  <a:pt x="2855" y="454"/>
                  <a:pt x="2853" y="458"/>
                  <a:pt x="2855" y="461"/>
                </a:cubicBezTo>
                <a:cubicBezTo>
                  <a:pt x="2857" y="464"/>
                  <a:pt x="2861" y="467"/>
                  <a:pt x="2863" y="469"/>
                </a:cubicBezTo>
                <a:cubicBezTo>
                  <a:pt x="2865" y="471"/>
                  <a:pt x="2867" y="473"/>
                  <a:pt x="2870" y="475"/>
                </a:cubicBezTo>
                <a:cubicBezTo>
                  <a:pt x="2873" y="478"/>
                  <a:pt x="2874" y="481"/>
                  <a:pt x="2874" y="485"/>
                </a:cubicBezTo>
                <a:cubicBezTo>
                  <a:pt x="2874" y="489"/>
                  <a:pt x="2874" y="494"/>
                  <a:pt x="2875" y="498"/>
                </a:cubicBezTo>
                <a:cubicBezTo>
                  <a:pt x="2876" y="506"/>
                  <a:pt x="2882" y="513"/>
                  <a:pt x="2885" y="521"/>
                </a:cubicBezTo>
                <a:cubicBezTo>
                  <a:pt x="2886" y="523"/>
                  <a:pt x="2888" y="523"/>
                  <a:pt x="2890" y="523"/>
                </a:cubicBezTo>
                <a:cubicBezTo>
                  <a:pt x="2895" y="523"/>
                  <a:pt x="2899" y="522"/>
                  <a:pt x="2902" y="518"/>
                </a:cubicBezTo>
                <a:cubicBezTo>
                  <a:pt x="2906" y="514"/>
                  <a:pt x="2910" y="515"/>
                  <a:pt x="2914" y="517"/>
                </a:cubicBezTo>
                <a:cubicBezTo>
                  <a:pt x="2915" y="518"/>
                  <a:pt x="2915" y="518"/>
                  <a:pt x="2915" y="519"/>
                </a:cubicBezTo>
                <a:cubicBezTo>
                  <a:pt x="2915" y="519"/>
                  <a:pt x="2915" y="519"/>
                  <a:pt x="2914" y="520"/>
                </a:cubicBezTo>
                <a:cubicBezTo>
                  <a:pt x="2910" y="523"/>
                  <a:pt x="2905" y="526"/>
                  <a:pt x="2901" y="530"/>
                </a:cubicBezTo>
                <a:cubicBezTo>
                  <a:pt x="2897" y="533"/>
                  <a:pt x="2896" y="539"/>
                  <a:pt x="2900" y="543"/>
                </a:cubicBezTo>
                <a:cubicBezTo>
                  <a:pt x="2901" y="545"/>
                  <a:pt x="2903" y="547"/>
                  <a:pt x="2905" y="549"/>
                </a:cubicBezTo>
                <a:cubicBezTo>
                  <a:pt x="2907" y="553"/>
                  <a:pt x="2909" y="556"/>
                  <a:pt x="2907" y="560"/>
                </a:cubicBezTo>
                <a:cubicBezTo>
                  <a:pt x="2905" y="565"/>
                  <a:pt x="2904" y="571"/>
                  <a:pt x="2904" y="576"/>
                </a:cubicBezTo>
                <a:cubicBezTo>
                  <a:pt x="2904" y="579"/>
                  <a:pt x="2903" y="582"/>
                  <a:pt x="2902" y="584"/>
                </a:cubicBezTo>
                <a:cubicBezTo>
                  <a:pt x="2899" y="589"/>
                  <a:pt x="2895" y="594"/>
                  <a:pt x="2894" y="600"/>
                </a:cubicBezTo>
                <a:cubicBezTo>
                  <a:pt x="2894" y="601"/>
                  <a:pt x="2892" y="602"/>
                  <a:pt x="2891" y="601"/>
                </a:cubicBezTo>
                <a:cubicBezTo>
                  <a:pt x="2885" y="601"/>
                  <a:pt x="2878" y="600"/>
                  <a:pt x="2872" y="599"/>
                </a:cubicBezTo>
                <a:cubicBezTo>
                  <a:pt x="2871" y="599"/>
                  <a:pt x="2869" y="598"/>
                  <a:pt x="2869" y="598"/>
                </a:cubicBezTo>
                <a:cubicBezTo>
                  <a:pt x="2868" y="596"/>
                  <a:pt x="2869" y="595"/>
                  <a:pt x="2869" y="593"/>
                </a:cubicBezTo>
                <a:cubicBezTo>
                  <a:pt x="2869" y="593"/>
                  <a:pt x="2868" y="593"/>
                  <a:pt x="2868" y="593"/>
                </a:cubicBezTo>
                <a:cubicBezTo>
                  <a:pt x="2867" y="593"/>
                  <a:pt x="2867" y="593"/>
                  <a:pt x="2868" y="592"/>
                </a:cubicBezTo>
                <a:cubicBezTo>
                  <a:pt x="2868" y="592"/>
                  <a:pt x="2868" y="593"/>
                  <a:pt x="2869" y="593"/>
                </a:cubicBezTo>
                <a:cubicBezTo>
                  <a:pt x="2869" y="593"/>
                  <a:pt x="2869" y="593"/>
                  <a:pt x="2869" y="593"/>
                </a:cubicBezTo>
                <a:cubicBezTo>
                  <a:pt x="2870" y="594"/>
                  <a:pt x="2871" y="595"/>
                  <a:pt x="2873" y="595"/>
                </a:cubicBezTo>
                <a:cubicBezTo>
                  <a:pt x="2878" y="597"/>
                  <a:pt x="2883" y="596"/>
                  <a:pt x="2885" y="590"/>
                </a:cubicBezTo>
                <a:cubicBezTo>
                  <a:pt x="2889" y="581"/>
                  <a:pt x="2891" y="570"/>
                  <a:pt x="2893" y="560"/>
                </a:cubicBezTo>
                <a:cubicBezTo>
                  <a:pt x="2893" y="559"/>
                  <a:pt x="2893" y="557"/>
                  <a:pt x="2892" y="555"/>
                </a:cubicBezTo>
                <a:cubicBezTo>
                  <a:pt x="2889" y="551"/>
                  <a:pt x="2888" y="547"/>
                  <a:pt x="2889" y="543"/>
                </a:cubicBezTo>
                <a:cubicBezTo>
                  <a:pt x="2890" y="540"/>
                  <a:pt x="2888" y="537"/>
                  <a:pt x="2886" y="536"/>
                </a:cubicBezTo>
                <a:cubicBezTo>
                  <a:pt x="2884" y="534"/>
                  <a:pt x="2881" y="533"/>
                  <a:pt x="2879" y="531"/>
                </a:cubicBezTo>
                <a:cubicBezTo>
                  <a:pt x="2876" y="529"/>
                  <a:pt x="2874" y="526"/>
                  <a:pt x="2872" y="522"/>
                </a:cubicBezTo>
                <a:cubicBezTo>
                  <a:pt x="2868" y="509"/>
                  <a:pt x="2863" y="497"/>
                  <a:pt x="2860" y="484"/>
                </a:cubicBezTo>
                <a:cubicBezTo>
                  <a:pt x="2857" y="477"/>
                  <a:pt x="2854" y="470"/>
                  <a:pt x="2847" y="466"/>
                </a:cubicBezTo>
                <a:cubicBezTo>
                  <a:pt x="2844" y="463"/>
                  <a:pt x="2842" y="460"/>
                  <a:pt x="2842" y="456"/>
                </a:cubicBezTo>
                <a:cubicBezTo>
                  <a:pt x="2842" y="445"/>
                  <a:pt x="2840" y="434"/>
                  <a:pt x="2837" y="423"/>
                </a:cubicBezTo>
                <a:cubicBezTo>
                  <a:pt x="2837" y="421"/>
                  <a:pt x="2835" y="419"/>
                  <a:pt x="2833" y="418"/>
                </a:cubicBezTo>
                <a:cubicBezTo>
                  <a:pt x="2825" y="415"/>
                  <a:pt x="2816" y="413"/>
                  <a:pt x="2807" y="416"/>
                </a:cubicBezTo>
                <a:cubicBezTo>
                  <a:pt x="2806" y="417"/>
                  <a:pt x="2803" y="416"/>
                  <a:pt x="2801" y="416"/>
                </a:cubicBezTo>
                <a:cubicBezTo>
                  <a:pt x="2800" y="417"/>
                  <a:pt x="2798" y="418"/>
                  <a:pt x="2798" y="420"/>
                </a:cubicBezTo>
                <a:cubicBezTo>
                  <a:pt x="2797" y="422"/>
                  <a:pt x="2797" y="425"/>
                  <a:pt x="2797" y="428"/>
                </a:cubicBezTo>
                <a:cubicBezTo>
                  <a:pt x="2798" y="437"/>
                  <a:pt x="2798" y="445"/>
                  <a:pt x="2799" y="454"/>
                </a:cubicBezTo>
                <a:cubicBezTo>
                  <a:pt x="2799" y="459"/>
                  <a:pt x="2798" y="463"/>
                  <a:pt x="2795" y="466"/>
                </a:cubicBezTo>
                <a:cubicBezTo>
                  <a:pt x="2791" y="470"/>
                  <a:pt x="2790" y="475"/>
                  <a:pt x="2791" y="480"/>
                </a:cubicBezTo>
                <a:cubicBezTo>
                  <a:pt x="2791" y="484"/>
                  <a:pt x="2791" y="487"/>
                  <a:pt x="2794" y="489"/>
                </a:cubicBezTo>
                <a:cubicBezTo>
                  <a:pt x="2797" y="491"/>
                  <a:pt x="2800" y="493"/>
                  <a:pt x="2800" y="496"/>
                </a:cubicBezTo>
                <a:cubicBezTo>
                  <a:pt x="2801" y="501"/>
                  <a:pt x="2805" y="505"/>
                  <a:pt x="2802" y="511"/>
                </a:cubicBezTo>
                <a:cubicBezTo>
                  <a:pt x="2802" y="512"/>
                  <a:pt x="2802" y="513"/>
                  <a:pt x="2802" y="514"/>
                </a:cubicBezTo>
                <a:cubicBezTo>
                  <a:pt x="2805" y="518"/>
                  <a:pt x="2807" y="522"/>
                  <a:pt x="2810" y="527"/>
                </a:cubicBezTo>
                <a:cubicBezTo>
                  <a:pt x="2810" y="527"/>
                  <a:pt x="2812" y="527"/>
                  <a:pt x="2813" y="526"/>
                </a:cubicBezTo>
                <a:cubicBezTo>
                  <a:pt x="2815" y="525"/>
                  <a:pt x="2818" y="524"/>
                  <a:pt x="2820" y="527"/>
                </a:cubicBezTo>
                <a:cubicBezTo>
                  <a:pt x="2824" y="532"/>
                  <a:pt x="2829" y="537"/>
                  <a:pt x="2835" y="539"/>
                </a:cubicBezTo>
                <a:cubicBezTo>
                  <a:pt x="2836" y="539"/>
                  <a:pt x="2837" y="541"/>
                  <a:pt x="2837" y="541"/>
                </a:cubicBezTo>
                <a:cubicBezTo>
                  <a:pt x="2837" y="544"/>
                  <a:pt x="2837" y="547"/>
                  <a:pt x="2837" y="550"/>
                </a:cubicBezTo>
                <a:cubicBezTo>
                  <a:pt x="2836" y="551"/>
                  <a:pt x="2834" y="552"/>
                  <a:pt x="2833" y="551"/>
                </a:cubicBezTo>
                <a:cubicBezTo>
                  <a:pt x="2830" y="549"/>
                  <a:pt x="2826" y="547"/>
                  <a:pt x="2823" y="545"/>
                </a:cubicBezTo>
                <a:cubicBezTo>
                  <a:pt x="2821" y="543"/>
                  <a:pt x="2819" y="542"/>
                  <a:pt x="2816" y="541"/>
                </a:cubicBezTo>
                <a:cubicBezTo>
                  <a:pt x="2812" y="539"/>
                  <a:pt x="2808" y="538"/>
                  <a:pt x="2804" y="536"/>
                </a:cubicBezTo>
                <a:cubicBezTo>
                  <a:pt x="2800" y="535"/>
                  <a:pt x="2797" y="533"/>
                  <a:pt x="2793" y="531"/>
                </a:cubicBezTo>
                <a:cubicBezTo>
                  <a:pt x="2788" y="532"/>
                  <a:pt x="2786" y="527"/>
                  <a:pt x="2782" y="526"/>
                </a:cubicBezTo>
                <a:cubicBezTo>
                  <a:pt x="2774" y="522"/>
                  <a:pt x="2766" y="520"/>
                  <a:pt x="2758" y="522"/>
                </a:cubicBezTo>
                <a:cubicBezTo>
                  <a:pt x="2757" y="522"/>
                  <a:pt x="2756" y="522"/>
                  <a:pt x="2755" y="522"/>
                </a:cubicBezTo>
                <a:cubicBezTo>
                  <a:pt x="2745" y="522"/>
                  <a:pt x="2736" y="521"/>
                  <a:pt x="2728" y="514"/>
                </a:cubicBezTo>
                <a:cubicBezTo>
                  <a:pt x="2725" y="511"/>
                  <a:pt x="2720" y="509"/>
                  <a:pt x="2716" y="506"/>
                </a:cubicBezTo>
                <a:cubicBezTo>
                  <a:pt x="2715" y="505"/>
                  <a:pt x="2713" y="506"/>
                  <a:pt x="2712" y="508"/>
                </a:cubicBezTo>
                <a:cubicBezTo>
                  <a:pt x="2712" y="508"/>
                  <a:pt x="2711" y="508"/>
                  <a:pt x="2711" y="509"/>
                </a:cubicBezTo>
                <a:cubicBezTo>
                  <a:pt x="2710" y="514"/>
                  <a:pt x="2711" y="518"/>
                  <a:pt x="2715" y="521"/>
                </a:cubicBezTo>
                <a:cubicBezTo>
                  <a:pt x="2719" y="524"/>
                  <a:pt x="2726" y="524"/>
                  <a:pt x="2729" y="529"/>
                </a:cubicBezTo>
                <a:cubicBezTo>
                  <a:pt x="2729" y="530"/>
                  <a:pt x="2731" y="530"/>
                  <a:pt x="2732" y="530"/>
                </a:cubicBezTo>
                <a:cubicBezTo>
                  <a:pt x="2734" y="531"/>
                  <a:pt x="2736" y="532"/>
                  <a:pt x="2738" y="534"/>
                </a:cubicBezTo>
                <a:cubicBezTo>
                  <a:pt x="2741" y="537"/>
                  <a:pt x="2744" y="541"/>
                  <a:pt x="2747" y="545"/>
                </a:cubicBezTo>
                <a:cubicBezTo>
                  <a:pt x="2748" y="547"/>
                  <a:pt x="2748" y="550"/>
                  <a:pt x="2746" y="551"/>
                </a:cubicBezTo>
                <a:cubicBezTo>
                  <a:pt x="2743" y="554"/>
                  <a:pt x="2739" y="556"/>
                  <a:pt x="2738" y="561"/>
                </a:cubicBezTo>
                <a:cubicBezTo>
                  <a:pt x="2738" y="561"/>
                  <a:pt x="2737" y="561"/>
                  <a:pt x="2736" y="561"/>
                </a:cubicBezTo>
                <a:cubicBezTo>
                  <a:pt x="2736" y="561"/>
                  <a:pt x="2734" y="560"/>
                  <a:pt x="2734" y="559"/>
                </a:cubicBezTo>
                <a:cubicBezTo>
                  <a:pt x="2733" y="557"/>
                  <a:pt x="2733" y="555"/>
                  <a:pt x="2732" y="553"/>
                </a:cubicBezTo>
                <a:cubicBezTo>
                  <a:pt x="2731" y="551"/>
                  <a:pt x="2728" y="549"/>
                  <a:pt x="2726" y="550"/>
                </a:cubicBezTo>
                <a:cubicBezTo>
                  <a:pt x="2722" y="552"/>
                  <a:pt x="2718" y="555"/>
                  <a:pt x="2714" y="554"/>
                </a:cubicBezTo>
                <a:cubicBezTo>
                  <a:pt x="2713" y="554"/>
                  <a:pt x="2712" y="555"/>
                  <a:pt x="2712" y="555"/>
                </a:cubicBezTo>
                <a:cubicBezTo>
                  <a:pt x="2711" y="559"/>
                  <a:pt x="2707" y="560"/>
                  <a:pt x="2703" y="560"/>
                </a:cubicBezTo>
                <a:cubicBezTo>
                  <a:pt x="2699" y="560"/>
                  <a:pt x="2695" y="561"/>
                  <a:pt x="2692" y="564"/>
                </a:cubicBezTo>
                <a:cubicBezTo>
                  <a:pt x="2690" y="568"/>
                  <a:pt x="2685" y="569"/>
                  <a:pt x="2682" y="571"/>
                </a:cubicBezTo>
                <a:cubicBezTo>
                  <a:pt x="2680" y="572"/>
                  <a:pt x="2678" y="571"/>
                  <a:pt x="2677" y="571"/>
                </a:cubicBezTo>
                <a:cubicBezTo>
                  <a:pt x="2677" y="570"/>
                  <a:pt x="2677" y="569"/>
                  <a:pt x="2677" y="568"/>
                </a:cubicBezTo>
                <a:cubicBezTo>
                  <a:pt x="2678" y="564"/>
                  <a:pt x="2676" y="560"/>
                  <a:pt x="2673" y="557"/>
                </a:cubicBezTo>
                <a:cubicBezTo>
                  <a:pt x="2669" y="556"/>
                  <a:pt x="2667" y="557"/>
                  <a:pt x="2665" y="561"/>
                </a:cubicBezTo>
                <a:cubicBezTo>
                  <a:pt x="2665" y="562"/>
                  <a:pt x="2664" y="563"/>
                  <a:pt x="2663" y="563"/>
                </a:cubicBezTo>
                <a:cubicBezTo>
                  <a:pt x="2660" y="563"/>
                  <a:pt x="2659" y="566"/>
                  <a:pt x="2657" y="567"/>
                </a:cubicBezTo>
                <a:cubicBezTo>
                  <a:pt x="2654" y="569"/>
                  <a:pt x="2652" y="569"/>
                  <a:pt x="2649" y="570"/>
                </a:cubicBezTo>
                <a:cubicBezTo>
                  <a:pt x="2645" y="571"/>
                  <a:pt x="2642" y="573"/>
                  <a:pt x="2640" y="576"/>
                </a:cubicBezTo>
                <a:cubicBezTo>
                  <a:pt x="2634" y="583"/>
                  <a:pt x="2627" y="590"/>
                  <a:pt x="2619" y="595"/>
                </a:cubicBezTo>
                <a:cubicBezTo>
                  <a:pt x="2617" y="597"/>
                  <a:pt x="2616" y="598"/>
                  <a:pt x="2616" y="601"/>
                </a:cubicBezTo>
                <a:cubicBezTo>
                  <a:pt x="2616" y="603"/>
                  <a:pt x="2615" y="606"/>
                  <a:pt x="2615" y="609"/>
                </a:cubicBezTo>
                <a:cubicBezTo>
                  <a:pt x="2615" y="610"/>
                  <a:pt x="2614" y="611"/>
                  <a:pt x="2613" y="611"/>
                </a:cubicBezTo>
                <a:cubicBezTo>
                  <a:pt x="2609" y="616"/>
                  <a:pt x="2600" y="616"/>
                  <a:pt x="2597" y="613"/>
                </a:cubicBezTo>
                <a:cubicBezTo>
                  <a:pt x="2594" y="610"/>
                  <a:pt x="2592" y="608"/>
                  <a:pt x="2590" y="606"/>
                </a:cubicBezTo>
                <a:cubicBezTo>
                  <a:pt x="2588" y="603"/>
                  <a:pt x="2588" y="600"/>
                  <a:pt x="2590" y="598"/>
                </a:cubicBezTo>
                <a:cubicBezTo>
                  <a:pt x="2592" y="596"/>
                  <a:pt x="2595" y="595"/>
                  <a:pt x="2598" y="593"/>
                </a:cubicBezTo>
                <a:cubicBezTo>
                  <a:pt x="2600" y="592"/>
                  <a:pt x="2600" y="589"/>
                  <a:pt x="2599" y="587"/>
                </a:cubicBezTo>
                <a:cubicBezTo>
                  <a:pt x="2596" y="584"/>
                  <a:pt x="2594" y="582"/>
                  <a:pt x="2592" y="580"/>
                </a:cubicBezTo>
                <a:cubicBezTo>
                  <a:pt x="2589" y="574"/>
                  <a:pt x="2584" y="572"/>
                  <a:pt x="2578" y="574"/>
                </a:cubicBezTo>
                <a:cubicBezTo>
                  <a:pt x="2573" y="574"/>
                  <a:pt x="2569" y="574"/>
                  <a:pt x="2565" y="573"/>
                </a:cubicBezTo>
                <a:cubicBezTo>
                  <a:pt x="2564" y="573"/>
                  <a:pt x="2564" y="574"/>
                  <a:pt x="2564" y="574"/>
                </a:cubicBezTo>
                <a:cubicBezTo>
                  <a:pt x="2563" y="575"/>
                  <a:pt x="2563" y="576"/>
                  <a:pt x="2564" y="577"/>
                </a:cubicBezTo>
                <a:cubicBezTo>
                  <a:pt x="2572" y="583"/>
                  <a:pt x="2574" y="591"/>
                  <a:pt x="2573" y="600"/>
                </a:cubicBezTo>
                <a:cubicBezTo>
                  <a:pt x="2572" y="602"/>
                  <a:pt x="2572" y="605"/>
                  <a:pt x="2572" y="607"/>
                </a:cubicBezTo>
                <a:cubicBezTo>
                  <a:pt x="2572" y="609"/>
                  <a:pt x="2573" y="611"/>
                  <a:pt x="2575" y="612"/>
                </a:cubicBezTo>
                <a:cubicBezTo>
                  <a:pt x="2579" y="614"/>
                  <a:pt x="2580" y="618"/>
                  <a:pt x="2580" y="622"/>
                </a:cubicBezTo>
                <a:cubicBezTo>
                  <a:pt x="2580" y="624"/>
                  <a:pt x="2580" y="626"/>
                  <a:pt x="2580" y="628"/>
                </a:cubicBezTo>
                <a:cubicBezTo>
                  <a:pt x="2580" y="630"/>
                  <a:pt x="2577" y="632"/>
                  <a:pt x="2575" y="632"/>
                </a:cubicBezTo>
                <a:cubicBezTo>
                  <a:pt x="2572" y="631"/>
                  <a:pt x="2569" y="631"/>
                  <a:pt x="2566" y="630"/>
                </a:cubicBezTo>
                <a:cubicBezTo>
                  <a:pt x="2561" y="629"/>
                  <a:pt x="2557" y="629"/>
                  <a:pt x="2554" y="634"/>
                </a:cubicBezTo>
                <a:cubicBezTo>
                  <a:pt x="2553" y="636"/>
                  <a:pt x="2551" y="638"/>
                  <a:pt x="2548" y="639"/>
                </a:cubicBezTo>
                <a:cubicBezTo>
                  <a:pt x="2545" y="642"/>
                  <a:pt x="2543" y="645"/>
                  <a:pt x="2541" y="648"/>
                </a:cubicBezTo>
                <a:cubicBezTo>
                  <a:pt x="2536" y="655"/>
                  <a:pt x="2533" y="657"/>
                  <a:pt x="2541" y="666"/>
                </a:cubicBezTo>
                <a:cubicBezTo>
                  <a:pt x="2542" y="667"/>
                  <a:pt x="2543" y="668"/>
                  <a:pt x="2543" y="669"/>
                </a:cubicBezTo>
                <a:cubicBezTo>
                  <a:pt x="2544" y="671"/>
                  <a:pt x="2543" y="673"/>
                  <a:pt x="2542" y="675"/>
                </a:cubicBezTo>
                <a:cubicBezTo>
                  <a:pt x="2541" y="677"/>
                  <a:pt x="2538" y="678"/>
                  <a:pt x="2536" y="677"/>
                </a:cubicBezTo>
                <a:cubicBezTo>
                  <a:pt x="2529" y="673"/>
                  <a:pt x="2520" y="672"/>
                  <a:pt x="2513" y="666"/>
                </a:cubicBezTo>
                <a:cubicBezTo>
                  <a:pt x="2511" y="665"/>
                  <a:pt x="2510" y="665"/>
                  <a:pt x="2508" y="665"/>
                </a:cubicBezTo>
                <a:cubicBezTo>
                  <a:pt x="2507" y="664"/>
                  <a:pt x="2505" y="665"/>
                  <a:pt x="2504" y="666"/>
                </a:cubicBezTo>
                <a:cubicBezTo>
                  <a:pt x="2503" y="668"/>
                  <a:pt x="2502" y="671"/>
                  <a:pt x="2502" y="673"/>
                </a:cubicBezTo>
                <a:cubicBezTo>
                  <a:pt x="2501" y="675"/>
                  <a:pt x="2501" y="677"/>
                  <a:pt x="2503" y="679"/>
                </a:cubicBezTo>
                <a:cubicBezTo>
                  <a:pt x="2506" y="683"/>
                  <a:pt x="2510" y="686"/>
                  <a:pt x="2515" y="686"/>
                </a:cubicBezTo>
                <a:cubicBezTo>
                  <a:pt x="2516" y="686"/>
                  <a:pt x="2517" y="687"/>
                  <a:pt x="2518" y="687"/>
                </a:cubicBezTo>
                <a:cubicBezTo>
                  <a:pt x="2520" y="688"/>
                  <a:pt x="2520" y="690"/>
                  <a:pt x="2520" y="691"/>
                </a:cubicBezTo>
                <a:cubicBezTo>
                  <a:pt x="2520" y="694"/>
                  <a:pt x="2517" y="697"/>
                  <a:pt x="2515" y="696"/>
                </a:cubicBezTo>
                <a:cubicBezTo>
                  <a:pt x="2509" y="695"/>
                  <a:pt x="2504" y="695"/>
                  <a:pt x="2500" y="690"/>
                </a:cubicBezTo>
                <a:cubicBezTo>
                  <a:pt x="2498" y="687"/>
                  <a:pt x="2495" y="686"/>
                  <a:pt x="2491" y="685"/>
                </a:cubicBezTo>
                <a:cubicBezTo>
                  <a:pt x="2489" y="685"/>
                  <a:pt x="2487" y="683"/>
                  <a:pt x="2487" y="681"/>
                </a:cubicBezTo>
                <a:cubicBezTo>
                  <a:pt x="2486" y="676"/>
                  <a:pt x="2484" y="672"/>
                  <a:pt x="2481" y="667"/>
                </a:cubicBezTo>
                <a:cubicBezTo>
                  <a:pt x="2479" y="665"/>
                  <a:pt x="2480" y="661"/>
                  <a:pt x="2480" y="658"/>
                </a:cubicBezTo>
                <a:cubicBezTo>
                  <a:pt x="2481" y="650"/>
                  <a:pt x="2478" y="646"/>
                  <a:pt x="2471" y="643"/>
                </a:cubicBezTo>
                <a:cubicBezTo>
                  <a:pt x="2468" y="641"/>
                  <a:pt x="2465" y="640"/>
                  <a:pt x="2463" y="638"/>
                </a:cubicBezTo>
                <a:cubicBezTo>
                  <a:pt x="2460" y="635"/>
                  <a:pt x="2457" y="633"/>
                  <a:pt x="2455" y="630"/>
                </a:cubicBezTo>
                <a:cubicBezTo>
                  <a:pt x="2455" y="630"/>
                  <a:pt x="2455" y="630"/>
                  <a:pt x="2455" y="630"/>
                </a:cubicBezTo>
                <a:cubicBezTo>
                  <a:pt x="2455" y="629"/>
                  <a:pt x="2454" y="629"/>
                  <a:pt x="2454" y="629"/>
                </a:cubicBezTo>
                <a:cubicBezTo>
                  <a:pt x="2453" y="628"/>
                  <a:pt x="2453" y="628"/>
                  <a:pt x="2452" y="627"/>
                </a:cubicBezTo>
                <a:cubicBezTo>
                  <a:pt x="2452" y="627"/>
                  <a:pt x="2452" y="627"/>
                  <a:pt x="2451" y="626"/>
                </a:cubicBezTo>
                <a:cubicBezTo>
                  <a:pt x="2451" y="626"/>
                  <a:pt x="2451" y="626"/>
                  <a:pt x="2451" y="626"/>
                </a:cubicBezTo>
                <a:cubicBezTo>
                  <a:pt x="2452" y="626"/>
                  <a:pt x="2452" y="626"/>
                  <a:pt x="2452" y="626"/>
                </a:cubicBezTo>
                <a:cubicBezTo>
                  <a:pt x="2452" y="626"/>
                  <a:pt x="2452" y="627"/>
                  <a:pt x="2452" y="627"/>
                </a:cubicBezTo>
                <a:cubicBezTo>
                  <a:pt x="2453" y="627"/>
                  <a:pt x="2454" y="628"/>
                  <a:pt x="2454" y="629"/>
                </a:cubicBezTo>
                <a:cubicBezTo>
                  <a:pt x="2455" y="629"/>
                  <a:pt x="2455" y="629"/>
                  <a:pt x="2455" y="629"/>
                </a:cubicBezTo>
                <a:cubicBezTo>
                  <a:pt x="2455" y="629"/>
                  <a:pt x="2455" y="630"/>
                  <a:pt x="2455" y="630"/>
                </a:cubicBezTo>
                <a:cubicBezTo>
                  <a:pt x="2460" y="630"/>
                  <a:pt x="2464" y="631"/>
                  <a:pt x="2469" y="633"/>
                </a:cubicBezTo>
                <a:cubicBezTo>
                  <a:pt x="2481" y="638"/>
                  <a:pt x="2493" y="641"/>
                  <a:pt x="2505" y="643"/>
                </a:cubicBezTo>
                <a:cubicBezTo>
                  <a:pt x="2515" y="645"/>
                  <a:pt x="2524" y="643"/>
                  <a:pt x="2533" y="640"/>
                </a:cubicBezTo>
                <a:cubicBezTo>
                  <a:pt x="2534" y="639"/>
                  <a:pt x="2536" y="638"/>
                  <a:pt x="2537" y="637"/>
                </a:cubicBezTo>
                <a:cubicBezTo>
                  <a:pt x="2542" y="631"/>
                  <a:pt x="2546" y="625"/>
                  <a:pt x="2547" y="617"/>
                </a:cubicBezTo>
                <a:cubicBezTo>
                  <a:pt x="2547" y="615"/>
                  <a:pt x="2547" y="612"/>
                  <a:pt x="2546" y="610"/>
                </a:cubicBezTo>
                <a:cubicBezTo>
                  <a:pt x="2542" y="606"/>
                  <a:pt x="2540" y="600"/>
                  <a:pt x="2534" y="597"/>
                </a:cubicBezTo>
                <a:cubicBezTo>
                  <a:pt x="2531" y="596"/>
                  <a:pt x="2529" y="594"/>
                  <a:pt x="2527" y="592"/>
                </a:cubicBezTo>
                <a:cubicBezTo>
                  <a:pt x="2525" y="590"/>
                  <a:pt x="2523" y="588"/>
                  <a:pt x="2519" y="588"/>
                </a:cubicBezTo>
                <a:cubicBezTo>
                  <a:pt x="2514" y="587"/>
                  <a:pt x="2509" y="584"/>
                  <a:pt x="2504" y="581"/>
                </a:cubicBezTo>
                <a:cubicBezTo>
                  <a:pt x="2500" y="577"/>
                  <a:pt x="2495" y="574"/>
                  <a:pt x="2491" y="572"/>
                </a:cubicBezTo>
                <a:cubicBezTo>
                  <a:pt x="2477" y="564"/>
                  <a:pt x="2473" y="563"/>
                  <a:pt x="2458" y="563"/>
                </a:cubicBezTo>
                <a:cubicBezTo>
                  <a:pt x="2456" y="563"/>
                  <a:pt x="2454" y="564"/>
                  <a:pt x="2451" y="563"/>
                </a:cubicBezTo>
                <a:cubicBezTo>
                  <a:pt x="2449" y="563"/>
                  <a:pt x="2446" y="563"/>
                  <a:pt x="2443" y="563"/>
                </a:cubicBezTo>
                <a:cubicBezTo>
                  <a:pt x="2441" y="562"/>
                  <a:pt x="2442" y="560"/>
                  <a:pt x="2442" y="559"/>
                </a:cubicBezTo>
                <a:cubicBezTo>
                  <a:pt x="2443" y="557"/>
                  <a:pt x="2443" y="555"/>
                  <a:pt x="2441" y="554"/>
                </a:cubicBezTo>
                <a:cubicBezTo>
                  <a:pt x="2440" y="553"/>
                  <a:pt x="2438" y="552"/>
                  <a:pt x="2436" y="551"/>
                </a:cubicBezTo>
                <a:cubicBezTo>
                  <a:pt x="2434" y="550"/>
                  <a:pt x="2431" y="550"/>
                  <a:pt x="2430" y="552"/>
                </a:cubicBezTo>
                <a:cubicBezTo>
                  <a:pt x="2427" y="555"/>
                  <a:pt x="2425" y="556"/>
                  <a:pt x="2421" y="555"/>
                </a:cubicBezTo>
                <a:cubicBezTo>
                  <a:pt x="2418" y="553"/>
                  <a:pt x="2415" y="554"/>
                  <a:pt x="2411" y="554"/>
                </a:cubicBezTo>
                <a:cubicBezTo>
                  <a:pt x="2410" y="555"/>
                  <a:pt x="2408" y="554"/>
                  <a:pt x="2407" y="553"/>
                </a:cubicBezTo>
                <a:cubicBezTo>
                  <a:pt x="2406" y="552"/>
                  <a:pt x="2406" y="551"/>
                  <a:pt x="2406" y="550"/>
                </a:cubicBezTo>
                <a:cubicBezTo>
                  <a:pt x="2405" y="549"/>
                  <a:pt x="2406" y="548"/>
                  <a:pt x="2408" y="548"/>
                </a:cubicBezTo>
                <a:cubicBezTo>
                  <a:pt x="2410" y="548"/>
                  <a:pt x="2413" y="547"/>
                  <a:pt x="2415" y="545"/>
                </a:cubicBezTo>
                <a:cubicBezTo>
                  <a:pt x="2417" y="544"/>
                  <a:pt x="2419" y="542"/>
                  <a:pt x="2421" y="540"/>
                </a:cubicBezTo>
                <a:cubicBezTo>
                  <a:pt x="2423" y="539"/>
                  <a:pt x="2422" y="537"/>
                  <a:pt x="2421" y="536"/>
                </a:cubicBezTo>
                <a:cubicBezTo>
                  <a:pt x="2414" y="532"/>
                  <a:pt x="2406" y="529"/>
                  <a:pt x="2398" y="527"/>
                </a:cubicBezTo>
                <a:cubicBezTo>
                  <a:pt x="2397" y="527"/>
                  <a:pt x="2395" y="528"/>
                  <a:pt x="2394" y="529"/>
                </a:cubicBezTo>
                <a:cubicBezTo>
                  <a:pt x="2393" y="529"/>
                  <a:pt x="2392" y="530"/>
                  <a:pt x="2392" y="531"/>
                </a:cubicBezTo>
                <a:cubicBezTo>
                  <a:pt x="2391" y="533"/>
                  <a:pt x="2390" y="533"/>
                  <a:pt x="2389" y="532"/>
                </a:cubicBezTo>
                <a:cubicBezTo>
                  <a:pt x="2389" y="532"/>
                  <a:pt x="2389" y="531"/>
                  <a:pt x="2389" y="531"/>
                </a:cubicBezTo>
                <a:cubicBezTo>
                  <a:pt x="2389" y="529"/>
                  <a:pt x="2389" y="528"/>
                  <a:pt x="2389" y="526"/>
                </a:cubicBezTo>
                <a:cubicBezTo>
                  <a:pt x="2389" y="523"/>
                  <a:pt x="2387" y="521"/>
                  <a:pt x="2384" y="520"/>
                </a:cubicBezTo>
                <a:cubicBezTo>
                  <a:pt x="2382" y="519"/>
                  <a:pt x="2380" y="520"/>
                  <a:pt x="2378" y="522"/>
                </a:cubicBezTo>
                <a:cubicBezTo>
                  <a:pt x="2377" y="523"/>
                  <a:pt x="2375" y="525"/>
                  <a:pt x="2375" y="527"/>
                </a:cubicBezTo>
                <a:cubicBezTo>
                  <a:pt x="2375" y="529"/>
                  <a:pt x="2375" y="530"/>
                  <a:pt x="2374" y="532"/>
                </a:cubicBezTo>
                <a:cubicBezTo>
                  <a:pt x="2373" y="533"/>
                  <a:pt x="2372" y="533"/>
                  <a:pt x="2371" y="533"/>
                </a:cubicBezTo>
                <a:cubicBezTo>
                  <a:pt x="2371" y="534"/>
                  <a:pt x="2370" y="533"/>
                  <a:pt x="2370" y="532"/>
                </a:cubicBezTo>
                <a:cubicBezTo>
                  <a:pt x="2369" y="530"/>
                  <a:pt x="2369" y="527"/>
                  <a:pt x="2365" y="527"/>
                </a:cubicBezTo>
                <a:cubicBezTo>
                  <a:pt x="2363" y="528"/>
                  <a:pt x="2363" y="525"/>
                  <a:pt x="2363" y="524"/>
                </a:cubicBezTo>
                <a:cubicBezTo>
                  <a:pt x="2362" y="520"/>
                  <a:pt x="2358" y="519"/>
                  <a:pt x="2357" y="521"/>
                </a:cubicBezTo>
                <a:cubicBezTo>
                  <a:pt x="2354" y="526"/>
                  <a:pt x="2348" y="526"/>
                  <a:pt x="2345" y="530"/>
                </a:cubicBezTo>
                <a:cubicBezTo>
                  <a:pt x="2341" y="531"/>
                  <a:pt x="2338" y="534"/>
                  <a:pt x="2334" y="536"/>
                </a:cubicBezTo>
                <a:cubicBezTo>
                  <a:pt x="2334" y="536"/>
                  <a:pt x="2333" y="536"/>
                  <a:pt x="2333" y="536"/>
                </a:cubicBezTo>
                <a:cubicBezTo>
                  <a:pt x="2333" y="536"/>
                  <a:pt x="2333" y="536"/>
                  <a:pt x="2333" y="536"/>
                </a:cubicBezTo>
                <a:cubicBezTo>
                  <a:pt x="2332" y="537"/>
                  <a:pt x="2332" y="537"/>
                  <a:pt x="2332" y="537"/>
                </a:cubicBezTo>
                <a:cubicBezTo>
                  <a:pt x="2332" y="536"/>
                  <a:pt x="2332" y="536"/>
                  <a:pt x="2332" y="536"/>
                </a:cubicBezTo>
                <a:cubicBezTo>
                  <a:pt x="2332" y="536"/>
                  <a:pt x="2333" y="536"/>
                  <a:pt x="2333" y="536"/>
                </a:cubicBezTo>
                <a:cubicBezTo>
                  <a:pt x="2333" y="535"/>
                  <a:pt x="2333" y="534"/>
                  <a:pt x="2332" y="534"/>
                </a:cubicBezTo>
                <a:cubicBezTo>
                  <a:pt x="2332" y="533"/>
                  <a:pt x="2331" y="533"/>
                  <a:pt x="2331" y="533"/>
                </a:cubicBezTo>
                <a:cubicBezTo>
                  <a:pt x="2324" y="533"/>
                  <a:pt x="2323" y="534"/>
                  <a:pt x="2325" y="540"/>
                </a:cubicBezTo>
                <a:cubicBezTo>
                  <a:pt x="2325" y="541"/>
                  <a:pt x="2325" y="542"/>
                  <a:pt x="2325" y="543"/>
                </a:cubicBezTo>
                <a:cubicBezTo>
                  <a:pt x="2325" y="543"/>
                  <a:pt x="2326" y="543"/>
                  <a:pt x="2326" y="543"/>
                </a:cubicBezTo>
                <a:cubicBezTo>
                  <a:pt x="2326" y="544"/>
                  <a:pt x="2326" y="544"/>
                  <a:pt x="2326" y="544"/>
                </a:cubicBezTo>
                <a:cubicBezTo>
                  <a:pt x="2325" y="543"/>
                  <a:pt x="2325" y="543"/>
                  <a:pt x="2325" y="543"/>
                </a:cubicBezTo>
                <a:cubicBezTo>
                  <a:pt x="2325" y="543"/>
                  <a:pt x="2325" y="543"/>
                  <a:pt x="2325" y="543"/>
                </a:cubicBezTo>
                <a:cubicBezTo>
                  <a:pt x="2319" y="543"/>
                  <a:pt x="2313" y="546"/>
                  <a:pt x="2307" y="549"/>
                </a:cubicBezTo>
                <a:cubicBezTo>
                  <a:pt x="2307" y="549"/>
                  <a:pt x="2307" y="551"/>
                  <a:pt x="2307" y="552"/>
                </a:cubicBezTo>
                <a:cubicBezTo>
                  <a:pt x="2307" y="553"/>
                  <a:pt x="2308" y="555"/>
                  <a:pt x="2308" y="556"/>
                </a:cubicBezTo>
                <a:cubicBezTo>
                  <a:pt x="2307" y="558"/>
                  <a:pt x="2305" y="557"/>
                  <a:pt x="2304" y="558"/>
                </a:cubicBezTo>
                <a:cubicBezTo>
                  <a:pt x="2301" y="558"/>
                  <a:pt x="2298" y="559"/>
                  <a:pt x="2296" y="560"/>
                </a:cubicBezTo>
                <a:cubicBezTo>
                  <a:pt x="2296" y="560"/>
                  <a:pt x="2296" y="560"/>
                  <a:pt x="2296" y="560"/>
                </a:cubicBezTo>
                <a:cubicBezTo>
                  <a:pt x="2296" y="560"/>
                  <a:pt x="2296" y="560"/>
                  <a:pt x="2296" y="560"/>
                </a:cubicBezTo>
                <a:cubicBezTo>
                  <a:pt x="2296" y="558"/>
                  <a:pt x="2296" y="557"/>
                  <a:pt x="2296" y="555"/>
                </a:cubicBezTo>
                <a:cubicBezTo>
                  <a:pt x="2296" y="553"/>
                  <a:pt x="2294" y="553"/>
                  <a:pt x="2293" y="552"/>
                </a:cubicBezTo>
                <a:cubicBezTo>
                  <a:pt x="2292" y="552"/>
                  <a:pt x="2290" y="554"/>
                  <a:pt x="2290" y="554"/>
                </a:cubicBezTo>
                <a:cubicBezTo>
                  <a:pt x="2291" y="556"/>
                  <a:pt x="2292" y="558"/>
                  <a:pt x="2293" y="560"/>
                </a:cubicBezTo>
                <a:cubicBezTo>
                  <a:pt x="2292" y="560"/>
                  <a:pt x="2292" y="560"/>
                  <a:pt x="2292" y="560"/>
                </a:cubicBezTo>
                <a:cubicBezTo>
                  <a:pt x="2293" y="560"/>
                  <a:pt x="2293" y="560"/>
                  <a:pt x="2293" y="560"/>
                </a:cubicBezTo>
                <a:cubicBezTo>
                  <a:pt x="2288" y="560"/>
                  <a:pt x="2285" y="562"/>
                  <a:pt x="2283" y="566"/>
                </a:cubicBezTo>
                <a:cubicBezTo>
                  <a:pt x="2283" y="566"/>
                  <a:pt x="2283" y="566"/>
                  <a:pt x="2283" y="566"/>
                </a:cubicBezTo>
                <a:cubicBezTo>
                  <a:pt x="2283" y="566"/>
                  <a:pt x="2284" y="567"/>
                  <a:pt x="2283" y="566"/>
                </a:cubicBezTo>
                <a:cubicBezTo>
                  <a:pt x="2283" y="566"/>
                  <a:pt x="2283" y="566"/>
                  <a:pt x="2283" y="566"/>
                </a:cubicBezTo>
                <a:cubicBezTo>
                  <a:pt x="2281" y="566"/>
                  <a:pt x="2280" y="566"/>
                  <a:pt x="2278" y="566"/>
                </a:cubicBezTo>
                <a:cubicBezTo>
                  <a:pt x="2275" y="566"/>
                  <a:pt x="2273" y="568"/>
                  <a:pt x="2272" y="570"/>
                </a:cubicBezTo>
                <a:cubicBezTo>
                  <a:pt x="2271" y="574"/>
                  <a:pt x="2271" y="577"/>
                  <a:pt x="2274" y="579"/>
                </a:cubicBezTo>
                <a:cubicBezTo>
                  <a:pt x="2275" y="580"/>
                  <a:pt x="2276" y="581"/>
                  <a:pt x="2277" y="581"/>
                </a:cubicBezTo>
                <a:cubicBezTo>
                  <a:pt x="2278" y="582"/>
                  <a:pt x="2277" y="584"/>
                  <a:pt x="2276" y="585"/>
                </a:cubicBezTo>
                <a:cubicBezTo>
                  <a:pt x="2274" y="587"/>
                  <a:pt x="2272" y="588"/>
                  <a:pt x="2270" y="587"/>
                </a:cubicBezTo>
                <a:cubicBezTo>
                  <a:pt x="2267" y="586"/>
                  <a:pt x="2264" y="587"/>
                  <a:pt x="2262" y="587"/>
                </a:cubicBezTo>
                <a:cubicBezTo>
                  <a:pt x="2260" y="587"/>
                  <a:pt x="2258" y="585"/>
                  <a:pt x="2259" y="584"/>
                </a:cubicBezTo>
                <a:cubicBezTo>
                  <a:pt x="2260" y="581"/>
                  <a:pt x="2261" y="579"/>
                  <a:pt x="2262" y="576"/>
                </a:cubicBezTo>
                <a:cubicBezTo>
                  <a:pt x="2262" y="576"/>
                  <a:pt x="2261" y="575"/>
                  <a:pt x="2261" y="575"/>
                </a:cubicBezTo>
                <a:cubicBezTo>
                  <a:pt x="2261" y="575"/>
                  <a:pt x="2260" y="575"/>
                  <a:pt x="2260" y="575"/>
                </a:cubicBezTo>
                <a:cubicBezTo>
                  <a:pt x="2256" y="579"/>
                  <a:pt x="2252" y="583"/>
                  <a:pt x="2248" y="587"/>
                </a:cubicBezTo>
                <a:cubicBezTo>
                  <a:pt x="2247" y="588"/>
                  <a:pt x="2248" y="590"/>
                  <a:pt x="2249" y="591"/>
                </a:cubicBezTo>
                <a:cubicBezTo>
                  <a:pt x="2251" y="593"/>
                  <a:pt x="2250" y="595"/>
                  <a:pt x="2248" y="597"/>
                </a:cubicBezTo>
                <a:cubicBezTo>
                  <a:pt x="2248" y="597"/>
                  <a:pt x="2247" y="598"/>
                  <a:pt x="2247" y="599"/>
                </a:cubicBezTo>
                <a:cubicBezTo>
                  <a:pt x="2249" y="599"/>
                  <a:pt x="2251" y="599"/>
                  <a:pt x="2253" y="599"/>
                </a:cubicBezTo>
                <a:cubicBezTo>
                  <a:pt x="2257" y="598"/>
                  <a:pt x="2260" y="597"/>
                  <a:pt x="2264" y="596"/>
                </a:cubicBezTo>
                <a:cubicBezTo>
                  <a:pt x="2266" y="596"/>
                  <a:pt x="2268" y="597"/>
                  <a:pt x="2271" y="597"/>
                </a:cubicBezTo>
                <a:cubicBezTo>
                  <a:pt x="2271" y="597"/>
                  <a:pt x="2271" y="597"/>
                  <a:pt x="2272" y="598"/>
                </a:cubicBezTo>
                <a:cubicBezTo>
                  <a:pt x="2271" y="598"/>
                  <a:pt x="2271" y="599"/>
                  <a:pt x="2271" y="599"/>
                </a:cubicBezTo>
                <a:cubicBezTo>
                  <a:pt x="2269" y="600"/>
                  <a:pt x="2267" y="601"/>
                  <a:pt x="2265" y="602"/>
                </a:cubicBezTo>
                <a:cubicBezTo>
                  <a:pt x="2264" y="602"/>
                  <a:pt x="2263" y="602"/>
                  <a:pt x="2261" y="603"/>
                </a:cubicBezTo>
                <a:cubicBezTo>
                  <a:pt x="2259" y="603"/>
                  <a:pt x="2258" y="605"/>
                  <a:pt x="2259" y="607"/>
                </a:cubicBezTo>
                <a:cubicBezTo>
                  <a:pt x="2258" y="609"/>
                  <a:pt x="2255" y="609"/>
                  <a:pt x="2255" y="611"/>
                </a:cubicBezTo>
                <a:cubicBezTo>
                  <a:pt x="2254" y="613"/>
                  <a:pt x="2255" y="615"/>
                  <a:pt x="2254" y="617"/>
                </a:cubicBezTo>
                <a:cubicBezTo>
                  <a:pt x="2254" y="618"/>
                  <a:pt x="2253" y="619"/>
                  <a:pt x="2253" y="620"/>
                </a:cubicBezTo>
                <a:cubicBezTo>
                  <a:pt x="2252" y="622"/>
                  <a:pt x="2250" y="623"/>
                  <a:pt x="2250" y="624"/>
                </a:cubicBezTo>
                <a:cubicBezTo>
                  <a:pt x="2251" y="628"/>
                  <a:pt x="2249" y="630"/>
                  <a:pt x="2247" y="631"/>
                </a:cubicBezTo>
                <a:cubicBezTo>
                  <a:pt x="2244" y="632"/>
                  <a:pt x="2241" y="634"/>
                  <a:pt x="2241" y="638"/>
                </a:cubicBezTo>
                <a:cubicBezTo>
                  <a:pt x="2240" y="641"/>
                  <a:pt x="2237" y="644"/>
                  <a:pt x="2237" y="647"/>
                </a:cubicBezTo>
                <a:cubicBezTo>
                  <a:pt x="2237" y="650"/>
                  <a:pt x="2237" y="652"/>
                  <a:pt x="2233" y="653"/>
                </a:cubicBezTo>
                <a:cubicBezTo>
                  <a:pt x="2232" y="654"/>
                  <a:pt x="2231" y="655"/>
                  <a:pt x="2232" y="657"/>
                </a:cubicBezTo>
                <a:cubicBezTo>
                  <a:pt x="2232" y="660"/>
                  <a:pt x="2233" y="664"/>
                  <a:pt x="2232" y="667"/>
                </a:cubicBezTo>
                <a:cubicBezTo>
                  <a:pt x="2230" y="670"/>
                  <a:pt x="2230" y="673"/>
                  <a:pt x="2229" y="676"/>
                </a:cubicBezTo>
                <a:cubicBezTo>
                  <a:pt x="2229" y="679"/>
                  <a:pt x="2227" y="680"/>
                  <a:pt x="2225" y="681"/>
                </a:cubicBezTo>
                <a:cubicBezTo>
                  <a:pt x="2224" y="682"/>
                  <a:pt x="2222" y="682"/>
                  <a:pt x="2221" y="683"/>
                </a:cubicBezTo>
                <a:cubicBezTo>
                  <a:pt x="2220" y="683"/>
                  <a:pt x="2219" y="684"/>
                  <a:pt x="2219" y="685"/>
                </a:cubicBezTo>
                <a:cubicBezTo>
                  <a:pt x="2219" y="688"/>
                  <a:pt x="2219" y="690"/>
                  <a:pt x="2216" y="692"/>
                </a:cubicBezTo>
                <a:cubicBezTo>
                  <a:pt x="2210" y="696"/>
                  <a:pt x="2206" y="701"/>
                  <a:pt x="2204" y="708"/>
                </a:cubicBezTo>
                <a:cubicBezTo>
                  <a:pt x="2203" y="709"/>
                  <a:pt x="2203" y="711"/>
                  <a:pt x="2202" y="712"/>
                </a:cubicBezTo>
                <a:cubicBezTo>
                  <a:pt x="2201" y="714"/>
                  <a:pt x="2199" y="715"/>
                  <a:pt x="2197" y="715"/>
                </a:cubicBezTo>
                <a:cubicBezTo>
                  <a:pt x="2194" y="715"/>
                  <a:pt x="2192" y="714"/>
                  <a:pt x="2190" y="714"/>
                </a:cubicBezTo>
                <a:cubicBezTo>
                  <a:pt x="2190" y="714"/>
                  <a:pt x="2189" y="715"/>
                  <a:pt x="2189" y="715"/>
                </a:cubicBezTo>
                <a:cubicBezTo>
                  <a:pt x="2188" y="716"/>
                  <a:pt x="2188" y="717"/>
                  <a:pt x="2189" y="718"/>
                </a:cubicBezTo>
                <a:cubicBezTo>
                  <a:pt x="2189" y="718"/>
                  <a:pt x="2190" y="719"/>
                  <a:pt x="2190" y="719"/>
                </a:cubicBezTo>
                <a:cubicBezTo>
                  <a:pt x="2191" y="721"/>
                  <a:pt x="2190" y="723"/>
                  <a:pt x="2189" y="723"/>
                </a:cubicBezTo>
                <a:cubicBezTo>
                  <a:pt x="2184" y="724"/>
                  <a:pt x="2181" y="729"/>
                  <a:pt x="2176" y="729"/>
                </a:cubicBezTo>
                <a:cubicBezTo>
                  <a:pt x="2172" y="731"/>
                  <a:pt x="2169" y="734"/>
                  <a:pt x="2166" y="736"/>
                </a:cubicBezTo>
                <a:cubicBezTo>
                  <a:pt x="2165" y="737"/>
                  <a:pt x="2165" y="738"/>
                  <a:pt x="2165" y="738"/>
                </a:cubicBezTo>
                <a:cubicBezTo>
                  <a:pt x="2166" y="742"/>
                  <a:pt x="2164" y="743"/>
                  <a:pt x="2161" y="743"/>
                </a:cubicBezTo>
                <a:cubicBezTo>
                  <a:pt x="2159" y="744"/>
                  <a:pt x="2157" y="744"/>
                  <a:pt x="2155" y="745"/>
                </a:cubicBezTo>
                <a:cubicBezTo>
                  <a:pt x="2153" y="746"/>
                  <a:pt x="2152" y="747"/>
                  <a:pt x="2152" y="749"/>
                </a:cubicBezTo>
                <a:cubicBezTo>
                  <a:pt x="2151" y="751"/>
                  <a:pt x="2152" y="753"/>
                  <a:pt x="2151" y="755"/>
                </a:cubicBezTo>
                <a:cubicBezTo>
                  <a:pt x="2150" y="761"/>
                  <a:pt x="2152" y="767"/>
                  <a:pt x="2150" y="773"/>
                </a:cubicBezTo>
                <a:cubicBezTo>
                  <a:pt x="2150" y="773"/>
                  <a:pt x="2150" y="774"/>
                  <a:pt x="2150" y="775"/>
                </a:cubicBezTo>
                <a:cubicBezTo>
                  <a:pt x="2151" y="779"/>
                  <a:pt x="2154" y="782"/>
                  <a:pt x="2156" y="786"/>
                </a:cubicBezTo>
                <a:cubicBezTo>
                  <a:pt x="2157" y="788"/>
                  <a:pt x="2159" y="791"/>
                  <a:pt x="2159" y="793"/>
                </a:cubicBezTo>
                <a:cubicBezTo>
                  <a:pt x="2160" y="795"/>
                  <a:pt x="2159" y="797"/>
                  <a:pt x="2158" y="798"/>
                </a:cubicBezTo>
                <a:cubicBezTo>
                  <a:pt x="2157" y="800"/>
                  <a:pt x="2156" y="801"/>
                  <a:pt x="2154" y="803"/>
                </a:cubicBezTo>
                <a:cubicBezTo>
                  <a:pt x="2154" y="804"/>
                  <a:pt x="2154" y="807"/>
                  <a:pt x="2155" y="807"/>
                </a:cubicBezTo>
                <a:cubicBezTo>
                  <a:pt x="2157" y="808"/>
                  <a:pt x="2158" y="808"/>
                  <a:pt x="2160" y="809"/>
                </a:cubicBezTo>
                <a:cubicBezTo>
                  <a:pt x="2162" y="810"/>
                  <a:pt x="2162" y="812"/>
                  <a:pt x="2161" y="813"/>
                </a:cubicBezTo>
                <a:cubicBezTo>
                  <a:pt x="2160" y="815"/>
                  <a:pt x="2158" y="816"/>
                  <a:pt x="2157" y="818"/>
                </a:cubicBezTo>
                <a:cubicBezTo>
                  <a:pt x="2156" y="819"/>
                  <a:pt x="2157" y="823"/>
                  <a:pt x="2158" y="824"/>
                </a:cubicBezTo>
                <a:cubicBezTo>
                  <a:pt x="2164" y="829"/>
                  <a:pt x="2170" y="834"/>
                  <a:pt x="2177" y="836"/>
                </a:cubicBezTo>
                <a:cubicBezTo>
                  <a:pt x="2178" y="836"/>
                  <a:pt x="2180" y="837"/>
                  <a:pt x="2181" y="837"/>
                </a:cubicBezTo>
                <a:cubicBezTo>
                  <a:pt x="2187" y="834"/>
                  <a:pt x="2195" y="833"/>
                  <a:pt x="2199" y="826"/>
                </a:cubicBezTo>
                <a:cubicBezTo>
                  <a:pt x="2201" y="824"/>
                  <a:pt x="2203" y="821"/>
                  <a:pt x="2205" y="819"/>
                </a:cubicBezTo>
                <a:cubicBezTo>
                  <a:pt x="2209" y="816"/>
                  <a:pt x="2215" y="815"/>
                  <a:pt x="2218" y="809"/>
                </a:cubicBezTo>
                <a:cubicBezTo>
                  <a:pt x="2218" y="809"/>
                  <a:pt x="2219" y="809"/>
                  <a:pt x="2219" y="809"/>
                </a:cubicBezTo>
                <a:cubicBezTo>
                  <a:pt x="2221" y="811"/>
                  <a:pt x="2223" y="812"/>
                  <a:pt x="2224" y="814"/>
                </a:cubicBezTo>
                <a:cubicBezTo>
                  <a:pt x="2225" y="817"/>
                  <a:pt x="2225" y="820"/>
                  <a:pt x="2225" y="823"/>
                </a:cubicBezTo>
                <a:cubicBezTo>
                  <a:pt x="2226" y="827"/>
                  <a:pt x="2229" y="830"/>
                  <a:pt x="2229" y="834"/>
                </a:cubicBezTo>
                <a:cubicBezTo>
                  <a:pt x="2230" y="840"/>
                  <a:pt x="2233" y="845"/>
                  <a:pt x="2236" y="851"/>
                </a:cubicBezTo>
                <a:cubicBezTo>
                  <a:pt x="2238" y="855"/>
                  <a:pt x="2241" y="860"/>
                  <a:pt x="2244" y="865"/>
                </a:cubicBezTo>
                <a:cubicBezTo>
                  <a:pt x="2246" y="866"/>
                  <a:pt x="2245" y="868"/>
                  <a:pt x="2244" y="869"/>
                </a:cubicBezTo>
                <a:cubicBezTo>
                  <a:pt x="2244" y="871"/>
                  <a:pt x="2243" y="872"/>
                  <a:pt x="2243" y="873"/>
                </a:cubicBezTo>
                <a:cubicBezTo>
                  <a:pt x="2243" y="873"/>
                  <a:pt x="2243" y="873"/>
                  <a:pt x="2243" y="873"/>
                </a:cubicBezTo>
                <a:cubicBezTo>
                  <a:pt x="2243" y="874"/>
                  <a:pt x="2243" y="874"/>
                  <a:pt x="2243" y="874"/>
                </a:cubicBezTo>
                <a:cubicBezTo>
                  <a:pt x="2244" y="876"/>
                  <a:pt x="2245" y="877"/>
                  <a:pt x="2246" y="878"/>
                </a:cubicBezTo>
                <a:cubicBezTo>
                  <a:pt x="2250" y="889"/>
                  <a:pt x="2252" y="886"/>
                  <a:pt x="2261" y="885"/>
                </a:cubicBezTo>
                <a:cubicBezTo>
                  <a:pt x="2263" y="884"/>
                  <a:pt x="2265" y="883"/>
                  <a:pt x="2265" y="880"/>
                </a:cubicBezTo>
                <a:cubicBezTo>
                  <a:pt x="2266" y="876"/>
                  <a:pt x="2268" y="875"/>
                  <a:pt x="2272" y="874"/>
                </a:cubicBezTo>
                <a:cubicBezTo>
                  <a:pt x="2273" y="874"/>
                  <a:pt x="2275" y="873"/>
                  <a:pt x="2277" y="874"/>
                </a:cubicBezTo>
                <a:cubicBezTo>
                  <a:pt x="2281" y="874"/>
                  <a:pt x="2285" y="873"/>
                  <a:pt x="2288" y="868"/>
                </a:cubicBezTo>
                <a:cubicBezTo>
                  <a:pt x="2295" y="869"/>
                  <a:pt x="2295" y="863"/>
                  <a:pt x="2296" y="859"/>
                </a:cubicBezTo>
                <a:cubicBezTo>
                  <a:pt x="2296" y="858"/>
                  <a:pt x="2296" y="857"/>
                  <a:pt x="2296" y="856"/>
                </a:cubicBezTo>
                <a:cubicBezTo>
                  <a:pt x="2296" y="854"/>
                  <a:pt x="2295" y="853"/>
                  <a:pt x="2293" y="853"/>
                </a:cubicBezTo>
                <a:cubicBezTo>
                  <a:pt x="2292" y="853"/>
                  <a:pt x="2291" y="854"/>
                  <a:pt x="2291" y="853"/>
                </a:cubicBezTo>
                <a:cubicBezTo>
                  <a:pt x="2291" y="853"/>
                  <a:pt x="2290" y="852"/>
                  <a:pt x="2290" y="852"/>
                </a:cubicBezTo>
                <a:cubicBezTo>
                  <a:pt x="2290" y="847"/>
                  <a:pt x="2290" y="841"/>
                  <a:pt x="2292" y="836"/>
                </a:cubicBezTo>
                <a:cubicBezTo>
                  <a:pt x="2293" y="833"/>
                  <a:pt x="2293" y="830"/>
                  <a:pt x="2293" y="828"/>
                </a:cubicBezTo>
                <a:cubicBezTo>
                  <a:pt x="2293" y="823"/>
                  <a:pt x="2296" y="819"/>
                  <a:pt x="2299" y="817"/>
                </a:cubicBezTo>
                <a:cubicBezTo>
                  <a:pt x="2302" y="815"/>
                  <a:pt x="2305" y="814"/>
                  <a:pt x="2307" y="811"/>
                </a:cubicBezTo>
                <a:cubicBezTo>
                  <a:pt x="2310" y="809"/>
                  <a:pt x="2313" y="806"/>
                  <a:pt x="2312" y="801"/>
                </a:cubicBezTo>
                <a:cubicBezTo>
                  <a:pt x="2312" y="799"/>
                  <a:pt x="2313" y="797"/>
                  <a:pt x="2313" y="795"/>
                </a:cubicBezTo>
                <a:cubicBezTo>
                  <a:pt x="2313" y="793"/>
                  <a:pt x="2312" y="792"/>
                  <a:pt x="2311" y="790"/>
                </a:cubicBezTo>
                <a:cubicBezTo>
                  <a:pt x="2308" y="785"/>
                  <a:pt x="2304" y="780"/>
                  <a:pt x="2297" y="777"/>
                </a:cubicBezTo>
                <a:cubicBezTo>
                  <a:pt x="2294" y="775"/>
                  <a:pt x="2293" y="772"/>
                  <a:pt x="2293" y="769"/>
                </a:cubicBezTo>
                <a:cubicBezTo>
                  <a:pt x="2293" y="760"/>
                  <a:pt x="2293" y="751"/>
                  <a:pt x="2293" y="742"/>
                </a:cubicBezTo>
                <a:cubicBezTo>
                  <a:pt x="2293" y="741"/>
                  <a:pt x="2294" y="739"/>
                  <a:pt x="2295" y="738"/>
                </a:cubicBezTo>
                <a:cubicBezTo>
                  <a:pt x="2300" y="730"/>
                  <a:pt x="2305" y="723"/>
                  <a:pt x="2312" y="718"/>
                </a:cubicBezTo>
                <a:cubicBezTo>
                  <a:pt x="2316" y="716"/>
                  <a:pt x="2319" y="713"/>
                  <a:pt x="2322" y="710"/>
                </a:cubicBezTo>
                <a:cubicBezTo>
                  <a:pt x="2328" y="704"/>
                  <a:pt x="2328" y="704"/>
                  <a:pt x="2332" y="695"/>
                </a:cubicBezTo>
                <a:cubicBezTo>
                  <a:pt x="2333" y="692"/>
                  <a:pt x="2333" y="690"/>
                  <a:pt x="2333" y="687"/>
                </a:cubicBezTo>
                <a:cubicBezTo>
                  <a:pt x="2331" y="681"/>
                  <a:pt x="2332" y="673"/>
                  <a:pt x="2335" y="668"/>
                </a:cubicBezTo>
                <a:cubicBezTo>
                  <a:pt x="2338" y="663"/>
                  <a:pt x="2341" y="659"/>
                  <a:pt x="2348" y="660"/>
                </a:cubicBezTo>
                <a:cubicBezTo>
                  <a:pt x="2356" y="659"/>
                  <a:pt x="2363" y="661"/>
                  <a:pt x="2370" y="664"/>
                </a:cubicBezTo>
                <a:cubicBezTo>
                  <a:pt x="2372" y="665"/>
                  <a:pt x="2374" y="670"/>
                  <a:pt x="2372" y="671"/>
                </a:cubicBezTo>
                <a:cubicBezTo>
                  <a:pt x="2369" y="673"/>
                  <a:pt x="2367" y="674"/>
                  <a:pt x="2367" y="677"/>
                </a:cubicBezTo>
                <a:cubicBezTo>
                  <a:pt x="2367" y="679"/>
                  <a:pt x="2366" y="682"/>
                  <a:pt x="2365" y="683"/>
                </a:cubicBezTo>
                <a:cubicBezTo>
                  <a:pt x="2360" y="691"/>
                  <a:pt x="2355" y="699"/>
                  <a:pt x="2349" y="706"/>
                </a:cubicBezTo>
                <a:cubicBezTo>
                  <a:pt x="2347" y="708"/>
                  <a:pt x="2345" y="710"/>
                  <a:pt x="2345" y="713"/>
                </a:cubicBezTo>
                <a:cubicBezTo>
                  <a:pt x="2343" y="717"/>
                  <a:pt x="2341" y="718"/>
                  <a:pt x="2337" y="718"/>
                </a:cubicBezTo>
                <a:cubicBezTo>
                  <a:pt x="2335" y="717"/>
                  <a:pt x="2334" y="719"/>
                  <a:pt x="2334" y="721"/>
                </a:cubicBezTo>
                <a:cubicBezTo>
                  <a:pt x="2334" y="723"/>
                  <a:pt x="2334" y="726"/>
                  <a:pt x="2333" y="729"/>
                </a:cubicBezTo>
                <a:cubicBezTo>
                  <a:pt x="2333" y="731"/>
                  <a:pt x="2333" y="733"/>
                  <a:pt x="2333" y="735"/>
                </a:cubicBezTo>
                <a:cubicBezTo>
                  <a:pt x="2334" y="737"/>
                  <a:pt x="2335" y="739"/>
                  <a:pt x="2335" y="741"/>
                </a:cubicBezTo>
                <a:cubicBezTo>
                  <a:pt x="2337" y="750"/>
                  <a:pt x="2340" y="758"/>
                  <a:pt x="2338" y="767"/>
                </a:cubicBezTo>
                <a:cubicBezTo>
                  <a:pt x="2338" y="769"/>
                  <a:pt x="2339" y="771"/>
                  <a:pt x="2339" y="772"/>
                </a:cubicBezTo>
                <a:cubicBezTo>
                  <a:pt x="2339" y="775"/>
                  <a:pt x="2341" y="777"/>
                  <a:pt x="2343" y="778"/>
                </a:cubicBezTo>
                <a:cubicBezTo>
                  <a:pt x="2345" y="779"/>
                  <a:pt x="2347" y="781"/>
                  <a:pt x="2349" y="782"/>
                </a:cubicBezTo>
                <a:cubicBezTo>
                  <a:pt x="2349" y="782"/>
                  <a:pt x="2349" y="782"/>
                  <a:pt x="2349" y="782"/>
                </a:cubicBezTo>
                <a:cubicBezTo>
                  <a:pt x="2349" y="782"/>
                  <a:pt x="2349" y="781"/>
                  <a:pt x="2349" y="781"/>
                </a:cubicBezTo>
                <a:cubicBezTo>
                  <a:pt x="2350" y="781"/>
                  <a:pt x="2350" y="781"/>
                  <a:pt x="2350" y="781"/>
                </a:cubicBezTo>
                <a:cubicBezTo>
                  <a:pt x="2349" y="782"/>
                  <a:pt x="2349" y="782"/>
                  <a:pt x="2349" y="782"/>
                </a:cubicBezTo>
                <a:cubicBezTo>
                  <a:pt x="2350" y="782"/>
                  <a:pt x="2352" y="784"/>
                  <a:pt x="2353" y="784"/>
                </a:cubicBezTo>
                <a:cubicBezTo>
                  <a:pt x="2357" y="783"/>
                  <a:pt x="2359" y="785"/>
                  <a:pt x="2361" y="788"/>
                </a:cubicBezTo>
                <a:cubicBezTo>
                  <a:pt x="2363" y="791"/>
                  <a:pt x="2366" y="791"/>
                  <a:pt x="2369" y="790"/>
                </a:cubicBezTo>
                <a:cubicBezTo>
                  <a:pt x="2373" y="789"/>
                  <a:pt x="2376" y="788"/>
                  <a:pt x="2379" y="787"/>
                </a:cubicBezTo>
                <a:cubicBezTo>
                  <a:pt x="2388" y="782"/>
                  <a:pt x="2399" y="779"/>
                  <a:pt x="2410" y="779"/>
                </a:cubicBezTo>
                <a:cubicBezTo>
                  <a:pt x="2414" y="779"/>
                  <a:pt x="2418" y="778"/>
                  <a:pt x="2421" y="778"/>
                </a:cubicBezTo>
                <a:cubicBezTo>
                  <a:pt x="2422" y="778"/>
                  <a:pt x="2424" y="778"/>
                  <a:pt x="2424" y="778"/>
                </a:cubicBezTo>
                <a:cubicBezTo>
                  <a:pt x="2426" y="783"/>
                  <a:pt x="2432" y="782"/>
                  <a:pt x="2435" y="785"/>
                </a:cubicBezTo>
                <a:cubicBezTo>
                  <a:pt x="2436" y="785"/>
                  <a:pt x="2436" y="785"/>
                  <a:pt x="2437" y="785"/>
                </a:cubicBezTo>
                <a:cubicBezTo>
                  <a:pt x="2437" y="786"/>
                  <a:pt x="2437" y="787"/>
                  <a:pt x="2437" y="787"/>
                </a:cubicBezTo>
                <a:cubicBezTo>
                  <a:pt x="2435" y="788"/>
                  <a:pt x="2433" y="789"/>
                  <a:pt x="2431" y="790"/>
                </a:cubicBezTo>
                <a:cubicBezTo>
                  <a:pt x="2428" y="791"/>
                  <a:pt x="2425" y="792"/>
                  <a:pt x="2423" y="795"/>
                </a:cubicBezTo>
                <a:cubicBezTo>
                  <a:pt x="2419" y="801"/>
                  <a:pt x="2415" y="801"/>
                  <a:pt x="2409" y="799"/>
                </a:cubicBezTo>
                <a:cubicBezTo>
                  <a:pt x="2406" y="798"/>
                  <a:pt x="2402" y="797"/>
                  <a:pt x="2398" y="796"/>
                </a:cubicBezTo>
                <a:cubicBezTo>
                  <a:pt x="2396" y="796"/>
                  <a:pt x="2395" y="796"/>
                  <a:pt x="2393" y="796"/>
                </a:cubicBezTo>
                <a:cubicBezTo>
                  <a:pt x="2388" y="798"/>
                  <a:pt x="2383" y="800"/>
                  <a:pt x="2378" y="801"/>
                </a:cubicBezTo>
                <a:cubicBezTo>
                  <a:pt x="2372" y="804"/>
                  <a:pt x="2368" y="807"/>
                  <a:pt x="2368" y="813"/>
                </a:cubicBezTo>
                <a:cubicBezTo>
                  <a:pt x="2368" y="817"/>
                  <a:pt x="2366" y="818"/>
                  <a:pt x="2363" y="819"/>
                </a:cubicBezTo>
                <a:cubicBezTo>
                  <a:pt x="2361" y="820"/>
                  <a:pt x="2359" y="820"/>
                  <a:pt x="2357" y="821"/>
                </a:cubicBezTo>
                <a:cubicBezTo>
                  <a:pt x="2352" y="822"/>
                  <a:pt x="2352" y="825"/>
                  <a:pt x="2355" y="830"/>
                </a:cubicBezTo>
                <a:cubicBezTo>
                  <a:pt x="2355" y="830"/>
                  <a:pt x="2355" y="830"/>
                  <a:pt x="2355" y="831"/>
                </a:cubicBezTo>
                <a:cubicBezTo>
                  <a:pt x="2360" y="831"/>
                  <a:pt x="2363" y="827"/>
                  <a:pt x="2367" y="825"/>
                </a:cubicBezTo>
                <a:cubicBezTo>
                  <a:pt x="2369" y="823"/>
                  <a:pt x="2370" y="823"/>
                  <a:pt x="2373" y="825"/>
                </a:cubicBezTo>
                <a:cubicBezTo>
                  <a:pt x="2374" y="826"/>
                  <a:pt x="2376" y="828"/>
                  <a:pt x="2378" y="829"/>
                </a:cubicBezTo>
                <a:cubicBezTo>
                  <a:pt x="2379" y="829"/>
                  <a:pt x="2381" y="831"/>
                  <a:pt x="2381" y="832"/>
                </a:cubicBezTo>
                <a:cubicBezTo>
                  <a:pt x="2381" y="837"/>
                  <a:pt x="2381" y="841"/>
                  <a:pt x="2381" y="845"/>
                </a:cubicBezTo>
                <a:cubicBezTo>
                  <a:pt x="2381" y="848"/>
                  <a:pt x="2379" y="849"/>
                  <a:pt x="2377" y="850"/>
                </a:cubicBezTo>
                <a:cubicBezTo>
                  <a:pt x="2376" y="850"/>
                  <a:pt x="2373" y="850"/>
                  <a:pt x="2372" y="849"/>
                </a:cubicBezTo>
                <a:cubicBezTo>
                  <a:pt x="2370" y="847"/>
                  <a:pt x="2368" y="844"/>
                  <a:pt x="2366" y="841"/>
                </a:cubicBezTo>
                <a:cubicBezTo>
                  <a:pt x="2363" y="839"/>
                  <a:pt x="2362" y="838"/>
                  <a:pt x="2359" y="839"/>
                </a:cubicBezTo>
                <a:cubicBezTo>
                  <a:pt x="2354" y="841"/>
                  <a:pt x="2351" y="843"/>
                  <a:pt x="2349" y="848"/>
                </a:cubicBezTo>
                <a:cubicBezTo>
                  <a:pt x="2348" y="851"/>
                  <a:pt x="2347" y="854"/>
                  <a:pt x="2346" y="857"/>
                </a:cubicBezTo>
                <a:cubicBezTo>
                  <a:pt x="2344" y="861"/>
                  <a:pt x="2344" y="865"/>
                  <a:pt x="2345" y="870"/>
                </a:cubicBezTo>
                <a:cubicBezTo>
                  <a:pt x="2346" y="875"/>
                  <a:pt x="2347" y="881"/>
                  <a:pt x="2347" y="886"/>
                </a:cubicBezTo>
                <a:cubicBezTo>
                  <a:pt x="2348" y="887"/>
                  <a:pt x="2347" y="888"/>
                  <a:pt x="2346" y="889"/>
                </a:cubicBezTo>
                <a:cubicBezTo>
                  <a:pt x="2343" y="890"/>
                  <a:pt x="2341" y="891"/>
                  <a:pt x="2338" y="892"/>
                </a:cubicBezTo>
                <a:cubicBezTo>
                  <a:pt x="2335" y="893"/>
                  <a:pt x="2334" y="895"/>
                  <a:pt x="2334" y="898"/>
                </a:cubicBezTo>
                <a:cubicBezTo>
                  <a:pt x="2333" y="903"/>
                  <a:pt x="2323" y="904"/>
                  <a:pt x="2320" y="900"/>
                </a:cubicBezTo>
                <a:cubicBezTo>
                  <a:pt x="2319" y="899"/>
                  <a:pt x="2319" y="898"/>
                  <a:pt x="2318" y="897"/>
                </a:cubicBezTo>
                <a:cubicBezTo>
                  <a:pt x="2317" y="894"/>
                  <a:pt x="2314" y="893"/>
                  <a:pt x="2312" y="894"/>
                </a:cubicBezTo>
                <a:cubicBezTo>
                  <a:pt x="2306" y="894"/>
                  <a:pt x="2301" y="896"/>
                  <a:pt x="2296" y="899"/>
                </a:cubicBezTo>
                <a:cubicBezTo>
                  <a:pt x="2289" y="903"/>
                  <a:pt x="2283" y="907"/>
                  <a:pt x="2276" y="910"/>
                </a:cubicBezTo>
                <a:cubicBezTo>
                  <a:pt x="2274" y="911"/>
                  <a:pt x="2272" y="914"/>
                  <a:pt x="2270" y="915"/>
                </a:cubicBezTo>
                <a:cubicBezTo>
                  <a:pt x="2269" y="916"/>
                  <a:pt x="2266" y="916"/>
                  <a:pt x="2265" y="916"/>
                </a:cubicBezTo>
                <a:cubicBezTo>
                  <a:pt x="2263" y="913"/>
                  <a:pt x="2260" y="911"/>
                  <a:pt x="2258" y="908"/>
                </a:cubicBezTo>
                <a:cubicBezTo>
                  <a:pt x="2257" y="906"/>
                  <a:pt x="2258" y="904"/>
                  <a:pt x="2257" y="903"/>
                </a:cubicBezTo>
                <a:cubicBezTo>
                  <a:pt x="2257" y="901"/>
                  <a:pt x="2255" y="900"/>
                  <a:pt x="2254" y="901"/>
                </a:cubicBezTo>
                <a:cubicBezTo>
                  <a:pt x="2251" y="903"/>
                  <a:pt x="2249" y="905"/>
                  <a:pt x="2245" y="905"/>
                </a:cubicBezTo>
                <a:cubicBezTo>
                  <a:pt x="2240" y="906"/>
                  <a:pt x="2236" y="909"/>
                  <a:pt x="2232" y="912"/>
                </a:cubicBezTo>
                <a:cubicBezTo>
                  <a:pt x="2231" y="912"/>
                  <a:pt x="2229" y="912"/>
                  <a:pt x="2229" y="911"/>
                </a:cubicBezTo>
                <a:cubicBezTo>
                  <a:pt x="2227" y="909"/>
                  <a:pt x="2225" y="907"/>
                  <a:pt x="2222" y="906"/>
                </a:cubicBezTo>
                <a:cubicBezTo>
                  <a:pt x="2220" y="905"/>
                  <a:pt x="2217" y="905"/>
                  <a:pt x="2215" y="904"/>
                </a:cubicBezTo>
                <a:cubicBezTo>
                  <a:pt x="2213" y="902"/>
                  <a:pt x="2212" y="899"/>
                  <a:pt x="2211" y="896"/>
                </a:cubicBezTo>
                <a:cubicBezTo>
                  <a:pt x="2211" y="895"/>
                  <a:pt x="2212" y="894"/>
                  <a:pt x="2212" y="893"/>
                </a:cubicBezTo>
                <a:cubicBezTo>
                  <a:pt x="2212" y="893"/>
                  <a:pt x="2213" y="893"/>
                  <a:pt x="2213" y="893"/>
                </a:cubicBezTo>
                <a:cubicBezTo>
                  <a:pt x="2218" y="895"/>
                  <a:pt x="2223" y="896"/>
                  <a:pt x="2227" y="899"/>
                </a:cubicBezTo>
                <a:cubicBezTo>
                  <a:pt x="2231" y="903"/>
                  <a:pt x="2236" y="901"/>
                  <a:pt x="2239" y="896"/>
                </a:cubicBezTo>
                <a:cubicBezTo>
                  <a:pt x="2243" y="889"/>
                  <a:pt x="2244" y="882"/>
                  <a:pt x="2243" y="874"/>
                </a:cubicBezTo>
                <a:cubicBezTo>
                  <a:pt x="2243" y="874"/>
                  <a:pt x="2243" y="874"/>
                  <a:pt x="2243" y="874"/>
                </a:cubicBezTo>
                <a:cubicBezTo>
                  <a:pt x="2243" y="874"/>
                  <a:pt x="2243" y="874"/>
                  <a:pt x="2243" y="873"/>
                </a:cubicBezTo>
                <a:cubicBezTo>
                  <a:pt x="2237" y="873"/>
                  <a:pt x="2233" y="876"/>
                  <a:pt x="2229" y="880"/>
                </a:cubicBezTo>
                <a:cubicBezTo>
                  <a:pt x="2227" y="881"/>
                  <a:pt x="2227" y="884"/>
                  <a:pt x="2228" y="886"/>
                </a:cubicBezTo>
                <a:cubicBezTo>
                  <a:pt x="2229" y="888"/>
                  <a:pt x="2231" y="889"/>
                  <a:pt x="2232" y="891"/>
                </a:cubicBezTo>
                <a:cubicBezTo>
                  <a:pt x="2232" y="892"/>
                  <a:pt x="2232" y="894"/>
                  <a:pt x="2231" y="894"/>
                </a:cubicBezTo>
                <a:cubicBezTo>
                  <a:pt x="2231" y="894"/>
                  <a:pt x="2229" y="894"/>
                  <a:pt x="2228" y="894"/>
                </a:cubicBezTo>
                <a:cubicBezTo>
                  <a:pt x="2228" y="894"/>
                  <a:pt x="2227" y="893"/>
                  <a:pt x="2227" y="893"/>
                </a:cubicBezTo>
                <a:cubicBezTo>
                  <a:pt x="2223" y="890"/>
                  <a:pt x="2222" y="884"/>
                  <a:pt x="2217" y="882"/>
                </a:cubicBezTo>
                <a:cubicBezTo>
                  <a:pt x="2217" y="882"/>
                  <a:pt x="2217" y="880"/>
                  <a:pt x="2217" y="879"/>
                </a:cubicBezTo>
                <a:cubicBezTo>
                  <a:pt x="2217" y="875"/>
                  <a:pt x="2219" y="872"/>
                  <a:pt x="2223" y="871"/>
                </a:cubicBezTo>
                <a:cubicBezTo>
                  <a:pt x="2224" y="870"/>
                  <a:pt x="2224" y="869"/>
                  <a:pt x="2224" y="868"/>
                </a:cubicBezTo>
                <a:cubicBezTo>
                  <a:pt x="2223" y="867"/>
                  <a:pt x="2223" y="867"/>
                  <a:pt x="2222" y="867"/>
                </a:cubicBezTo>
                <a:cubicBezTo>
                  <a:pt x="2217" y="864"/>
                  <a:pt x="2216" y="860"/>
                  <a:pt x="2218" y="854"/>
                </a:cubicBezTo>
                <a:cubicBezTo>
                  <a:pt x="2219" y="852"/>
                  <a:pt x="2220" y="849"/>
                  <a:pt x="2219" y="846"/>
                </a:cubicBezTo>
                <a:cubicBezTo>
                  <a:pt x="2219" y="845"/>
                  <a:pt x="2217" y="843"/>
                  <a:pt x="2216" y="843"/>
                </a:cubicBezTo>
                <a:cubicBezTo>
                  <a:pt x="2215" y="844"/>
                  <a:pt x="2214" y="844"/>
                  <a:pt x="2213" y="844"/>
                </a:cubicBezTo>
                <a:cubicBezTo>
                  <a:pt x="2207" y="848"/>
                  <a:pt x="2202" y="854"/>
                  <a:pt x="2195" y="856"/>
                </a:cubicBezTo>
                <a:cubicBezTo>
                  <a:pt x="2194" y="856"/>
                  <a:pt x="2194" y="858"/>
                  <a:pt x="2194" y="859"/>
                </a:cubicBezTo>
                <a:cubicBezTo>
                  <a:pt x="2194" y="865"/>
                  <a:pt x="2189" y="871"/>
                  <a:pt x="2192" y="878"/>
                </a:cubicBezTo>
                <a:cubicBezTo>
                  <a:pt x="2192" y="878"/>
                  <a:pt x="2191" y="880"/>
                  <a:pt x="2191" y="881"/>
                </a:cubicBezTo>
                <a:cubicBezTo>
                  <a:pt x="2190" y="883"/>
                  <a:pt x="2191" y="885"/>
                  <a:pt x="2192" y="887"/>
                </a:cubicBezTo>
                <a:cubicBezTo>
                  <a:pt x="2193" y="888"/>
                  <a:pt x="2195" y="889"/>
                  <a:pt x="2195" y="891"/>
                </a:cubicBezTo>
                <a:cubicBezTo>
                  <a:pt x="2197" y="898"/>
                  <a:pt x="2199" y="904"/>
                  <a:pt x="2200" y="911"/>
                </a:cubicBezTo>
                <a:cubicBezTo>
                  <a:pt x="2200" y="915"/>
                  <a:pt x="2195" y="921"/>
                  <a:pt x="2191" y="920"/>
                </a:cubicBezTo>
                <a:cubicBezTo>
                  <a:pt x="2187" y="919"/>
                  <a:pt x="2183" y="919"/>
                  <a:pt x="2179" y="921"/>
                </a:cubicBezTo>
                <a:cubicBezTo>
                  <a:pt x="2175" y="923"/>
                  <a:pt x="2172" y="925"/>
                  <a:pt x="2168" y="925"/>
                </a:cubicBezTo>
                <a:cubicBezTo>
                  <a:pt x="2163" y="926"/>
                  <a:pt x="2159" y="929"/>
                  <a:pt x="2154" y="931"/>
                </a:cubicBezTo>
                <a:cubicBezTo>
                  <a:pt x="2150" y="933"/>
                  <a:pt x="2148" y="936"/>
                  <a:pt x="2146" y="941"/>
                </a:cubicBezTo>
                <a:cubicBezTo>
                  <a:pt x="2142" y="956"/>
                  <a:pt x="2142" y="956"/>
                  <a:pt x="2130" y="965"/>
                </a:cubicBezTo>
                <a:cubicBezTo>
                  <a:pt x="2128" y="967"/>
                  <a:pt x="2125" y="968"/>
                  <a:pt x="2122" y="970"/>
                </a:cubicBezTo>
                <a:cubicBezTo>
                  <a:pt x="2121" y="971"/>
                  <a:pt x="2119" y="972"/>
                  <a:pt x="2119" y="973"/>
                </a:cubicBezTo>
                <a:cubicBezTo>
                  <a:pt x="2118" y="975"/>
                  <a:pt x="2118" y="978"/>
                  <a:pt x="2117" y="980"/>
                </a:cubicBezTo>
                <a:cubicBezTo>
                  <a:pt x="2116" y="983"/>
                  <a:pt x="2114" y="985"/>
                  <a:pt x="2110" y="986"/>
                </a:cubicBezTo>
                <a:cubicBezTo>
                  <a:pt x="2109" y="987"/>
                  <a:pt x="2107" y="987"/>
                  <a:pt x="2106" y="988"/>
                </a:cubicBezTo>
                <a:cubicBezTo>
                  <a:pt x="2103" y="989"/>
                  <a:pt x="2101" y="990"/>
                  <a:pt x="2100" y="993"/>
                </a:cubicBezTo>
                <a:cubicBezTo>
                  <a:pt x="2098" y="996"/>
                  <a:pt x="2094" y="997"/>
                  <a:pt x="2091" y="996"/>
                </a:cubicBezTo>
                <a:cubicBezTo>
                  <a:pt x="2088" y="996"/>
                  <a:pt x="2086" y="995"/>
                  <a:pt x="2084" y="993"/>
                </a:cubicBezTo>
                <a:cubicBezTo>
                  <a:pt x="2083" y="992"/>
                  <a:pt x="2081" y="992"/>
                  <a:pt x="2079" y="992"/>
                </a:cubicBezTo>
                <a:cubicBezTo>
                  <a:pt x="2078" y="992"/>
                  <a:pt x="2076" y="994"/>
                  <a:pt x="2076" y="995"/>
                </a:cubicBezTo>
                <a:cubicBezTo>
                  <a:pt x="2077" y="998"/>
                  <a:pt x="2077" y="1001"/>
                  <a:pt x="2078" y="1004"/>
                </a:cubicBezTo>
                <a:cubicBezTo>
                  <a:pt x="2079" y="1007"/>
                  <a:pt x="2077" y="1009"/>
                  <a:pt x="2074" y="1009"/>
                </a:cubicBezTo>
                <a:cubicBezTo>
                  <a:pt x="2070" y="1009"/>
                  <a:pt x="2067" y="1009"/>
                  <a:pt x="2063" y="1007"/>
                </a:cubicBezTo>
                <a:cubicBezTo>
                  <a:pt x="2061" y="1006"/>
                  <a:pt x="2059" y="1006"/>
                  <a:pt x="2057" y="1006"/>
                </a:cubicBezTo>
                <a:cubicBezTo>
                  <a:pt x="2052" y="1007"/>
                  <a:pt x="2048" y="1009"/>
                  <a:pt x="2044" y="1010"/>
                </a:cubicBezTo>
                <a:cubicBezTo>
                  <a:pt x="2043" y="1010"/>
                  <a:pt x="2041" y="1013"/>
                  <a:pt x="2042" y="1014"/>
                </a:cubicBezTo>
                <a:cubicBezTo>
                  <a:pt x="2043" y="1019"/>
                  <a:pt x="2043" y="1025"/>
                  <a:pt x="2051" y="1025"/>
                </a:cubicBezTo>
                <a:cubicBezTo>
                  <a:pt x="2054" y="1025"/>
                  <a:pt x="2057" y="1028"/>
                  <a:pt x="2060" y="1029"/>
                </a:cubicBezTo>
                <a:cubicBezTo>
                  <a:pt x="2065" y="1030"/>
                  <a:pt x="2069" y="1033"/>
                  <a:pt x="2071" y="1038"/>
                </a:cubicBezTo>
                <a:cubicBezTo>
                  <a:pt x="2072" y="1043"/>
                  <a:pt x="2075" y="1047"/>
                  <a:pt x="2080" y="1049"/>
                </a:cubicBezTo>
                <a:cubicBezTo>
                  <a:pt x="2083" y="1051"/>
                  <a:pt x="2084" y="1054"/>
                  <a:pt x="2084" y="1058"/>
                </a:cubicBezTo>
                <a:cubicBezTo>
                  <a:pt x="2083" y="1067"/>
                  <a:pt x="2083" y="1075"/>
                  <a:pt x="2082" y="1084"/>
                </a:cubicBezTo>
                <a:cubicBezTo>
                  <a:pt x="2082" y="1087"/>
                  <a:pt x="2081" y="1090"/>
                  <a:pt x="2080" y="1094"/>
                </a:cubicBezTo>
                <a:cubicBezTo>
                  <a:pt x="2079" y="1096"/>
                  <a:pt x="2075" y="1099"/>
                  <a:pt x="2072" y="1098"/>
                </a:cubicBezTo>
                <a:cubicBezTo>
                  <a:pt x="2066" y="1096"/>
                  <a:pt x="2060" y="1099"/>
                  <a:pt x="2054" y="1096"/>
                </a:cubicBezTo>
                <a:cubicBezTo>
                  <a:pt x="2053" y="1095"/>
                  <a:pt x="2051" y="1095"/>
                  <a:pt x="2049" y="1096"/>
                </a:cubicBezTo>
                <a:cubicBezTo>
                  <a:pt x="2044" y="1098"/>
                  <a:pt x="2038" y="1097"/>
                  <a:pt x="2033" y="1095"/>
                </a:cubicBezTo>
                <a:cubicBezTo>
                  <a:pt x="2027" y="1094"/>
                  <a:pt x="2021" y="1092"/>
                  <a:pt x="2015" y="1094"/>
                </a:cubicBezTo>
                <a:cubicBezTo>
                  <a:pt x="2014" y="1094"/>
                  <a:pt x="2012" y="1094"/>
                  <a:pt x="2010" y="1094"/>
                </a:cubicBezTo>
                <a:cubicBezTo>
                  <a:pt x="2004" y="1091"/>
                  <a:pt x="1998" y="1091"/>
                  <a:pt x="1993" y="1097"/>
                </a:cubicBezTo>
                <a:cubicBezTo>
                  <a:pt x="1992" y="1099"/>
                  <a:pt x="1990" y="1099"/>
                  <a:pt x="1988" y="1099"/>
                </a:cubicBezTo>
                <a:cubicBezTo>
                  <a:pt x="1987" y="1100"/>
                  <a:pt x="1986" y="1100"/>
                  <a:pt x="1985" y="1100"/>
                </a:cubicBezTo>
                <a:cubicBezTo>
                  <a:pt x="1983" y="1101"/>
                  <a:pt x="1982" y="1104"/>
                  <a:pt x="1983" y="1106"/>
                </a:cubicBezTo>
                <a:cubicBezTo>
                  <a:pt x="1986" y="1111"/>
                  <a:pt x="1987" y="1117"/>
                  <a:pt x="1986" y="1123"/>
                </a:cubicBezTo>
                <a:cubicBezTo>
                  <a:pt x="1986" y="1124"/>
                  <a:pt x="1986" y="1124"/>
                  <a:pt x="1986" y="1125"/>
                </a:cubicBezTo>
                <a:cubicBezTo>
                  <a:pt x="1989" y="1137"/>
                  <a:pt x="1987" y="1149"/>
                  <a:pt x="1981" y="1160"/>
                </a:cubicBezTo>
                <a:cubicBezTo>
                  <a:pt x="1980" y="1163"/>
                  <a:pt x="1979" y="1166"/>
                  <a:pt x="1978" y="1169"/>
                </a:cubicBezTo>
                <a:cubicBezTo>
                  <a:pt x="1977" y="1171"/>
                  <a:pt x="1977" y="1174"/>
                  <a:pt x="1978" y="1176"/>
                </a:cubicBezTo>
                <a:cubicBezTo>
                  <a:pt x="1983" y="1181"/>
                  <a:pt x="1985" y="1188"/>
                  <a:pt x="1985" y="1195"/>
                </a:cubicBezTo>
                <a:cubicBezTo>
                  <a:pt x="1985" y="1196"/>
                  <a:pt x="1985" y="1197"/>
                  <a:pt x="1985" y="1198"/>
                </a:cubicBezTo>
                <a:cubicBezTo>
                  <a:pt x="1985" y="1199"/>
                  <a:pt x="1986" y="1201"/>
                  <a:pt x="1987" y="1201"/>
                </a:cubicBezTo>
                <a:cubicBezTo>
                  <a:pt x="1991" y="1202"/>
                  <a:pt x="1995" y="1204"/>
                  <a:pt x="2000" y="1203"/>
                </a:cubicBezTo>
                <a:cubicBezTo>
                  <a:pt x="2002" y="1203"/>
                  <a:pt x="2004" y="1202"/>
                  <a:pt x="2006" y="1202"/>
                </a:cubicBezTo>
                <a:cubicBezTo>
                  <a:pt x="2009" y="1202"/>
                  <a:pt x="2012" y="1203"/>
                  <a:pt x="2013" y="1206"/>
                </a:cubicBezTo>
                <a:cubicBezTo>
                  <a:pt x="2016" y="1209"/>
                  <a:pt x="2017" y="1212"/>
                  <a:pt x="2020" y="1215"/>
                </a:cubicBezTo>
                <a:cubicBezTo>
                  <a:pt x="2022" y="1219"/>
                  <a:pt x="2027" y="1220"/>
                  <a:pt x="2030" y="1218"/>
                </a:cubicBezTo>
                <a:cubicBezTo>
                  <a:pt x="2032" y="1217"/>
                  <a:pt x="2035" y="1215"/>
                  <a:pt x="2037" y="1214"/>
                </a:cubicBezTo>
                <a:cubicBezTo>
                  <a:pt x="2043" y="1210"/>
                  <a:pt x="2049" y="1208"/>
                  <a:pt x="2056" y="1209"/>
                </a:cubicBezTo>
                <a:cubicBezTo>
                  <a:pt x="2060" y="1209"/>
                  <a:pt x="2065" y="1208"/>
                  <a:pt x="2070" y="1208"/>
                </a:cubicBezTo>
                <a:cubicBezTo>
                  <a:pt x="2073" y="1208"/>
                  <a:pt x="2076" y="1206"/>
                  <a:pt x="2077" y="1204"/>
                </a:cubicBezTo>
                <a:cubicBezTo>
                  <a:pt x="2079" y="1201"/>
                  <a:pt x="2082" y="1199"/>
                  <a:pt x="2085" y="1198"/>
                </a:cubicBezTo>
                <a:cubicBezTo>
                  <a:pt x="2088" y="1197"/>
                  <a:pt x="2091" y="1195"/>
                  <a:pt x="2092" y="1192"/>
                </a:cubicBezTo>
                <a:cubicBezTo>
                  <a:pt x="2093" y="1187"/>
                  <a:pt x="2096" y="1183"/>
                  <a:pt x="2099" y="1179"/>
                </a:cubicBezTo>
                <a:cubicBezTo>
                  <a:pt x="2101" y="1177"/>
                  <a:pt x="2102" y="1175"/>
                  <a:pt x="2100" y="1173"/>
                </a:cubicBezTo>
                <a:cubicBezTo>
                  <a:pt x="2094" y="1165"/>
                  <a:pt x="2097" y="1159"/>
                  <a:pt x="2103" y="1153"/>
                </a:cubicBezTo>
                <a:cubicBezTo>
                  <a:pt x="2105" y="1151"/>
                  <a:pt x="2106" y="1149"/>
                  <a:pt x="2107" y="1148"/>
                </a:cubicBezTo>
                <a:cubicBezTo>
                  <a:pt x="2112" y="1143"/>
                  <a:pt x="2115" y="1137"/>
                  <a:pt x="2123" y="1137"/>
                </a:cubicBezTo>
                <a:cubicBezTo>
                  <a:pt x="2130" y="1133"/>
                  <a:pt x="2136" y="1129"/>
                  <a:pt x="2136" y="1120"/>
                </a:cubicBezTo>
                <a:cubicBezTo>
                  <a:pt x="2136" y="1116"/>
                  <a:pt x="2137" y="1113"/>
                  <a:pt x="2137" y="1110"/>
                </a:cubicBezTo>
                <a:cubicBezTo>
                  <a:pt x="2137" y="1108"/>
                  <a:pt x="2138" y="1107"/>
                  <a:pt x="2138" y="1105"/>
                </a:cubicBezTo>
                <a:cubicBezTo>
                  <a:pt x="2139" y="1101"/>
                  <a:pt x="2144" y="1098"/>
                  <a:pt x="2148" y="1098"/>
                </a:cubicBezTo>
                <a:cubicBezTo>
                  <a:pt x="2156" y="1100"/>
                  <a:pt x="2164" y="1100"/>
                  <a:pt x="2170" y="1104"/>
                </a:cubicBezTo>
                <a:cubicBezTo>
                  <a:pt x="2173" y="1107"/>
                  <a:pt x="2177" y="1106"/>
                  <a:pt x="2179" y="1103"/>
                </a:cubicBezTo>
                <a:cubicBezTo>
                  <a:pt x="2183" y="1098"/>
                  <a:pt x="2188" y="1094"/>
                  <a:pt x="2195" y="1092"/>
                </a:cubicBezTo>
                <a:cubicBezTo>
                  <a:pt x="2197" y="1091"/>
                  <a:pt x="2199" y="1089"/>
                  <a:pt x="2200" y="1088"/>
                </a:cubicBezTo>
                <a:cubicBezTo>
                  <a:pt x="2204" y="1083"/>
                  <a:pt x="2208" y="1083"/>
                  <a:pt x="2213" y="1085"/>
                </a:cubicBezTo>
                <a:cubicBezTo>
                  <a:pt x="2218" y="1087"/>
                  <a:pt x="2222" y="1089"/>
                  <a:pt x="2224" y="1094"/>
                </a:cubicBezTo>
                <a:cubicBezTo>
                  <a:pt x="2226" y="1098"/>
                  <a:pt x="2228" y="1102"/>
                  <a:pt x="2230" y="1106"/>
                </a:cubicBezTo>
                <a:cubicBezTo>
                  <a:pt x="2237" y="1112"/>
                  <a:pt x="2244" y="1118"/>
                  <a:pt x="2250" y="1125"/>
                </a:cubicBezTo>
                <a:cubicBezTo>
                  <a:pt x="2254" y="1130"/>
                  <a:pt x="2260" y="1134"/>
                  <a:pt x="2266" y="1136"/>
                </a:cubicBezTo>
                <a:cubicBezTo>
                  <a:pt x="2274" y="1137"/>
                  <a:pt x="2279" y="1143"/>
                  <a:pt x="2286" y="1147"/>
                </a:cubicBezTo>
                <a:cubicBezTo>
                  <a:pt x="2288" y="1151"/>
                  <a:pt x="2292" y="1154"/>
                  <a:pt x="2295" y="1156"/>
                </a:cubicBezTo>
                <a:cubicBezTo>
                  <a:pt x="2297" y="1157"/>
                  <a:pt x="2298" y="1158"/>
                  <a:pt x="2299" y="1159"/>
                </a:cubicBezTo>
                <a:cubicBezTo>
                  <a:pt x="2301" y="1163"/>
                  <a:pt x="2302" y="1167"/>
                  <a:pt x="2303" y="1172"/>
                </a:cubicBezTo>
                <a:cubicBezTo>
                  <a:pt x="2304" y="1173"/>
                  <a:pt x="2304" y="1174"/>
                  <a:pt x="2303" y="1175"/>
                </a:cubicBezTo>
                <a:cubicBezTo>
                  <a:pt x="2302" y="1179"/>
                  <a:pt x="2300" y="1184"/>
                  <a:pt x="2294" y="1185"/>
                </a:cubicBezTo>
                <a:cubicBezTo>
                  <a:pt x="2284" y="1187"/>
                  <a:pt x="2275" y="1189"/>
                  <a:pt x="2265" y="1188"/>
                </a:cubicBezTo>
                <a:cubicBezTo>
                  <a:pt x="2263" y="1187"/>
                  <a:pt x="2261" y="1188"/>
                  <a:pt x="2260" y="1189"/>
                </a:cubicBezTo>
                <a:cubicBezTo>
                  <a:pt x="2259" y="1189"/>
                  <a:pt x="2258" y="1190"/>
                  <a:pt x="2258" y="1191"/>
                </a:cubicBezTo>
                <a:cubicBezTo>
                  <a:pt x="2258" y="1192"/>
                  <a:pt x="2258" y="1194"/>
                  <a:pt x="2259" y="1194"/>
                </a:cubicBezTo>
                <a:cubicBezTo>
                  <a:pt x="2262" y="1197"/>
                  <a:pt x="2265" y="1198"/>
                  <a:pt x="2269" y="1200"/>
                </a:cubicBezTo>
                <a:cubicBezTo>
                  <a:pt x="2276" y="1204"/>
                  <a:pt x="2282" y="1207"/>
                  <a:pt x="2289" y="1211"/>
                </a:cubicBezTo>
                <a:cubicBezTo>
                  <a:pt x="2290" y="1211"/>
                  <a:pt x="2293" y="1210"/>
                  <a:pt x="2293" y="1209"/>
                </a:cubicBezTo>
                <a:cubicBezTo>
                  <a:pt x="2294" y="1207"/>
                  <a:pt x="2295" y="1205"/>
                  <a:pt x="2295" y="1204"/>
                </a:cubicBezTo>
                <a:cubicBezTo>
                  <a:pt x="2295" y="1202"/>
                  <a:pt x="2294" y="1200"/>
                  <a:pt x="2294" y="1197"/>
                </a:cubicBezTo>
                <a:cubicBezTo>
                  <a:pt x="2294" y="1194"/>
                  <a:pt x="2297" y="1191"/>
                  <a:pt x="2300" y="1192"/>
                </a:cubicBezTo>
                <a:cubicBezTo>
                  <a:pt x="2304" y="1192"/>
                  <a:pt x="2307" y="1191"/>
                  <a:pt x="2309" y="1187"/>
                </a:cubicBezTo>
                <a:cubicBezTo>
                  <a:pt x="2311" y="1183"/>
                  <a:pt x="2314" y="1178"/>
                  <a:pt x="2316" y="1173"/>
                </a:cubicBezTo>
                <a:cubicBezTo>
                  <a:pt x="2318" y="1170"/>
                  <a:pt x="2318" y="1167"/>
                  <a:pt x="2316" y="1164"/>
                </a:cubicBezTo>
                <a:cubicBezTo>
                  <a:pt x="2315" y="1162"/>
                  <a:pt x="2314" y="1161"/>
                  <a:pt x="2313" y="1159"/>
                </a:cubicBezTo>
                <a:cubicBezTo>
                  <a:pt x="2313" y="1157"/>
                  <a:pt x="2313" y="1155"/>
                  <a:pt x="2314" y="1153"/>
                </a:cubicBezTo>
                <a:cubicBezTo>
                  <a:pt x="2315" y="1150"/>
                  <a:pt x="2319" y="1148"/>
                  <a:pt x="2322" y="1150"/>
                </a:cubicBezTo>
                <a:cubicBezTo>
                  <a:pt x="2324" y="1152"/>
                  <a:pt x="2327" y="1154"/>
                  <a:pt x="2329" y="1156"/>
                </a:cubicBezTo>
                <a:cubicBezTo>
                  <a:pt x="2330" y="1157"/>
                  <a:pt x="2332" y="1156"/>
                  <a:pt x="2332" y="1155"/>
                </a:cubicBezTo>
                <a:cubicBezTo>
                  <a:pt x="2334" y="1152"/>
                  <a:pt x="2334" y="1148"/>
                  <a:pt x="2332" y="1146"/>
                </a:cubicBezTo>
                <a:cubicBezTo>
                  <a:pt x="2323" y="1142"/>
                  <a:pt x="2316" y="1134"/>
                  <a:pt x="2306" y="1132"/>
                </a:cubicBezTo>
                <a:cubicBezTo>
                  <a:pt x="2303" y="1131"/>
                  <a:pt x="2302" y="1128"/>
                  <a:pt x="2302" y="1126"/>
                </a:cubicBezTo>
                <a:cubicBezTo>
                  <a:pt x="2302" y="1125"/>
                  <a:pt x="2301" y="1123"/>
                  <a:pt x="2300" y="1123"/>
                </a:cubicBezTo>
                <a:cubicBezTo>
                  <a:pt x="2298" y="1122"/>
                  <a:pt x="2296" y="1122"/>
                  <a:pt x="2294" y="1122"/>
                </a:cubicBezTo>
                <a:cubicBezTo>
                  <a:pt x="2288" y="1122"/>
                  <a:pt x="2284" y="1119"/>
                  <a:pt x="2281" y="1115"/>
                </a:cubicBezTo>
                <a:cubicBezTo>
                  <a:pt x="2278" y="1112"/>
                  <a:pt x="2276" y="1109"/>
                  <a:pt x="2274" y="1106"/>
                </a:cubicBezTo>
                <a:cubicBezTo>
                  <a:pt x="2272" y="1099"/>
                  <a:pt x="2267" y="1095"/>
                  <a:pt x="2262" y="1091"/>
                </a:cubicBezTo>
                <a:cubicBezTo>
                  <a:pt x="2260" y="1089"/>
                  <a:pt x="2257" y="1088"/>
                  <a:pt x="2255" y="1086"/>
                </a:cubicBezTo>
                <a:cubicBezTo>
                  <a:pt x="2253" y="1084"/>
                  <a:pt x="2251" y="1081"/>
                  <a:pt x="2251" y="1077"/>
                </a:cubicBezTo>
                <a:cubicBezTo>
                  <a:pt x="2251" y="1074"/>
                  <a:pt x="2252" y="1072"/>
                  <a:pt x="2252" y="1069"/>
                </a:cubicBezTo>
                <a:cubicBezTo>
                  <a:pt x="2252" y="1067"/>
                  <a:pt x="2253" y="1066"/>
                  <a:pt x="2255" y="1065"/>
                </a:cubicBezTo>
                <a:cubicBezTo>
                  <a:pt x="2257" y="1064"/>
                  <a:pt x="2260" y="1063"/>
                  <a:pt x="2262" y="1062"/>
                </a:cubicBezTo>
                <a:cubicBezTo>
                  <a:pt x="2263" y="1062"/>
                  <a:pt x="2265" y="1063"/>
                  <a:pt x="2265" y="1063"/>
                </a:cubicBezTo>
                <a:cubicBezTo>
                  <a:pt x="2266" y="1066"/>
                  <a:pt x="2266" y="1069"/>
                  <a:pt x="2267" y="1071"/>
                </a:cubicBezTo>
                <a:cubicBezTo>
                  <a:pt x="2267" y="1073"/>
                  <a:pt x="2269" y="1076"/>
                  <a:pt x="2271" y="1075"/>
                </a:cubicBezTo>
                <a:cubicBezTo>
                  <a:pt x="2275" y="1074"/>
                  <a:pt x="2277" y="1078"/>
                  <a:pt x="2281" y="1077"/>
                </a:cubicBezTo>
                <a:cubicBezTo>
                  <a:pt x="2283" y="1077"/>
                  <a:pt x="2285" y="1079"/>
                  <a:pt x="2286" y="1081"/>
                </a:cubicBezTo>
                <a:cubicBezTo>
                  <a:pt x="2288" y="1088"/>
                  <a:pt x="2293" y="1093"/>
                  <a:pt x="2299" y="1096"/>
                </a:cubicBezTo>
                <a:cubicBezTo>
                  <a:pt x="2304" y="1100"/>
                  <a:pt x="2309" y="1104"/>
                  <a:pt x="2315" y="1104"/>
                </a:cubicBezTo>
                <a:cubicBezTo>
                  <a:pt x="2318" y="1106"/>
                  <a:pt x="2320" y="1109"/>
                  <a:pt x="2324" y="1109"/>
                </a:cubicBezTo>
                <a:cubicBezTo>
                  <a:pt x="2328" y="1110"/>
                  <a:pt x="2330" y="1112"/>
                  <a:pt x="2333" y="1115"/>
                </a:cubicBezTo>
                <a:cubicBezTo>
                  <a:pt x="2336" y="1118"/>
                  <a:pt x="2339" y="1122"/>
                  <a:pt x="2342" y="1125"/>
                </a:cubicBezTo>
                <a:cubicBezTo>
                  <a:pt x="2344" y="1127"/>
                  <a:pt x="2344" y="1128"/>
                  <a:pt x="2344" y="1131"/>
                </a:cubicBezTo>
                <a:cubicBezTo>
                  <a:pt x="2344" y="1134"/>
                  <a:pt x="2344" y="1137"/>
                  <a:pt x="2344" y="1141"/>
                </a:cubicBezTo>
                <a:cubicBezTo>
                  <a:pt x="2344" y="1146"/>
                  <a:pt x="2345" y="1152"/>
                  <a:pt x="2350" y="1155"/>
                </a:cubicBezTo>
                <a:cubicBezTo>
                  <a:pt x="2350" y="1155"/>
                  <a:pt x="2351" y="1156"/>
                  <a:pt x="2351" y="1157"/>
                </a:cubicBezTo>
                <a:cubicBezTo>
                  <a:pt x="2349" y="1161"/>
                  <a:pt x="2352" y="1163"/>
                  <a:pt x="2356" y="1166"/>
                </a:cubicBezTo>
                <a:cubicBezTo>
                  <a:pt x="2358" y="1168"/>
                  <a:pt x="2360" y="1170"/>
                  <a:pt x="2363" y="1172"/>
                </a:cubicBezTo>
                <a:cubicBezTo>
                  <a:pt x="2363" y="1177"/>
                  <a:pt x="2369" y="1180"/>
                  <a:pt x="2369" y="1185"/>
                </a:cubicBezTo>
                <a:cubicBezTo>
                  <a:pt x="2371" y="1186"/>
                  <a:pt x="2371" y="1187"/>
                  <a:pt x="2369" y="1188"/>
                </a:cubicBezTo>
                <a:cubicBezTo>
                  <a:pt x="2369" y="1189"/>
                  <a:pt x="2369" y="1191"/>
                  <a:pt x="2369" y="1192"/>
                </a:cubicBezTo>
                <a:cubicBezTo>
                  <a:pt x="2374" y="1195"/>
                  <a:pt x="2378" y="1198"/>
                  <a:pt x="2379" y="1204"/>
                </a:cubicBezTo>
                <a:cubicBezTo>
                  <a:pt x="2379" y="1205"/>
                  <a:pt x="2381" y="1207"/>
                  <a:pt x="2382" y="1207"/>
                </a:cubicBezTo>
                <a:cubicBezTo>
                  <a:pt x="2386" y="1209"/>
                  <a:pt x="2390" y="1210"/>
                  <a:pt x="2395" y="1210"/>
                </a:cubicBezTo>
                <a:cubicBezTo>
                  <a:pt x="2397" y="1210"/>
                  <a:pt x="2398" y="1209"/>
                  <a:pt x="2397" y="1207"/>
                </a:cubicBezTo>
                <a:cubicBezTo>
                  <a:pt x="2395" y="1201"/>
                  <a:pt x="2401" y="1198"/>
                  <a:pt x="2400" y="1193"/>
                </a:cubicBezTo>
                <a:cubicBezTo>
                  <a:pt x="2400" y="1193"/>
                  <a:pt x="2401" y="1192"/>
                  <a:pt x="2402" y="1193"/>
                </a:cubicBezTo>
                <a:cubicBezTo>
                  <a:pt x="2406" y="1194"/>
                  <a:pt x="2409" y="1190"/>
                  <a:pt x="2412" y="1190"/>
                </a:cubicBezTo>
                <a:cubicBezTo>
                  <a:pt x="2414" y="1189"/>
                  <a:pt x="2414" y="1188"/>
                  <a:pt x="2414" y="1187"/>
                </a:cubicBezTo>
                <a:cubicBezTo>
                  <a:pt x="2412" y="1183"/>
                  <a:pt x="2411" y="1179"/>
                  <a:pt x="2407" y="1176"/>
                </a:cubicBezTo>
                <a:cubicBezTo>
                  <a:pt x="2405" y="1175"/>
                  <a:pt x="2402" y="1174"/>
                  <a:pt x="2401" y="1172"/>
                </a:cubicBezTo>
                <a:cubicBezTo>
                  <a:pt x="2397" y="1167"/>
                  <a:pt x="2393" y="1161"/>
                  <a:pt x="2389" y="1155"/>
                </a:cubicBezTo>
                <a:cubicBezTo>
                  <a:pt x="2389" y="1154"/>
                  <a:pt x="2389" y="1153"/>
                  <a:pt x="2389" y="1151"/>
                </a:cubicBezTo>
                <a:cubicBezTo>
                  <a:pt x="2389" y="1151"/>
                  <a:pt x="2389" y="1150"/>
                  <a:pt x="2389" y="1150"/>
                </a:cubicBezTo>
                <a:cubicBezTo>
                  <a:pt x="2390" y="1149"/>
                  <a:pt x="2391" y="1149"/>
                  <a:pt x="2392" y="1150"/>
                </a:cubicBezTo>
                <a:cubicBezTo>
                  <a:pt x="2393" y="1150"/>
                  <a:pt x="2394" y="1151"/>
                  <a:pt x="2394" y="1152"/>
                </a:cubicBezTo>
                <a:cubicBezTo>
                  <a:pt x="2399" y="1156"/>
                  <a:pt x="2404" y="1155"/>
                  <a:pt x="2406" y="1149"/>
                </a:cubicBezTo>
                <a:cubicBezTo>
                  <a:pt x="2406" y="1147"/>
                  <a:pt x="2407" y="1145"/>
                  <a:pt x="2408" y="1143"/>
                </a:cubicBezTo>
                <a:cubicBezTo>
                  <a:pt x="2408" y="1142"/>
                  <a:pt x="2410" y="1141"/>
                  <a:pt x="2411" y="1142"/>
                </a:cubicBezTo>
                <a:cubicBezTo>
                  <a:pt x="2413" y="1143"/>
                  <a:pt x="2415" y="1143"/>
                  <a:pt x="2417" y="1141"/>
                </a:cubicBezTo>
                <a:cubicBezTo>
                  <a:pt x="2420" y="1139"/>
                  <a:pt x="2423" y="1139"/>
                  <a:pt x="2426" y="1140"/>
                </a:cubicBezTo>
                <a:cubicBezTo>
                  <a:pt x="2431" y="1140"/>
                  <a:pt x="2434" y="1144"/>
                  <a:pt x="2434" y="1149"/>
                </a:cubicBezTo>
                <a:cubicBezTo>
                  <a:pt x="2435" y="1155"/>
                  <a:pt x="2435" y="1162"/>
                  <a:pt x="2433" y="1168"/>
                </a:cubicBezTo>
                <a:cubicBezTo>
                  <a:pt x="2432" y="1169"/>
                  <a:pt x="2434" y="1171"/>
                  <a:pt x="2436" y="1171"/>
                </a:cubicBezTo>
                <a:cubicBezTo>
                  <a:pt x="2437" y="1171"/>
                  <a:pt x="2439" y="1171"/>
                  <a:pt x="2441" y="1171"/>
                </a:cubicBezTo>
                <a:cubicBezTo>
                  <a:pt x="2441" y="1171"/>
                  <a:pt x="2442" y="1171"/>
                  <a:pt x="2442" y="1171"/>
                </a:cubicBezTo>
                <a:cubicBezTo>
                  <a:pt x="2443" y="1171"/>
                  <a:pt x="2443" y="1172"/>
                  <a:pt x="2443" y="1172"/>
                </a:cubicBezTo>
                <a:cubicBezTo>
                  <a:pt x="2444" y="1173"/>
                  <a:pt x="2444" y="1175"/>
                  <a:pt x="2443" y="1175"/>
                </a:cubicBezTo>
                <a:cubicBezTo>
                  <a:pt x="2441" y="1179"/>
                  <a:pt x="2437" y="1178"/>
                  <a:pt x="2435" y="1180"/>
                </a:cubicBezTo>
                <a:cubicBezTo>
                  <a:pt x="2434" y="1180"/>
                  <a:pt x="2434" y="1180"/>
                  <a:pt x="2434" y="1181"/>
                </a:cubicBezTo>
                <a:cubicBezTo>
                  <a:pt x="2433" y="1182"/>
                  <a:pt x="2433" y="1183"/>
                  <a:pt x="2435" y="1184"/>
                </a:cubicBezTo>
                <a:cubicBezTo>
                  <a:pt x="2436" y="1185"/>
                  <a:pt x="2438" y="1186"/>
                  <a:pt x="2440" y="1187"/>
                </a:cubicBezTo>
                <a:cubicBezTo>
                  <a:pt x="2442" y="1187"/>
                  <a:pt x="2443" y="1188"/>
                  <a:pt x="2445" y="1189"/>
                </a:cubicBezTo>
                <a:cubicBezTo>
                  <a:pt x="2447" y="1191"/>
                  <a:pt x="2442" y="1193"/>
                  <a:pt x="2444" y="1194"/>
                </a:cubicBezTo>
                <a:cubicBezTo>
                  <a:pt x="2447" y="1196"/>
                  <a:pt x="2450" y="1198"/>
                  <a:pt x="2451" y="1201"/>
                </a:cubicBezTo>
                <a:cubicBezTo>
                  <a:pt x="2453" y="1204"/>
                  <a:pt x="2456" y="1206"/>
                  <a:pt x="2458" y="1208"/>
                </a:cubicBezTo>
                <a:cubicBezTo>
                  <a:pt x="2460" y="1210"/>
                  <a:pt x="2462" y="1210"/>
                  <a:pt x="2464" y="1209"/>
                </a:cubicBezTo>
                <a:cubicBezTo>
                  <a:pt x="2469" y="1208"/>
                  <a:pt x="2473" y="1210"/>
                  <a:pt x="2476" y="1214"/>
                </a:cubicBezTo>
                <a:cubicBezTo>
                  <a:pt x="2477" y="1215"/>
                  <a:pt x="2478" y="1216"/>
                  <a:pt x="2480" y="1216"/>
                </a:cubicBezTo>
                <a:cubicBezTo>
                  <a:pt x="2481" y="1217"/>
                  <a:pt x="2482" y="1218"/>
                  <a:pt x="2483" y="1217"/>
                </a:cubicBezTo>
                <a:cubicBezTo>
                  <a:pt x="2488" y="1217"/>
                  <a:pt x="2494" y="1216"/>
                  <a:pt x="2498" y="1211"/>
                </a:cubicBezTo>
                <a:cubicBezTo>
                  <a:pt x="2500" y="1208"/>
                  <a:pt x="2504" y="1208"/>
                  <a:pt x="2508" y="1209"/>
                </a:cubicBezTo>
                <a:cubicBezTo>
                  <a:pt x="2512" y="1210"/>
                  <a:pt x="2515" y="1211"/>
                  <a:pt x="2518" y="1214"/>
                </a:cubicBezTo>
                <a:cubicBezTo>
                  <a:pt x="2522" y="1219"/>
                  <a:pt x="2528" y="1219"/>
                  <a:pt x="2533" y="1218"/>
                </a:cubicBezTo>
                <a:cubicBezTo>
                  <a:pt x="2539" y="1217"/>
                  <a:pt x="2544" y="1214"/>
                  <a:pt x="2549" y="1209"/>
                </a:cubicBezTo>
                <a:cubicBezTo>
                  <a:pt x="2550" y="1207"/>
                  <a:pt x="2552" y="1206"/>
                  <a:pt x="2555" y="1207"/>
                </a:cubicBezTo>
                <a:cubicBezTo>
                  <a:pt x="2559" y="1209"/>
                  <a:pt x="2563" y="1208"/>
                  <a:pt x="2567" y="1209"/>
                </a:cubicBezTo>
                <a:cubicBezTo>
                  <a:pt x="2567" y="1209"/>
                  <a:pt x="2567" y="1209"/>
                  <a:pt x="2567" y="1208"/>
                </a:cubicBezTo>
                <a:cubicBezTo>
                  <a:pt x="2568" y="1208"/>
                  <a:pt x="2568" y="1208"/>
                  <a:pt x="2568" y="1208"/>
                </a:cubicBezTo>
                <a:cubicBezTo>
                  <a:pt x="2568" y="1209"/>
                  <a:pt x="2568" y="1209"/>
                  <a:pt x="2568" y="1209"/>
                </a:cubicBezTo>
                <a:cubicBezTo>
                  <a:pt x="2567" y="1209"/>
                  <a:pt x="2567" y="1209"/>
                  <a:pt x="2567" y="1209"/>
                </a:cubicBezTo>
                <a:cubicBezTo>
                  <a:pt x="2565" y="1215"/>
                  <a:pt x="2566" y="1220"/>
                  <a:pt x="2567" y="1226"/>
                </a:cubicBezTo>
                <a:cubicBezTo>
                  <a:pt x="2568" y="1232"/>
                  <a:pt x="2567" y="1237"/>
                  <a:pt x="2566" y="1243"/>
                </a:cubicBezTo>
                <a:cubicBezTo>
                  <a:pt x="2565" y="1247"/>
                  <a:pt x="2563" y="1251"/>
                  <a:pt x="2562" y="1255"/>
                </a:cubicBezTo>
                <a:cubicBezTo>
                  <a:pt x="2560" y="1261"/>
                  <a:pt x="2557" y="1266"/>
                  <a:pt x="2556" y="1272"/>
                </a:cubicBezTo>
                <a:cubicBezTo>
                  <a:pt x="2555" y="1278"/>
                  <a:pt x="2552" y="1282"/>
                  <a:pt x="2549" y="1287"/>
                </a:cubicBezTo>
                <a:cubicBezTo>
                  <a:pt x="2547" y="1289"/>
                  <a:pt x="2545" y="1290"/>
                  <a:pt x="2543" y="1290"/>
                </a:cubicBezTo>
                <a:cubicBezTo>
                  <a:pt x="2535" y="1290"/>
                  <a:pt x="2527" y="1292"/>
                  <a:pt x="2519" y="1288"/>
                </a:cubicBezTo>
                <a:cubicBezTo>
                  <a:pt x="2516" y="1287"/>
                  <a:pt x="2512" y="1287"/>
                  <a:pt x="2509" y="1287"/>
                </a:cubicBezTo>
                <a:cubicBezTo>
                  <a:pt x="2502" y="1286"/>
                  <a:pt x="2495" y="1288"/>
                  <a:pt x="2489" y="1292"/>
                </a:cubicBezTo>
                <a:cubicBezTo>
                  <a:pt x="2486" y="1294"/>
                  <a:pt x="2483" y="1294"/>
                  <a:pt x="2479" y="1293"/>
                </a:cubicBezTo>
                <a:cubicBezTo>
                  <a:pt x="2467" y="1291"/>
                  <a:pt x="2456" y="1287"/>
                  <a:pt x="2444" y="1286"/>
                </a:cubicBezTo>
                <a:cubicBezTo>
                  <a:pt x="2439" y="1285"/>
                  <a:pt x="2435" y="1285"/>
                  <a:pt x="2431" y="1283"/>
                </a:cubicBezTo>
                <a:cubicBezTo>
                  <a:pt x="2426" y="1279"/>
                  <a:pt x="2420" y="1278"/>
                  <a:pt x="2414" y="1278"/>
                </a:cubicBezTo>
                <a:cubicBezTo>
                  <a:pt x="2409" y="1277"/>
                  <a:pt x="2404" y="1275"/>
                  <a:pt x="2401" y="1271"/>
                </a:cubicBezTo>
                <a:cubicBezTo>
                  <a:pt x="2399" y="1270"/>
                  <a:pt x="2397" y="1269"/>
                  <a:pt x="2395" y="1268"/>
                </a:cubicBezTo>
                <a:cubicBezTo>
                  <a:pt x="2386" y="1266"/>
                  <a:pt x="2376" y="1266"/>
                  <a:pt x="2368" y="1270"/>
                </a:cubicBezTo>
                <a:cubicBezTo>
                  <a:pt x="2362" y="1273"/>
                  <a:pt x="2357" y="1281"/>
                  <a:pt x="2359" y="1288"/>
                </a:cubicBezTo>
                <a:cubicBezTo>
                  <a:pt x="2360" y="1291"/>
                  <a:pt x="2360" y="1293"/>
                  <a:pt x="2361" y="1295"/>
                </a:cubicBezTo>
                <a:cubicBezTo>
                  <a:pt x="2361" y="1297"/>
                  <a:pt x="2361" y="1299"/>
                  <a:pt x="2359" y="1301"/>
                </a:cubicBezTo>
                <a:cubicBezTo>
                  <a:pt x="2358" y="1302"/>
                  <a:pt x="2357" y="1303"/>
                  <a:pt x="2356" y="1305"/>
                </a:cubicBezTo>
                <a:cubicBezTo>
                  <a:pt x="2353" y="1307"/>
                  <a:pt x="2348" y="1308"/>
                  <a:pt x="2345" y="1306"/>
                </a:cubicBezTo>
                <a:cubicBezTo>
                  <a:pt x="2343" y="1305"/>
                  <a:pt x="2342" y="1304"/>
                  <a:pt x="2340" y="1302"/>
                </a:cubicBezTo>
                <a:cubicBezTo>
                  <a:pt x="2337" y="1301"/>
                  <a:pt x="2334" y="1299"/>
                  <a:pt x="2332" y="1297"/>
                </a:cubicBezTo>
                <a:cubicBezTo>
                  <a:pt x="2325" y="1293"/>
                  <a:pt x="2318" y="1291"/>
                  <a:pt x="2310" y="1291"/>
                </a:cubicBezTo>
                <a:cubicBezTo>
                  <a:pt x="2306" y="1291"/>
                  <a:pt x="2303" y="1289"/>
                  <a:pt x="2302" y="1285"/>
                </a:cubicBezTo>
                <a:cubicBezTo>
                  <a:pt x="2301" y="1283"/>
                  <a:pt x="2300" y="1281"/>
                  <a:pt x="2300" y="1279"/>
                </a:cubicBezTo>
                <a:cubicBezTo>
                  <a:pt x="2298" y="1276"/>
                  <a:pt x="2296" y="1274"/>
                  <a:pt x="2293" y="1272"/>
                </a:cubicBezTo>
                <a:cubicBezTo>
                  <a:pt x="2284" y="1269"/>
                  <a:pt x="2274" y="1266"/>
                  <a:pt x="2264" y="1267"/>
                </a:cubicBezTo>
                <a:cubicBezTo>
                  <a:pt x="2258" y="1268"/>
                  <a:pt x="2253" y="1265"/>
                  <a:pt x="2248" y="1263"/>
                </a:cubicBezTo>
                <a:cubicBezTo>
                  <a:pt x="2248" y="1263"/>
                  <a:pt x="2247" y="1263"/>
                  <a:pt x="2247" y="1263"/>
                </a:cubicBezTo>
                <a:cubicBezTo>
                  <a:pt x="2243" y="1258"/>
                  <a:pt x="2238" y="1256"/>
                  <a:pt x="2233" y="1254"/>
                </a:cubicBezTo>
                <a:cubicBezTo>
                  <a:pt x="2231" y="1254"/>
                  <a:pt x="2230" y="1249"/>
                  <a:pt x="2231" y="1247"/>
                </a:cubicBezTo>
                <a:cubicBezTo>
                  <a:pt x="2233" y="1245"/>
                  <a:pt x="2236" y="1243"/>
                  <a:pt x="2238" y="1240"/>
                </a:cubicBezTo>
                <a:cubicBezTo>
                  <a:pt x="2241" y="1237"/>
                  <a:pt x="2241" y="1232"/>
                  <a:pt x="2240" y="1228"/>
                </a:cubicBezTo>
                <a:cubicBezTo>
                  <a:pt x="2239" y="1225"/>
                  <a:pt x="2237" y="1223"/>
                  <a:pt x="2235" y="1221"/>
                </a:cubicBezTo>
                <a:cubicBezTo>
                  <a:pt x="2235" y="1220"/>
                  <a:pt x="2234" y="1219"/>
                  <a:pt x="2235" y="1218"/>
                </a:cubicBezTo>
                <a:cubicBezTo>
                  <a:pt x="2236" y="1215"/>
                  <a:pt x="2237" y="1212"/>
                  <a:pt x="2239" y="1209"/>
                </a:cubicBezTo>
                <a:cubicBezTo>
                  <a:pt x="2239" y="1207"/>
                  <a:pt x="2238" y="1206"/>
                  <a:pt x="2236" y="1206"/>
                </a:cubicBezTo>
                <a:cubicBezTo>
                  <a:pt x="2233" y="1207"/>
                  <a:pt x="2231" y="1207"/>
                  <a:pt x="2228" y="1204"/>
                </a:cubicBezTo>
                <a:cubicBezTo>
                  <a:pt x="2225" y="1200"/>
                  <a:pt x="2221" y="1200"/>
                  <a:pt x="2216" y="1202"/>
                </a:cubicBezTo>
                <a:cubicBezTo>
                  <a:pt x="2212" y="1203"/>
                  <a:pt x="2208" y="1205"/>
                  <a:pt x="2204" y="1206"/>
                </a:cubicBezTo>
                <a:cubicBezTo>
                  <a:pt x="2201" y="1206"/>
                  <a:pt x="2199" y="1206"/>
                  <a:pt x="2196" y="1206"/>
                </a:cubicBezTo>
                <a:cubicBezTo>
                  <a:pt x="2192" y="1203"/>
                  <a:pt x="2187" y="1208"/>
                  <a:pt x="2183" y="1206"/>
                </a:cubicBezTo>
                <a:cubicBezTo>
                  <a:pt x="2178" y="1203"/>
                  <a:pt x="2175" y="1207"/>
                  <a:pt x="2171" y="1207"/>
                </a:cubicBezTo>
                <a:cubicBezTo>
                  <a:pt x="2167" y="1208"/>
                  <a:pt x="2164" y="1208"/>
                  <a:pt x="2161" y="1208"/>
                </a:cubicBezTo>
                <a:cubicBezTo>
                  <a:pt x="2152" y="1206"/>
                  <a:pt x="2144" y="1207"/>
                  <a:pt x="2136" y="1209"/>
                </a:cubicBezTo>
                <a:cubicBezTo>
                  <a:pt x="2132" y="1211"/>
                  <a:pt x="2128" y="1211"/>
                  <a:pt x="2123" y="1211"/>
                </a:cubicBezTo>
                <a:cubicBezTo>
                  <a:pt x="2119" y="1211"/>
                  <a:pt x="2116" y="1212"/>
                  <a:pt x="2112" y="1214"/>
                </a:cubicBezTo>
                <a:cubicBezTo>
                  <a:pt x="2106" y="1217"/>
                  <a:pt x="2101" y="1220"/>
                  <a:pt x="2094" y="1222"/>
                </a:cubicBezTo>
                <a:cubicBezTo>
                  <a:pt x="2090" y="1224"/>
                  <a:pt x="2086" y="1226"/>
                  <a:pt x="2082" y="1230"/>
                </a:cubicBezTo>
                <a:cubicBezTo>
                  <a:pt x="2077" y="1234"/>
                  <a:pt x="2072" y="1235"/>
                  <a:pt x="2066" y="1232"/>
                </a:cubicBezTo>
                <a:cubicBezTo>
                  <a:pt x="2062" y="1231"/>
                  <a:pt x="2058" y="1230"/>
                  <a:pt x="2054" y="1231"/>
                </a:cubicBezTo>
                <a:cubicBezTo>
                  <a:pt x="2049" y="1231"/>
                  <a:pt x="2045" y="1231"/>
                  <a:pt x="2040" y="1231"/>
                </a:cubicBezTo>
                <a:cubicBezTo>
                  <a:pt x="2038" y="1231"/>
                  <a:pt x="2036" y="1229"/>
                  <a:pt x="2035" y="1228"/>
                </a:cubicBezTo>
                <a:cubicBezTo>
                  <a:pt x="2034" y="1228"/>
                  <a:pt x="2033" y="1227"/>
                  <a:pt x="2032" y="1226"/>
                </a:cubicBezTo>
                <a:cubicBezTo>
                  <a:pt x="2028" y="1221"/>
                  <a:pt x="2024" y="1222"/>
                  <a:pt x="2021" y="1228"/>
                </a:cubicBezTo>
                <a:cubicBezTo>
                  <a:pt x="2020" y="1232"/>
                  <a:pt x="2019" y="1235"/>
                  <a:pt x="2018" y="1238"/>
                </a:cubicBezTo>
                <a:cubicBezTo>
                  <a:pt x="2017" y="1246"/>
                  <a:pt x="2012" y="1250"/>
                  <a:pt x="2005" y="1254"/>
                </a:cubicBezTo>
                <a:cubicBezTo>
                  <a:pt x="2000" y="1257"/>
                  <a:pt x="1994" y="1260"/>
                  <a:pt x="1988" y="1264"/>
                </a:cubicBezTo>
                <a:cubicBezTo>
                  <a:pt x="1983" y="1267"/>
                  <a:pt x="1978" y="1271"/>
                  <a:pt x="1978" y="1278"/>
                </a:cubicBezTo>
                <a:cubicBezTo>
                  <a:pt x="1978" y="1281"/>
                  <a:pt x="1976" y="1283"/>
                  <a:pt x="1975" y="1285"/>
                </a:cubicBezTo>
                <a:cubicBezTo>
                  <a:pt x="1972" y="1289"/>
                  <a:pt x="1971" y="1293"/>
                  <a:pt x="1971" y="1298"/>
                </a:cubicBezTo>
                <a:cubicBezTo>
                  <a:pt x="1972" y="1301"/>
                  <a:pt x="1972" y="1304"/>
                  <a:pt x="1972" y="1308"/>
                </a:cubicBezTo>
                <a:cubicBezTo>
                  <a:pt x="1972" y="1311"/>
                  <a:pt x="1971" y="1313"/>
                  <a:pt x="1969" y="1315"/>
                </a:cubicBezTo>
                <a:cubicBezTo>
                  <a:pt x="1967" y="1319"/>
                  <a:pt x="1965" y="1322"/>
                  <a:pt x="1963" y="1325"/>
                </a:cubicBezTo>
                <a:cubicBezTo>
                  <a:pt x="1962" y="1327"/>
                  <a:pt x="1960" y="1328"/>
                  <a:pt x="1958" y="1329"/>
                </a:cubicBezTo>
                <a:cubicBezTo>
                  <a:pt x="1955" y="1331"/>
                  <a:pt x="1952" y="1333"/>
                  <a:pt x="1950" y="1335"/>
                </a:cubicBezTo>
                <a:cubicBezTo>
                  <a:pt x="1946" y="1338"/>
                  <a:pt x="1942" y="1339"/>
                  <a:pt x="1938" y="1340"/>
                </a:cubicBezTo>
                <a:cubicBezTo>
                  <a:pt x="1934" y="1340"/>
                  <a:pt x="1931" y="1343"/>
                  <a:pt x="1929" y="1346"/>
                </a:cubicBezTo>
                <a:cubicBezTo>
                  <a:pt x="1927" y="1348"/>
                  <a:pt x="1926" y="1350"/>
                  <a:pt x="1925" y="1352"/>
                </a:cubicBezTo>
                <a:cubicBezTo>
                  <a:pt x="1923" y="1356"/>
                  <a:pt x="1920" y="1359"/>
                  <a:pt x="1916" y="1361"/>
                </a:cubicBezTo>
                <a:cubicBezTo>
                  <a:pt x="1912" y="1364"/>
                  <a:pt x="1909" y="1368"/>
                  <a:pt x="1907" y="1372"/>
                </a:cubicBezTo>
                <a:cubicBezTo>
                  <a:pt x="1903" y="1380"/>
                  <a:pt x="1899" y="1388"/>
                  <a:pt x="1893" y="1394"/>
                </a:cubicBezTo>
                <a:cubicBezTo>
                  <a:pt x="1891" y="1396"/>
                  <a:pt x="1890" y="1398"/>
                  <a:pt x="1889" y="1400"/>
                </a:cubicBezTo>
                <a:cubicBezTo>
                  <a:pt x="1885" y="1408"/>
                  <a:pt x="1881" y="1417"/>
                  <a:pt x="1876" y="1424"/>
                </a:cubicBezTo>
                <a:cubicBezTo>
                  <a:pt x="1873" y="1428"/>
                  <a:pt x="1873" y="1431"/>
                  <a:pt x="1872" y="1435"/>
                </a:cubicBezTo>
                <a:cubicBezTo>
                  <a:pt x="1872" y="1440"/>
                  <a:pt x="1873" y="1444"/>
                  <a:pt x="1877" y="1447"/>
                </a:cubicBezTo>
                <a:cubicBezTo>
                  <a:pt x="1881" y="1449"/>
                  <a:pt x="1882" y="1453"/>
                  <a:pt x="1881" y="1457"/>
                </a:cubicBezTo>
                <a:cubicBezTo>
                  <a:pt x="1880" y="1460"/>
                  <a:pt x="1880" y="1464"/>
                  <a:pt x="1881" y="1468"/>
                </a:cubicBezTo>
                <a:cubicBezTo>
                  <a:pt x="1884" y="1477"/>
                  <a:pt x="1884" y="1487"/>
                  <a:pt x="1880" y="1497"/>
                </a:cubicBezTo>
                <a:cubicBezTo>
                  <a:pt x="1879" y="1498"/>
                  <a:pt x="1879" y="1499"/>
                  <a:pt x="1879" y="1500"/>
                </a:cubicBezTo>
                <a:cubicBezTo>
                  <a:pt x="1877" y="1510"/>
                  <a:pt x="1874" y="1519"/>
                  <a:pt x="1867" y="1527"/>
                </a:cubicBezTo>
                <a:cubicBezTo>
                  <a:pt x="1866" y="1527"/>
                  <a:pt x="1866" y="1529"/>
                  <a:pt x="1867" y="1530"/>
                </a:cubicBezTo>
                <a:cubicBezTo>
                  <a:pt x="1869" y="1532"/>
                  <a:pt x="1870" y="1535"/>
                  <a:pt x="1872" y="1538"/>
                </a:cubicBezTo>
                <a:cubicBezTo>
                  <a:pt x="1874" y="1541"/>
                  <a:pt x="1875" y="1544"/>
                  <a:pt x="1874" y="1547"/>
                </a:cubicBezTo>
                <a:cubicBezTo>
                  <a:pt x="1872" y="1552"/>
                  <a:pt x="1873" y="1557"/>
                  <a:pt x="1875" y="1561"/>
                </a:cubicBezTo>
                <a:cubicBezTo>
                  <a:pt x="1877" y="1565"/>
                  <a:pt x="1880" y="1568"/>
                  <a:pt x="1883" y="1569"/>
                </a:cubicBezTo>
                <a:cubicBezTo>
                  <a:pt x="1886" y="1571"/>
                  <a:pt x="1890" y="1572"/>
                  <a:pt x="1893" y="1573"/>
                </a:cubicBezTo>
                <a:cubicBezTo>
                  <a:pt x="1893" y="1572"/>
                  <a:pt x="1893" y="1572"/>
                  <a:pt x="1893" y="1572"/>
                </a:cubicBezTo>
                <a:cubicBezTo>
                  <a:pt x="1893" y="1572"/>
                  <a:pt x="1893" y="1572"/>
                  <a:pt x="1893" y="1572"/>
                </a:cubicBezTo>
                <a:cubicBezTo>
                  <a:pt x="1893" y="1573"/>
                  <a:pt x="1893" y="1573"/>
                  <a:pt x="1893" y="1573"/>
                </a:cubicBezTo>
                <a:cubicBezTo>
                  <a:pt x="1893" y="1573"/>
                  <a:pt x="1893" y="1573"/>
                  <a:pt x="1893" y="1573"/>
                </a:cubicBezTo>
                <a:cubicBezTo>
                  <a:pt x="1893" y="1576"/>
                  <a:pt x="1894" y="1579"/>
                  <a:pt x="1897" y="1581"/>
                </a:cubicBezTo>
                <a:cubicBezTo>
                  <a:pt x="1900" y="1582"/>
                  <a:pt x="1902" y="1585"/>
                  <a:pt x="1903" y="1588"/>
                </a:cubicBezTo>
                <a:cubicBezTo>
                  <a:pt x="1903" y="1590"/>
                  <a:pt x="1905" y="1592"/>
                  <a:pt x="1907" y="1593"/>
                </a:cubicBezTo>
                <a:cubicBezTo>
                  <a:pt x="1912" y="1595"/>
                  <a:pt x="1915" y="1598"/>
                  <a:pt x="1919" y="1602"/>
                </a:cubicBezTo>
                <a:cubicBezTo>
                  <a:pt x="1920" y="1604"/>
                  <a:pt x="1922" y="1606"/>
                  <a:pt x="1922" y="1608"/>
                </a:cubicBezTo>
                <a:cubicBezTo>
                  <a:pt x="1922" y="1615"/>
                  <a:pt x="1926" y="1620"/>
                  <a:pt x="1929" y="1626"/>
                </a:cubicBezTo>
                <a:cubicBezTo>
                  <a:pt x="1932" y="1632"/>
                  <a:pt x="1937" y="1637"/>
                  <a:pt x="1943" y="1639"/>
                </a:cubicBezTo>
                <a:cubicBezTo>
                  <a:pt x="1948" y="1641"/>
                  <a:pt x="1952" y="1644"/>
                  <a:pt x="1956" y="1647"/>
                </a:cubicBezTo>
                <a:cubicBezTo>
                  <a:pt x="1965" y="1654"/>
                  <a:pt x="1973" y="1662"/>
                  <a:pt x="1983" y="1667"/>
                </a:cubicBezTo>
                <a:cubicBezTo>
                  <a:pt x="1988" y="1670"/>
                  <a:pt x="1993" y="1672"/>
                  <a:pt x="1998" y="1674"/>
                </a:cubicBezTo>
                <a:cubicBezTo>
                  <a:pt x="2000" y="1674"/>
                  <a:pt x="2002" y="1674"/>
                  <a:pt x="2003" y="1674"/>
                </a:cubicBezTo>
                <a:cubicBezTo>
                  <a:pt x="2007" y="1672"/>
                  <a:pt x="2010" y="1671"/>
                  <a:pt x="2014" y="1669"/>
                </a:cubicBezTo>
                <a:cubicBezTo>
                  <a:pt x="2020" y="1666"/>
                  <a:pt x="2026" y="1664"/>
                  <a:pt x="2033" y="1665"/>
                </a:cubicBezTo>
                <a:cubicBezTo>
                  <a:pt x="2037" y="1665"/>
                  <a:pt x="2042" y="1664"/>
                  <a:pt x="2046" y="1664"/>
                </a:cubicBezTo>
                <a:cubicBezTo>
                  <a:pt x="2053" y="1663"/>
                  <a:pt x="2059" y="1663"/>
                  <a:pt x="2065" y="1666"/>
                </a:cubicBezTo>
                <a:cubicBezTo>
                  <a:pt x="2067" y="1667"/>
                  <a:pt x="2068" y="1667"/>
                  <a:pt x="2070" y="1668"/>
                </a:cubicBezTo>
                <a:cubicBezTo>
                  <a:pt x="2073" y="1669"/>
                  <a:pt x="2076" y="1668"/>
                  <a:pt x="2079" y="1667"/>
                </a:cubicBezTo>
                <a:cubicBezTo>
                  <a:pt x="2083" y="1666"/>
                  <a:pt x="2087" y="1665"/>
                  <a:pt x="2090" y="1664"/>
                </a:cubicBezTo>
                <a:cubicBezTo>
                  <a:pt x="2093" y="1662"/>
                  <a:pt x="2097" y="1661"/>
                  <a:pt x="2099" y="1660"/>
                </a:cubicBezTo>
                <a:cubicBezTo>
                  <a:pt x="2103" y="1657"/>
                  <a:pt x="2108" y="1655"/>
                  <a:pt x="2113" y="1653"/>
                </a:cubicBezTo>
                <a:cubicBezTo>
                  <a:pt x="2118" y="1652"/>
                  <a:pt x="2122" y="1650"/>
                  <a:pt x="2127" y="1649"/>
                </a:cubicBezTo>
                <a:cubicBezTo>
                  <a:pt x="2134" y="1648"/>
                  <a:pt x="2141" y="1645"/>
                  <a:pt x="2148" y="1646"/>
                </a:cubicBezTo>
                <a:cubicBezTo>
                  <a:pt x="2150" y="1646"/>
                  <a:pt x="2151" y="1646"/>
                  <a:pt x="2153" y="1647"/>
                </a:cubicBezTo>
                <a:cubicBezTo>
                  <a:pt x="2159" y="1650"/>
                  <a:pt x="2164" y="1654"/>
                  <a:pt x="2167" y="1660"/>
                </a:cubicBezTo>
                <a:cubicBezTo>
                  <a:pt x="2168" y="1663"/>
                  <a:pt x="2169" y="1666"/>
                  <a:pt x="2171" y="1669"/>
                </a:cubicBezTo>
                <a:cubicBezTo>
                  <a:pt x="2173" y="1675"/>
                  <a:pt x="2178" y="1677"/>
                  <a:pt x="2184" y="1677"/>
                </a:cubicBezTo>
                <a:cubicBezTo>
                  <a:pt x="2186" y="1677"/>
                  <a:pt x="2187" y="1677"/>
                  <a:pt x="2189" y="1677"/>
                </a:cubicBezTo>
                <a:cubicBezTo>
                  <a:pt x="2196" y="1676"/>
                  <a:pt x="2203" y="1675"/>
                  <a:pt x="2210" y="1673"/>
                </a:cubicBezTo>
                <a:cubicBezTo>
                  <a:pt x="2214" y="1672"/>
                  <a:pt x="2218" y="1672"/>
                  <a:pt x="2220" y="1676"/>
                </a:cubicBezTo>
                <a:cubicBezTo>
                  <a:pt x="2221" y="1678"/>
                  <a:pt x="2223" y="1680"/>
                  <a:pt x="2225" y="1681"/>
                </a:cubicBezTo>
                <a:cubicBezTo>
                  <a:pt x="2231" y="1684"/>
                  <a:pt x="2231" y="1691"/>
                  <a:pt x="2231" y="1696"/>
                </a:cubicBezTo>
                <a:cubicBezTo>
                  <a:pt x="2232" y="1700"/>
                  <a:pt x="2230" y="1704"/>
                  <a:pt x="2229" y="1708"/>
                </a:cubicBezTo>
                <a:cubicBezTo>
                  <a:pt x="2228" y="1711"/>
                  <a:pt x="2226" y="1714"/>
                  <a:pt x="2225" y="1717"/>
                </a:cubicBezTo>
                <a:cubicBezTo>
                  <a:pt x="2224" y="1720"/>
                  <a:pt x="2226" y="1724"/>
                  <a:pt x="2225" y="1728"/>
                </a:cubicBezTo>
                <a:cubicBezTo>
                  <a:pt x="2223" y="1734"/>
                  <a:pt x="2223" y="1740"/>
                  <a:pt x="2218" y="1745"/>
                </a:cubicBezTo>
                <a:cubicBezTo>
                  <a:pt x="2217" y="1745"/>
                  <a:pt x="2217" y="1747"/>
                  <a:pt x="2217" y="1748"/>
                </a:cubicBezTo>
                <a:cubicBezTo>
                  <a:pt x="2217" y="1748"/>
                  <a:pt x="2218" y="1749"/>
                  <a:pt x="2218" y="1749"/>
                </a:cubicBezTo>
                <a:cubicBezTo>
                  <a:pt x="2225" y="1767"/>
                  <a:pt x="2227" y="1771"/>
                  <a:pt x="2242" y="1784"/>
                </a:cubicBezTo>
                <a:cubicBezTo>
                  <a:pt x="2244" y="1786"/>
                  <a:pt x="2247" y="1789"/>
                  <a:pt x="2249" y="1791"/>
                </a:cubicBezTo>
                <a:cubicBezTo>
                  <a:pt x="2253" y="1794"/>
                  <a:pt x="2256" y="1799"/>
                  <a:pt x="2259" y="1804"/>
                </a:cubicBezTo>
                <a:cubicBezTo>
                  <a:pt x="2260" y="1806"/>
                  <a:pt x="2261" y="1809"/>
                  <a:pt x="2261" y="1812"/>
                </a:cubicBezTo>
                <a:cubicBezTo>
                  <a:pt x="2263" y="1818"/>
                  <a:pt x="2266" y="1824"/>
                  <a:pt x="2269" y="1830"/>
                </a:cubicBezTo>
                <a:cubicBezTo>
                  <a:pt x="2273" y="1836"/>
                  <a:pt x="2274" y="1844"/>
                  <a:pt x="2275" y="1851"/>
                </a:cubicBezTo>
                <a:cubicBezTo>
                  <a:pt x="2276" y="1853"/>
                  <a:pt x="2274" y="1855"/>
                  <a:pt x="2274" y="1856"/>
                </a:cubicBezTo>
                <a:cubicBezTo>
                  <a:pt x="2274" y="1858"/>
                  <a:pt x="2274" y="1861"/>
                  <a:pt x="2274" y="1863"/>
                </a:cubicBezTo>
                <a:cubicBezTo>
                  <a:pt x="2275" y="1868"/>
                  <a:pt x="2276" y="1872"/>
                  <a:pt x="2279" y="1877"/>
                </a:cubicBezTo>
                <a:cubicBezTo>
                  <a:pt x="2280" y="1879"/>
                  <a:pt x="2281" y="1881"/>
                  <a:pt x="2281" y="1883"/>
                </a:cubicBezTo>
                <a:cubicBezTo>
                  <a:pt x="2284" y="1892"/>
                  <a:pt x="2284" y="1900"/>
                  <a:pt x="2276" y="1907"/>
                </a:cubicBezTo>
                <a:cubicBezTo>
                  <a:pt x="2272" y="1910"/>
                  <a:pt x="2270" y="1914"/>
                  <a:pt x="2267" y="1917"/>
                </a:cubicBezTo>
                <a:cubicBezTo>
                  <a:pt x="2264" y="1920"/>
                  <a:pt x="2262" y="1924"/>
                  <a:pt x="2261" y="1928"/>
                </a:cubicBezTo>
                <a:cubicBezTo>
                  <a:pt x="2260" y="1936"/>
                  <a:pt x="2258" y="1942"/>
                  <a:pt x="2255" y="1949"/>
                </a:cubicBezTo>
                <a:cubicBezTo>
                  <a:pt x="2253" y="1952"/>
                  <a:pt x="2253" y="1956"/>
                  <a:pt x="2253" y="1960"/>
                </a:cubicBezTo>
                <a:cubicBezTo>
                  <a:pt x="2252" y="1967"/>
                  <a:pt x="2252" y="1973"/>
                  <a:pt x="2252" y="1980"/>
                </a:cubicBezTo>
                <a:cubicBezTo>
                  <a:pt x="2253" y="1983"/>
                  <a:pt x="2253" y="1987"/>
                  <a:pt x="2256" y="1989"/>
                </a:cubicBezTo>
                <a:cubicBezTo>
                  <a:pt x="2262" y="1995"/>
                  <a:pt x="2266" y="2003"/>
                  <a:pt x="2269" y="2011"/>
                </a:cubicBezTo>
                <a:cubicBezTo>
                  <a:pt x="2272" y="2020"/>
                  <a:pt x="2277" y="2029"/>
                  <a:pt x="2281" y="2037"/>
                </a:cubicBezTo>
                <a:cubicBezTo>
                  <a:pt x="2284" y="2043"/>
                  <a:pt x="2286" y="2049"/>
                  <a:pt x="2286" y="2056"/>
                </a:cubicBezTo>
                <a:cubicBezTo>
                  <a:pt x="2286" y="2063"/>
                  <a:pt x="2288" y="2070"/>
                  <a:pt x="2290" y="2077"/>
                </a:cubicBezTo>
                <a:cubicBezTo>
                  <a:pt x="2291" y="2079"/>
                  <a:pt x="2292" y="2082"/>
                  <a:pt x="2291" y="2085"/>
                </a:cubicBezTo>
                <a:cubicBezTo>
                  <a:pt x="2291" y="2093"/>
                  <a:pt x="2294" y="2100"/>
                  <a:pt x="2295" y="2107"/>
                </a:cubicBezTo>
                <a:cubicBezTo>
                  <a:pt x="2297" y="2116"/>
                  <a:pt x="2301" y="2123"/>
                  <a:pt x="2306" y="2130"/>
                </a:cubicBezTo>
                <a:cubicBezTo>
                  <a:pt x="2309" y="2133"/>
                  <a:pt x="2311" y="2137"/>
                  <a:pt x="2314" y="2140"/>
                </a:cubicBezTo>
                <a:cubicBezTo>
                  <a:pt x="2317" y="2143"/>
                  <a:pt x="2318" y="2147"/>
                  <a:pt x="2319" y="2152"/>
                </a:cubicBezTo>
                <a:cubicBezTo>
                  <a:pt x="2321" y="2160"/>
                  <a:pt x="2324" y="2169"/>
                  <a:pt x="2328" y="2177"/>
                </a:cubicBezTo>
                <a:cubicBezTo>
                  <a:pt x="2329" y="2179"/>
                  <a:pt x="2330" y="2181"/>
                  <a:pt x="2331" y="2183"/>
                </a:cubicBezTo>
                <a:cubicBezTo>
                  <a:pt x="2332" y="2188"/>
                  <a:pt x="2333" y="2192"/>
                  <a:pt x="2329" y="2197"/>
                </a:cubicBezTo>
                <a:cubicBezTo>
                  <a:pt x="2328" y="2198"/>
                  <a:pt x="2327" y="2201"/>
                  <a:pt x="2329" y="2203"/>
                </a:cubicBezTo>
                <a:cubicBezTo>
                  <a:pt x="2332" y="2207"/>
                  <a:pt x="2332" y="2212"/>
                  <a:pt x="2333" y="2217"/>
                </a:cubicBezTo>
                <a:cubicBezTo>
                  <a:pt x="2333" y="2218"/>
                  <a:pt x="2333" y="2219"/>
                  <a:pt x="2334" y="2220"/>
                </a:cubicBezTo>
                <a:cubicBezTo>
                  <a:pt x="2340" y="2223"/>
                  <a:pt x="2346" y="2226"/>
                  <a:pt x="2352" y="2229"/>
                </a:cubicBezTo>
                <a:cubicBezTo>
                  <a:pt x="2353" y="2230"/>
                  <a:pt x="2355" y="2230"/>
                  <a:pt x="2356" y="2229"/>
                </a:cubicBezTo>
                <a:cubicBezTo>
                  <a:pt x="2362" y="2226"/>
                  <a:pt x="2367" y="2224"/>
                  <a:pt x="2374" y="2224"/>
                </a:cubicBezTo>
                <a:cubicBezTo>
                  <a:pt x="2376" y="2225"/>
                  <a:pt x="2379" y="2224"/>
                  <a:pt x="2381" y="2222"/>
                </a:cubicBezTo>
                <a:cubicBezTo>
                  <a:pt x="2386" y="2221"/>
                  <a:pt x="2391" y="2220"/>
                  <a:pt x="2396" y="2220"/>
                </a:cubicBezTo>
                <a:cubicBezTo>
                  <a:pt x="2401" y="2220"/>
                  <a:pt x="2407" y="2218"/>
                  <a:pt x="2412" y="2221"/>
                </a:cubicBezTo>
                <a:cubicBezTo>
                  <a:pt x="2413" y="2221"/>
                  <a:pt x="2416" y="2222"/>
                  <a:pt x="2417" y="2221"/>
                </a:cubicBezTo>
                <a:cubicBezTo>
                  <a:pt x="2422" y="2218"/>
                  <a:pt x="2428" y="2221"/>
                  <a:pt x="2432" y="2216"/>
                </a:cubicBezTo>
                <a:cubicBezTo>
                  <a:pt x="2433" y="2215"/>
                  <a:pt x="2435" y="2214"/>
                  <a:pt x="2437" y="2214"/>
                </a:cubicBezTo>
                <a:cubicBezTo>
                  <a:pt x="2445" y="2214"/>
                  <a:pt x="2451" y="2211"/>
                  <a:pt x="2458" y="2206"/>
                </a:cubicBezTo>
                <a:cubicBezTo>
                  <a:pt x="2467" y="2200"/>
                  <a:pt x="2475" y="2192"/>
                  <a:pt x="2483" y="2185"/>
                </a:cubicBezTo>
                <a:cubicBezTo>
                  <a:pt x="2488" y="2180"/>
                  <a:pt x="2493" y="2175"/>
                  <a:pt x="2497" y="2169"/>
                </a:cubicBezTo>
                <a:cubicBezTo>
                  <a:pt x="2501" y="2162"/>
                  <a:pt x="2505" y="2157"/>
                  <a:pt x="2509" y="2151"/>
                </a:cubicBezTo>
                <a:cubicBezTo>
                  <a:pt x="2511" y="2148"/>
                  <a:pt x="2514" y="2145"/>
                  <a:pt x="2517" y="2143"/>
                </a:cubicBezTo>
                <a:cubicBezTo>
                  <a:pt x="2524" y="2138"/>
                  <a:pt x="2528" y="2132"/>
                  <a:pt x="2530" y="2124"/>
                </a:cubicBezTo>
                <a:cubicBezTo>
                  <a:pt x="2532" y="2119"/>
                  <a:pt x="2533" y="2114"/>
                  <a:pt x="2534" y="2108"/>
                </a:cubicBezTo>
                <a:cubicBezTo>
                  <a:pt x="2535" y="2106"/>
                  <a:pt x="2535" y="2103"/>
                  <a:pt x="2533" y="2100"/>
                </a:cubicBezTo>
                <a:cubicBezTo>
                  <a:pt x="2531" y="2097"/>
                  <a:pt x="2533" y="2094"/>
                  <a:pt x="2536" y="2092"/>
                </a:cubicBezTo>
                <a:cubicBezTo>
                  <a:pt x="2540" y="2088"/>
                  <a:pt x="2544" y="2086"/>
                  <a:pt x="2549" y="2084"/>
                </a:cubicBezTo>
                <a:cubicBezTo>
                  <a:pt x="2554" y="2083"/>
                  <a:pt x="2559" y="2082"/>
                  <a:pt x="2564" y="2079"/>
                </a:cubicBezTo>
                <a:cubicBezTo>
                  <a:pt x="2568" y="2076"/>
                  <a:pt x="2571" y="2073"/>
                  <a:pt x="2571" y="2068"/>
                </a:cubicBezTo>
                <a:cubicBezTo>
                  <a:pt x="2571" y="2062"/>
                  <a:pt x="2572" y="2057"/>
                  <a:pt x="2573" y="2052"/>
                </a:cubicBezTo>
                <a:cubicBezTo>
                  <a:pt x="2574" y="2049"/>
                  <a:pt x="2574" y="2046"/>
                  <a:pt x="2573" y="2043"/>
                </a:cubicBezTo>
                <a:cubicBezTo>
                  <a:pt x="2570" y="2035"/>
                  <a:pt x="2568" y="2027"/>
                  <a:pt x="2566" y="2018"/>
                </a:cubicBezTo>
                <a:cubicBezTo>
                  <a:pt x="2565" y="2015"/>
                  <a:pt x="2565" y="2012"/>
                  <a:pt x="2568" y="2010"/>
                </a:cubicBezTo>
                <a:cubicBezTo>
                  <a:pt x="2580" y="2001"/>
                  <a:pt x="2591" y="1991"/>
                  <a:pt x="2603" y="1981"/>
                </a:cubicBezTo>
                <a:cubicBezTo>
                  <a:pt x="2606" y="1978"/>
                  <a:pt x="2610" y="1976"/>
                  <a:pt x="2614" y="1975"/>
                </a:cubicBezTo>
                <a:cubicBezTo>
                  <a:pt x="2619" y="1973"/>
                  <a:pt x="2623" y="1970"/>
                  <a:pt x="2628" y="1968"/>
                </a:cubicBezTo>
                <a:cubicBezTo>
                  <a:pt x="2637" y="1962"/>
                  <a:pt x="2643" y="1954"/>
                  <a:pt x="2647" y="1944"/>
                </a:cubicBezTo>
                <a:cubicBezTo>
                  <a:pt x="2649" y="1940"/>
                  <a:pt x="2651" y="1935"/>
                  <a:pt x="2650" y="1930"/>
                </a:cubicBezTo>
                <a:cubicBezTo>
                  <a:pt x="2649" y="1925"/>
                  <a:pt x="2650" y="1920"/>
                  <a:pt x="2650" y="1915"/>
                </a:cubicBezTo>
                <a:cubicBezTo>
                  <a:pt x="2650" y="1911"/>
                  <a:pt x="2650" y="1907"/>
                  <a:pt x="2650" y="1904"/>
                </a:cubicBezTo>
                <a:cubicBezTo>
                  <a:pt x="2648" y="1897"/>
                  <a:pt x="2649" y="1891"/>
                  <a:pt x="2651" y="1884"/>
                </a:cubicBezTo>
                <a:cubicBezTo>
                  <a:pt x="2651" y="1881"/>
                  <a:pt x="2650" y="1877"/>
                  <a:pt x="2647" y="1876"/>
                </a:cubicBezTo>
                <a:cubicBezTo>
                  <a:pt x="2641" y="1872"/>
                  <a:pt x="2639" y="1867"/>
                  <a:pt x="2637" y="1861"/>
                </a:cubicBezTo>
                <a:cubicBezTo>
                  <a:pt x="2635" y="1853"/>
                  <a:pt x="2636" y="1846"/>
                  <a:pt x="2635" y="1838"/>
                </a:cubicBezTo>
                <a:cubicBezTo>
                  <a:pt x="2634" y="1837"/>
                  <a:pt x="2635" y="1835"/>
                  <a:pt x="2636" y="1833"/>
                </a:cubicBezTo>
                <a:cubicBezTo>
                  <a:pt x="2637" y="1830"/>
                  <a:pt x="2637" y="1827"/>
                  <a:pt x="2634" y="1825"/>
                </a:cubicBezTo>
                <a:cubicBezTo>
                  <a:pt x="2629" y="1820"/>
                  <a:pt x="2628" y="1815"/>
                  <a:pt x="2631" y="1809"/>
                </a:cubicBezTo>
                <a:cubicBezTo>
                  <a:pt x="2633" y="1804"/>
                  <a:pt x="2635" y="1798"/>
                  <a:pt x="2639" y="1794"/>
                </a:cubicBezTo>
                <a:cubicBezTo>
                  <a:pt x="2644" y="1790"/>
                  <a:pt x="2645" y="1783"/>
                  <a:pt x="2648" y="1777"/>
                </a:cubicBezTo>
                <a:cubicBezTo>
                  <a:pt x="2650" y="1774"/>
                  <a:pt x="2651" y="1771"/>
                  <a:pt x="2654" y="1770"/>
                </a:cubicBezTo>
                <a:cubicBezTo>
                  <a:pt x="2660" y="1767"/>
                  <a:pt x="2664" y="1763"/>
                  <a:pt x="2668" y="1758"/>
                </a:cubicBezTo>
                <a:cubicBezTo>
                  <a:pt x="2677" y="1745"/>
                  <a:pt x="2689" y="1734"/>
                  <a:pt x="2700" y="1723"/>
                </a:cubicBezTo>
                <a:cubicBezTo>
                  <a:pt x="2707" y="1716"/>
                  <a:pt x="2714" y="1709"/>
                  <a:pt x="2723" y="1706"/>
                </a:cubicBezTo>
                <a:cubicBezTo>
                  <a:pt x="2724" y="1706"/>
                  <a:pt x="2725" y="1705"/>
                  <a:pt x="2725" y="1704"/>
                </a:cubicBezTo>
                <a:cubicBezTo>
                  <a:pt x="2746" y="1688"/>
                  <a:pt x="2763" y="1668"/>
                  <a:pt x="2773" y="1644"/>
                </a:cubicBezTo>
                <a:cubicBezTo>
                  <a:pt x="2777" y="1635"/>
                  <a:pt x="2780" y="1626"/>
                  <a:pt x="2787" y="1618"/>
                </a:cubicBezTo>
                <a:cubicBezTo>
                  <a:pt x="2791" y="1613"/>
                  <a:pt x="2793" y="1606"/>
                  <a:pt x="2795" y="1600"/>
                </a:cubicBezTo>
                <a:cubicBezTo>
                  <a:pt x="2798" y="1591"/>
                  <a:pt x="2797" y="1582"/>
                  <a:pt x="2797" y="1574"/>
                </a:cubicBezTo>
                <a:cubicBezTo>
                  <a:pt x="2798" y="1572"/>
                  <a:pt x="2793" y="1569"/>
                  <a:pt x="2791" y="1570"/>
                </a:cubicBezTo>
                <a:cubicBezTo>
                  <a:pt x="2791" y="1570"/>
                  <a:pt x="2790" y="1570"/>
                  <a:pt x="2790" y="1570"/>
                </a:cubicBezTo>
                <a:cubicBezTo>
                  <a:pt x="2783" y="1576"/>
                  <a:pt x="2776" y="1577"/>
                  <a:pt x="2768" y="1578"/>
                </a:cubicBezTo>
                <a:cubicBezTo>
                  <a:pt x="2757" y="1580"/>
                  <a:pt x="2746" y="1580"/>
                  <a:pt x="2736" y="1584"/>
                </a:cubicBezTo>
                <a:cubicBezTo>
                  <a:pt x="2734" y="1585"/>
                  <a:pt x="2733" y="1585"/>
                  <a:pt x="2731" y="1585"/>
                </a:cubicBezTo>
                <a:cubicBezTo>
                  <a:pt x="2725" y="1584"/>
                  <a:pt x="2719" y="1586"/>
                  <a:pt x="2714" y="1589"/>
                </a:cubicBezTo>
                <a:cubicBezTo>
                  <a:pt x="2712" y="1590"/>
                  <a:pt x="2711" y="1591"/>
                  <a:pt x="2709" y="1591"/>
                </a:cubicBezTo>
                <a:cubicBezTo>
                  <a:pt x="2707" y="1592"/>
                  <a:pt x="2705" y="1591"/>
                  <a:pt x="2703" y="1590"/>
                </a:cubicBezTo>
                <a:cubicBezTo>
                  <a:pt x="2701" y="1589"/>
                  <a:pt x="2700" y="1588"/>
                  <a:pt x="2699" y="1587"/>
                </a:cubicBezTo>
                <a:cubicBezTo>
                  <a:pt x="2695" y="1583"/>
                  <a:pt x="2691" y="1579"/>
                  <a:pt x="2687" y="1575"/>
                </a:cubicBezTo>
                <a:cubicBezTo>
                  <a:pt x="2686" y="1574"/>
                  <a:pt x="2686" y="1573"/>
                  <a:pt x="2687" y="1571"/>
                </a:cubicBezTo>
                <a:cubicBezTo>
                  <a:pt x="2690" y="1565"/>
                  <a:pt x="2690" y="1563"/>
                  <a:pt x="2686" y="1560"/>
                </a:cubicBezTo>
                <a:cubicBezTo>
                  <a:pt x="2683" y="1557"/>
                  <a:pt x="2680" y="1555"/>
                  <a:pt x="2678" y="1551"/>
                </a:cubicBezTo>
                <a:cubicBezTo>
                  <a:pt x="2673" y="1545"/>
                  <a:pt x="2666" y="1539"/>
                  <a:pt x="2661" y="1533"/>
                </a:cubicBezTo>
                <a:cubicBezTo>
                  <a:pt x="2657" y="1530"/>
                  <a:pt x="2653" y="1528"/>
                  <a:pt x="2648" y="1525"/>
                </a:cubicBezTo>
                <a:cubicBezTo>
                  <a:pt x="2640" y="1521"/>
                  <a:pt x="2634" y="1516"/>
                  <a:pt x="2632" y="1506"/>
                </a:cubicBezTo>
                <a:cubicBezTo>
                  <a:pt x="2631" y="1502"/>
                  <a:pt x="2629" y="1497"/>
                  <a:pt x="2627" y="1492"/>
                </a:cubicBezTo>
                <a:cubicBezTo>
                  <a:pt x="2626" y="1487"/>
                  <a:pt x="2623" y="1483"/>
                  <a:pt x="2619" y="1480"/>
                </a:cubicBezTo>
                <a:cubicBezTo>
                  <a:pt x="2615" y="1478"/>
                  <a:pt x="2612" y="1475"/>
                  <a:pt x="2608" y="1472"/>
                </a:cubicBezTo>
                <a:cubicBezTo>
                  <a:pt x="2606" y="1470"/>
                  <a:pt x="2604" y="1467"/>
                  <a:pt x="2604" y="1464"/>
                </a:cubicBezTo>
                <a:cubicBezTo>
                  <a:pt x="2604" y="1454"/>
                  <a:pt x="2601" y="1445"/>
                  <a:pt x="2599" y="1436"/>
                </a:cubicBezTo>
                <a:cubicBezTo>
                  <a:pt x="2597" y="1427"/>
                  <a:pt x="2592" y="1421"/>
                  <a:pt x="2585" y="1417"/>
                </a:cubicBezTo>
                <a:cubicBezTo>
                  <a:pt x="2583" y="1416"/>
                  <a:pt x="2582" y="1416"/>
                  <a:pt x="2580" y="1415"/>
                </a:cubicBezTo>
                <a:cubicBezTo>
                  <a:pt x="2579" y="1414"/>
                  <a:pt x="2578" y="1412"/>
                  <a:pt x="2578" y="1411"/>
                </a:cubicBezTo>
                <a:cubicBezTo>
                  <a:pt x="2577" y="1409"/>
                  <a:pt x="2577" y="1407"/>
                  <a:pt x="2577" y="1406"/>
                </a:cubicBezTo>
                <a:cubicBezTo>
                  <a:pt x="2577" y="1400"/>
                  <a:pt x="2576" y="1395"/>
                  <a:pt x="2572" y="1391"/>
                </a:cubicBezTo>
                <a:cubicBezTo>
                  <a:pt x="2570" y="1389"/>
                  <a:pt x="2569" y="1386"/>
                  <a:pt x="2568" y="1384"/>
                </a:cubicBezTo>
                <a:cubicBezTo>
                  <a:pt x="2561" y="1374"/>
                  <a:pt x="2554" y="1364"/>
                  <a:pt x="2551" y="1351"/>
                </a:cubicBezTo>
                <a:cubicBezTo>
                  <a:pt x="2551" y="1349"/>
                  <a:pt x="2550" y="1348"/>
                  <a:pt x="2549" y="1346"/>
                </a:cubicBezTo>
                <a:cubicBezTo>
                  <a:pt x="2548" y="1344"/>
                  <a:pt x="2549" y="1342"/>
                  <a:pt x="2551" y="1342"/>
                </a:cubicBezTo>
                <a:cubicBezTo>
                  <a:pt x="2553" y="1342"/>
                  <a:pt x="2555" y="1343"/>
                  <a:pt x="2557" y="1341"/>
                </a:cubicBezTo>
                <a:cubicBezTo>
                  <a:pt x="2559" y="1340"/>
                  <a:pt x="2560" y="1338"/>
                  <a:pt x="2563" y="1338"/>
                </a:cubicBezTo>
                <a:cubicBezTo>
                  <a:pt x="2566" y="1338"/>
                  <a:pt x="2568" y="1340"/>
                  <a:pt x="2569" y="1342"/>
                </a:cubicBezTo>
                <a:cubicBezTo>
                  <a:pt x="2571" y="1344"/>
                  <a:pt x="2572" y="1346"/>
                  <a:pt x="2573" y="1348"/>
                </a:cubicBezTo>
                <a:cubicBezTo>
                  <a:pt x="2580" y="1355"/>
                  <a:pt x="2584" y="1365"/>
                  <a:pt x="2590" y="1372"/>
                </a:cubicBezTo>
                <a:cubicBezTo>
                  <a:pt x="2593" y="1377"/>
                  <a:pt x="2596" y="1381"/>
                  <a:pt x="2597" y="1387"/>
                </a:cubicBezTo>
                <a:cubicBezTo>
                  <a:pt x="2598" y="1390"/>
                  <a:pt x="2600" y="1393"/>
                  <a:pt x="2603" y="1394"/>
                </a:cubicBezTo>
                <a:cubicBezTo>
                  <a:pt x="2610" y="1396"/>
                  <a:pt x="2614" y="1401"/>
                  <a:pt x="2617" y="1407"/>
                </a:cubicBezTo>
                <a:cubicBezTo>
                  <a:pt x="2618" y="1409"/>
                  <a:pt x="2619" y="1411"/>
                  <a:pt x="2620" y="1413"/>
                </a:cubicBezTo>
                <a:cubicBezTo>
                  <a:pt x="2622" y="1417"/>
                  <a:pt x="2623" y="1420"/>
                  <a:pt x="2622" y="1424"/>
                </a:cubicBezTo>
                <a:cubicBezTo>
                  <a:pt x="2622" y="1426"/>
                  <a:pt x="2623" y="1428"/>
                  <a:pt x="2623" y="1429"/>
                </a:cubicBezTo>
                <a:cubicBezTo>
                  <a:pt x="2623" y="1438"/>
                  <a:pt x="2628" y="1445"/>
                  <a:pt x="2635" y="1450"/>
                </a:cubicBezTo>
                <a:cubicBezTo>
                  <a:pt x="2637" y="1452"/>
                  <a:pt x="2640" y="1454"/>
                  <a:pt x="2643" y="1456"/>
                </a:cubicBezTo>
                <a:cubicBezTo>
                  <a:pt x="2647" y="1459"/>
                  <a:pt x="2651" y="1463"/>
                  <a:pt x="2652" y="1469"/>
                </a:cubicBezTo>
                <a:cubicBezTo>
                  <a:pt x="2654" y="1475"/>
                  <a:pt x="2658" y="1480"/>
                  <a:pt x="2663" y="1485"/>
                </a:cubicBezTo>
                <a:cubicBezTo>
                  <a:pt x="2666" y="1489"/>
                  <a:pt x="2670" y="1494"/>
                  <a:pt x="2673" y="1498"/>
                </a:cubicBezTo>
                <a:cubicBezTo>
                  <a:pt x="2677" y="1504"/>
                  <a:pt x="2679" y="1510"/>
                  <a:pt x="2678" y="1517"/>
                </a:cubicBezTo>
                <a:cubicBezTo>
                  <a:pt x="2677" y="1519"/>
                  <a:pt x="2677" y="1521"/>
                  <a:pt x="2678" y="1523"/>
                </a:cubicBezTo>
                <a:cubicBezTo>
                  <a:pt x="2682" y="1531"/>
                  <a:pt x="2683" y="1539"/>
                  <a:pt x="2685" y="1547"/>
                </a:cubicBezTo>
                <a:cubicBezTo>
                  <a:pt x="2687" y="1550"/>
                  <a:pt x="2688" y="1553"/>
                  <a:pt x="2689" y="1556"/>
                </a:cubicBezTo>
                <a:cubicBezTo>
                  <a:pt x="2691" y="1558"/>
                  <a:pt x="2693" y="1559"/>
                  <a:pt x="2696" y="1560"/>
                </a:cubicBezTo>
                <a:cubicBezTo>
                  <a:pt x="2699" y="1560"/>
                  <a:pt x="2702" y="1559"/>
                  <a:pt x="2704" y="1559"/>
                </a:cubicBezTo>
                <a:cubicBezTo>
                  <a:pt x="2708" y="1559"/>
                  <a:pt x="2712" y="1557"/>
                  <a:pt x="2715" y="1554"/>
                </a:cubicBezTo>
                <a:cubicBezTo>
                  <a:pt x="2718" y="1550"/>
                  <a:pt x="2722" y="1549"/>
                  <a:pt x="2728" y="1549"/>
                </a:cubicBezTo>
                <a:cubicBezTo>
                  <a:pt x="2734" y="1550"/>
                  <a:pt x="2740" y="1549"/>
                  <a:pt x="2745" y="1545"/>
                </a:cubicBezTo>
                <a:cubicBezTo>
                  <a:pt x="2748" y="1543"/>
                  <a:pt x="2752" y="1542"/>
                  <a:pt x="2756" y="1541"/>
                </a:cubicBezTo>
                <a:cubicBezTo>
                  <a:pt x="2759" y="1541"/>
                  <a:pt x="2762" y="1540"/>
                  <a:pt x="2764" y="1537"/>
                </a:cubicBezTo>
                <a:cubicBezTo>
                  <a:pt x="2767" y="1534"/>
                  <a:pt x="2771" y="1532"/>
                  <a:pt x="2774" y="1531"/>
                </a:cubicBezTo>
                <a:cubicBezTo>
                  <a:pt x="2780" y="1529"/>
                  <a:pt x="2786" y="1528"/>
                  <a:pt x="2791" y="1526"/>
                </a:cubicBezTo>
                <a:cubicBezTo>
                  <a:pt x="2796" y="1524"/>
                  <a:pt x="2800" y="1521"/>
                  <a:pt x="2805" y="1519"/>
                </a:cubicBezTo>
                <a:cubicBezTo>
                  <a:pt x="2807" y="1518"/>
                  <a:pt x="2809" y="1517"/>
                  <a:pt x="2809" y="1515"/>
                </a:cubicBezTo>
                <a:cubicBezTo>
                  <a:pt x="2810" y="1509"/>
                  <a:pt x="2814" y="1506"/>
                  <a:pt x="2819" y="1505"/>
                </a:cubicBezTo>
                <a:cubicBezTo>
                  <a:pt x="2826" y="1503"/>
                  <a:pt x="2833" y="1500"/>
                  <a:pt x="2840" y="1499"/>
                </a:cubicBezTo>
                <a:cubicBezTo>
                  <a:pt x="2844" y="1498"/>
                  <a:pt x="2848" y="1497"/>
                  <a:pt x="2849" y="1492"/>
                </a:cubicBezTo>
                <a:cubicBezTo>
                  <a:pt x="2850" y="1489"/>
                  <a:pt x="2851" y="1487"/>
                  <a:pt x="2854" y="1486"/>
                </a:cubicBezTo>
                <a:cubicBezTo>
                  <a:pt x="2860" y="1485"/>
                  <a:pt x="2864" y="1482"/>
                  <a:pt x="2866" y="1476"/>
                </a:cubicBezTo>
                <a:cubicBezTo>
                  <a:pt x="2867" y="1474"/>
                  <a:pt x="2870" y="1472"/>
                  <a:pt x="2873" y="1471"/>
                </a:cubicBezTo>
                <a:cubicBezTo>
                  <a:pt x="2875" y="1471"/>
                  <a:pt x="2877" y="1470"/>
                  <a:pt x="2879" y="1469"/>
                </a:cubicBezTo>
                <a:cubicBezTo>
                  <a:pt x="2880" y="1469"/>
                  <a:pt x="2881" y="1467"/>
                  <a:pt x="2881" y="1466"/>
                </a:cubicBezTo>
                <a:cubicBezTo>
                  <a:pt x="2882" y="1462"/>
                  <a:pt x="2881" y="1459"/>
                  <a:pt x="2882" y="1456"/>
                </a:cubicBezTo>
                <a:cubicBezTo>
                  <a:pt x="2882" y="1453"/>
                  <a:pt x="2883" y="1450"/>
                  <a:pt x="2886" y="1449"/>
                </a:cubicBezTo>
                <a:cubicBezTo>
                  <a:pt x="2894" y="1443"/>
                  <a:pt x="2899" y="1435"/>
                  <a:pt x="2903" y="1427"/>
                </a:cubicBezTo>
                <a:cubicBezTo>
                  <a:pt x="2906" y="1422"/>
                  <a:pt x="2905" y="1419"/>
                  <a:pt x="2900" y="1414"/>
                </a:cubicBezTo>
                <a:cubicBezTo>
                  <a:pt x="2897" y="1411"/>
                  <a:pt x="2894" y="1408"/>
                  <a:pt x="2892" y="1404"/>
                </a:cubicBezTo>
                <a:cubicBezTo>
                  <a:pt x="2890" y="1401"/>
                  <a:pt x="2888" y="1399"/>
                  <a:pt x="2884" y="1399"/>
                </a:cubicBezTo>
                <a:cubicBezTo>
                  <a:pt x="2880" y="1398"/>
                  <a:pt x="2875" y="1398"/>
                  <a:pt x="2871" y="1397"/>
                </a:cubicBezTo>
                <a:cubicBezTo>
                  <a:pt x="2868" y="1396"/>
                  <a:pt x="2866" y="1395"/>
                  <a:pt x="2864" y="1393"/>
                </a:cubicBezTo>
                <a:cubicBezTo>
                  <a:pt x="2860" y="1389"/>
                  <a:pt x="2857" y="1384"/>
                  <a:pt x="2856" y="1379"/>
                </a:cubicBezTo>
                <a:cubicBezTo>
                  <a:pt x="2856" y="1374"/>
                  <a:pt x="2855" y="1369"/>
                  <a:pt x="2854" y="1364"/>
                </a:cubicBezTo>
                <a:cubicBezTo>
                  <a:pt x="2854" y="1363"/>
                  <a:pt x="2854" y="1363"/>
                  <a:pt x="2853" y="1363"/>
                </a:cubicBezTo>
                <a:cubicBezTo>
                  <a:pt x="2852" y="1363"/>
                  <a:pt x="2851" y="1363"/>
                  <a:pt x="2850" y="1363"/>
                </a:cubicBezTo>
                <a:cubicBezTo>
                  <a:pt x="2844" y="1370"/>
                  <a:pt x="2837" y="1377"/>
                  <a:pt x="2832" y="1384"/>
                </a:cubicBezTo>
                <a:cubicBezTo>
                  <a:pt x="2828" y="1391"/>
                  <a:pt x="2823" y="1394"/>
                  <a:pt x="2816" y="1393"/>
                </a:cubicBezTo>
                <a:cubicBezTo>
                  <a:pt x="2810" y="1393"/>
                  <a:pt x="2805" y="1393"/>
                  <a:pt x="2800" y="1395"/>
                </a:cubicBezTo>
                <a:cubicBezTo>
                  <a:pt x="2798" y="1396"/>
                  <a:pt x="2795" y="1395"/>
                  <a:pt x="2794" y="1393"/>
                </a:cubicBezTo>
                <a:cubicBezTo>
                  <a:pt x="2792" y="1391"/>
                  <a:pt x="2790" y="1389"/>
                  <a:pt x="2790" y="1386"/>
                </a:cubicBezTo>
                <a:cubicBezTo>
                  <a:pt x="2790" y="1381"/>
                  <a:pt x="2789" y="1375"/>
                  <a:pt x="2788" y="1370"/>
                </a:cubicBezTo>
                <a:cubicBezTo>
                  <a:pt x="2788" y="1369"/>
                  <a:pt x="2788" y="1368"/>
                  <a:pt x="2787" y="1367"/>
                </a:cubicBezTo>
                <a:cubicBezTo>
                  <a:pt x="2786" y="1366"/>
                  <a:pt x="2785" y="1365"/>
                  <a:pt x="2785" y="1365"/>
                </a:cubicBezTo>
                <a:cubicBezTo>
                  <a:pt x="2784" y="1365"/>
                  <a:pt x="2782" y="1365"/>
                  <a:pt x="2782" y="1366"/>
                </a:cubicBezTo>
                <a:cubicBezTo>
                  <a:pt x="2781" y="1368"/>
                  <a:pt x="2780" y="1370"/>
                  <a:pt x="2779" y="1372"/>
                </a:cubicBezTo>
                <a:cubicBezTo>
                  <a:pt x="2778" y="1374"/>
                  <a:pt x="2776" y="1374"/>
                  <a:pt x="2774" y="1372"/>
                </a:cubicBezTo>
                <a:cubicBezTo>
                  <a:pt x="2772" y="1369"/>
                  <a:pt x="2770" y="1367"/>
                  <a:pt x="2770" y="1363"/>
                </a:cubicBezTo>
                <a:cubicBezTo>
                  <a:pt x="2769" y="1357"/>
                  <a:pt x="2766" y="1353"/>
                  <a:pt x="2762" y="1349"/>
                </a:cubicBezTo>
                <a:cubicBezTo>
                  <a:pt x="2759" y="1346"/>
                  <a:pt x="2757" y="1343"/>
                  <a:pt x="2754" y="1341"/>
                </a:cubicBezTo>
                <a:cubicBezTo>
                  <a:pt x="2753" y="1339"/>
                  <a:pt x="2751" y="1339"/>
                  <a:pt x="2750" y="1337"/>
                </a:cubicBezTo>
                <a:cubicBezTo>
                  <a:pt x="2747" y="1332"/>
                  <a:pt x="2744" y="1326"/>
                  <a:pt x="2741" y="1320"/>
                </a:cubicBezTo>
                <a:cubicBezTo>
                  <a:pt x="2740" y="1319"/>
                  <a:pt x="2740" y="1317"/>
                  <a:pt x="2740" y="1315"/>
                </a:cubicBezTo>
                <a:cubicBezTo>
                  <a:pt x="2741" y="1313"/>
                  <a:pt x="2741" y="1311"/>
                  <a:pt x="2742" y="1309"/>
                </a:cubicBezTo>
                <a:cubicBezTo>
                  <a:pt x="2742" y="1308"/>
                  <a:pt x="2743" y="1307"/>
                  <a:pt x="2744" y="1307"/>
                </a:cubicBezTo>
                <a:cubicBezTo>
                  <a:pt x="2747" y="1306"/>
                  <a:pt x="2750" y="1306"/>
                  <a:pt x="2754" y="1306"/>
                </a:cubicBezTo>
                <a:cubicBezTo>
                  <a:pt x="2757" y="1306"/>
                  <a:pt x="2760" y="1306"/>
                  <a:pt x="2763" y="1307"/>
                </a:cubicBezTo>
                <a:cubicBezTo>
                  <a:pt x="2765" y="1309"/>
                  <a:pt x="2766" y="1312"/>
                  <a:pt x="2768" y="1314"/>
                </a:cubicBezTo>
                <a:cubicBezTo>
                  <a:pt x="2772" y="1320"/>
                  <a:pt x="2776" y="1327"/>
                  <a:pt x="2780" y="1334"/>
                </a:cubicBezTo>
                <a:cubicBezTo>
                  <a:pt x="2782" y="1337"/>
                  <a:pt x="2784" y="1338"/>
                  <a:pt x="2788" y="1339"/>
                </a:cubicBezTo>
                <a:cubicBezTo>
                  <a:pt x="2789" y="1340"/>
                  <a:pt x="2791" y="1340"/>
                  <a:pt x="2793" y="1341"/>
                </a:cubicBezTo>
                <a:cubicBezTo>
                  <a:pt x="2796" y="1341"/>
                  <a:pt x="2800" y="1343"/>
                  <a:pt x="2802" y="1346"/>
                </a:cubicBezTo>
                <a:cubicBezTo>
                  <a:pt x="2804" y="1348"/>
                  <a:pt x="2807" y="1349"/>
                  <a:pt x="2809" y="1351"/>
                </a:cubicBezTo>
                <a:cubicBezTo>
                  <a:pt x="2815" y="1355"/>
                  <a:pt x="2822" y="1356"/>
                  <a:pt x="2829" y="1358"/>
                </a:cubicBezTo>
                <a:cubicBezTo>
                  <a:pt x="2832" y="1359"/>
                  <a:pt x="2834" y="1358"/>
                  <a:pt x="2837" y="1357"/>
                </a:cubicBezTo>
                <a:cubicBezTo>
                  <a:pt x="2841" y="1355"/>
                  <a:pt x="2845" y="1353"/>
                  <a:pt x="2849" y="1351"/>
                </a:cubicBezTo>
                <a:cubicBezTo>
                  <a:pt x="2853" y="1349"/>
                  <a:pt x="2858" y="1351"/>
                  <a:pt x="2860" y="1355"/>
                </a:cubicBezTo>
                <a:cubicBezTo>
                  <a:pt x="2861" y="1359"/>
                  <a:pt x="2863" y="1362"/>
                  <a:pt x="2864" y="1366"/>
                </a:cubicBezTo>
                <a:cubicBezTo>
                  <a:pt x="2866" y="1369"/>
                  <a:pt x="2868" y="1371"/>
                  <a:pt x="2872" y="1371"/>
                </a:cubicBezTo>
                <a:cubicBezTo>
                  <a:pt x="2887" y="1372"/>
                  <a:pt x="2902" y="1376"/>
                  <a:pt x="2918" y="1378"/>
                </a:cubicBezTo>
                <a:cubicBezTo>
                  <a:pt x="2923" y="1379"/>
                  <a:pt x="2928" y="1379"/>
                  <a:pt x="2934" y="1379"/>
                </a:cubicBezTo>
                <a:cubicBezTo>
                  <a:pt x="2943" y="1377"/>
                  <a:pt x="2952" y="1375"/>
                  <a:pt x="2962" y="1377"/>
                </a:cubicBezTo>
                <a:cubicBezTo>
                  <a:pt x="2964" y="1377"/>
                  <a:pt x="2966" y="1376"/>
                  <a:pt x="2968" y="1376"/>
                </a:cubicBezTo>
                <a:cubicBezTo>
                  <a:pt x="2975" y="1374"/>
                  <a:pt x="2981" y="1374"/>
                  <a:pt x="2988" y="1374"/>
                </a:cubicBezTo>
                <a:cubicBezTo>
                  <a:pt x="2990" y="1374"/>
                  <a:pt x="2992" y="1375"/>
                  <a:pt x="2993" y="1378"/>
                </a:cubicBezTo>
                <a:cubicBezTo>
                  <a:pt x="2994" y="1380"/>
                  <a:pt x="2995" y="1381"/>
                  <a:pt x="2997" y="1383"/>
                </a:cubicBezTo>
                <a:cubicBezTo>
                  <a:pt x="3000" y="1384"/>
                  <a:pt x="3002" y="1386"/>
                  <a:pt x="3002" y="1389"/>
                </a:cubicBezTo>
                <a:cubicBezTo>
                  <a:pt x="3004" y="1394"/>
                  <a:pt x="3007" y="1397"/>
                  <a:pt x="3012" y="1398"/>
                </a:cubicBezTo>
                <a:cubicBezTo>
                  <a:pt x="3016" y="1399"/>
                  <a:pt x="3019" y="1401"/>
                  <a:pt x="3022" y="1405"/>
                </a:cubicBezTo>
                <a:cubicBezTo>
                  <a:pt x="3026" y="1411"/>
                  <a:pt x="3032" y="1413"/>
                  <a:pt x="3039" y="1413"/>
                </a:cubicBezTo>
                <a:cubicBezTo>
                  <a:pt x="3040" y="1413"/>
                  <a:pt x="3042" y="1414"/>
                  <a:pt x="3043" y="1414"/>
                </a:cubicBezTo>
                <a:cubicBezTo>
                  <a:pt x="3043" y="1413"/>
                  <a:pt x="3043" y="1413"/>
                  <a:pt x="3043" y="1413"/>
                </a:cubicBezTo>
                <a:cubicBezTo>
                  <a:pt x="3044" y="1413"/>
                  <a:pt x="3044" y="1413"/>
                  <a:pt x="3044" y="1413"/>
                </a:cubicBezTo>
                <a:cubicBezTo>
                  <a:pt x="3044" y="1414"/>
                  <a:pt x="3044" y="1414"/>
                  <a:pt x="3044" y="1414"/>
                </a:cubicBezTo>
                <a:cubicBezTo>
                  <a:pt x="3043" y="1414"/>
                  <a:pt x="3043" y="1414"/>
                  <a:pt x="3043" y="1414"/>
                </a:cubicBezTo>
                <a:cubicBezTo>
                  <a:pt x="3040" y="1417"/>
                  <a:pt x="3037" y="1420"/>
                  <a:pt x="3032" y="1418"/>
                </a:cubicBezTo>
                <a:cubicBezTo>
                  <a:pt x="3032" y="1417"/>
                  <a:pt x="3030" y="1418"/>
                  <a:pt x="3030" y="1419"/>
                </a:cubicBezTo>
                <a:cubicBezTo>
                  <a:pt x="3029" y="1419"/>
                  <a:pt x="3029" y="1421"/>
                  <a:pt x="3030" y="1422"/>
                </a:cubicBezTo>
                <a:cubicBezTo>
                  <a:pt x="3035" y="1427"/>
                  <a:pt x="3040" y="1432"/>
                  <a:pt x="3045" y="1437"/>
                </a:cubicBezTo>
                <a:cubicBezTo>
                  <a:pt x="3054" y="1445"/>
                  <a:pt x="3058" y="1445"/>
                  <a:pt x="3069" y="1438"/>
                </a:cubicBezTo>
                <a:cubicBezTo>
                  <a:pt x="3073" y="1436"/>
                  <a:pt x="3076" y="1432"/>
                  <a:pt x="3077" y="1427"/>
                </a:cubicBezTo>
                <a:cubicBezTo>
                  <a:pt x="3077" y="1427"/>
                  <a:pt x="3076" y="1427"/>
                  <a:pt x="3076" y="1427"/>
                </a:cubicBezTo>
                <a:cubicBezTo>
                  <a:pt x="3076" y="1426"/>
                  <a:pt x="3076" y="1426"/>
                  <a:pt x="3076" y="1426"/>
                </a:cubicBezTo>
                <a:cubicBezTo>
                  <a:pt x="3077" y="1427"/>
                  <a:pt x="3077" y="1427"/>
                  <a:pt x="3077" y="1427"/>
                </a:cubicBezTo>
                <a:cubicBezTo>
                  <a:pt x="3077" y="1427"/>
                  <a:pt x="3077" y="1427"/>
                  <a:pt x="3077" y="1427"/>
                </a:cubicBezTo>
                <a:cubicBezTo>
                  <a:pt x="3077" y="1427"/>
                  <a:pt x="3078" y="1428"/>
                  <a:pt x="3078" y="1428"/>
                </a:cubicBezTo>
                <a:cubicBezTo>
                  <a:pt x="3080" y="1435"/>
                  <a:pt x="3083" y="1442"/>
                  <a:pt x="3083" y="1450"/>
                </a:cubicBezTo>
                <a:cubicBezTo>
                  <a:pt x="3082" y="1453"/>
                  <a:pt x="3082" y="1457"/>
                  <a:pt x="3083" y="1460"/>
                </a:cubicBezTo>
                <a:cubicBezTo>
                  <a:pt x="3086" y="1468"/>
                  <a:pt x="3087" y="1476"/>
                  <a:pt x="3089" y="1484"/>
                </a:cubicBezTo>
                <a:cubicBezTo>
                  <a:pt x="3091" y="1492"/>
                  <a:pt x="3096" y="1499"/>
                  <a:pt x="3096" y="1507"/>
                </a:cubicBezTo>
                <a:cubicBezTo>
                  <a:pt x="3096" y="1509"/>
                  <a:pt x="3098" y="1510"/>
                  <a:pt x="3098" y="1512"/>
                </a:cubicBezTo>
                <a:cubicBezTo>
                  <a:pt x="3101" y="1517"/>
                  <a:pt x="3103" y="1522"/>
                  <a:pt x="3107" y="1526"/>
                </a:cubicBezTo>
                <a:cubicBezTo>
                  <a:pt x="3110" y="1532"/>
                  <a:pt x="3113" y="1538"/>
                  <a:pt x="3115" y="1544"/>
                </a:cubicBezTo>
                <a:cubicBezTo>
                  <a:pt x="3116" y="1547"/>
                  <a:pt x="3117" y="1550"/>
                  <a:pt x="3118" y="1553"/>
                </a:cubicBezTo>
                <a:cubicBezTo>
                  <a:pt x="3120" y="1560"/>
                  <a:pt x="3123" y="1566"/>
                  <a:pt x="3127" y="1571"/>
                </a:cubicBezTo>
                <a:cubicBezTo>
                  <a:pt x="3130" y="1573"/>
                  <a:pt x="3133" y="1577"/>
                  <a:pt x="3134" y="1580"/>
                </a:cubicBezTo>
                <a:cubicBezTo>
                  <a:pt x="3137" y="1588"/>
                  <a:pt x="3141" y="1595"/>
                  <a:pt x="3142" y="1603"/>
                </a:cubicBezTo>
                <a:cubicBezTo>
                  <a:pt x="3143" y="1608"/>
                  <a:pt x="3145" y="1613"/>
                  <a:pt x="3148" y="1617"/>
                </a:cubicBezTo>
                <a:cubicBezTo>
                  <a:pt x="3150" y="1618"/>
                  <a:pt x="3151" y="1620"/>
                  <a:pt x="3153" y="1621"/>
                </a:cubicBezTo>
                <a:cubicBezTo>
                  <a:pt x="3157" y="1625"/>
                  <a:pt x="3163" y="1624"/>
                  <a:pt x="3166" y="1620"/>
                </a:cubicBezTo>
                <a:cubicBezTo>
                  <a:pt x="3167" y="1618"/>
                  <a:pt x="3168" y="1617"/>
                  <a:pt x="3169" y="1615"/>
                </a:cubicBezTo>
                <a:cubicBezTo>
                  <a:pt x="3170" y="1613"/>
                  <a:pt x="3172" y="1611"/>
                  <a:pt x="3174" y="1610"/>
                </a:cubicBezTo>
                <a:cubicBezTo>
                  <a:pt x="3178" y="1608"/>
                  <a:pt x="3179" y="1606"/>
                  <a:pt x="3180" y="1603"/>
                </a:cubicBezTo>
                <a:cubicBezTo>
                  <a:pt x="3182" y="1598"/>
                  <a:pt x="3184" y="1595"/>
                  <a:pt x="3189" y="1593"/>
                </a:cubicBezTo>
                <a:cubicBezTo>
                  <a:pt x="3191" y="1591"/>
                  <a:pt x="3192" y="1588"/>
                  <a:pt x="3192" y="1586"/>
                </a:cubicBezTo>
                <a:cubicBezTo>
                  <a:pt x="3191" y="1583"/>
                  <a:pt x="3191" y="1580"/>
                  <a:pt x="3190" y="1577"/>
                </a:cubicBezTo>
                <a:cubicBezTo>
                  <a:pt x="3190" y="1574"/>
                  <a:pt x="3190" y="1571"/>
                  <a:pt x="3191" y="1568"/>
                </a:cubicBezTo>
                <a:cubicBezTo>
                  <a:pt x="3192" y="1566"/>
                  <a:pt x="3193" y="1564"/>
                  <a:pt x="3194" y="1562"/>
                </a:cubicBezTo>
                <a:cubicBezTo>
                  <a:pt x="3196" y="1557"/>
                  <a:pt x="3196" y="1552"/>
                  <a:pt x="3194" y="1547"/>
                </a:cubicBezTo>
                <a:cubicBezTo>
                  <a:pt x="3193" y="1545"/>
                  <a:pt x="3193" y="1542"/>
                  <a:pt x="3193" y="1539"/>
                </a:cubicBezTo>
                <a:cubicBezTo>
                  <a:pt x="3192" y="1533"/>
                  <a:pt x="3192" y="1527"/>
                  <a:pt x="3193" y="1521"/>
                </a:cubicBezTo>
                <a:cubicBezTo>
                  <a:pt x="3193" y="1517"/>
                  <a:pt x="3195" y="1515"/>
                  <a:pt x="3199" y="1514"/>
                </a:cubicBezTo>
                <a:cubicBezTo>
                  <a:pt x="3200" y="1514"/>
                  <a:pt x="3202" y="1514"/>
                  <a:pt x="3203" y="1512"/>
                </a:cubicBezTo>
                <a:cubicBezTo>
                  <a:pt x="3206" y="1508"/>
                  <a:pt x="3210" y="1506"/>
                  <a:pt x="3215" y="1505"/>
                </a:cubicBezTo>
                <a:cubicBezTo>
                  <a:pt x="3217" y="1504"/>
                  <a:pt x="3218" y="1502"/>
                  <a:pt x="3219" y="1500"/>
                </a:cubicBezTo>
                <a:cubicBezTo>
                  <a:pt x="3220" y="1497"/>
                  <a:pt x="3220" y="1494"/>
                  <a:pt x="3223" y="1493"/>
                </a:cubicBezTo>
                <a:cubicBezTo>
                  <a:pt x="3230" y="1489"/>
                  <a:pt x="3234" y="1482"/>
                  <a:pt x="3240" y="1478"/>
                </a:cubicBezTo>
                <a:cubicBezTo>
                  <a:pt x="3243" y="1476"/>
                  <a:pt x="3245" y="1473"/>
                  <a:pt x="3247" y="1470"/>
                </a:cubicBezTo>
                <a:cubicBezTo>
                  <a:pt x="3249" y="1467"/>
                  <a:pt x="3251" y="1464"/>
                  <a:pt x="3254" y="1461"/>
                </a:cubicBezTo>
                <a:cubicBezTo>
                  <a:pt x="3255" y="1459"/>
                  <a:pt x="3258" y="1458"/>
                  <a:pt x="3260" y="1457"/>
                </a:cubicBezTo>
                <a:cubicBezTo>
                  <a:pt x="3269" y="1452"/>
                  <a:pt x="3276" y="1446"/>
                  <a:pt x="3276" y="1435"/>
                </a:cubicBezTo>
                <a:cubicBezTo>
                  <a:pt x="3276" y="1432"/>
                  <a:pt x="3278" y="1430"/>
                  <a:pt x="3281" y="1429"/>
                </a:cubicBezTo>
                <a:cubicBezTo>
                  <a:pt x="3285" y="1427"/>
                  <a:pt x="3289" y="1426"/>
                  <a:pt x="3293" y="1427"/>
                </a:cubicBezTo>
                <a:cubicBezTo>
                  <a:pt x="3304" y="1427"/>
                  <a:pt x="3313" y="1425"/>
                  <a:pt x="3322" y="1419"/>
                </a:cubicBezTo>
                <a:cubicBezTo>
                  <a:pt x="3325" y="1416"/>
                  <a:pt x="3330" y="1417"/>
                  <a:pt x="3333" y="1413"/>
                </a:cubicBezTo>
                <a:cubicBezTo>
                  <a:pt x="3333" y="1413"/>
                  <a:pt x="3336" y="1414"/>
                  <a:pt x="3336" y="1415"/>
                </a:cubicBezTo>
                <a:cubicBezTo>
                  <a:pt x="3337" y="1418"/>
                  <a:pt x="3338" y="1421"/>
                  <a:pt x="3339" y="1424"/>
                </a:cubicBezTo>
                <a:cubicBezTo>
                  <a:pt x="3342" y="1435"/>
                  <a:pt x="3348" y="1444"/>
                  <a:pt x="3359" y="1449"/>
                </a:cubicBezTo>
                <a:cubicBezTo>
                  <a:pt x="3360" y="1450"/>
                  <a:pt x="3362" y="1451"/>
                  <a:pt x="3363" y="1451"/>
                </a:cubicBezTo>
                <a:cubicBezTo>
                  <a:pt x="3366" y="1453"/>
                  <a:pt x="3366" y="1455"/>
                  <a:pt x="3365" y="1458"/>
                </a:cubicBezTo>
                <a:cubicBezTo>
                  <a:pt x="3364" y="1463"/>
                  <a:pt x="3365" y="1465"/>
                  <a:pt x="3370" y="1467"/>
                </a:cubicBezTo>
                <a:cubicBezTo>
                  <a:pt x="3373" y="1468"/>
                  <a:pt x="3376" y="1470"/>
                  <a:pt x="3377" y="1473"/>
                </a:cubicBezTo>
                <a:cubicBezTo>
                  <a:pt x="3377" y="1474"/>
                  <a:pt x="3378" y="1474"/>
                  <a:pt x="3378" y="1475"/>
                </a:cubicBezTo>
                <a:cubicBezTo>
                  <a:pt x="3381" y="1482"/>
                  <a:pt x="3383" y="1489"/>
                  <a:pt x="3381" y="1497"/>
                </a:cubicBezTo>
                <a:cubicBezTo>
                  <a:pt x="3380" y="1500"/>
                  <a:pt x="3380" y="1502"/>
                  <a:pt x="3380" y="1505"/>
                </a:cubicBezTo>
                <a:cubicBezTo>
                  <a:pt x="3380" y="1507"/>
                  <a:pt x="3384" y="1511"/>
                  <a:pt x="3386" y="1511"/>
                </a:cubicBezTo>
                <a:cubicBezTo>
                  <a:pt x="3392" y="1510"/>
                  <a:pt x="3398" y="1510"/>
                  <a:pt x="3403" y="1506"/>
                </a:cubicBezTo>
                <a:cubicBezTo>
                  <a:pt x="3407" y="1503"/>
                  <a:pt x="3411" y="1501"/>
                  <a:pt x="3416" y="1498"/>
                </a:cubicBezTo>
                <a:close/>
                <a:moveTo>
                  <a:pt x="3701" y="1261"/>
                </a:moveTo>
                <a:cubicBezTo>
                  <a:pt x="3701" y="1261"/>
                  <a:pt x="3702" y="1261"/>
                  <a:pt x="3702" y="1262"/>
                </a:cubicBezTo>
                <a:cubicBezTo>
                  <a:pt x="3702" y="1262"/>
                  <a:pt x="3702" y="1263"/>
                  <a:pt x="3701" y="1264"/>
                </a:cubicBezTo>
                <a:cubicBezTo>
                  <a:pt x="3702" y="1264"/>
                  <a:pt x="3702" y="1264"/>
                  <a:pt x="3702" y="1264"/>
                </a:cubicBezTo>
                <a:cubicBezTo>
                  <a:pt x="3702" y="1265"/>
                  <a:pt x="3702" y="1265"/>
                  <a:pt x="3702" y="1265"/>
                </a:cubicBezTo>
                <a:cubicBezTo>
                  <a:pt x="3701" y="1264"/>
                  <a:pt x="3701" y="1264"/>
                  <a:pt x="3701" y="1264"/>
                </a:cubicBezTo>
                <a:cubicBezTo>
                  <a:pt x="3701" y="1264"/>
                  <a:pt x="3701" y="1264"/>
                  <a:pt x="3701" y="1264"/>
                </a:cubicBezTo>
                <a:cubicBezTo>
                  <a:pt x="3701" y="1264"/>
                  <a:pt x="3700" y="1263"/>
                  <a:pt x="3700" y="1263"/>
                </a:cubicBezTo>
                <a:cubicBezTo>
                  <a:pt x="3699" y="1262"/>
                  <a:pt x="3700" y="1261"/>
                  <a:pt x="3701" y="1261"/>
                </a:cubicBezTo>
                <a:close/>
                <a:moveTo>
                  <a:pt x="3672" y="1225"/>
                </a:moveTo>
                <a:cubicBezTo>
                  <a:pt x="3673" y="1226"/>
                  <a:pt x="3673" y="1226"/>
                  <a:pt x="3673" y="1226"/>
                </a:cubicBezTo>
                <a:cubicBezTo>
                  <a:pt x="3673" y="1227"/>
                  <a:pt x="3673" y="1227"/>
                  <a:pt x="3672" y="1227"/>
                </a:cubicBezTo>
                <a:cubicBezTo>
                  <a:pt x="3672" y="1227"/>
                  <a:pt x="3671" y="1227"/>
                  <a:pt x="3671" y="1227"/>
                </a:cubicBezTo>
                <a:cubicBezTo>
                  <a:pt x="3671" y="1226"/>
                  <a:pt x="3671" y="1225"/>
                  <a:pt x="3672" y="1225"/>
                </a:cubicBezTo>
                <a:close/>
                <a:moveTo>
                  <a:pt x="3656" y="1299"/>
                </a:moveTo>
                <a:cubicBezTo>
                  <a:pt x="3657" y="1299"/>
                  <a:pt x="3657" y="1300"/>
                  <a:pt x="3657" y="1300"/>
                </a:cubicBezTo>
                <a:cubicBezTo>
                  <a:pt x="3658" y="1301"/>
                  <a:pt x="3658" y="1302"/>
                  <a:pt x="3658" y="1303"/>
                </a:cubicBezTo>
                <a:cubicBezTo>
                  <a:pt x="3658" y="1303"/>
                  <a:pt x="3657" y="1303"/>
                  <a:pt x="3657" y="1304"/>
                </a:cubicBezTo>
                <a:cubicBezTo>
                  <a:pt x="3656" y="1302"/>
                  <a:pt x="3656" y="1301"/>
                  <a:pt x="3655" y="1300"/>
                </a:cubicBezTo>
                <a:cubicBezTo>
                  <a:pt x="3655" y="1300"/>
                  <a:pt x="3656" y="1299"/>
                  <a:pt x="3656" y="1299"/>
                </a:cubicBezTo>
                <a:close/>
                <a:moveTo>
                  <a:pt x="3799" y="983"/>
                </a:moveTo>
                <a:cubicBezTo>
                  <a:pt x="3801" y="983"/>
                  <a:pt x="3803" y="984"/>
                  <a:pt x="3803" y="985"/>
                </a:cubicBezTo>
                <a:cubicBezTo>
                  <a:pt x="3803" y="987"/>
                  <a:pt x="3803" y="988"/>
                  <a:pt x="3804" y="990"/>
                </a:cubicBezTo>
                <a:cubicBezTo>
                  <a:pt x="3803" y="991"/>
                  <a:pt x="3803" y="993"/>
                  <a:pt x="3802" y="994"/>
                </a:cubicBezTo>
                <a:cubicBezTo>
                  <a:pt x="3802" y="995"/>
                  <a:pt x="3800" y="995"/>
                  <a:pt x="3799" y="994"/>
                </a:cubicBezTo>
                <a:cubicBezTo>
                  <a:pt x="3798" y="992"/>
                  <a:pt x="3797" y="990"/>
                  <a:pt x="3796" y="987"/>
                </a:cubicBezTo>
                <a:cubicBezTo>
                  <a:pt x="3795" y="986"/>
                  <a:pt x="3798" y="983"/>
                  <a:pt x="3799" y="983"/>
                </a:cubicBezTo>
                <a:close/>
                <a:moveTo>
                  <a:pt x="4092" y="365"/>
                </a:moveTo>
                <a:cubicBezTo>
                  <a:pt x="4095" y="365"/>
                  <a:pt x="4097" y="364"/>
                  <a:pt x="4099" y="364"/>
                </a:cubicBezTo>
                <a:cubicBezTo>
                  <a:pt x="4099" y="364"/>
                  <a:pt x="4100" y="364"/>
                  <a:pt x="4100" y="365"/>
                </a:cubicBezTo>
                <a:cubicBezTo>
                  <a:pt x="4100" y="365"/>
                  <a:pt x="4100" y="366"/>
                  <a:pt x="4100" y="367"/>
                </a:cubicBezTo>
                <a:cubicBezTo>
                  <a:pt x="4098" y="368"/>
                  <a:pt x="4097" y="369"/>
                  <a:pt x="4095" y="370"/>
                </a:cubicBezTo>
                <a:cubicBezTo>
                  <a:pt x="4094" y="370"/>
                  <a:pt x="4092" y="369"/>
                  <a:pt x="4091" y="368"/>
                </a:cubicBezTo>
                <a:cubicBezTo>
                  <a:pt x="4091" y="366"/>
                  <a:pt x="4091" y="366"/>
                  <a:pt x="4092" y="365"/>
                </a:cubicBezTo>
                <a:close/>
                <a:moveTo>
                  <a:pt x="3815" y="269"/>
                </a:moveTo>
                <a:cubicBezTo>
                  <a:pt x="3815" y="269"/>
                  <a:pt x="3815" y="269"/>
                  <a:pt x="3815" y="269"/>
                </a:cubicBezTo>
                <a:cubicBezTo>
                  <a:pt x="3816" y="269"/>
                  <a:pt x="3817" y="269"/>
                  <a:pt x="3818" y="270"/>
                </a:cubicBezTo>
                <a:cubicBezTo>
                  <a:pt x="3818" y="271"/>
                  <a:pt x="3817" y="271"/>
                  <a:pt x="3816" y="271"/>
                </a:cubicBezTo>
                <a:cubicBezTo>
                  <a:pt x="3816" y="270"/>
                  <a:pt x="3815" y="270"/>
                  <a:pt x="3815" y="269"/>
                </a:cubicBezTo>
                <a:cubicBezTo>
                  <a:pt x="3815" y="269"/>
                  <a:pt x="3814" y="269"/>
                  <a:pt x="3814" y="269"/>
                </a:cubicBezTo>
                <a:cubicBezTo>
                  <a:pt x="3814" y="269"/>
                  <a:pt x="3814" y="269"/>
                  <a:pt x="3813" y="268"/>
                </a:cubicBezTo>
                <a:cubicBezTo>
                  <a:pt x="3814" y="268"/>
                  <a:pt x="3814" y="268"/>
                  <a:pt x="3815" y="269"/>
                </a:cubicBezTo>
                <a:close/>
                <a:moveTo>
                  <a:pt x="3665" y="788"/>
                </a:moveTo>
                <a:cubicBezTo>
                  <a:pt x="3666" y="787"/>
                  <a:pt x="3666" y="787"/>
                  <a:pt x="3666" y="787"/>
                </a:cubicBezTo>
                <a:cubicBezTo>
                  <a:pt x="3667" y="787"/>
                  <a:pt x="3667" y="787"/>
                  <a:pt x="3668" y="786"/>
                </a:cubicBezTo>
                <a:cubicBezTo>
                  <a:pt x="3668" y="787"/>
                  <a:pt x="3668" y="787"/>
                  <a:pt x="3668" y="787"/>
                </a:cubicBezTo>
                <a:cubicBezTo>
                  <a:pt x="3668" y="787"/>
                  <a:pt x="3667" y="787"/>
                  <a:pt x="3666" y="787"/>
                </a:cubicBezTo>
                <a:cubicBezTo>
                  <a:pt x="3666" y="788"/>
                  <a:pt x="3666" y="788"/>
                  <a:pt x="3666" y="788"/>
                </a:cubicBezTo>
                <a:cubicBezTo>
                  <a:pt x="3665" y="788"/>
                  <a:pt x="3665" y="788"/>
                  <a:pt x="3665" y="788"/>
                </a:cubicBezTo>
                <a:close/>
                <a:moveTo>
                  <a:pt x="3599" y="1304"/>
                </a:moveTo>
                <a:cubicBezTo>
                  <a:pt x="3599" y="1304"/>
                  <a:pt x="3599" y="1304"/>
                  <a:pt x="3599" y="1304"/>
                </a:cubicBezTo>
                <a:cubicBezTo>
                  <a:pt x="3599" y="1304"/>
                  <a:pt x="3599" y="1304"/>
                  <a:pt x="3600" y="1305"/>
                </a:cubicBezTo>
                <a:cubicBezTo>
                  <a:pt x="3602" y="1304"/>
                  <a:pt x="3604" y="1304"/>
                  <a:pt x="3606" y="1302"/>
                </a:cubicBezTo>
                <a:cubicBezTo>
                  <a:pt x="3607" y="1301"/>
                  <a:pt x="3608" y="1302"/>
                  <a:pt x="3608" y="1303"/>
                </a:cubicBezTo>
                <a:cubicBezTo>
                  <a:pt x="3608" y="1304"/>
                  <a:pt x="3607" y="1305"/>
                  <a:pt x="3606" y="1306"/>
                </a:cubicBezTo>
                <a:cubicBezTo>
                  <a:pt x="3604" y="1307"/>
                  <a:pt x="3601" y="1307"/>
                  <a:pt x="3600" y="1305"/>
                </a:cubicBezTo>
                <a:cubicBezTo>
                  <a:pt x="3599" y="1305"/>
                  <a:pt x="3599" y="1305"/>
                  <a:pt x="3599" y="1305"/>
                </a:cubicBezTo>
                <a:lnTo>
                  <a:pt x="3599" y="1304"/>
                </a:lnTo>
                <a:close/>
                <a:moveTo>
                  <a:pt x="3592" y="239"/>
                </a:moveTo>
                <a:cubicBezTo>
                  <a:pt x="3592" y="238"/>
                  <a:pt x="3592" y="238"/>
                  <a:pt x="3592" y="238"/>
                </a:cubicBezTo>
                <a:cubicBezTo>
                  <a:pt x="3593" y="239"/>
                  <a:pt x="3593" y="239"/>
                  <a:pt x="3593" y="239"/>
                </a:cubicBezTo>
                <a:cubicBezTo>
                  <a:pt x="3593" y="239"/>
                  <a:pt x="3593" y="239"/>
                  <a:pt x="3593" y="240"/>
                </a:cubicBezTo>
                <a:cubicBezTo>
                  <a:pt x="3596" y="240"/>
                  <a:pt x="3597" y="242"/>
                  <a:pt x="3596" y="245"/>
                </a:cubicBezTo>
                <a:cubicBezTo>
                  <a:pt x="3596" y="247"/>
                  <a:pt x="3595" y="249"/>
                  <a:pt x="3594" y="251"/>
                </a:cubicBezTo>
                <a:cubicBezTo>
                  <a:pt x="3594" y="251"/>
                  <a:pt x="3593" y="251"/>
                  <a:pt x="3592" y="251"/>
                </a:cubicBezTo>
                <a:cubicBezTo>
                  <a:pt x="3592" y="251"/>
                  <a:pt x="3591" y="250"/>
                  <a:pt x="3592" y="250"/>
                </a:cubicBezTo>
                <a:cubicBezTo>
                  <a:pt x="3592" y="246"/>
                  <a:pt x="3592" y="243"/>
                  <a:pt x="3593" y="240"/>
                </a:cubicBezTo>
                <a:cubicBezTo>
                  <a:pt x="3593" y="240"/>
                  <a:pt x="3593" y="239"/>
                  <a:pt x="3592" y="239"/>
                </a:cubicBezTo>
                <a:close/>
                <a:moveTo>
                  <a:pt x="3578" y="926"/>
                </a:moveTo>
                <a:cubicBezTo>
                  <a:pt x="3578" y="926"/>
                  <a:pt x="3577" y="926"/>
                  <a:pt x="3577" y="926"/>
                </a:cubicBezTo>
                <a:cubicBezTo>
                  <a:pt x="3577" y="925"/>
                  <a:pt x="3577" y="924"/>
                  <a:pt x="3578" y="923"/>
                </a:cubicBezTo>
                <a:cubicBezTo>
                  <a:pt x="3578" y="923"/>
                  <a:pt x="3579" y="924"/>
                  <a:pt x="3579" y="924"/>
                </a:cubicBezTo>
                <a:cubicBezTo>
                  <a:pt x="3578" y="925"/>
                  <a:pt x="3578" y="926"/>
                  <a:pt x="3578" y="926"/>
                </a:cubicBezTo>
                <a:close/>
                <a:moveTo>
                  <a:pt x="3579" y="230"/>
                </a:moveTo>
                <a:cubicBezTo>
                  <a:pt x="3580" y="230"/>
                  <a:pt x="3581" y="231"/>
                  <a:pt x="3582" y="231"/>
                </a:cubicBezTo>
                <a:cubicBezTo>
                  <a:pt x="3581" y="232"/>
                  <a:pt x="3581" y="232"/>
                  <a:pt x="3581" y="232"/>
                </a:cubicBezTo>
                <a:cubicBezTo>
                  <a:pt x="3580" y="234"/>
                  <a:pt x="3579" y="235"/>
                  <a:pt x="3577" y="236"/>
                </a:cubicBezTo>
                <a:cubicBezTo>
                  <a:pt x="3577" y="236"/>
                  <a:pt x="3576" y="236"/>
                  <a:pt x="3576" y="236"/>
                </a:cubicBezTo>
                <a:cubicBezTo>
                  <a:pt x="3575" y="236"/>
                  <a:pt x="3574" y="236"/>
                  <a:pt x="3574" y="235"/>
                </a:cubicBezTo>
                <a:cubicBezTo>
                  <a:pt x="3573" y="232"/>
                  <a:pt x="3575" y="230"/>
                  <a:pt x="3579" y="230"/>
                </a:cubicBezTo>
                <a:close/>
                <a:moveTo>
                  <a:pt x="3524" y="289"/>
                </a:moveTo>
                <a:cubicBezTo>
                  <a:pt x="3526" y="289"/>
                  <a:pt x="3528" y="290"/>
                  <a:pt x="3530" y="290"/>
                </a:cubicBezTo>
                <a:cubicBezTo>
                  <a:pt x="3530" y="290"/>
                  <a:pt x="3530" y="291"/>
                  <a:pt x="3531" y="291"/>
                </a:cubicBezTo>
                <a:cubicBezTo>
                  <a:pt x="3530" y="292"/>
                  <a:pt x="3530" y="293"/>
                  <a:pt x="3529" y="294"/>
                </a:cubicBezTo>
                <a:cubicBezTo>
                  <a:pt x="3526" y="295"/>
                  <a:pt x="3524" y="294"/>
                  <a:pt x="3522" y="291"/>
                </a:cubicBezTo>
                <a:cubicBezTo>
                  <a:pt x="3522" y="290"/>
                  <a:pt x="3523" y="289"/>
                  <a:pt x="3524" y="289"/>
                </a:cubicBezTo>
                <a:close/>
                <a:moveTo>
                  <a:pt x="3519" y="1552"/>
                </a:moveTo>
                <a:cubicBezTo>
                  <a:pt x="3519" y="1553"/>
                  <a:pt x="3520" y="1553"/>
                  <a:pt x="3520" y="1553"/>
                </a:cubicBezTo>
                <a:cubicBezTo>
                  <a:pt x="3519" y="1554"/>
                  <a:pt x="3518" y="1554"/>
                  <a:pt x="3518" y="1552"/>
                </a:cubicBezTo>
                <a:cubicBezTo>
                  <a:pt x="3518" y="1552"/>
                  <a:pt x="3519" y="1552"/>
                  <a:pt x="3519" y="1552"/>
                </a:cubicBezTo>
                <a:close/>
                <a:moveTo>
                  <a:pt x="3179" y="219"/>
                </a:moveTo>
                <a:cubicBezTo>
                  <a:pt x="3179" y="219"/>
                  <a:pt x="3180" y="219"/>
                  <a:pt x="3180" y="220"/>
                </a:cubicBezTo>
                <a:cubicBezTo>
                  <a:pt x="3180" y="220"/>
                  <a:pt x="3179" y="219"/>
                  <a:pt x="3179" y="219"/>
                </a:cubicBezTo>
                <a:cubicBezTo>
                  <a:pt x="3178" y="218"/>
                  <a:pt x="3178" y="218"/>
                  <a:pt x="3178" y="218"/>
                </a:cubicBezTo>
                <a:lnTo>
                  <a:pt x="3179" y="219"/>
                </a:lnTo>
                <a:close/>
                <a:moveTo>
                  <a:pt x="2213" y="717"/>
                </a:moveTo>
                <a:cubicBezTo>
                  <a:pt x="2213" y="717"/>
                  <a:pt x="2213" y="717"/>
                  <a:pt x="2213" y="717"/>
                </a:cubicBezTo>
                <a:cubicBezTo>
                  <a:pt x="2214" y="717"/>
                  <a:pt x="2214" y="717"/>
                  <a:pt x="2214" y="717"/>
                </a:cubicBezTo>
                <a:lnTo>
                  <a:pt x="2213" y="717"/>
                </a:lnTo>
                <a:close/>
                <a:moveTo>
                  <a:pt x="2256" y="818"/>
                </a:moveTo>
                <a:cubicBezTo>
                  <a:pt x="2256" y="821"/>
                  <a:pt x="2254" y="823"/>
                  <a:pt x="2251" y="824"/>
                </a:cubicBezTo>
                <a:cubicBezTo>
                  <a:pt x="2248" y="824"/>
                  <a:pt x="2246" y="824"/>
                  <a:pt x="2243" y="824"/>
                </a:cubicBezTo>
                <a:cubicBezTo>
                  <a:pt x="2243" y="824"/>
                  <a:pt x="2243" y="824"/>
                  <a:pt x="2243" y="824"/>
                </a:cubicBezTo>
                <a:cubicBezTo>
                  <a:pt x="2243" y="825"/>
                  <a:pt x="2243" y="825"/>
                  <a:pt x="2243" y="825"/>
                </a:cubicBezTo>
                <a:cubicBezTo>
                  <a:pt x="2243" y="825"/>
                  <a:pt x="2243" y="824"/>
                  <a:pt x="2243" y="824"/>
                </a:cubicBezTo>
                <a:cubicBezTo>
                  <a:pt x="2243" y="824"/>
                  <a:pt x="2243" y="824"/>
                  <a:pt x="2243" y="824"/>
                </a:cubicBezTo>
                <a:cubicBezTo>
                  <a:pt x="2243" y="820"/>
                  <a:pt x="2243" y="817"/>
                  <a:pt x="2248" y="815"/>
                </a:cubicBezTo>
                <a:cubicBezTo>
                  <a:pt x="2249" y="815"/>
                  <a:pt x="2249" y="813"/>
                  <a:pt x="2250" y="811"/>
                </a:cubicBezTo>
                <a:cubicBezTo>
                  <a:pt x="2251" y="809"/>
                  <a:pt x="2253" y="808"/>
                  <a:pt x="2254" y="809"/>
                </a:cubicBezTo>
                <a:cubicBezTo>
                  <a:pt x="2255" y="811"/>
                  <a:pt x="2256" y="812"/>
                  <a:pt x="2256" y="813"/>
                </a:cubicBezTo>
                <a:cubicBezTo>
                  <a:pt x="2256" y="815"/>
                  <a:pt x="2256" y="817"/>
                  <a:pt x="2256" y="818"/>
                </a:cubicBezTo>
                <a:close/>
                <a:moveTo>
                  <a:pt x="2266" y="827"/>
                </a:moveTo>
                <a:cubicBezTo>
                  <a:pt x="2266" y="827"/>
                  <a:pt x="2266" y="827"/>
                  <a:pt x="2266" y="828"/>
                </a:cubicBezTo>
                <a:cubicBezTo>
                  <a:pt x="2266" y="828"/>
                  <a:pt x="2266" y="828"/>
                  <a:pt x="2266" y="829"/>
                </a:cubicBezTo>
                <a:cubicBezTo>
                  <a:pt x="2266" y="829"/>
                  <a:pt x="2265" y="829"/>
                  <a:pt x="2265" y="830"/>
                </a:cubicBezTo>
                <a:cubicBezTo>
                  <a:pt x="2266" y="829"/>
                  <a:pt x="2266" y="828"/>
                  <a:pt x="2266" y="827"/>
                </a:cubicBezTo>
                <a:cubicBezTo>
                  <a:pt x="2266" y="827"/>
                  <a:pt x="2266" y="827"/>
                  <a:pt x="2266" y="827"/>
                </a:cubicBezTo>
                <a:cubicBezTo>
                  <a:pt x="2266" y="826"/>
                  <a:pt x="2266" y="825"/>
                  <a:pt x="2268" y="824"/>
                </a:cubicBezTo>
                <a:cubicBezTo>
                  <a:pt x="2268" y="824"/>
                  <a:pt x="2268" y="825"/>
                  <a:pt x="2268" y="825"/>
                </a:cubicBezTo>
                <a:cubicBezTo>
                  <a:pt x="2268" y="826"/>
                  <a:pt x="2267" y="826"/>
                  <a:pt x="2266" y="827"/>
                </a:cubicBezTo>
                <a:close/>
                <a:moveTo>
                  <a:pt x="2293" y="802"/>
                </a:moveTo>
                <a:cubicBezTo>
                  <a:pt x="2294" y="802"/>
                  <a:pt x="2294" y="802"/>
                  <a:pt x="2295" y="802"/>
                </a:cubicBezTo>
                <a:cubicBezTo>
                  <a:pt x="2296" y="802"/>
                  <a:pt x="2297" y="803"/>
                  <a:pt x="2298" y="803"/>
                </a:cubicBezTo>
                <a:cubicBezTo>
                  <a:pt x="2298" y="803"/>
                  <a:pt x="2298" y="804"/>
                  <a:pt x="2298" y="804"/>
                </a:cubicBezTo>
                <a:cubicBezTo>
                  <a:pt x="2297" y="804"/>
                  <a:pt x="2296" y="805"/>
                  <a:pt x="2295" y="804"/>
                </a:cubicBezTo>
                <a:cubicBezTo>
                  <a:pt x="2293" y="804"/>
                  <a:pt x="2293" y="803"/>
                  <a:pt x="2293" y="802"/>
                </a:cubicBezTo>
                <a:close/>
                <a:moveTo>
                  <a:pt x="2319" y="554"/>
                </a:moveTo>
                <a:cubicBezTo>
                  <a:pt x="2319" y="555"/>
                  <a:pt x="2317" y="555"/>
                  <a:pt x="2316" y="555"/>
                </a:cubicBezTo>
                <a:cubicBezTo>
                  <a:pt x="2316" y="555"/>
                  <a:pt x="2315" y="555"/>
                  <a:pt x="2315" y="555"/>
                </a:cubicBezTo>
                <a:cubicBezTo>
                  <a:pt x="2314" y="554"/>
                  <a:pt x="2314" y="553"/>
                  <a:pt x="2314" y="553"/>
                </a:cubicBezTo>
                <a:cubicBezTo>
                  <a:pt x="2314" y="552"/>
                  <a:pt x="2315" y="551"/>
                  <a:pt x="2316" y="551"/>
                </a:cubicBezTo>
                <a:cubicBezTo>
                  <a:pt x="2318" y="552"/>
                  <a:pt x="2320" y="554"/>
                  <a:pt x="2319" y="554"/>
                </a:cubicBezTo>
                <a:close/>
                <a:moveTo>
                  <a:pt x="2336" y="544"/>
                </a:moveTo>
                <a:cubicBezTo>
                  <a:pt x="2336" y="544"/>
                  <a:pt x="2336" y="544"/>
                  <a:pt x="2336" y="544"/>
                </a:cubicBezTo>
                <a:cubicBezTo>
                  <a:pt x="2335" y="545"/>
                  <a:pt x="2335" y="546"/>
                  <a:pt x="2334" y="546"/>
                </a:cubicBezTo>
                <a:cubicBezTo>
                  <a:pt x="2334" y="546"/>
                  <a:pt x="2333" y="545"/>
                  <a:pt x="2334" y="545"/>
                </a:cubicBezTo>
                <a:cubicBezTo>
                  <a:pt x="2334" y="545"/>
                  <a:pt x="2335" y="545"/>
                  <a:pt x="2336" y="544"/>
                </a:cubicBezTo>
                <a:cubicBezTo>
                  <a:pt x="2336" y="544"/>
                  <a:pt x="2336" y="544"/>
                  <a:pt x="2336" y="544"/>
                </a:cubicBezTo>
                <a:cubicBezTo>
                  <a:pt x="2336" y="543"/>
                  <a:pt x="2336" y="543"/>
                  <a:pt x="2336" y="543"/>
                </a:cubicBezTo>
                <a:lnTo>
                  <a:pt x="2336" y="544"/>
                </a:lnTo>
                <a:close/>
                <a:moveTo>
                  <a:pt x="2359" y="536"/>
                </a:moveTo>
                <a:cubicBezTo>
                  <a:pt x="2359" y="536"/>
                  <a:pt x="2359" y="537"/>
                  <a:pt x="2359" y="537"/>
                </a:cubicBezTo>
                <a:cubicBezTo>
                  <a:pt x="2359" y="537"/>
                  <a:pt x="2359" y="538"/>
                  <a:pt x="2358" y="538"/>
                </a:cubicBezTo>
                <a:cubicBezTo>
                  <a:pt x="2358" y="540"/>
                  <a:pt x="2358" y="542"/>
                  <a:pt x="2358" y="544"/>
                </a:cubicBezTo>
                <a:cubicBezTo>
                  <a:pt x="2358" y="545"/>
                  <a:pt x="2358" y="545"/>
                  <a:pt x="2358" y="545"/>
                </a:cubicBezTo>
                <a:cubicBezTo>
                  <a:pt x="2357" y="545"/>
                  <a:pt x="2357" y="545"/>
                  <a:pt x="2357" y="544"/>
                </a:cubicBezTo>
                <a:cubicBezTo>
                  <a:pt x="2357" y="542"/>
                  <a:pt x="2357" y="540"/>
                  <a:pt x="2358" y="538"/>
                </a:cubicBezTo>
                <a:cubicBezTo>
                  <a:pt x="2358" y="537"/>
                  <a:pt x="2358" y="537"/>
                  <a:pt x="2358" y="536"/>
                </a:cubicBezTo>
                <a:cubicBezTo>
                  <a:pt x="2359" y="536"/>
                  <a:pt x="2359" y="536"/>
                  <a:pt x="2359" y="536"/>
                </a:cubicBezTo>
                <a:cubicBezTo>
                  <a:pt x="2359" y="536"/>
                  <a:pt x="2359" y="536"/>
                  <a:pt x="2360" y="536"/>
                </a:cubicBezTo>
                <a:cubicBezTo>
                  <a:pt x="2360" y="536"/>
                  <a:pt x="2360" y="536"/>
                  <a:pt x="2359" y="536"/>
                </a:cubicBezTo>
                <a:close/>
                <a:moveTo>
                  <a:pt x="2387" y="752"/>
                </a:moveTo>
                <a:cubicBezTo>
                  <a:pt x="2387" y="751"/>
                  <a:pt x="2387" y="751"/>
                  <a:pt x="2387" y="751"/>
                </a:cubicBezTo>
                <a:cubicBezTo>
                  <a:pt x="2388" y="752"/>
                  <a:pt x="2388" y="752"/>
                  <a:pt x="2388" y="752"/>
                </a:cubicBezTo>
                <a:lnTo>
                  <a:pt x="2387" y="752"/>
                </a:lnTo>
                <a:close/>
                <a:moveTo>
                  <a:pt x="2389" y="577"/>
                </a:moveTo>
                <a:cubicBezTo>
                  <a:pt x="2390" y="576"/>
                  <a:pt x="2391" y="575"/>
                  <a:pt x="2392" y="574"/>
                </a:cubicBezTo>
                <a:cubicBezTo>
                  <a:pt x="2392" y="573"/>
                  <a:pt x="2392" y="573"/>
                  <a:pt x="2392" y="573"/>
                </a:cubicBezTo>
                <a:cubicBezTo>
                  <a:pt x="2393" y="572"/>
                  <a:pt x="2393" y="572"/>
                  <a:pt x="2393" y="572"/>
                </a:cubicBezTo>
                <a:cubicBezTo>
                  <a:pt x="2392" y="573"/>
                  <a:pt x="2392" y="573"/>
                  <a:pt x="2392" y="573"/>
                </a:cubicBezTo>
                <a:cubicBezTo>
                  <a:pt x="2392" y="574"/>
                  <a:pt x="2392" y="574"/>
                  <a:pt x="2392" y="574"/>
                </a:cubicBezTo>
                <a:cubicBezTo>
                  <a:pt x="2392" y="575"/>
                  <a:pt x="2393" y="576"/>
                  <a:pt x="2393" y="578"/>
                </a:cubicBezTo>
                <a:cubicBezTo>
                  <a:pt x="2393" y="578"/>
                  <a:pt x="2392" y="579"/>
                  <a:pt x="2391" y="580"/>
                </a:cubicBezTo>
                <a:cubicBezTo>
                  <a:pt x="2391" y="580"/>
                  <a:pt x="2390" y="580"/>
                  <a:pt x="2390" y="580"/>
                </a:cubicBezTo>
                <a:cubicBezTo>
                  <a:pt x="2390" y="579"/>
                  <a:pt x="2389" y="578"/>
                  <a:pt x="2389" y="577"/>
                </a:cubicBezTo>
                <a:close/>
                <a:moveTo>
                  <a:pt x="2395" y="728"/>
                </a:moveTo>
                <a:cubicBezTo>
                  <a:pt x="2395" y="728"/>
                  <a:pt x="2394" y="728"/>
                  <a:pt x="2394" y="728"/>
                </a:cubicBezTo>
                <a:cubicBezTo>
                  <a:pt x="2392" y="727"/>
                  <a:pt x="2391" y="728"/>
                  <a:pt x="2390" y="725"/>
                </a:cubicBezTo>
                <a:cubicBezTo>
                  <a:pt x="2390" y="725"/>
                  <a:pt x="2391" y="725"/>
                  <a:pt x="2392" y="725"/>
                </a:cubicBezTo>
                <a:cubicBezTo>
                  <a:pt x="2393" y="725"/>
                  <a:pt x="2394" y="726"/>
                  <a:pt x="2394" y="726"/>
                </a:cubicBezTo>
                <a:cubicBezTo>
                  <a:pt x="2395" y="726"/>
                  <a:pt x="2396" y="726"/>
                  <a:pt x="2396" y="727"/>
                </a:cubicBezTo>
                <a:cubicBezTo>
                  <a:pt x="2396" y="727"/>
                  <a:pt x="2396" y="728"/>
                  <a:pt x="2397" y="728"/>
                </a:cubicBezTo>
                <a:cubicBezTo>
                  <a:pt x="2396" y="728"/>
                  <a:pt x="2396" y="728"/>
                  <a:pt x="2395" y="728"/>
                </a:cubicBezTo>
                <a:close/>
                <a:moveTo>
                  <a:pt x="2403" y="692"/>
                </a:moveTo>
                <a:cubicBezTo>
                  <a:pt x="2403" y="693"/>
                  <a:pt x="2401" y="694"/>
                  <a:pt x="2401" y="694"/>
                </a:cubicBezTo>
                <a:cubicBezTo>
                  <a:pt x="2400" y="693"/>
                  <a:pt x="2398" y="692"/>
                  <a:pt x="2398" y="690"/>
                </a:cubicBezTo>
                <a:cubicBezTo>
                  <a:pt x="2397" y="690"/>
                  <a:pt x="2398" y="689"/>
                  <a:pt x="2399" y="688"/>
                </a:cubicBezTo>
                <a:cubicBezTo>
                  <a:pt x="2401" y="688"/>
                  <a:pt x="2403" y="689"/>
                  <a:pt x="2404" y="691"/>
                </a:cubicBezTo>
                <a:cubicBezTo>
                  <a:pt x="2404" y="691"/>
                  <a:pt x="2404" y="692"/>
                  <a:pt x="2403" y="692"/>
                </a:cubicBezTo>
                <a:close/>
                <a:moveTo>
                  <a:pt x="2420" y="740"/>
                </a:moveTo>
                <a:cubicBezTo>
                  <a:pt x="2419" y="741"/>
                  <a:pt x="2419" y="741"/>
                  <a:pt x="2419" y="741"/>
                </a:cubicBezTo>
                <a:cubicBezTo>
                  <a:pt x="2418" y="740"/>
                  <a:pt x="2418" y="740"/>
                  <a:pt x="2418" y="740"/>
                </a:cubicBezTo>
                <a:lnTo>
                  <a:pt x="2420" y="740"/>
                </a:lnTo>
                <a:close/>
                <a:moveTo>
                  <a:pt x="2424" y="754"/>
                </a:moveTo>
                <a:cubicBezTo>
                  <a:pt x="2423" y="755"/>
                  <a:pt x="2422" y="756"/>
                  <a:pt x="2423" y="758"/>
                </a:cubicBezTo>
                <a:cubicBezTo>
                  <a:pt x="2424" y="759"/>
                  <a:pt x="2425" y="761"/>
                  <a:pt x="2422" y="762"/>
                </a:cubicBezTo>
                <a:cubicBezTo>
                  <a:pt x="2421" y="762"/>
                  <a:pt x="2419" y="761"/>
                  <a:pt x="2418" y="761"/>
                </a:cubicBezTo>
                <a:cubicBezTo>
                  <a:pt x="2416" y="760"/>
                  <a:pt x="2416" y="757"/>
                  <a:pt x="2417" y="755"/>
                </a:cubicBezTo>
                <a:cubicBezTo>
                  <a:pt x="2419" y="753"/>
                  <a:pt x="2421" y="751"/>
                  <a:pt x="2423" y="750"/>
                </a:cubicBezTo>
                <a:cubicBezTo>
                  <a:pt x="2424" y="749"/>
                  <a:pt x="2424" y="750"/>
                  <a:pt x="2425" y="750"/>
                </a:cubicBezTo>
                <a:cubicBezTo>
                  <a:pt x="2425" y="750"/>
                  <a:pt x="2425" y="750"/>
                  <a:pt x="2426" y="751"/>
                </a:cubicBezTo>
                <a:cubicBezTo>
                  <a:pt x="2425" y="752"/>
                  <a:pt x="2425" y="753"/>
                  <a:pt x="2424" y="754"/>
                </a:cubicBezTo>
                <a:close/>
                <a:moveTo>
                  <a:pt x="2429" y="714"/>
                </a:moveTo>
                <a:cubicBezTo>
                  <a:pt x="2429" y="714"/>
                  <a:pt x="2429" y="713"/>
                  <a:pt x="2429" y="713"/>
                </a:cubicBezTo>
                <a:cubicBezTo>
                  <a:pt x="2430" y="713"/>
                  <a:pt x="2431" y="714"/>
                  <a:pt x="2432" y="714"/>
                </a:cubicBezTo>
                <a:cubicBezTo>
                  <a:pt x="2433" y="714"/>
                  <a:pt x="2433" y="715"/>
                  <a:pt x="2433" y="715"/>
                </a:cubicBezTo>
                <a:cubicBezTo>
                  <a:pt x="2433" y="716"/>
                  <a:pt x="2432" y="716"/>
                  <a:pt x="2432" y="716"/>
                </a:cubicBezTo>
                <a:cubicBezTo>
                  <a:pt x="2431" y="716"/>
                  <a:pt x="2430" y="715"/>
                  <a:pt x="2429" y="714"/>
                </a:cubicBezTo>
                <a:close/>
                <a:moveTo>
                  <a:pt x="2433" y="736"/>
                </a:moveTo>
                <a:cubicBezTo>
                  <a:pt x="2433" y="736"/>
                  <a:pt x="2432" y="735"/>
                  <a:pt x="2432" y="735"/>
                </a:cubicBezTo>
                <a:cubicBezTo>
                  <a:pt x="2433" y="734"/>
                  <a:pt x="2433" y="734"/>
                  <a:pt x="2433" y="734"/>
                </a:cubicBezTo>
                <a:cubicBezTo>
                  <a:pt x="2433" y="734"/>
                  <a:pt x="2434" y="734"/>
                  <a:pt x="2434" y="735"/>
                </a:cubicBezTo>
                <a:cubicBezTo>
                  <a:pt x="2434" y="735"/>
                  <a:pt x="2433" y="736"/>
                  <a:pt x="2433" y="736"/>
                </a:cubicBezTo>
                <a:close/>
                <a:moveTo>
                  <a:pt x="2420" y="819"/>
                </a:moveTo>
                <a:cubicBezTo>
                  <a:pt x="2419" y="819"/>
                  <a:pt x="2419" y="819"/>
                  <a:pt x="2418" y="820"/>
                </a:cubicBezTo>
                <a:cubicBezTo>
                  <a:pt x="2417" y="820"/>
                  <a:pt x="2416" y="819"/>
                  <a:pt x="2416" y="818"/>
                </a:cubicBezTo>
                <a:cubicBezTo>
                  <a:pt x="2415" y="817"/>
                  <a:pt x="2415" y="815"/>
                  <a:pt x="2416" y="814"/>
                </a:cubicBezTo>
                <a:cubicBezTo>
                  <a:pt x="2417" y="813"/>
                  <a:pt x="2417" y="814"/>
                  <a:pt x="2418" y="813"/>
                </a:cubicBezTo>
                <a:cubicBezTo>
                  <a:pt x="2420" y="814"/>
                  <a:pt x="2421" y="817"/>
                  <a:pt x="2420" y="819"/>
                </a:cubicBezTo>
                <a:close/>
                <a:moveTo>
                  <a:pt x="2425" y="831"/>
                </a:moveTo>
                <a:cubicBezTo>
                  <a:pt x="2424" y="830"/>
                  <a:pt x="2424" y="830"/>
                  <a:pt x="2424" y="830"/>
                </a:cubicBezTo>
                <a:cubicBezTo>
                  <a:pt x="2425" y="831"/>
                  <a:pt x="2425" y="831"/>
                  <a:pt x="2425" y="831"/>
                </a:cubicBezTo>
                <a:cubicBezTo>
                  <a:pt x="2426" y="832"/>
                  <a:pt x="2426" y="832"/>
                  <a:pt x="2426" y="832"/>
                </a:cubicBezTo>
                <a:lnTo>
                  <a:pt x="2425" y="831"/>
                </a:lnTo>
                <a:close/>
                <a:moveTo>
                  <a:pt x="2091" y="1615"/>
                </a:moveTo>
                <a:cubicBezTo>
                  <a:pt x="2091" y="1615"/>
                  <a:pt x="2091" y="1615"/>
                  <a:pt x="2091" y="1615"/>
                </a:cubicBezTo>
                <a:cubicBezTo>
                  <a:pt x="2091" y="1615"/>
                  <a:pt x="2092" y="1616"/>
                  <a:pt x="2092" y="1616"/>
                </a:cubicBezTo>
                <a:cubicBezTo>
                  <a:pt x="2092" y="1616"/>
                  <a:pt x="2091" y="1615"/>
                  <a:pt x="2091" y="1615"/>
                </a:cubicBezTo>
                <a:close/>
                <a:moveTo>
                  <a:pt x="2094" y="1618"/>
                </a:moveTo>
                <a:cubicBezTo>
                  <a:pt x="2094" y="1618"/>
                  <a:pt x="2093" y="1617"/>
                  <a:pt x="2093" y="1617"/>
                </a:cubicBezTo>
                <a:cubicBezTo>
                  <a:pt x="2093" y="1617"/>
                  <a:pt x="2094" y="1617"/>
                  <a:pt x="2095" y="1618"/>
                </a:cubicBezTo>
                <a:cubicBezTo>
                  <a:pt x="2095" y="1619"/>
                  <a:pt x="2095" y="1619"/>
                  <a:pt x="2095" y="1619"/>
                </a:cubicBezTo>
                <a:lnTo>
                  <a:pt x="2094" y="1618"/>
                </a:lnTo>
                <a:close/>
                <a:moveTo>
                  <a:pt x="2103" y="1630"/>
                </a:moveTo>
                <a:cubicBezTo>
                  <a:pt x="2103" y="1630"/>
                  <a:pt x="2103" y="1629"/>
                  <a:pt x="2102" y="1628"/>
                </a:cubicBezTo>
                <a:cubicBezTo>
                  <a:pt x="2103" y="1627"/>
                  <a:pt x="2104" y="1627"/>
                  <a:pt x="2105" y="1627"/>
                </a:cubicBezTo>
                <a:cubicBezTo>
                  <a:pt x="2105" y="1628"/>
                  <a:pt x="2105" y="1628"/>
                  <a:pt x="2105" y="1629"/>
                </a:cubicBezTo>
                <a:cubicBezTo>
                  <a:pt x="2105" y="1630"/>
                  <a:pt x="2104" y="1630"/>
                  <a:pt x="2103" y="1630"/>
                </a:cubicBezTo>
                <a:close/>
                <a:moveTo>
                  <a:pt x="2435" y="2166"/>
                </a:moveTo>
                <a:cubicBezTo>
                  <a:pt x="2435" y="2165"/>
                  <a:pt x="2435" y="2165"/>
                  <a:pt x="2435" y="2165"/>
                </a:cubicBezTo>
                <a:cubicBezTo>
                  <a:pt x="2436" y="2166"/>
                  <a:pt x="2436" y="2166"/>
                  <a:pt x="2436" y="2166"/>
                </a:cubicBezTo>
                <a:lnTo>
                  <a:pt x="2435" y="2166"/>
                </a:lnTo>
                <a:close/>
                <a:moveTo>
                  <a:pt x="2481" y="1964"/>
                </a:moveTo>
                <a:cubicBezTo>
                  <a:pt x="2480" y="1964"/>
                  <a:pt x="2480" y="1963"/>
                  <a:pt x="2481" y="1963"/>
                </a:cubicBezTo>
                <a:cubicBezTo>
                  <a:pt x="2482" y="1964"/>
                  <a:pt x="2482" y="1964"/>
                  <a:pt x="2482" y="1964"/>
                </a:cubicBezTo>
                <a:cubicBezTo>
                  <a:pt x="2481" y="1964"/>
                  <a:pt x="2481" y="1965"/>
                  <a:pt x="2481" y="1964"/>
                </a:cubicBezTo>
                <a:close/>
                <a:moveTo>
                  <a:pt x="2496" y="1761"/>
                </a:moveTo>
                <a:cubicBezTo>
                  <a:pt x="2496" y="1762"/>
                  <a:pt x="2496" y="1762"/>
                  <a:pt x="2496" y="1762"/>
                </a:cubicBezTo>
                <a:cubicBezTo>
                  <a:pt x="2496" y="1761"/>
                  <a:pt x="2496" y="1761"/>
                  <a:pt x="2496" y="1761"/>
                </a:cubicBezTo>
                <a:close/>
                <a:moveTo>
                  <a:pt x="2489" y="1859"/>
                </a:moveTo>
                <a:cubicBezTo>
                  <a:pt x="2489" y="1860"/>
                  <a:pt x="2488" y="1860"/>
                  <a:pt x="2487" y="1860"/>
                </a:cubicBezTo>
                <a:cubicBezTo>
                  <a:pt x="2487" y="1860"/>
                  <a:pt x="2486" y="1860"/>
                  <a:pt x="2486" y="1859"/>
                </a:cubicBezTo>
                <a:cubicBezTo>
                  <a:pt x="2487" y="1857"/>
                  <a:pt x="2488" y="1856"/>
                  <a:pt x="2489" y="1857"/>
                </a:cubicBezTo>
                <a:cubicBezTo>
                  <a:pt x="2490" y="1857"/>
                  <a:pt x="2490" y="1857"/>
                  <a:pt x="2490" y="1858"/>
                </a:cubicBezTo>
                <a:cubicBezTo>
                  <a:pt x="2490" y="1858"/>
                  <a:pt x="2490" y="1859"/>
                  <a:pt x="2489" y="1859"/>
                </a:cubicBezTo>
                <a:close/>
                <a:moveTo>
                  <a:pt x="2501" y="1886"/>
                </a:moveTo>
                <a:cubicBezTo>
                  <a:pt x="2501" y="1886"/>
                  <a:pt x="2500" y="1887"/>
                  <a:pt x="2500" y="1887"/>
                </a:cubicBezTo>
                <a:cubicBezTo>
                  <a:pt x="2500" y="1887"/>
                  <a:pt x="2500" y="1888"/>
                  <a:pt x="2500" y="1889"/>
                </a:cubicBezTo>
                <a:cubicBezTo>
                  <a:pt x="2500" y="1889"/>
                  <a:pt x="2500" y="1889"/>
                  <a:pt x="2500" y="1888"/>
                </a:cubicBezTo>
                <a:cubicBezTo>
                  <a:pt x="2500" y="1888"/>
                  <a:pt x="2500" y="1887"/>
                  <a:pt x="2500" y="1887"/>
                </a:cubicBezTo>
                <a:cubicBezTo>
                  <a:pt x="2500" y="1887"/>
                  <a:pt x="2500" y="1886"/>
                  <a:pt x="2500" y="1886"/>
                </a:cubicBezTo>
                <a:cubicBezTo>
                  <a:pt x="2501" y="1886"/>
                  <a:pt x="2501" y="1886"/>
                  <a:pt x="2501" y="1886"/>
                </a:cubicBezTo>
                <a:close/>
                <a:moveTo>
                  <a:pt x="2517" y="1851"/>
                </a:moveTo>
                <a:cubicBezTo>
                  <a:pt x="2517" y="1851"/>
                  <a:pt x="2516" y="1851"/>
                  <a:pt x="2516" y="1850"/>
                </a:cubicBezTo>
                <a:cubicBezTo>
                  <a:pt x="2514" y="1848"/>
                  <a:pt x="2514" y="1846"/>
                  <a:pt x="2515" y="1843"/>
                </a:cubicBezTo>
                <a:cubicBezTo>
                  <a:pt x="2514" y="1843"/>
                  <a:pt x="2514" y="1843"/>
                  <a:pt x="2514" y="1843"/>
                </a:cubicBezTo>
                <a:cubicBezTo>
                  <a:pt x="2514" y="1843"/>
                  <a:pt x="2514" y="1843"/>
                  <a:pt x="2514" y="1842"/>
                </a:cubicBezTo>
                <a:cubicBezTo>
                  <a:pt x="2511" y="1841"/>
                  <a:pt x="2512" y="1837"/>
                  <a:pt x="2509" y="1835"/>
                </a:cubicBezTo>
                <a:cubicBezTo>
                  <a:pt x="2507" y="1833"/>
                  <a:pt x="2504" y="1831"/>
                  <a:pt x="2502" y="1828"/>
                </a:cubicBezTo>
                <a:cubicBezTo>
                  <a:pt x="2501" y="1826"/>
                  <a:pt x="2499" y="1823"/>
                  <a:pt x="2499" y="1821"/>
                </a:cubicBezTo>
                <a:cubicBezTo>
                  <a:pt x="2498" y="1811"/>
                  <a:pt x="2494" y="1802"/>
                  <a:pt x="2495" y="1792"/>
                </a:cubicBezTo>
                <a:cubicBezTo>
                  <a:pt x="2495" y="1791"/>
                  <a:pt x="2496" y="1790"/>
                  <a:pt x="2497" y="1790"/>
                </a:cubicBezTo>
                <a:cubicBezTo>
                  <a:pt x="2498" y="1790"/>
                  <a:pt x="2499" y="1791"/>
                  <a:pt x="2499" y="1792"/>
                </a:cubicBezTo>
                <a:cubicBezTo>
                  <a:pt x="2501" y="1798"/>
                  <a:pt x="2502" y="1805"/>
                  <a:pt x="2503" y="1811"/>
                </a:cubicBezTo>
                <a:cubicBezTo>
                  <a:pt x="2502" y="1817"/>
                  <a:pt x="2503" y="1823"/>
                  <a:pt x="2509" y="1826"/>
                </a:cubicBezTo>
                <a:cubicBezTo>
                  <a:pt x="2512" y="1828"/>
                  <a:pt x="2513" y="1832"/>
                  <a:pt x="2513" y="1835"/>
                </a:cubicBezTo>
                <a:cubicBezTo>
                  <a:pt x="2514" y="1838"/>
                  <a:pt x="2514" y="1840"/>
                  <a:pt x="2514" y="1842"/>
                </a:cubicBezTo>
                <a:cubicBezTo>
                  <a:pt x="2514" y="1843"/>
                  <a:pt x="2514" y="1843"/>
                  <a:pt x="2515" y="1843"/>
                </a:cubicBezTo>
                <a:cubicBezTo>
                  <a:pt x="2515" y="1843"/>
                  <a:pt x="2515" y="1843"/>
                  <a:pt x="2515" y="1843"/>
                </a:cubicBezTo>
                <a:cubicBezTo>
                  <a:pt x="2517" y="1845"/>
                  <a:pt x="2518" y="1847"/>
                  <a:pt x="2518" y="1850"/>
                </a:cubicBezTo>
                <a:cubicBezTo>
                  <a:pt x="2518" y="1850"/>
                  <a:pt x="2518" y="1851"/>
                  <a:pt x="2517" y="1851"/>
                </a:cubicBezTo>
                <a:close/>
                <a:moveTo>
                  <a:pt x="2521" y="1710"/>
                </a:moveTo>
                <a:cubicBezTo>
                  <a:pt x="2520" y="1711"/>
                  <a:pt x="2520" y="1711"/>
                  <a:pt x="2520" y="1711"/>
                </a:cubicBezTo>
                <a:cubicBezTo>
                  <a:pt x="2520" y="1710"/>
                  <a:pt x="2520" y="1710"/>
                  <a:pt x="2520" y="1710"/>
                </a:cubicBezTo>
                <a:cubicBezTo>
                  <a:pt x="2522" y="1710"/>
                  <a:pt x="2522" y="1710"/>
                  <a:pt x="2522" y="1710"/>
                </a:cubicBezTo>
                <a:lnTo>
                  <a:pt x="2521" y="1710"/>
                </a:lnTo>
                <a:close/>
                <a:moveTo>
                  <a:pt x="2607" y="1566"/>
                </a:moveTo>
                <a:cubicBezTo>
                  <a:pt x="2607" y="1566"/>
                  <a:pt x="2608" y="1567"/>
                  <a:pt x="2609" y="1567"/>
                </a:cubicBezTo>
                <a:cubicBezTo>
                  <a:pt x="2609" y="1568"/>
                  <a:pt x="2609" y="1569"/>
                  <a:pt x="2608" y="1569"/>
                </a:cubicBezTo>
                <a:cubicBezTo>
                  <a:pt x="2607" y="1569"/>
                  <a:pt x="2606" y="1568"/>
                  <a:pt x="2606" y="1567"/>
                </a:cubicBezTo>
                <a:cubicBezTo>
                  <a:pt x="2606" y="1567"/>
                  <a:pt x="2606" y="1566"/>
                  <a:pt x="2607" y="1566"/>
                </a:cubicBezTo>
                <a:close/>
                <a:moveTo>
                  <a:pt x="2541" y="1332"/>
                </a:moveTo>
                <a:cubicBezTo>
                  <a:pt x="2541" y="1332"/>
                  <a:pt x="2542" y="1332"/>
                  <a:pt x="2542" y="1333"/>
                </a:cubicBezTo>
                <a:cubicBezTo>
                  <a:pt x="2542" y="1333"/>
                  <a:pt x="2542" y="1334"/>
                  <a:pt x="2542" y="1334"/>
                </a:cubicBezTo>
                <a:cubicBezTo>
                  <a:pt x="2541" y="1334"/>
                  <a:pt x="2541" y="1333"/>
                  <a:pt x="2541" y="1333"/>
                </a:cubicBezTo>
                <a:cubicBezTo>
                  <a:pt x="2540" y="1333"/>
                  <a:pt x="2541" y="1332"/>
                  <a:pt x="2541" y="1332"/>
                </a:cubicBezTo>
                <a:close/>
                <a:moveTo>
                  <a:pt x="2534" y="1324"/>
                </a:moveTo>
                <a:cubicBezTo>
                  <a:pt x="2534" y="1324"/>
                  <a:pt x="2534" y="1324"/>
                  <a:pt x="2534" y="1324"/>
                </a:cubicBezTo>
                <a:cubicBezTo>
                  <a:pt x="2535" y="1324"/>
                  <a:pt x="2535" y="1324"/>
                  <a:pt x="2535" y="1325"/>
                </a:cubicBezTo>
                <a:cubicBezTo>
                  <a:pt x="2535" y="1325"/>
                  <a:pt x="2535" y="1325"/>
                  <a:pt x="2534" y="1324"/>
                </a:cubicBezTo>
                <a:cubicBezTo>
                  <a:pt x="2534" y="1324"/>
                  <a:pt x="2534" y="1324"/>
                  <a:pt x="2534" y="1324"/>
                </a:cubicBezTo>
                <a:close/>
                <a:moveTo>
                  <a:pt x="2566" y="1880"/>
                </a:moveTo>
                <a:cubicBezTo>
                  <a:pt x="2567" y="1883"/>
                  <a:pt x="2567" y="1886"/>
                  <a:pt x="2569" y="1889"/>
                </a:cubicBezTo>
                <a:cubicBezTo>
                  <a:pt x="2571" y="1894"/>
                  <a:pt x="2571" y="1898"/>
                  <a:pt x="2569" y="1902"/>
                </a:cubicBezTo>
                <a:cubicBezTo>
                  <a:pt x="2567" y="1906"/>
                  <a:pt x="2567" y="1910"/>
                  <a:pt x="2568" y="1915"/>
                </a:cubicBezTo>
                <a:cubicBezTo>
                  <a:pt x="2569" y="1918"/>
                  <a:pt x="2570" y="1921"/>
                  <a:pt x="2570" y="1924"/>
                </a:cubicBezTo>
                <a:cubicBezTo>
                  <a:pt x="2571" y="1925"/>
                  <a:pt x="2571" y="1927"/>
                  <a:pt x="2570" y="1927"/>
                </a:cubicBezTo>
                <a:cubicBezTo>
                  <a:pt x="2569" y="1928"/>
                  <a:pt x="2568" y="1927"/>
                  <a:pt x="2567" y="1926"/>
                </a:cubicBezTo>
                <a:cubicBezTo>
                  <a:pt x="2564" y="1920"/>
                  <a:pt x="2562" y="1914"/>
                  <a:pt x="2561" y="1907"/>
                </a:cubicBezTo>
                <a:cubicBezTo>
                  <a:pt x="2561" y="1905"/>
                  <a:pt x="2561" y="1903"/>
                  <a:pt x="2561" y="1901"/>
                </a:cubicBezTo>
                <a:cubicBezTo>
                  <a:pt x="2564" y="1895"/>
                  <a:pt x="2564" y="1889"/>
                  <a:pt x="2562" y="1883"/>
                </a:cubicBezTo>
                <a:cubicBezTo>
                  <a:pt x="2562" y="1880"/>
                  <a:pt x="2562" y="1877"/>
                  <a:pt x="2562" y="1874"/>
                </a:cubicBezTo>
                <a:cubicBezTo>
                  <a:pt x="2562" y="1873"/>
                  <a:pt x="2562" y="1873"/>
                  <a:pt x="2562" y="1872"/>
                </a:cubicBezTo>
                <a:cubicBezTo>
                  <a:pt x="2563" y="1873"/>
                  <a:pt x="2565" y="1873"/>
                  <a:pt x="2565" y="1874"/>
                </a:cubicBezTo>
                <a:cubicBezTo>
                  <a:pt x="2566" y="1876"/>
                  <a:pt x="2566" y="1878"/>
                  <a:pt x="2566" y="1880"/>
                </a:cubicBezTo>
                <a:close/>
                <a:moveTo>
                  <a:pt x="2551" y="1715"/>
                </a:moveTo>
                <a:cubicBezTo>
                  <a:pt x="2552" y="1716"/>
                  <a:pt x="2552" y="1716"/>
                  <a:pt x="2552" y="1716"/>
                </a:cubicBezTo>
                <a:cubicBezTo>
                  <a:pt x="2550" y="1716"/>
                  <a:pt x="2550" y="1716"/>
                  <a:pt x="2550" y="1716"/>
                </a:cubicBezTo>
                <a:lnTo>
                  <a:pt x="2551" y="1715"/>
                </a:lnTo>
                <a:close/>
                <a:moveTo>
                  <a:pt x="2554" y="1732"/>
                </a:moveTo>
                <a:cubicBezTo>
                  <a:pt x="2559" y="1732"/>
                  <a:pt x="2562" y="1734"/>
                  <a:pt x="2564" y="1738"/>
                </a:cubicBezTo>
                <a:cubicBezTo>
                  <a:pt x="2564" y="1738"/>
                  <a:pt x="2565" y="1740"/>
                  <a:pt x="2564" y="1741"/>
                </a:cubicBezTo>
                <a:cubicBezTo>
                  <a:pt x="2562" y="1747"/>
                  <a:pt x="2559" y="1752"/>
                  <a:pt x="2554" y="1757"/>
                </a:cubicBezTo>
                <a:cubicBezTo>
                  <a:pt x="2553" y="1759"/>
                  <a:pt x="2552" y="1761"/>
                  <a:pt x="2552" y="1763"/>
                </a:cubicBezTo>
                <a:cubicBezTo>
                  <a:pt x="2552" y="1764"/>
                  <a:pt x="2552" y="1765"/>
                  <a:pt x="2551" y="1766"/>
                </a:cubicBezTo>
                <a:cubicBezTo>
                  <a:pt x="2550" y="1767"/>
                  <a:pt x="2549" y="1768"/>
                  <a:pt x="2547" y="1768"/>
                </a:cubicBezTo>
                <a:cubicBezTo>
                  <a:pt x="2546" y="1768"/>
                  <a:pt x="2545" y="1768"/>
                  <a:pt x="2544" y="1768"/>
                </a:cubicBezTo>
                <a:cubicBezTo>
                  <a:pt x="2543" y="1768"/>
                  <a:pt x="2542" y="1768"/>
                  <a:pt x="2541" y="1768"/>
                </a:cubicBezTo>
                <a:cubicBezTo>
                  <a:pt x="2538" y="1768"/>
                  <a:pt x="2536" y="1768"/>
                  <a:pt x="2534" y="1768"/>
                </a:cubicBezTo>
                <a:cubicBezTo>
                  <a:pt x="2533" y="1768"/>
                  <a:pt x="2533" y="1767"/>
                  <a:pt x="2532" y="1766"/>
                </a:cubicBezTo>
                <a:cubicBezTo>
                  <a:pt x="2532" y="1765"/>
                  <a:pt x="2532" y="1763"/>
                  <a:pt x="2532" y="1762"/>
                </a:cubicBezTo>
                <a:cubicBezTo>
                  <a:pt x="2534" y="1756"/>
                  <a:pt x="2534" y="1750"/>
                  <a:pt x="2534" y="1743"/>
                </a:cubicBezTo>
                <a:cubicBezTo>
                  <a:pt x="2534" y="1741"/>
                  <a:pt x="2534" y="1740"/>
                  <a:pt x="2535" y="1738"/>
                </a:cubicBezTo>
                <a:cubicBezTo>
                  <a:pt x="2536" y="1737"/>
                  <a:pt x="2537" y="1735"/>
                  <a:pt x="2538" y="1735"/>
                </a:cubicBezTo>
                <a:cubicBezTo>
                  <a:pt x="2544" y="1734"/>
                  <a:pt x="2549" y="1733"/>
                  <a:pt x="2554" y="1732"/>
                </a:cubicBezTo>
                <a:close/>
                <a:moveTo>
                  <a:pt x="2543" y="807"/>
                </a:moveTo>
                <a:cubicBezTo>
                  <a:pt x="2543" y="807"/>
                  <a:pt x="2543" y="807"/>
                  <a:pt x="2544" y="807"/>
                </a:cubicBezTo>
                <a:cubicBezTo>
                  <a:pt x="2544" y="807"/>
                  <a:pt x="2545" y="807"/>
                  <a:pt x="2545" y="807"/>
                </a:cubicBezTo>
                <a:cubicBezTo>
                  <a:pt x="2545" y="808"/>
                  <a:pt x="2545" y="808"/>
                  <a:pt x="2545" y="808"/>
                </a:cubicBezTo>
                <a:cubicBezTo>
                  <a:pt x="2547" y="811"/>
                  <a:pt x="2550" y="813"/>
                  <a:pt x="2552" y="816"/>
                </a:cubicBezTo>
                <a:cubicBezTo>
                  <a:pt x="2554" y="817"/>
                  <a:pt x="2553" y="819"/>
                  <a:pt x="2552" y="820"/>
                </a:cubicBezTo>
                <a:cubicBezTo>
                  <a:pt x="2549" y="821"/>
                  <a:pt x="2546" y="820"/>
                  <a:pt x="2544" y="818"/>
                </a:cubicBezTo>
                <a:cubicBezTo>
                  <a:pt x="2543" y="817"/>
                  <a:pt x="2543" y="815"/>
                  <a:pt x="2544" y="814"/>
                </a:cubicBezTo>
                <a:cubicBezTo>
                  <a:pt x="2544" y="813"/>
                  <a:pt x="2544" y="813"/>
                  <a:pt x="2544" y="812"/>
                </a:cubicBezTo>
                <a:cubicBezTo>
                  <a:pt x="2544" y="811"/>
                  <a:pt x="2545" y="809"/>
                  <a:pt x="2545" y="808"/>
                </a:cubicBezTo>
                <a:cubicBezTo>
                  <a:pt x="2545" y="808"/>
                  <a:pt x="2545" y="808"/>
                  <a:pt x="2545" y="808"/>
                </a:cubicBezTo>
                <a:cubicBezTo>
                  <a:pt x="2544" y="808"/>
                  <a:pt x="2544" y="807"/>
                  <a:pt x="2544" y="807"/>
                </a:cubicBezTo>
                <a:cubicBezTo>
                  <a:pt x="2543" y="807"/>
                  <a:pt x="2542" y="807"/>
                  <a:pt x="2542" y="807"/>
                </a:cubicBezTo>
                <a:cubicBezTo>
                  <a:pt x="2541" y="806"/>
                  <a:pt x="2542" y="806"/>
                  <a:pt x="2543" y="807"/>
                </a:cubicBezTo>
                <a:close/>
                <a:moveTo>
                  <a:pt x="2533" y="778"/>
                </a:moveTo>
                <a:cubicBezTo>
                  <a:pt x="2533" y="778"/>
                  <a:pt x="2534" y="777"/>
                  <a:pt x="2534" y="778"/>
                </a:cubicBezTo>
                <a:cubicBezTo>
                  <a:pt x="2536" y="779"/>
                  <a:pt x="2535" y="780"/>
                  <a:pt x="2534" y="780"/>
                </a:cubicBezTo>
                <a:cubicBezTo>
                  <a:pt x="2533" y="780"/>
                  <a:pt x="2533" y="779"/>
                  <a:pt x="2533" y="779"/>
                </a:cubicBezTo>
                <a:cubicBezTo>
                  <a:pt x="2533" y="779"/>
                  <a:pt x="2533" y="778"/>
                  <a:pt x="2533" y="778"/>
                </a:cubicBezTo>
                <a:close/>
                <a:moveTo>
                  <a:pt x="2536" y="1021"/>
                </a:moveTo>
                <a:cubicBezTo>
                  <a:pt x="2535" y="1021"/>
                  <a:pt x="2535" y="1022"/>
                  <a:pt x="2535" y="1022"/>
                </a:cubicBezTo>
                <a:cubicBezTo>
                  <a:pt x="2535" y="1022"/>
                  <a:pt x="2534" y="1022"/>
                  <a:pt x="2534" y="1022"/>
                </a:cubicBezTo>
                <a:cubicBezTo>
                  <a:pt x="2534" y="1021"/>
                  <a:pt x="2534" y="1021"/>
                  <a:pt x="2534" y="1021"/>
                </a:cubicBezTo>
                <a:cubicBezTo>
                  <a:pt x="2535" y="1021"/>
                  <a:pt x="2535" y="1021"/>
                  <a:pt x="2536" y="1021"/>
                </a:cubicBezTo>
                <a:close/>
                <a:moveTo>
                  <a:pt x="2495" y="738"/>
                </a:moveTo>
                <a:cubicBezTo>
                  <a:pt x="2497" y="737"/>
                  <a:pt x="2499" y="737"/>
                  <a:pt x="2501" y="735"/>
                </a:cubicBezTo>
                <a:cubicBezTo>
                  <a:pt x="2502" y="734"/>
                  <a:pt x="2502" y="734"/>
                  <a:pt x="2503" y="733"/>
                </a:cubicBezTo>
                <a:cubicBezTo>
                  <a:pt x="2503" y="733"/>
                  <a:pt x="2503" y="734"/>
                  <a:pt x="2503" y="735"/>
                </a:cubicBezTo>
                <a:cubicBezTo>
                  <a:pt x="2505" y="741"/>
                  <a:pt x="2508" y="746"/>
                  <a:pt x="2511" y="751"/>
                </a:cubicBezTo>
                <a:cubicBezTo>
                  <a:pt x="2513" y="752"/>
                  <a:pt x="2513" y="755"/>
                  <a:pt x="2514" y="757"/>
                </a:cubicBezTo>
                <a:cubicBezTo>
                  <a:pt x="2513" y="758"/>
                  <a:pt x="2512" y="760"/>
                  <a:pt x="2511" y="761"/>
                </a:cubicBezTo>
                <a:cubicBezTo>
                  <a:pt x="2511" y="762"/>
                  <a:pt x="2510" y="763"/>
                  <a:pt x="2509" y="763"/>
                </a:cubicBezTo>
                <a:cubicBezTo>
                  <a:pt x="2507" y="763"/>
                  <a:pt x="2507" y="762"/>
                  <a:pt x="2507" y="761"/>
                </a:cubicBezTo>
                <a:cubicBezTo>
                  <a:pt x="2506" y="756"/>
                  <a:pt x="2504" y="753"/>
                  <a:pt x="2499" y="751"/>
                </a:cubicBezTo>
                <a:cubicBezTo>
                  <a:pt x="2496" y="749"/>
                  <a:pt x="2494" y="746"/>
                  <a:pt x="2492" y="742"/>
                </a:cubicBezTo>
                <a:cubicBezTo>
                  <a:pt x="2492" y="740"/>
                  <a:pt x="2492" y="738"/>
                  <a:pt x="2495" y="738"/>
                </a:cubicBezTo>
                <a:close/>
                <a:moveTo>
                  <a:pt x="2505" y="994"/>
                </a:moveTo>
                <a:cubicBezTo>
                  <a:pt x="2504" y="994"/>
                  <a:pt x="2504" y="995"/>
                  <a:pt x="2503" y="995"/>
                </a:cubicBezTo>
                <a:cubicBezTo>
                  <a:pt x="2503" y="994"/>
                  <a:pt x="2503" y="994"/>
                  <a:pt x="2503" y="993"/>
                </a:cubicBezTo>
                <a:cubicBezTo>
                  <a:pt x="2503" y="993"/>
                  <a:pt x="2504" y="993"/>
                  <a:pt x="2504" y="993"/>
                </a:cubicBezTo>
                <a:cubicBezTo>
                  <a:pt x="2504" y="993"/>
                  <a:pt x="2505" y="994"/>
                  <a:pt x="2505" y="994"/>
                </a:cubicBezTo>
                <a:close/>
                <a:moveTo>
                  <a:pt x="2486" y="701"/>
                </a:moveTo>
                <a:cubicBezTo>
                  <a:pt x="2487" y="702"/>
                  <a:pt x="2488" y="702"/>
                  <a:pt x="2489" y="702"/>
                </a:cubicBezTo>
                <a:cubicBezTo>
                  <a:pt x="2489" y="703"/>
                  <a:pt x="2489" y="704"/>
                  <a:pt x="2490" y="705"/>
                </a:cubicBezTo>
                <a:cubicBezTo>
                  <a:pt x="2490" y="705"/>
                  <a:pt x="2489" y="705"/>
                  <a:pt x="2489" y="706"/>
                </a:cubicBezTo>
                <a:cubicBezTo>
                  <a:pt x="2488" y="705"/>
                  <a:pt x="2487" y="705"/>
                  <a:pt x="2486" y="704"/>
                </a:cubicBezTo>
                <a:cubicBezTo>
                  <a:pt x="2486" y="703"/>
                  <a:pt x="2486" y="702"/>
                  <a:pt x="2486" y="701"/>
                </a:cubicBezTo>
                <a:close/>
                <a:moveTo>
                  <a:pt x="2451" y="609"/>
                </a:moveTo>
                <a:cubicBezTo>
                  <a:pt x="2452" y="608"/>
                  <a:pt x="2452" y="608"/>
                  <a:pt x="2453" y="607"/>
                </a:cubicBezTo>
                <a:cubicBezTo>
                  <a:pt x="2452" y="608"/>
                  <a:pt x="2452" y="608"/>
                  <a:pt x="2451" y="609"/>
                </a:cubicBezTo>
                <a:cubicBezTo>
                  <a:pt x="2452" y="610"/>
                  <a:pt x="2451" y="610"/>
                  <a:pt x="2451" y="609"/>
                </a:cubicBezTo>
                <a:cubicBezTo>
                  <a:pt x="2451" y="609"/>
                  <a:pt x="2451" y="609"/>
                  <a:pt x="2451" y="609"/>
                </a:cubicBezTo>
                <a:close/>
                <a:moveTo>
                  <a:pt x="2449" y="656"/>
                </a:moveTo>
                <a:cubicBezTo>
                  <a:pt x="2449" y="656"/>
                  <a:pt x="2449" y="656"/>
                  <a:pt x="2449" y="656"/>
                </a:cubicBezTo>
                <a:cubicBezTo>
                  <a:pt x="2449" y="656"/>
                  <a:pt x="2449" y="656"/>
                  <a:pt x="2449" y="657"/>
                </a:cubicBezTo>
                <a:cubicBezTo>
                  <a:pt x="2449" y="657"/>
                  <a:pt x="2449" y="657"/>
                  <a:pt x="2449" y="656"/>
                </a:cubicBezTo>
                <a:cubicBezTo>
                  <a:pt x="2449" y="656"/>
                  <a:pt x="2448" y="656"/>
                  <a:pt x="2448" y="656"/>
                </a:cubicBezTo>
                <a:cubicBezTo>
                  <a:pt x="2448" y="655"/>
                  <a:pt x="2448" y="655"/>
                  <a:pt x="2448" y="655"/>
                </a:cubicBezTo>
                <a:lnTo>
                  <a:pt x="2449" y="656"/>
                </a:lnTo>
                <a:close/>
                <a:moveTo>
                  <a:pt x="2446" y="763"/>
                </a:moveTo>
                <a:cubicBezTo>
                  <a:pt x="2445" y="762"/>
                  <a:pt x="2445" y="761"/>
                  <a:pt x="2445" y="760"/>
                </a:cubicBezTo>
                <a:cubicBezTo>
                  <a:pt x="2446" y="756"/>
                  <a:pt x="2448" y="752"/>
                  <a:pt x="2452" y="750"/>
                </a:cubicBezTo>
                <a:cubicBezTo>
                  <a:pt x="2452" y="750"/>
                  <a:pt x="2453" y="750"/>
                  <a:pt x="2453" y="750"/>
                </a:cubicBezTo>
                <a:cubicBezTo>
                  <a:pt x="2454" y="750"/>
                  <a:pt x="2455" y="751"/>
                  <a:pt x="2456" y="751"/>
                </a:cubicBezTo>
                <a:cubicBezTo>
                  <a:pt x="2460" y="754"/>
                  <a:pt x="2463" y="757"/>
                  <a:pt x="2466" y="759"/>
                </a:cubicBezTo>
                <a:cubicBezTo>
                  <a:pt x="2467" y="760"/>
                  <a:pt x="2468" y="761"/>
                  <a:pt x="2469" y="762"/>
                </a:cubicBezTo>
                <a:cubicBezTo>
                  <a:pt x="2476" y="769"/>
                  <a:pt x="2475" y="776"/>
                  <a:pt x="2466" y="781"/>
                </a:cubicBezTo>
                <a:cubicBezTo>
                  <a:pt x="2466" y="781"/>
                  <a:pt x="2465" y="782"/>
                  <a:pt x="2465" y="782"/>
                </a:cubicBezTo>
                <a:cubicBezTo>
                  <a:pt x="2462" y="783"/>
                  <a:pt x="2460" y="783"/>
                  <a:pt x="2459" y="782"/>
                </a:cubicBezTo>
                <a:cubicBezTo>
                  <a:pt x="2454" y="776"/>
                  <a:pt x="2450" y="769"/>
                  <a:pt x="2446" y="763"/>
                </a:cubicBezTo>
                <a:close/>
                <a:moveTo>
                  <a:pt x="2467" y="1145"/>
                </a:moveTo>
                <a:cubicBezTo>
                  <a:pt x="2467" y="1146"/>
                  <a:pt x="2465" y="1147"/>
                  <a:pt x="2464" y="1147"/>
                </a:cubicBezTo>
                <a:cubicBezTo>
                  <a:pt x="2463" y="1148"/>
                  <a:pt x="2461" y="1147"/>
                  <a:pt x="2460" y="1147"/>
                </a:cubicBezTo>
                <a:cubicBezTo>
                  <a:pt x="2459" y="1147"/>
                  <a:pt x="2458" y="1147"/>
                  <a:pt x="2458" y="1147"/>
                </a:cubicBezTo>
                <a:cubicBezTo>
                  <a:pt x="2456" y="1147"/>
                  <a:pt x="2454" y="1147"/>
                  <a:pt x="2452" y="1147"/>
                </a:cubicBezTo>
                <a:cubicBezTo>
                  <a:pt x="2450" y="1147"/>
                  <a:pt x="2449" y="1146"/>
                  <a:pt x="2449" y="1144"/>
                </a:cubicBezTo>
                <a:cubicBezTo>
                  <a:pt x="2450" y="1143"/>
                  <a:pt x="2451" y="1141"/>
                  <a:pt x="2452" y="1141"/>
                </a:cubicBezTo>
                <a:cubicBezTo>
                  <a:pt x="2456" y="1138"/>
                  <a:pt x="2461" y="1139"/>
                  <a:pt x="2466" y="1139"/>
                </a:cubicBezTo>
                <a:cubicBezTo>
                  <a:pt x="2469" y="1139"/>
                  <a:pt x="2470" y="1142"/>
                  <a:pt x="2467" y="1145"/>
                </a:cubicBezTo>
                <a:close/>
                <a:moveTo>
                  <a:pt x="2626" y="1128"/>
                </a:moveTo>
                <a:cubicBezTo>
                  <a:pt x="2624" y="1129"/>
                  <a:pt x="2622" y="1130"/>
                  <a:pt x="2620" y="1131"/>
                </a:cubicBezTo>
                <a:cubicBezTo>
                  <a:pt x="2617" y="1133"/>
                  <a:pt x="2613" y="1135"/>
                  <a:pt x="2609" y="1133"/>
                </a:cubicBezTo>
                <a:cubicBezTo>
                  <a:pt x="2604" y="1131"/>
                  <a:pt x="2600" y="1132"/>
                  <a:pt x="2595" y="1134"/>
                </a:cubicBezTo>
                <a:cubicBezTo>
                  <a:pt x="2592" y="1135"/>
                  <a:pt x="2588" y="1135"/>
                  <a:pt x="2585" y="1134"/>
                </a:cubicBezTo>
                <a:cubicBezTo>
                  <a:pt x="2579" y="1132"/>
                  <a:pt x="2573" y="1130"/>
                  <a:pt x="2566" y="1127"/>
                </a:cubicBezTo>
                <a:cubicBezTo>
                  <a:pt x="2565" y="1127"/>
                  <a:pt x="2564" y="1126"/>
                  <a:pt x="2562" y="1125"/>
                </a:cubicBezTo>
                <a:cubicBezTo>
                  <a:pt x="2561" y="1124"/>
                  <a:pt x="2561" y="1123"/>
                  <a:pt x="2560" y="1123"/>
                </a:cubicBezTo>
                <a:cubicBezTo>
                  <a:pt x="2554" y="1122"/>
                  <a:pt x="2548" y="1119"/>
                  <a:pt x="2543" y="1118"/>
                </a:cubicBezTo>
                <a:cubicBezTo>
                  <a:pt x="2532" y="1117"/>
                  <a:pt x="2521" y="1119"/>
                  <a:pt x="2510" y="1123"/>
                </a:cubicBezTo>
                <a:cubicBezTo>
                  <a:pt x="2506" y="1124"/>
                  <a:pt x="2503" y="1127"/>
                  <a:pt x="2500" y="1131"/>
                </a:cubicBezTo>
                <a:cubicBezTo>
                  <a:pt x="2498" y="1133"/>
                  <a:pt x="2495" y="1134"/>
                  <a:pt x="2493" y="1133"/>
                </a:cubicBezTo>
                <a:cubicBezTo>
                  <a:pt x="2487" y="1131"/>
                  <a:pt x="2481" y="1132"/>
                  <a:pt x="2475" y="1132"/>
                </a:cubicBezTo>
                <a:cubicBezTo>
                  <a:pt x="2466" y="1132"/>
                  <a:pt x="2460" y="1129"/>
                  <a:pt x="2456" y="1121"/>
                </a:cubicBezTo>
                <a:cubicBezTo>
                  <a:pt x="2455" y="1118"/>
                  <a:pt x="2454" y="1116"/>
                  <a:pt x="2453" y="1113"/>
                </a:cubicBezTo>
                <a:cubicBezTo>
                  <a:pt x="2452" y="1112"/>
                  <a:pt x="2452" y="1110"/>
                  <a:pt x="2453" y="1108"/>
                </a:cubicBezTo>
                <a:cubicBezTo>
                  <a:pt x="2454" y="1105"/>
                  <a:pt x="2454" y="1101"/>
                  <a:pt x="2457" y="1098"/>
                </a:cubicBezTo>
                <a:cubicBezTo>
                  <a:pt x="2460" y="1095"/>
                  <a:pt x="2462" y="1092"/>
                  <a:pt x="2462" y="1088"/>
                </a:cubicBezTo>
                <a:cubicBezTo>
                  <a:pt x="2462" y="1085"/>
                  <a:pt x="2462" y="1081"/>
                  <a:pt x="2462" y="1078"/>
                </a:cubicBezTo>
                <a:cubicBezTo>
                  <a:pt x="2463" y="1076"/>
                  <a:pt x="2464" y="1074"/>
                  <a:pt x="2466" y="1073"/>
                </a:cubicBezTo>
                <a:cubicBezTo>
                  <a:pt x="2470" y="1072"/>
                  <a:pt x="2472" y="1069"/>
                  <a:pt x="2473" y="1065"/>
                </a:cubicBezTo>
                <a:cubicBezTo>
                  <a:pt x="2473" y="1062"/>
                  <a:pt x="2474" y="1060"/>
                  <a:pt x="2475" y="1058"/>
                </a:cubicBezTo>
                <a:cubicBezTo>
                  <a:pt x="2478" y="1054"/>
                  <a:pt x="2482" y="1049"/>
                  <a:pt x="2486" y="1044"/>
                </a:cubicBezTo>
                <a:cubicBezTo>
                  <a:pt x="2487" y="1042"/>
                  <a:pt x="2491" y="1041"/>
                  <a:pt x="2493" y="1042"/>
                </a:cubicBezTo>
                <a:cubicBezTo>
                  <a:pt x="2494" y="1043"/>
                  <a:pt x="2494" y="1043"/>
                  <a:pt x="2495" y="1043"/>
                </a:cubicBezTo>
                <a:cubicBezTo>
                  <a:pt x="2500" y="1048"/>
                  <a:pt x="2506" y="1050"/>
                  <a:pt x="2514" y="1050"/>
                </a:cubicBezTo>
                <a:cubicBezTo>
                  <a:pt x="2516" y="1050"/>
                  <a:pt x="2517" y="1053"/>
                  <a:pt x="2515" y="1054"/>
                </a:cubicBezTo>
                <a:cubicBezTo>
                  <a:pt x="2514" y="1056"/>
                  <a:pt x="2512" y="1057"/>
                  <a:pt x="2511" y="1059"/>
                </a:cubicBezTo>
                <a:cubicBezTo>
                  <a:pt x="2510" y="1060"/>
                  <a:pt x="2510" y="1062"/>
                  <a:pt x="2512" y="1063"/>
                </a:cubicBezTo>
                <a:cubicBezTo>
                  <a:pt x="2513" y="1063"/>
                  <a:pt x="2514" y="1064"/>
                  <a:pt x="2515" y="1064"/>
                </a:cubicBezTo>
                <a:cubicBezTo>
                  <a:pt x="2518" y="1066"/>
                  <a:pt x="2520" y="1068"/>
                  <a:pt x="2520" y="1072"/>
                </a:cubicBezTo>
                <a:cubicBezTo>
                  <a:pt x="2521" y="1076"/>
                  <a:pt x="2525" y="1078"/>
                  <a:pt x="2529" y="1076"/>
                </a:cubicBezTo>
                <a:cubicBezTo>
                  <a:pt x="2530" y="1076"/>
                  <a:pt x="2532" y="1075"/>
                  <a:pt x="2533" y="1074"/>
                </a:cubicBezTo>
                <a:cubicBezTo>
                  <a:pt x="2536" y="1073"/>
                  <a:pt x="2539" y="1071"/>
                  <a:pt x="2542" y="1070"/>
                </a:cubicBezTo>
                <a:cubicBezTo>
                  <a:pt x="2546" y="1067"/>
                  <a:pt x="2550" y="1066"/>
                  <a:pt x="2555" y="1066"/>
                </a:cubicBezTo>
                <a:cubicBezTo>
                  <a:pt x="2556" y="1066"/>
                  <a:pt x="2557" y="1065"/>
                  <a:pt x="2558" y="1065"/>
                </a:cubicBezTo>
                <a:cubicBezTo>
                  <a:pt x="2559" y="1064"/>
                  <a:pt x="2560" y="1062"/>
                  <a:pt x="2559" y="1061"/>
                </a:cubicBezTo>
                <a:cubicBezTo>
                  <a:pt x="2559" y="1059"/>
                  <a:pt x="2557" y="1058"/>
                  <a:pt x="2556" y="1058"/>
                </a:cubicBezTo>
                <a:cubicBezTo>
                  <a:pt x="2555" y="1058"/>
                  <a:pt x="2555" y="1058"/>
                  <a:pt x="2554" y="1058"/>
                </a:cubicBezTo>
                <a:cubicBezTo>
                  <a:pt x="2542" y="1059"/>
                  <a:pt x="2542" y="1059"/>
                  <a:pt x="2535" y="1050"/>
                </a:cubicBezTo>
                <a:cubicBezTo>
                  <a:pt x="2534" y="1050"/>
                  <a:pt x="2534" y="1050"/>
                  <a:pt x="2534" y="1050"/>
                </a:cubicBezTo>
                <a:cubicBezTo>
                  <a:pt x="2534" y="1049"/>
                  <a:pt x="2534" y="1049"/>
                  <a:pt x="2534" y="1049"/>
                </a:cubicBezTo>
                <a:cubicBezTo>
                  <a:pt x="2534" y="1049"/>
                  <a:pt x="2534" y="1049"/>
                  <a:pt x="2535" y="1050"/>
                </a:cubicBezTo>
                <a:cubicBezTo>
                  <a:pt x="2535" y="1050"/>
                  <a:pt x="2535" y="1050"/>
                  <a:pt x="2535" y="1050"/>
                </a:cubicBezTo>
                <a:cubicBezTo>
                  <a:pt x="2539" y="1045"/>
                  <a:pt x="2544" y="1041"/>
                  <a:pt x="2551" y="1040"/>
                </a:cubicBezTo>
                <a:cubicBezTo>
                  <a:pt x="2555" y="1039"/>
                  <a:pt x="2558" y="1038"/>
                  <a:pt x="2561" y="1035"/>
                </a:cubicBezTo>
                <a:cubicBezTo>
                  <a:pt x="2567" y="1030"/>
                  <a:pt x="2573" y="1029"/>
                  <a:pt x="2581" y="1030"/>
                </a:cubicBezTo>
                <a:cubicBezTo>
                  <a:pt x="2581" y="1030"/>
                  <a:pt x="2582" y="1030"/>
                  <a:pt x="2583" y="1030"/>
                </a:cubicBezTo>
                <a:cubicBezTo>
                  <a:pt x="2583" y="1030"/>
                  <a:pt x="2583" y="1030"/>
                  <a:pt x="2583" y="1030"/>
                </a:cubicBezTo>
                <a:cubicBezTo>
                  <a:pt x="2584" y="1029"/>
                  <a:pt x="2584" y="1029"/>
                  <a:pt x="2584" y="1029"/>
                </a:cubicBezTo>
                <a:cubicBezTo>
                  <a:pt x="2584" y="1030"/>
                  <a:pt x="2584" y="1030"/>
                  <a:pt x="2584" y="1030"/>
                </a:cubicBezTo>
                <a:cubicBezTo>
                  <a:pt x="2584" y="1030"/>
                  <a:pt x="2583" y="1030"/>
                  <a:pt x="2583" y="1030"/>
                </a:cubicBezTo>
                <a:cubicBezTo>
                  <a:pt x="2581" y="1032"/>
                  <a:pt x="2578" y="1035"/>
                  <a:pt x="2575" y="1038"/>
                </a:cubicBezTo>
                <a:cubicBezTo>
                  <a:pt x="2573" y="1039"/>
                  <a:pt x="2574" y="1041"/>
                  <a:pt x="2575" y="1044"/>
                </a:cubicBezTo>
                <a:cubicBezTo>
                  <a:pt x="2575" y="1045"/>
                  <a:pt x="2576" y="1047"/>
                  <a:pt x="2575" y="1048"/>
                </a:cubicBezTo>
                <a:cubicBezTo>
                  <a:pt x="2572" y="1053"/>
                  <a:pt x="2570" y="1058"/>
                  <a:pt x="2565" y="1061"/>
                </a:cubicBezTo>
                <a:cubicBezTo>
                  <a:pt x="2565" y="1061"/>
                  <a:pt x="2564" y="1063"/>
                  <a:pt x="2565" y="1064"/>
                </a:cubicBezTo>
                <a:cubicBezTo>
                  <a:pt x="2568" y="1069"/>
                  <a:pt x="2571" y="1072"/>
                  <a:pt x="2577" y="1074"/>
                </a:cubicBezTo>
                <a:cubicBezTo>
                  <a:pt x="2584" y="1076"/>
                  <a:pt x="2590" y="1080"/>
                  <a:pt x="2595" y="1085"/>
                </a:cubicBezTo>
                <a:cubicBezTo>
                  <a:pt x="2602" y="1091"/>
                  <a:pt x="2609" y="1095"/>
                  <a:pt x="2617" y="1099"/>
                </a:cubicBezTo>
                <a:cubicBezTo>
                  <a:pt x="2625" y="1103"/>
                  <a:pt x="2629" y="1110"/>
                  <a:pt x="2630" y="1119"/>
                </a:cubicBezTo>
                <a:cubicBezTo>
                  <a:pt x="2630" y="1123"/>
                  <a:pt x="2629" y="1126"/>
                  <a:pt x="2626" y="1128"/>
                </a:cubicBezTo>
                <a:close/>
                <a:moveTo>
                  <a:pt x="2692" y="871"/>
                </a:moveTo>
                <a:cubicBezTo>
                  <a:pt x="2693" y="870"/>
                  <a:pt x="2693" y="870"/>
                  <a:pt x="2693" y="870"/>
                </a:cubicBezTo>
                <a:cubicBezTo>
                  <a:pt x="2693" y="871"/>
                  <a:pt x="2693" y="871"/>
                  <a:pt x="2693" y="871"/>
                </a:cubicBezTo>
                <a:lnTo>
                  <a:pt x="2692" y="871"/>
                </a:lnTo>
                <a:close/>
                <a:moveTo>
                  <a:pt x="2803" y="1199"/>
                </a:moveTo>
                <a:cubicBezTo>
                  <a:pt x="2795" y="1200"/>
                  <a:pt x="2788" y="1201"/>
                  <a:pt x="2781" y="1201"/>
                </a:cubicBezTo>
                <a:cubicBezTo>
                  <a:pt x="2780" y="1202"/>
                  <a:pt x="2778" y="1202"/>
                  <a:pt x="2776" y="1202"/>
                </a:cubicBezTo>
                <a:cubicBezTo>
                  <a:pt x="2769" y="1201"/>
                  <a:pt x="2761" y="1200"/>
                  <a:pt x="2755" y="1194"/>
                </a:cubicBezTo>
                <a:cubicBezTo>
                  <a:pt x="2753" y="1192"/>
                  <a:pt x="2751" y="1191"/>
                  <a:pt x="2748" y="1191"/>
                </a:cubicBezTo>
                <a:cubicBezTo>
                  <a:pt x="2746" y="1190"/>
                  <a:pt x="2744" y="1190"/>
                  <a:pt x="2742" y="1189"/>
                </a:cubicBezTo>
                <a:cubicBezTo>
                  <a:pt x="2740" y="1189"/>
                  <a:pt x="2738" y="1188"/>
                  <a:pt x="2738" y="1186"/>
                </a:cubicBezTo>
                <a:cubicBezTo>
                  <a:pt x="2735" y="1179"/>
                  <a:pt x="2732" y="1172"/>
                  <a:pt x="2735" y="1164"/>
                </a:cubicBezTo>
                <a:cubicBezTo>
                  <a:pt x="2736" y="1161"/>
                  <a:pt x="2738" y="1157"/>
                  <a:pt x="2738" y="1153"/>
                </a:cubicBezTo>
                <a:cubicBezTo>
                  <a:pt x="2739" y="1148"/>
                  <a:pt x="2742" y="1144"/>
                  <a:pt x="2746" y="1141"/>
                </a:cubicBezTo>
                <a:cubicBezTo>
                  <a:pt x="2747" y="1141"/>
                  <a:pt x="2747" y="1139"/>
                  <a:pt x="2746" y="1138"/>
                </a:cubicBezTo>
                <a:cubicBezTo>
                  <a:pt x="2745" y="1138"/>
                  <a:pt x="2744" y="1137"/>
                  <a:pt x="2743" y="1137"/>
                </a:cubicBezTo>
                <a:cubicBezTo>
                  <a:pt x="2738" y="1135"/>
                  <a:pt x="2734" y="1131"/>
                  <a:pt x="2732" y="1126"/>
                </a:cubicBezTo>
                <a:cubicBezTo>
                  <a:pt x="2729" y="1120"/>
                  <a:pt x="2725" y="1116"/>
                  <a:pt x="2720" y="1112"/>
                </a:cubicBezTo>
                <a:cubicBezTo>
                  <a:pt x="2713" y="1107"/>
                  <a:pt x="2708" y="1100"/>
                  <a:pt x="2707" y="1092"/>
                </a:cubicBezTo>
                <a:cubicBezTo>
                  <a:pt x="2705" y="1085"/>
                  <a:pt x="2702" y="1079"/>
                  <a:pt x="2696" y="1074"/>
                </a:cubicBezTo>
                <a:cubicBezTo>
                  <a:pt x="2693" y="1072"/>
                  <a:pt x="2693" y="1068"/>
                  <a:pt x="2694" y="1065"/>
                </a:cubicBezTo>
                <a:cubicBezTo>
                  <a:pt x="2695" y="1062"/>
                  <a:pt x="2696" y="1059"/>
                  <a:pt x="2697" y="1056"/>
                </a:cubicBezTo>
                <a:cubicBezTo>
                  <a:pt x="2698" y="1053"/>
                  <a:pt x="2700" y="1051"/>
                  <a:pt x="2702" y="1050"/>
                </a:cubicBezTo>
                <a:cubicBezTo>
                  <a:pt x="2708" y="1048"/>
                  <a:pt x="2713" y="1045"/>
                  <a:pt x="2717" y="1040"/>
                </a:cubicBezTo>
                <a:cubicBezTo>
                  <a:pt x="2718" y="1038"/>
                  <a:pt x="2719" y="1037"/>
                  <a:pt x="2720" y="1036"/>
                </a:cubicBezTo>
                <a:cubicBezTo>
                  <a:pt x="2726" y="1033"/>
                  <a:pt x="2733" y="1029"/>
                  <a:pt x="2739" y="1026"/>
                </a:cubicBezTo>
                <a:cubicBezTo>
                  <a:pt x="2740" y="1025"/>
                  <a:pt x="2742" y="1024"/>
                  <a:pt x="2743" y="1025"/>
                </a:cubicBezTo>
                <a:cubicBezTo>
                  <a:pt x="2749" y="1027"/>
                  <a:pt x="2754" y="1027"/>
                  <a:pt x="2759" y="1026"/>
                </a:cubicBezTo>
                <a:cubicBezTo>
                  <a:pt x="2762" y="1026"/>
                  <a:pt x="2764" y="1028"/>
                  <a:pt x="2766" y="1031"/>
                </a:cubicBezTo>
                <a:cubicBezTo>
                  <a:pt x="2767" y="1033"/>
                  <a:pt x="2768" y="1036"/>
                  <a:pt x="2768" y="1039"/>
                </a:cubicBezTo>
                <a:cubicBezTo>
                  <a:pt x="2767" y="1042"/>
                  <a:pt x="2766" y="1045"/>
                  <a:pt x="2766" y="1048"/>
                </a:cubicBezTo>
                <a:cubicBezTo>
                  <a:pt x="2766" y="1050"/>
                  <a:pt x="2765" y="1051"/>
                  <a:pt x="2763" y="1052"/>
                </a:cubicBezTo>
                <a:cubicBezTo>
                  <a:pt x="2760" y="1052"/>
                  <a:pt x="2758" y="1052"/>
                  <a:pt x="2755" y="1052"/>
                </a:cubicBezTo>
                <a:cubicBezTo>
                  <a:pt x="2748" y="1053"/>
                  <a:pt x="2746" y="1055"/>
                  <a:pt x="2747" y="1063"/>
                </a:cubicBezTo>
                <a:cubicBezTo>
                  <a:pt x="2747" y="1067"/>
                  <a:pt x="2747" y="1067"/>
                  <a:pt x="2744" y="1068"/>
                </a:cubicBezTo>
                <a:cubicBezTo>
                  <a:pt x="2744" y="1068"/>
                  <a:pt x="2743" y="1068"/>
                  <a:pt x="2742" y="1068"/>
                </a:cubicBezTo>
                <a:cubicBezTo>
                  <a:pt x="2738" y="1070"/>
                  <a:pt x="2737" y="1071"/>
                  <a:pt x="2740" y="1073"/>
                </a:cubicBezTo>
                <a:cubicBezTo>
                  <a:pt x="2743" y="1077"/>
                  <a:pt x="2747" y="1080"/>
                  <a:pt x="2749" y="1085"/>
                </a:cubicBezTo>
                <a:cubicBezTo>
                  <a:pt x="2753" y="1092"/>
                  <a:pt x="2759" y="1097"/>
                  <a:pt x="2768" y="1100"/>
                </a:cubicBezTo>
                <a:cubicBezTo>
                  <a:pt x="2770" y="1100"/>
                  <a:pt x="2771" y="1102"/>
                  <a:pt x="2771" y="1104"/>
                </a:cubicBezTo>
                <a:cubicBezTo>
                  <a:pt x="2771" y="1105"/>
                  <a:pt x="2771" y="1107"/>
                  <a:pt x="2771" y="1108"/>
                </a:cubicBezTo>
                <a:cubicBezTo>
                  <a:pt x="2770" y="1113"/>
                  <a:pt x="2771" y="1118"/>
                  <a:pt x="2774" y="1122"/>
                </a:cubicBezTo>
                <a:cubicBezTo>
                  <a:pt x="2778" y="1126"/>
                  <a:pt x="2779" y="1131"/>
                  <a:pt x="2778" y="1137"/>
                </a:cubicBezTo>
                <a:cubicBezTo>
                  <a:pt x="2778" y="1139"/>
                  <a:pt x="2778" y="1142"/>
                  <a:pt x="2779" y="1144"/>
                </a:cubicBezTo>
                <a:cubicBezTo>
                  <a:pt x="2780" y="1147"/>
                  <a:pt x="2782" y="1150"/>
                  <a:pt x="2786" y="1150"/>
                </a:cubicBezTo>
                <a:cubicBezTo>
                  <a:pt x="2787" y="1150"/>
                  <a:pt x="2789" y="1150"/>
                  <a:pt x="2790" y="1151"/>
                </a:cubicBezTo>
                <a:cubicBezTo>
                  <a:pt x="2791" y="1153"/>
                  <a:pt x="2790" y="1154"/>
                  <a:pt x="2790" y="1156"/>
                </a:cubicBezTo>
                <a:cubicBezTo>
                  <a:pt x="2790" y="1156"/>
                  <a:pt x="2789" y="1157"/>
                  <a:pt x="2790" y="1157"/>
                </a:cubicBezTo>
                <a:cubicBezTo>
                  <a:pt x="2791" y="1159"/>
                  <a:pt x="2792" y="1160"/>
                  <a:pt x="2793" y="1161"/>
                </a:cubicBezTo>
                <a:cubicBezTo>
                  <a:pt x="2797" y="1164"/>
                  <a:pt x="2799" y="1168"/>
                  <a:pt x="2798" y="1172"/>
                </a:cubicBezTo>
                <a:cubicBezTo>
                  <a:pt x="2798" y="1181"/>
                  <a:pt x="2801" y="1188"/>
                  <a:pt x="2804" y="1196"/>
                </a:cubicBezTo>
                <a:cubicBezTo>
                  <a:pt x="2804" y="1198"/>
                  <a:pt x="2804" y="1199"/>
                  <a:pt x="2803" y="1199"/>
                </a:cubicBezTo>
                <a:close/>
                <a:moveTo>
                  <a:pt x="2839" y="499"/>
                </a:moveTo>
                <a:cubicBezTo>
                  <a:pt x="2838" y="499"/>
                  <a:pt x="2838" y="499"/>
                  <a:pt x="2838" y="499"/>
                </a:cubicBezTo>
                <a:cubicBezTo>
                  <a:pt x="2839" y="498"/>
                  <a:pt x="2839" y="498"/>
                  <a:pt x="2839" y="498"/>
                </a:cubicBezTo>
                <a:lnTo>
                  <a:pt x="2839" y="499"/>
                </a:lnTo>
                <a:close/>
                <a:moveTo>
                  <a:pt x="2867" y="1064"/>
                </a:moveTo>
                <a:cubicBezTo>
                  <a:pt x="2866" y="1067"/>
                  <a:pt x="2860" y="1069"/>
                  <a:pt x="2857" y="1068"/>
                </a:cubicBezTo>
                <a:cubicBezTo>
                  <a:pt x="2854" y="1067"/>
                  <a:pt x="2850" y="1066"/>
                  <a:pt x="2846" y="1065"/>
                </a:cubicBezTo>
                <a:cubicBezTo>
                  <a:pt x="2844" y="1064"/>
                  <a:pt x="2844" y="1062"/>
                  <a:pt x="2843" y="1060"/>
                </a:cubicBezTo>
                <a:cubicBezTo>
                  <a:pt x="2842" y="1049"/>
                  <a:pt x="2853" y="1039"/>
                  <a:pt x="2863" y="1040"/>
                </a:cubicBezTo>
                <a:cubicBezTo>
                  <a:pt x="2865" y="1041"/>
                  <a:pt x="2867" y="1041"/>
                  <a:pt x="2868" y="1044"/>
                </a:cubicBezTo>
                <a:cubicBezTo>
                  <a:pt x="2869" y="1046"/>
                  <a:pt x="2870" y="1049"/>
                  <a:pt x="2871" y="1051"/>
                </a:cubicBezTo>
                <a:cubicBezTo>
                  <a:pt x="2869" y="1055"/>
                  <a:pt x="2868" y="1060"/>
                  <a:pt x="2867" y="1064"/>
                </a:cubicBezTo>
                <a:close/>
                <a:moveTo>
                  <a:pt x="2936" y="542"/>
                </a:moveTo>
                <a:cubicBezTo>
                  <a:pt x="2936" y="542"/>
                  <a:pt x="2936" y="542"/>
                  <a:pt x="2935" y="542"/>
                </a:cubicBezTo>
                <a:cubicBezTo>
                  <a:pt x="2932" y="536"/>
                  <a:pt x="2927" y="531"/>
                  <a:pt x="2923" y="525"/>
                </a:cubicBezTo>
                <a:cubicBezTo>
                  <a:pt x="2922" y="525"/>
                  <a:pt x="2922" y="524"/>
                  <a:pt x="2923" y="524"/>
                </a:cubicBezTo>
                <a:cubicBezTo>
                  <a:pt x="2923" y="523"/>
                  <a:pt x="2925" y="522"/>
                  <a:pt x="2925" y="523"/>
                </a:cubicBezTo>
                <a:cubicBezTo>
                  <a:pt x="2927" y="523"/>
                  <a:pt x="2929" y="524"/>
                  <a:pt x="2931" y="525"/>
                </a:cubicBezTo>
                <a:cubicBezTo>
                  <a:pt x="2933" y="527"/>
                  <a:pt x="2935" y="530"/>
                  <a:pt x="2937" y="533"/>
                </a:cubicBezTo>
                <a:cubicBezTo>
                  <a:pt x="2939" y="534"/>
                  <a:pt x="2938" y="539"/>
                  <a:pt x="2936" y="542"/>
                </a:cubicBezTo>
                <a:close/>
                <a:moveTo>
                  <a:pt x="2941" y="555"/>
                </a:moveTo>
                <a:cubicBezTo>
                  <a:pt x="2941" y="555"/>
                  <a:pt x="2940" y="555"/>
                  <a:pt x="2940" y="554"/>
                </a:cubicBezTo>
                <a:cubicBezTo>
                  <a:pt x="2940" y="553"/>
                  <a:pt x="2940" y="553"/>
                  <a:pt x="2942" y="554"/>
                </a:cubicBezTo>
                <a:cubicBezTo>
                  <a:pt x="2941" y="554"/>
                  <a:pt x="2941" y="555"/>
                  <a:pt x="2941" y="555"/>
                </a:cubicBezTo>
                <a:close/>
                <a:moveTo>
                  <a:pt x="2966" y="1123"/>
                </a:moveTo>
                <a:cubicBezTo>
                  <a:pt x="2965" y="1122"/>
                  <a:pt x="2965" y="1122"/>
                  <a:pt x="2965" y="1122"/>
                </a:cubicBezTo>
                <a:cubicBezTo>
                  <a:pt x="2966" y="1122"/>
                  <a:pt x="2966" y="1122"/>
                  <a:pt x="2966" y="1122"/>
                </a:cubicBezTo>
                <a:lnTo>
                  <a:pt x="2966" y="1123"/>
                </a:lnTo>
                <a:close/>
                <a:moveTo>
                  <a:pt x="2974" y="474"/>
                </a:moveTo>
                <a:cubicBezTo>
                  <a:pt x="2973" y="476"/>
                  <a:pt x="2971" y="476"/>
                  <a:pt x="2970" y="475"/>
                </a:cubicBezTo>
                <a:cubicBezTo>
                  <a:pt x="2970" y="475"/>
                  <a:pt x="2970" y="474"/>
                  <a:pt x="2970" y="474"/>
                </a:cubicBezTo>
                <a:cubicBezTo>
                  <a:pt x="2971" y="472"/>
                  <a:pt x="2972" y="471"/>
                  <a:pt x="2974" y="471"/>
                </a:cubicBezTo>
                <a:cubicBezTo>
                  <a:pt x="2974" y="472"/>
                  <a:pt x="2974" y="472"/>
                  <a:pt x="2974" y="473"/>
                </a:cubicBezTo>
                <a:cubicBezTo>
                  <a:pt x="2974" y="473"/>
                  <a:pt x="2974" y="474"/>
                  <a:pt x="2974" y="474"/>
                </a:cubicBezTo>
                <a:close/>
                <a:moveTo>
                  <a:pt x="3043" y="245"/>
                </a:moveTo>
                <a:cubicBezTo>
                  <a:pt x="3045" y="246"/>
                  <a:pt x="3046" y="247"/>
                  <a:pt x="3047" y="248"/>
                </a:cubicBezTo>
                <a:cubicBezTo>
                  <a:pt x="3047" y="249"/>
                  <a:pt x="3047" y="249"/>
                  <a:pt x="3047" y="249"/>
                </a:cubicBezTo>
                <a:cubicBezTo>
                  <a:pt x="3047" y="249"/>
                  <a:pt x="3047" y="249"/>
                  <a:pt x="3047" y="249"/>
                </a:cubicBezTo>
                <a:cubicBezTo>
                  <a:pt x="3045" y="248"/>
                  <a:pt x="3044" y="247"/>
                  <a:pt x="3043" y="246"/>
                </a:cubicBezTo>
                <a:cubicBezTo>
                  <a:pt x="3043" y="245"/>
                  <a:pt x="3043" y="245"/>
                  <a:pt x="3042" y="245"/>
                </a:cubicBezTo>
                <a:cubicBezTo>
                  <a:pt x="3043" y="245"/>
                  <a:pt x="3043" y="245"/>
                  <a:pt x="3043" y="245"/>
                </a:cubicBezTo>
                <a:close/>
                <a:moveTo>
                  <a:pt x="3042" y="855"/>
                </a:moveTo>
                <a:cubicBezTo>
                  <a:pt x="3043" y="855"/>
                  <a:pt x="3043" y="855"/>
                  <a:pt x="3043" y="856"/>
                </a:cubicBezTo>
                <a:cubicBezTo>
                  <a:pt x="3043" y="856"/>
                  <a:pt x="3042" y="857"/>
                  <a:pt x="3042" y="857"/>
                </a:cubicBezTo>
                <a:cubicBezTo>
                  <a:pt x="3041" y="857"/>
                  <a:pt x="3040" y="857"/>
                  <a:pt x="3039" y="857"/>
                </a:cubicBezTo>
                <a:cubicBezTo>
                  <a:pt x="3039" y="856"/>
                  <a:pt x="3038" y="856"/>
                  <a:pt x="3038" y="856"/>
                </a:cubicBezTo>
                <a:cubicBezTo>
                  <a:pt x="3039" y="855"/>
                  <a:pt x="3041" y="855"/>
                  <a:pt x="3042" y="855"/>
                </a:cubicBezTo>
                <a:close/>
                <a:moveTo>
                  <a:pt x="3046" y="1023"/>
                </a:moveTo>
                <a:cubicBezTo>
                  <a:pt x="3043" y="1027"/>
                  <a:pt x="3041" y="1031"/>
                  <a:pt x="3040" y="1036"/>
                </a:cubicBezTo>
                <a:cubicBezTo>
                  <a:pt x="3039" y="1036"/>
                  <a:pt x="3038" y="1037"/>
                  <a:pt x="3037" y="1037"/>
                </a:cubicBezTo>
                <a:cubicBezTo>
                  <a:pt x="3036" y="1038"/>
                  <a:pt x="3034" y="1036"/>
                  <a:pt x="3034" y="1034"/>
                </a:cubicBezTo>
                <a:cubicBezTo>
                  <a:pt x="3034" y="1034"/>
                  <a:pt x="3034" y="1033"/>
                  <a:pt x="3034" y="1033"/>
                </a:cubicBezTo>
                <a:cubicBezTo>
                  <a:pt x="3034" y="1028"/>
                  <a:pt x="3035" y="1024"/>
                  <a:pt x="3038" y="1021"/>
                </a:cubicBezTo>
                <a:cubicBezTo>
                  <a:pt x="3040" y="1019"/>
                  <a:pt x="3042" y="1017"/>
                  <a:pt x="3044" y="1015"/>
                </a:cubicBezTo>
                <a:cubicBezTo>
                  <a:pt x="3045" y="1014"/>
                  <a:pt x="3047" y="1014"/>
                  <a:pt x="3048" y="1014"/>
                </a:cubicBezTo>
                <a:cubicBezTo>
                  <a:pt x="3049" y="1014"/>
                  <a:pt x="3050" y="1016"/>
                  <a:pt x="3050" y="1016"/>
                </a:cubicBezTo>
                <a:cubicBezTo>
                  <a:pt x="3049" y="1018"/>
                  <a:pt x="3048" y="1021"/>
                  <a:pt x="3046" y="1023"/>
                </a:cubicBezTo>
                <a:close/>
                <a:moveTo>
                  <a:pt x="3067" y="191"/>
                </a:moveTo>
                <a:cubicBezTo>
                  <a:pt x="3067" y="191"/>
                  <a:pt x="3067" y="191"/>
                  <a:pt x="3067" y="191"/>
                </a:cubicBezTo>
                <a:cubicBezTo>
                  <a:pt x="3068" y="191"/>
                  <a:pt x="3068" y="191"/>
                  <a:pt x="3068" y="191"/>
                </a:cubicBezTo>
                <a:lnTo>
                  <a:pt x="3067" y="191"/>
                </a:lnTo>
                <a:close/>
                <a:moveTo>
                  <a:pt x="3103" y="286"/>
                </a:moveTo>
                <a:cubicBezTo>
                  <a:pt x="3103" y="286"/>
                  <a:pt x="3103" y="286"/>
                  <a:pt x="3103" y="286"/>
                </a:cubicBezTo>
                <a:cubicBezTo>
                  <a:pt x="3102" y="289"/>
                  <a:pt x="3101" y="292"/>
                  <a:pt x="3101" y="296"/>
                </a:cubicBezTo>
                <a:cubicBezTo>
                  <a:pt x="3100" y="298"/>
                  <a:pt x="3099" y="298"/>
                  <a:pt x="3097" y="298"/>
                </a:cubicBezTo>
                <a:cubicBezTo>
                  <a:pt x="3093" y="299"/>
                  <a:pt x="3093" y="302"/>
                  <a:pt x="3093" y="305"/>
                </a:cubicBezTo>
                <a:cubicBezTo>
                  <a:pt x="3093" y="305"/>
                  <a:pt x="3093" y="305"/>
                  <a:pt x="3093" y="305"/>
                </a:cubicBezTo>
                <a:cubicBezTo>
                  <a:pt x="3094" y="306"/>
                  <a:pt x="3095" y="307"/>
                  <a:pt x="3096" y="308"/>
                </a:cubicBezTo>
                <a:cubicBezTo>
                  <a:pt x="3098" y="309"/>
                  <a:pt x="3099" y="310"/>
                  <a:pt x="3100" y="311"/>
                </a:cubicBezTo>
                <a:cubicBezTo>
                  <a:pt x="3100" y="312"/>
                  <a:pt x="3100" y="312"/>
                  <a:pt x="3100" y="312"/>
                </a:cubicBezTo>
                <a:cubicBezTo>
                  <a:pt x="3100" y="312"/>
                  <a:pt x="3100" y="312"/>
                  <a:pt x="3100" y="312"/>
                </a:cubicBezTo>
                <a:cubicBezTo>
                  <a:pt x="3098" y="311"/>
                  <a:pt x="3097" y="310"/>
                  <a:pt x="3096" y="309"/>
                </a:cubicBezTo>
                <a:cubicBezTo>
                  <a:pt x="3095" y="307"/>
                  <a:pt x="3094" y="306"/>
                  <a:pt x="3093" y="305"/>
                </a:cubicBezTo>
                <a:cubicBezTo>
                  <a:pt x="3093" y="305"/>
                  <a:pt x="3093" y="305"/>
                  <a:pt x="3093" y="305"/>
                </a:cubicBezTo>
                <a:cubicBezTo>
                  <a:pt x="3090" y="302"/>
                  <a:pt x="3086" y="302"/>
                  <a:pt x="3084" y="299"/>
                </a:cubicBezTo>
                <a:cubicBezTo>
                  <a:pt x="3083" y="296"/>
                  <a:pt x="3082" y="293"/>
                  <a:pt x="3081" y="290"/>
                </a:cubicBezTo>
                <a:cubicBezTo>
                  <a:pt x="3081" y="288"/>
                  <a:pt x="3081" y="287"/>
                  <a:pt x="3081" y="286"/>
                </a:cubicBezTo>
                <a:cubicBezTo>
                  <a:pt x="3081" y="285"/>
                  <a:pt x="3080" y="285"/>
                  <a:pt x="3080" y="285"/>
                </a:cubicBezTo>
                <a:cubicBezTo>
                  <a:pt x="3079" y="285"/>
                  <a:pt x="3079" y="285"/>
                  <a:pt x="3079" y="285"/>
                </a:cubicBezTo>
                <a:cubicBezTo>
                  <a:pt x="3081" y="285"/>
                  <a:pt x="3081" y="285"/>
                  <a:pt x="3081" y="285"/>
                </a:cubicBezTo>
                <a:cubicBezTo>
                  <a:pt x="3081" y="285"/>
                  <a:pt x="3081" y="285"/>
                  <a:pt x="3081" y="286"/>
                </a:cubicBezTo>
                <a:cubicBezTo>
                  <a:pt x="3082" y="287"/>
                  <a:pt x="3084" y="288"/>
                  <a:pt x="3086" y="289"/>
                </a:cubicBezTo>
                <a:cubicBezTo>
                  <a:pt x="3089" y="290"/>
                  <a:pt x="3093" y="291"/>
                  <a:pt x="3096" y="288"/>
                </a:cubicBezTo>
                <a:cubicBezTo>
                  <a:pt x="3098" y="287"/>
                  <a:pt x="3100" y="286"/>
                  <a:pt x="3103" y="286"/>
                </a:cubicBezTo>
                <a:cubicBezTo>
                  <a:pt x="3103" y="285"/>
                  <a:pt x="3103" y="285"/>
                  <a:pt x="3103" y="285"/>
                </a:cubicBezTo>
                <a:cubicBezTo>
                  <a:pt x="3103" y="285"/>
                  <a:pt x="3103" y="285"/>
                  <a:pt x="3104" y="285"/>
                </a:cubicBezTo>
                <a:cubicBezTo>
                  <a:pt x="3103" y="285"/>
                  <a:pt x="3103" y="285"/>
                  <a:pt x="3103" y="286"/>
                </a:cubicBezTo>
                <a:close/>
                <a:moveTo>
                  <a:pt x="3123" y="273"/>
                </a:moveTo>
                <a:cubicBezTo>
                  <a:pt x="3119" y="275"/>
                  <a:pt x="3114" y="278"/>
                  <a:pt x="3111" y="281"/>
                </a:cubicBezTo>
                <a:cubicBezTo>
                  <a:pt x="3110" y="282"/>
                  <a:pt x="3108" y="281"/>
                  <a:pt x="3107" y="282"/>
                </a:cubicBezTo>
                <a:cubicBezTo>
                  <a:pt x="3107" y="282"/>
                  <a:pt x="3107" y="282"/>
                  <a:pt x="3107" y="282"/>
                </a:cubicBezTo>
                <a:cubicBezTo>
                  <a:pt x="3106" y="282"/>
                  <a:pt x="3106" y="282"/>
                  <a:pt x="3106" y="283"/>
                </a:cubicBezTo>
                <a:cubicBezTo>
                  <a:pt x="3106" y="282"/>
                  <a:pt x="3106" y="282"/>
                  <a:pt x="3106" y="282"/>
                </a:cubicBezTo>
                <a:cubicBezTo>
                  <a:pt x="3106" y="282"/>
                  <a:pt x="3107" y="282"/>
                  <a:pt x="3107" y="282"/>
                </a:cubicBezTo>
                <a:cubicBezTo>
                  <a:pt x="3108" y="280"/>
                  <a:pt x="3109" y="278"/>
                  <a:pt x="3110" y="277"/>
                </a:cubicBezTo>
                <a:cubicBezTo>
                  <a:pt x="3112" y="274"/>
                  <a:pt x="3114" y="271"/>
                  <a:pt x="3117" y="269"/>
                </a:cubicBezTo>
                <a:cubicBezTo>
                  <a:pt x="3117" y="269"/>
                  <a:pt x="3117" y="269"/>
                  <a:pt x="3117" y="269"/>
                </a:cubicBezTo>
                <a:cubicBezTo>
                  <a:pt x="3116" y="269"/>
                  <a:pt x="3116" y="268"/>
                  <a:pt x="3116" y="268"/>
                </a:cubicBezTo>
                <a:cubicBezTo>
                  <a:pt x="3113" y="268"/>
                  <a:pt x="3110" y="268"/>
                  <a:pt x="3108" y="263"/>
                </a:cubicBezTo>
                <a:cubicBezTo>
                  <a:pt x="3108" y="263"/>
                  <a:pt x="3109" y="262"/>
                  <a:pt x="3110" y="261"/>
                </a:cubicBezTo>
                <a:cubicBezTo>
                  <a:pt x="3110" y="261"/>
                  <a:pt x="3111" y="261"/>
                  <a:pt x="3111" y="261"/>
                </a:cubicBezTo>
                <a:cubicBezTo>
                  <a:pt x="3112" y="262"/>
                  <a:pt x="3113" y="263"/>
                  <a:pt x="3113" y="263"/>
                </a:cubicBezTo>
                <a:cubicBezTo>
                  <a:pt x="3114" y="265"/>
                  <a:pt x="3115" y="267"/>
                  <a:pt x="3116" y="268"/>
                </a:cubicBezTo>
                <a:cubicBezTo>
                  <a:pt x="3117" y="268"/>
                  <a:pt x="3117" y="268"/>
                  <a:pt x="3117" y="268"/>
                </a:cubicBezTo>
                <a:cubicBezTo>
                  <a:pt x="3117" y="268"/>
                  <a:pt x="3117" y="269"/>
                  <a:pt x="3117" y="269"/>
                </a:cubicBezTo>
                <a:cubicBezTo>
                  <a:pt x="3118" y="269"/>
                  <a:pt x="3120" y="269"/>
                  <a:pt x="3121" y="270"/>
                </a:cubicBezTo>
                <a:cubicBezTo>
                  <a:pt x="3122" y="270"/>
                  <a:pt x="3123" y="271"/>
                  <a:pt x="3123" y="272"/>
                </a:cubicBezTo>
                <a:cubicBezTo>
                  <a:pt x="3124" y="272"/>
                  <a:pt x="3123" y="273"/>
                  <a:pt x="3123" y="273"/>
                </a:cubicBezTo>
                <a:close/>
                <a:moveTo>
                  <a:pt x="3146" y="271"/>
                </a:moveTo>
                <a:cubicBezTo>
                  <a:pt x="3145" y="270"/>
                  <a:pt x="3145" y="270"/>
                  <a:pt x="3145" y="270"/>
                </a:cubicBezTo>
                <a:cubicBezTo>
                  <a:pt x="3146" y="270"/>
                  <a:pt x="3146" y="270"/>
                  <a:pt x="3146" y="270"/>
                </a:cubicBezTo>
                <a:lnTo>
                  <a:pt x="3146" y="271"/>
                </a:lnTo>
                <a:close/>
                <a:moveTo>
                  <a:pt x="3170" y="987"/>
                </a:moveTo>
                <a:cubicBezTo>
                  <a:pt x="3169" y="988"/>
                  <a:pt x="3167" y="989"/>
                  <a:pt x="3165" y="989"/>
                </a:cubicBezTo>
                <a:cubicBezTo>
                  <a:pt x="3160" y="987"/>
                  <a:pt x="3155" y="984"/>
                  <a:pt x="3150" y="982"/>
                </a:cubicBezTo>
                <a:cubicBezTo>
                  <a:pt x="3148" y="981"/>
                  <a:pt x="3148" y="980"/>
                  <a:pt x="3148" y="977"/>
                </a:cubicBezTo>
                <a:cubicBezTo>
                  <a:pt x="3149" y="975"/>
                  <a:pt x="3149" y="973"/>
                  <a:pt x="3150" y="972"/>
                </a:cubicBezTo>
                <a:cubicBezTo>
                  <a:pt x="3151" y="971"/>
                  <a:pt x="3152" y="973"/>
                  <a:pt x="3153" y="974"/>
                </a:cubicBezTo>
                <a:cubicBezTo>
                  <a:pt x="3155" y="978"/>
                  <a:pt x="3158" y="980"/>
                  <a:pt x="3162" y="981"/>
                </a:cubicBezTo>
                <a:cubicBezTo>
                  <a:pt x="3165" y="981"/>
                  <a:pt x="3167" y="983"/>
                  <a:pt x="3169" y="984"/>
                </a:cubicBezTo>
                <a:cubicBezTo>
                  <a:pt x="3170" y="984"/>
                  <a:pt x="3170" y="985"/>
                  <a:pt x="3170" y="985"/>
                </a:cubicBezTo>
                <a:cubicBezTo>
                  <a:pt x="3170" y="986"/>
                  <a:pt x="3170" y="986"/>
                  <a:pt x="3170" y="987"/>
                </a:cubicBezTo>
                <a:close/>
                <a:moveTo>
                  <a:pt x="3170" y="335"/>
                </a:moveTo>
                <a:cubicBezTo>
                  <a:pt x="3169" y="335"/>
                  <a:pt x="3169" y="335"/>
                  <a:pt x="3169" y="335"/>
                </a:cubicBezTo>
                <a:cubicBezTo>
                  <a:pt x="3169" y="334"/>
                  <a:pt x="3169" y="334"/>
                  <a:pt x="3169" y="334"/>
                </a:cubicBezTo>
                <a:cubicBezTo>
                  <a:pt x="3169" y="334"/>
                  <a:pt x="3169" y="334"/>
                  <a:pt x="3169" y="334"/>
                </a:cubicBezTo>
                <a:cubicBezTo>
                  <a:pt x="3170" y="335"/>
                  <a:pt x="3170" y="335"/>
                  <a:pt x="3170" y="335"/>
                </a:cubicBezTo>
                <a:cubicBezTo>
                  <a:pt x="3170" y="335"/>
                  <a:pt x="3170" y="335"/>
                  <a:pt x="3170" y="336"/>
                </a:cubicBezTo>
                <a:cubicBezTo>
                  <a:pt x="3170" y="336"/>
                  <a:pt x="3170" y="336"/>
                  <a:pt x="3170" y="335"/>
                </a:cubicBezTo>
                <a:close/>
                <a:moveTo>
                  <a:pt x="3258" y="934"/>
                </a:moveTo>
                <a:cubicBezTo>
                  <a:pt x="3257" y="936"/>
                  <a:pt x="3254" y="935"/>
                  <a:pt x="3254" y="934"/>
                </a:cubicBezTo>
                <a:cubicBezTo>
                  <a:pt x="3253" y="932"/>
                  <a:pt x="3253" y="931"/>
                  <a:pt x="3253" y="929"/>
                </a:cubicBezTo>
                <a:cubicBezTo>
                  <a:pt x="3253" y="928"/>
                  <a:pt x="3254" y="928"/>
                  <a:pt x="3255" y="927"/>
                </a:cubicBezTo>
                <a:cubicBezTo>
                  <a:pt x="3256" y="926"/>
                  <a:pt x="3258" y="927"/>
                  <a:pt x="3259" y="929"/>
                </a:cubicBezTo>
                <a:cubicBezTo>
                  <a:pt x="3259" y="929"/>
                  <a:pt x="3259" y="931"/>
                  <a:pt x="3260" y="932"/>
                </a:cubicBezTo>
                <a:cubicBezTo>
                  <a:pt x="3259" y="933"/>
                  <a:pt x="3259" y="934"/>
                  <a:pt x="3258" y="934"/>
                </a:cubicBezTo>
                <a:close/>
                <a:moveTo>
                  <a:pt x="3265" y="975"/>
                </a:moveTo>
                <a:cubicBezTo>
                  <a:pt x="3265" y="975"/>
                  <a:pt x="3265" y="976"/>
                  <a:pt x="3264" y="976"/>
                </a:cubicBezTo>
                <a:cubicBezTo>
                  <a:pt x="3264" y="978"/>
                  <a:pt x="3263" y="978"/>
                  <a:pt x="3262" y="977"/>
                </a:cubicBezTo>
                <a:cubicBezTo>
                  <a:pt x="3261" y="976"/>
                  <a:pt x="3261" y="976"/>
                  <a:pt x="3261" y="975"/>
                </a:cubicBezTo>
                <a:cubicBezTo>
                  <a:pt x="3261" y="975"/>
                  <a:pt x="3261" y="974"/>
                  <a:pt x="3261" y="974"/>
                </a:cubicBezTo>
                <a:cubicBezTo>
                  <a:pt x="3262" y="972"/>
                  <a:pt x="3264" y="970"/>
                  <a:pt x="3265" y="972"/>
                </a:cubicBezTo>
                <a:cubicBezTo>
                  <a:pt x="3265" y="973"/>
                  <a:pt x="3265" y="974"/>
                  <a:pt x="3265" y="975"/>
                </a:cubicBezTo>
                <a:close/>
                <a:moveTo>
                  <a:pt x="3271" y="954"/>
                </a:moveTo>
                <a:cubicBezTo>
                  <a:pt x="3271" y="953"/>
                  <a:pt x="3271" y="953"/>
                  <a:pt x="3271" y="953"/>
                </a:cubicBezTo>
                <a:cubicBezTo>
                  <a:pt x="3271" y="954"/>
                  <a:pt x="3271" y="954"/>
                  <a:pt x="3271" y="954"/>
                </a:cubicBezTo>
                <a:cubicBezTo>
                  <a:pt x="3272" y="954"/>
                  <a:pt x="3272" y="954"/>
                  <a:pt x="3272" y="954"/>
                </a:cubicBezTo>
                <a:lnTo>
                  <a:pt x="3271" y="954"/>
                </a:lnTo>
                <a:close/>
                <a:moveTo>
                  <a:pt x="3337" y="806"/>
                </a:moveTo>
                <a:cubicBezTo>
                  <a:pt x="3337" y="806"/>
                  <a:pt x="3336" y="806"/>
                  <a:pt x="3336" y="806"/>
                </a:cubicBezTo>
                <a:cubicBezTo>
                  <a:pt x="3333" y="804"/>
                  <a:pt x="3330" y="801"/>
                  <a:pt x="3329" y="797"/>
                </a:cubicBezTo>
                <a:cubicBezTo>
                  <a:pt x="3329" y="797"/>
                  <a:pt x="3329" y="796"/>
                  <a:pt x="3329" y="796"/>
                </a:cubicBezTo>
                <a:cubicBezTo>
                  <a:pt x="3330" y="794"/>
                  <a:pt x="3330" y="794"/>
                  <a:pt x="3331" y="795"/>
                </a:cubicBezTo>
                <a:cubicBezTo>
                  <a:pt x="3332" y="797"/>
                  <a:pt x="3333" y="798"/>
                  <a:pt x="3334" y="800"/>
                </a:cubicBezTo>
                <a:cubicBezTo>
                  <a:pt x="3335" y="801"/>
                  <a:pt x="3336" y="803"/>
                  <a:pt x="3338" y="805"/>
                </a:cubicBezTo>
                <a:cubicBezTo>
                  <a:pt x="3338" y="805"/>
                  <a:pt x="3338" y="806"/>
                  <a:pt x="3337" y="806"/>
                </a:cubicBezTo>
                <a:close/>
                <a:moveTo>
                  <a:pt x="3337" y="790"/>
                </a:moveTo>
                <a:cubicBezTo>
                  <a:pt x="3336" y="790"/>
                  <a:pt x="3337" y="789"/>
                  <a:pt x="3338" y="789"/>
                </a:cubicBezTo>
                <a:cubicBezTo>
                  <a:pt x="3338" y="789"/>
                  <a:pt x="3339" y="790"/>
                  <a:pt x="3339" y="790"/>
                </a:cubicBezTo>
                <a:cubicBezTo>
                  <a:pt x="3338" y="790"/>
                  <a:pt x="3338" y="790"/>
                  <a:pt x="3337" y="790"/>
                </a:cubicBezTo>
                <a:close/>
                <a:moveTo>
                  <a:pt x="3350" y="907"/>
                </a:moveTo>
                <a:cubicBezTo>
                  <a:pt x="3350" y="908"/>
                  <a:pt x="3350" y="909"/>
                  <a:pt x="3349" y="909"/>
                </a:cubicBezTo>
                <a:cubicBezTo>
                  <a:pt x="3349" y="908"/>
                  <a:pt x="3349" y="907"/>
                  <a:pt x="3348" y="907"/>
                </a:cubicBezTo>
                <a:cubicBezTo>
                  <a:pt x="3348" y="906"/>
                  <a:pt x="3348" y="905"/>
                  <a:pt x="3348" y="904"/>
                </a:cubicBezTo>
                <a:cubicBezTo>
                  <a:pt x="3348" y="903"/>
                  <a:pt x="3348" y="902"/>
                  <a:pt x="3348" y="902"/>
                </a:cubicBezTo>
                <a:cubicBezTo>
                  <a:pt x="3350" y="902"/>
                  <a:pt x="3350" y="903"/>
                  <a:pt x="3350" y="904"/>
                </a:cubicBezTo>
                <a:cubicBezTo>
                  <a:pt x="3350" y="905"/>
                  <a:pt x="3350" y="906"/>
                  <a:pt x="3350" y="907"/>
                </a:cubicBezTo>
                <a:close/>
                <a:moveTo>
                  <a:pt x="3394" y="889"/>
                </a:moveTo>
                <a:cubicBezTo>
                  <a:pt x="3394" y="889"/>
                  <a:pt x="3394" y="888"/>
                  <a:pt x="3394" y="888"/>
                </a:cubicBezTo>
                <a:cubicBezTo>
                  <a:pt x="3396" y="885"/>
                  <a:pt x="3397" y="883"/>
                  <a:pt x="3398" y="881"/>
                </a:cubicBezTo>
                <a:cubicBezTo>
                  <a:pt x="3398" y="881"/>
                  <a:pt x="3398" y="880"/>
                  <a:pt x="3398" y="880"/>
                </a:cubicBezTo>
                <a:cubicBezTo>
                  <a:pt x="3397" y="881"/>
                  <a:pt x="3396" y="881"/>
                  <a:pt x="3397" y="880"/>
                </a:cubicBezTo>
                <a:cubicBezTo>
                  <a:pt x="3398" y="880"/>
                  <a:pt x="3398" y="880"/>
                  <a:pt x="3398" y="881"/>
                </a:cubicBezTo>
                <a:cubicBezTo>
                  <a:pt x="3398" y="881"/>
                  <a:pt x="3398" y="881"/>
                  <a:pt x="3398" y="881"/>
                </a:cubicBezTo>
                <a:cubicBezTo>
                  <a:pt x="3400" y="882"/>
                  <a:pt x="3402" y="883"/>
                  <a:pt x="3404" y="882"/>
                </a:cubicBezTo>
                <a:cubicBezTo>
                  <a:pt x="3405" y="881"/>
                  <a:pt x="3407" y="880"/>
                  <a:pt x="3407" y="879"/>
                </a:cubicBezTo>
                <a:cubicBezTo>
                  <a:pt x="3409" y="873"/>
                  <a:pt x="3411" y="868"/>
                  <a:pt x="3414" y="864"/>
                </a:cubicBezTo>
                <a:cubicBezTo>
                  <a:pt x="3415" y="862"/>
                  <a:pt x="3416" y="860"/>
                  <a:pt x="3417" y="858"/>
                </a:cubicBezTo>
                <a:cubicBezTo>
                  <a:pt x="3418" y="854"/>
                  <a:pt x="3419" y="851"/>
                  <a:pt x="3421" y="847"/>
                </a:cubicBezTo>
                <a:cubicBezTo>
                  <a:pt x="3428" y="832"/>
                  <a:pt x="3430" y="816"/>
                  <a:pt x="3427" y="799"/>
                </a:cubicBezTo>
                <a:cubicBezTo>
                  <a:pt x="3427" y="798"/>
                  <a:pt x="3428" y="797"/>
                  <a:pt x="3428" y="796"/>
                </a:cubicBezTo>
                <a:cubicBezTo>
                  <a:pt x="3428" y="795"/>
                  <a:pt x="3429" y="795"/>
                  <a:pt x="3429" y="795"/>
                </a:cubicBezTo>
                <a:cubicBezTo>
                  <a:pt x="3430" y="795"/>
                  <a:pt x="3431" y="795"/>
                  <a:pt x="3432" y="796"/>
                </a:cubicBezTo>
                <a:cubicBezTo>
                  <a:pt x="3434" y="802"/>
                  <a:pt x="3435" y="808"/>
                  <a:pt x="3436" y="815"/>
                </a:cubicBezTo>
                <a:cubicBezTo>
                  <a:pt x="3437" y="819"/>
                  <a:pt x="3437" y="822"/>
                  <a:pt x="3439" y="826"/>
                </a:cubicBezTo>
                <a:cubicBezTo>
                  <a:pt x="3441" y="830"/>
                  <a:pt x="3440" y="833"/>
                  <a:pt x="3437" y="836"/>
                </a:cubicBezTo>
                <a:cubicBezTo>
                  <a:pt x="3435" y="838"/>
                  <a:pt x="3435" y="840"/>
                  <a:pt x="3436" y="842"/>
                </a:cubicBezTo>
                <a:cubicBezTo>
                  <a:pt x="3437" y="844"/>
                  <a:pt x="3438" y="846"/>
                  <a:pt x="3436" y="848"/>
                </a:cubicBezTo>
                <a:cubicBezTo>
                  <a:pt x="3432" y="857"/>
                  <a:pt x="3426" y="864"/>
                  <a:pt x="3419" y="870"/>
                </a:cubicBezTo>
                <a:cubicBezTo>
                  <a:pt x="3416" y="872"/>
                  <a:pt x="3414" y="875"/>
                  <a:pt x="3413" y="879"/>
                </a:cubicBezTo>
                <a:cubicBezTo>
                  <a:pt x="3413" y="883"/>
                  <a:pt x="3411" y="885"/>
                  <a:pt x="3408" y="887"/>
                </a:cubicBezTo>
                <a:cubicBezTo>
                  <a:pt x="3404" y="889"/>
                  <a:pt x="3401" y="890"/>
                  <a:pt x="3397" y="890"/>
                </a:cubicBezTo>
                <a:cubicBezTo>
                  <a:pt x="3396" y="890"/>
                  <a:pt x="3395" y="890"/>
                  <a:pt x="3394" y="889"/>
                </a:cubicBezTo>
                <a:close/>
                <a:moveTo>
                  <a:pt x="3463" y="1605"/>
                </a:moveTo>
                <a:cubicBezTo>
                  <a:pt x="3463" y="1605"/>
                  <a:pt x="3463" y="1605"/>
                  <a:pt x="3463" y="1605"/>
                </a:cubicBezTo>
                <a:cubicBezTo>
                  <a:pt x="3463" y="1605"/>
                  <a:pt x="3463" y="1605"/>
                  <a:pt x="3464" y="1605"/>
                </a:cubicBezTo>
                <a:lnTo>
                  <a:pt x="3463" y="1605"/>
                </a:lnTo>
                <a:close/>
                <a:moveTo>
                  <a:pt x="2369" y="1185"/>
                </a:moveTo>
                <a:cubicBezTo>
                  <a:pt x="2369" y="1185"/>
                  <a:pt x="2369" y="1185"/>
                  <a:pt x="2369" y="1185"/>
                </a:cubicBezTo>
                <a:cubicBezTo>
                  <a:pt x="2369" y="1185"/>
                  <a:pt x="2369" y="1185"/>
                  <a:pt x="2369" y="1185"/>
                </a:cubicBezTo>
                <a:cubicBezTo>
                  <a:pt x="2369" y="1185"/>
                  <a:pt x="2369" y="1185"/>
                  <a:pt x="2369" y="1185"/>
                </a:cubicBezTo>
                <a:cubicBezTo>
                  <a:pt x="2369" y="1185"/>
                  <a:pt x="2369" y="1185"/>
                  <a:pt x="2369" y="1185"/>
                </a:cubicBezTo>
                <a:close/>
                <a:moveTo>
                  <a:pt x="1433" y="1734"/>
                </a:moveTo>
                <a:cubicBezTo>
                  <a:pt x="1433" y="1734"/>
                  <a:pt x="1433" y="1734"/>
                  <a:pt x="1433" y="1734"/>
                </a:cubicBezTo>
                <a:cubicBezTo>
                  <a:pt x="1433" y="1734"/>
                  <a:pt x="1433" y="1734"/>
                  <a:pt x="1432" y="1734"/>
                </a:cubicBezTo>
                <a:cubicBezTo>
                  <a:pt x="1433" y="1734"/>
                  <a:pt x="1433" y="1734"/>
                  <a:pt x="1433" y="1734"/>
                </a:cubicBezTo>
                <a:cubicBezTo>
                  <a:pt x="1433" y="1734"/>
                  <a:pt x="1433" y="1734"/>
                  <a:pt x="1433" y="1734"/>
                </a:cubicBezTo>
                <a:close/>
                <a:moveTo>
                  <a:pt x="1076" y="464"/>
                </a:moveTo>
                <a:cubicBezTo>
                  <a:pt x="1076" y="464"/>
                  <a:pt x="1075" y="464"/>
                  <a:pt x="1075" y="464"/>
                </a:cubicBezTo>
                <a:cubicBezTo>
                  <a:pt x="1075" y="464"/>
                  <a:pt x="1075" y="464"/>
                  <a:pt x="1075" y="464"/>
                </a:cubicBezTo>
                <a:cubicBezTo>
                  <a:pt x="1075" y="464"/>
                  <a:pt x="1076" y="464"/>
                  <a:pt x="1076" y="464"/>
                </a:cubicBezTo>
                <a:cubicBezTo>
                  <a:pt x="1076" y="464"/>
                  <a:pt x="1076" y="464"/>
                  <a:pt x="1076" y="464"/>
                </a:cubicBezTo>
                <a:close/>
                <a:moveTo>
                  <a:pt x="1132" y="589"/>
                </a:moveTo>
                <a:cubicBezTo>
                  <a:pt x="1132" y="590"/>
                  <a:pt x="1132" y="590"/>
                  <a:pt x="1131" y="590"/>
                </a:cubicBezTo>
                <a:cubicBezTo>
                  <a:pt x="1132" y="589"/>
                  <a:pt x="1132" y="589"/>
                  <a:pt x="1132" y="589"/>
                </a:cubicBezTo>
                <a:cubicBezTo>
                  <a:pt x="1131" y="593"/>
                  <a:pt x="1130" y="596"/>
                  <a:pt x="1129" y="599"/>
                </a:cubicBezTo>
                <a:cubicBezTo>
                  <a:pt x="1126" y="609"/>
                  <a:pt x="1120" y="618"/>
                  <a:pt x="1117" y="628"/>
                </a:cubicBezTo>
                <a:cubicBezTo>
                  <a:pt x="1117" y="630"/>
                  <a:pt x="1115" y="631"/>
                  <a:pt x="1113" y="632"/>
                </a:cubicBezTo>
                <a:cubicBezTo>
                  <a:pt x="1112" y="633"/>
                  <a:pt x="1110" y="634"/>
                  <a:pt x="1109" y="636"/>
                </a:cubicBezTo>
                <a:cubicBezTo>
                  <a:pt x="1108" y="637"/>
                  <a:pt x="1109" y="642"/>
                  <a:pt x="1111" y="643"/>
                </a:cubicBezTo>
                <a:cubicBezTo>
                  <a:pt x="1112" y="643"/>
                  <a:pt x="1113" y="643"/>
                  <a:pt x="1114" y="644"/>
                </a:cubicBezTo>
                <a:cubicBezTo>
                  <a:pt x="1116" y="645"/>
                  <a:pt x="1118" y="646"/>
                  <a:pt x="1117" y="649"/>
                </a:cubicBezTo>
                <a:cubicBezTo>
                  <a:pt x="1117" y="650"/>
                  <a:pt x="1117" y="651"/>
                  <a:pt x="1117" y="652"/>
                </a:cubicBezTo>
                <a:cubicBezTo>
                  <a:pt x="1117" y="656"/>
                  <a:pt x="1120" y="658"/>
                  <a:pt x="1123" y="657"/>
                </a:cubicBezTo>
                <a:cubicBezTo>
                  <a:pt x="1126" y="656"/>
                  <a:pt x="1128" y="656"/>
                  <a:pt x="1130" y="655"/>
                </a:cubicBezTo>
                <a:cubicBezTo>
                  <a:pt x="1135" y="649"/>
                  <a:pt x="1144" y="646"/>
                  <a:pt x="1147" y="638"/>
                </a:cubicBezTo>
                <a:cubicBezTo>
                  <a:pt x="1148" y="638"/>
                  <a:pt x="1149" y="637"/>
                  <a:pt x="1150" y="638"/>
                </a:cubicBezTo>
                <a:cubicBezTo>
                  <a:pt x="1154" y="639"/>
                  <a:pt x="1157" y="641"/>
                  <a:pt x="1157" y="646"/>
                </a:cubicBezTo>
                <a:cubicBezTo>
                  <a:pt x="1157" y="648"/>
                  <a:pt x="1158" y="649"/>
                  <a:pt x="1160" y="650"/>
                </a:cubicBezTo>
                <a:cubicBezTo>
                  <a:pt x="1164" y="652"/>
                  <a:pt x="1168" y="653"/>
                  <a:pt x="1172" y="654"/>
                </a:cubicBezTo>
                <a:cubicBezTo>
                  <a:pt x="1173" y="655"/>
                  <a:pt x="1174" y="654"/>
                  <a:pt x="1175" y="654"/>
                </a:cubicBezTo>
                <a:cubicBezTo>
                  <a:pt x="1177" y="652"/>
                  <a:pt x="1179" y="650"/>
                  <a:pt x="1181" y="648"/>
                </a:cubicBezTo>
                <a:cubicBezTo>
                  <a:pt x="1183" y="646"/>
                  <a:pt x="1181" y="643"/>
                  <a:pt x="1179" y="641"/>
                </a:cubicBezTo>
                <a:cubicBezTo>
                  <a:pt x="1178" y="641"/>
                  <a:pt x="1178" y="641"/>
                  <a:pt x="1177" y="641"/>
                </a:cubicBezTo>
                <a:cubicBezTo>
                  <a:pt x="1174" y="640"/>
                  <a:pt x="1172" y="637"/>
                  <a:pt x="1172" y="634"/>
                </a:cubicBezTo>
                <a:cubicBezTo>
                  <a:pt x="1172" y="629"/>
                  <a:pt x="1170" y="625"/>
                  <a:pt x="1167" y="622"/>
                </a:cubicBezTo>
                <a:cubicBezTo>
                  <a:pt x="1165" y="620"/>
                  <a:pt x="1163" y="618"/>
                  <a:pt x="1162" y="615"/>
                </a:cubicBezTo>
                <a:cubicBezTo>
                  <a:pt x="1159" y="609"/>
                  <a:pt x="1152" y="607"/>
                  <a:pt x="1149" y="600"/>
                </a:cubicBezTo>
                <a:cubicBezTo>
                  <a:pt x="1149" y="600"/>
                  <a:pt x="1147" y="600"/>
                  <a:pt x="1146" y="599"/>
                </a:cubicBezTo>
                <a:cubicBezTo>
                  <a:pt x="1143" y="598"/>
                  <a:pt x="1143" y="598"/>
                  <a:pt x="1145" y="596"/>
                </a:cubicBezTo>
                <a:cubicBezTo>
                  <a:pt x="1147" y="594"/>
                  <a:pt x="1149" y="592"/>
                  <a:pt x="1150" y="590"/>
                </a:cubicBezTo>
                <a:cubicBezTo>
                  <a:pt x="1151" y="589"/>
                  <a:pt x="1151" y="587"/>
                  <a:pt x="1150" y="586"/>
                </a:cubicBezTo>
                <a:cubicBezTo>
                  <a:pt x="1150" y="585"/>
                  <a:pt x="1149" y="585"/>
                  <a:pt x="1148" y="586"/>
                </a:cubicBezTo>
                <a:cubicBezTo>
                  <a:pt x="1146" y="587"/>
                  <a:pt x="1144" y="588"/>
                  <a:pt x="1141" y="587"/>
                </a:cubicBezTo>
                <a:cubicBezTo>
                  <a:pt x="1139" y="586"/>
                  <a:pt x="1137" y="587"/>
                  <a:pt x="1135" y="586"/>
                </a:cubicBezTo>
                <a:cubicBezTo>
                  <a:pt x="1134" y="587"/>
                  <a:pt x="1133" y="588"/>
                  <a:pt x="1132" y="589"/>
                </a:cubicBezTo>
                <a:cubicBezTo>
                  <a:pt x="1132" y="589"/>
                  <a:pt x="1132" y="589"/>
                  <a:pt x="1132" y="589"/>
                </a:cubicBezTo>
                <a:close/>
                <a:moveTo>
                  <a:pt x="1221" y="2597"/>
                </a:moveTo>
                <a:cubicBezTo>
                  <a:pt x="1221" y="2597"/>
                  <a:pt x="1221" y="2597"/>
                  <a:pt x="1221" y="2597"/>
                </a:cubicBezTo>
                <a:cubicBezTo>
                  <a:pt x="1221" y="2597"/>
                  <a:pt x="1221" y="2597"/>
                  <a:pt x="1221" y="2597"/>
                </a:cubicBezTo>
                <a:cubicBezTo>
                  <a:pt x="1221" y="2597"/>
                  <a:pt x="1221" y="2597"/>
                  <a:pt x="1221" y="2597"/>
                </a:cubicBezTo>
                <a:cubicBezTo>
                  <a:pt x="1221" y="2597"/>
                  <a:pt x="1221" y="2597"/>
                  <a:pt x="1221" y="2597"/>
                </a:cubicBezTo>
                <a:close/>
                <a:moveTo>
                  <a:pt x="1204" y="481"/>
                </a:moveTo>
                <a:cubicBezTo>
                  <a:pt x="1205" y="481"/>
                  <a:pt x="1205" y="481"/>
                  <a:pt x="1205" y="481"/>
                </a:cubicBezTo>
                <a:cubicBezTo>
                  <a:pt x="1205" y="480"/>
                  <a:pt x="1205" y="480"/>
                  <a:pt x="1204" y="480"/>
                </a:cubicBezTo>
                <a:cubicBezTo>
                  <a:pt x="1204" y="480"/>
                  <a:pt x="1204" y="480"/>
                  <a:pt x="1204" y="480"/>
                </a:cubicBezTo>
                <a:cubicBezTo>
                  <a:pt x="1204" y="480"/>
                  <a:pt x="1204" y="480"/>
                  <a:pt x="1204" y="481"/>
                </a:cubicBezTo>
                <a:close/>
                <a:moveTo>
                  <a:pt x="1310" y="1040"/>
                </a:moveTo>
                <a:cubicBezTo>
                  <a:pt x="1310" y="1040"/>
                  <a:pt x="1311" y="1039"/>
                  <a:pt x="1311" y="1039"/>
                </a:cubicBezTo>
                <a:cubicBezTo>
                  <a:pt x="1311" y="1039"/>
                  <a:pt x="1310" y="1039"/>
                  <a:pt x="1310" y="1039"/>
                </a:cubicBezTo>
                <a:cubicBezTo>
                  <a:pt x="1310" y="1039"/>
                  <a:pt x="1310" y="1040"/>
                  <a:pt x="1310" y="1040"/>
                </a:cubicBezTo>
                <a:cubicBezTo>
                  <a:pt x="1310" y="1040"/>
                  <a:pt x="1310" y="1040"/>
                  <a:pt x="1310" y="1040"/>
                </a:cubicBezTo>
                <a:close/>
                <a:moveTo>
                  <a:pt x="1247" y="2617"/>
                </a:moveTo>
                <a:cubicBezTo>
                  <a:pt x="1247" y="2617"/>
                  <a:pt x="1247" y="2617"/>
                  <a:pt x="1247" y="2617"/>
                </a:cubicBezTo>
                <a:cubicBezTo>
                  <a:pt x="1247" y="2617"/>
                  <a:pt x="1247" y="2617"/>
                  <a:pt x="1247" y="2617"/>
                </a:cubicBezTo>
                <a:close/>
                <a:moveTo>
                  <a:pt x="351" y="596"/>
                </a:moveTo>
                <a:cubicBezTo>
                  <a:pt x="351" y="596"/>
                  <a:pt x="351" y="596"/>
                  <a:pt x="351" y="596"/>
                </a:cubicBezTo>
                <a:cubicBezTo>
                  <a:pt x="351" y="597"/>
                  <a:pt x="351" y="597"/>
                  <a:pt x="351" y="597"/>
                </a:cubicBezTo>
                <a:cubicBezTo>
                  <a:pt x="351" y="597"/>
                  <a:pt x="351" y="596"/>
                  <a:pt x="351" y="596"/>
                </a:cubicBezTo>
                <a:cubicBezTo>
                  <a:pt x="351" y="596"/>
                  <a:pt x="351" y="596"/>
                  <a:pt x="351" y="596"/>
                </a:cubicBezTo>
                <a:close/>
                <a:moveTo>
                  <a:pt x="1628" y="1811"/>
                </a:moveTo>
                <a:cubicBezTo>
                  <a:pt x="1627" y="1809"/>
                  <a:pt x="1626" y="1808"/>
                  <a:pt x="1624" y="1807"/>
                </a:cubicBezTo>
                <a:cubicBezTo>
                  <a:pt x="1622" y="1806"/>
                  <a:pt x="1619" y="1805"/>
                  <a:pt x="1616" y="1805"/>
                </a:cubicBezTo>
                <a:cubicBezTo>
                  <a:pt x="1612" y="1806"/>
                  <a:pt x="1608" y="1804"/>
                  <a:pt x="1604" y="1801"/>
                </a:cubicBezTo>
                <a:cubicBezTo>
                  <a:pt x="1600" y="1797"/>
                  <a:pt x="1594" y="1796"/>
                  <a:pt x="1591" y="1791"/>
                </a:cubicBezTo>
                <a:cubicBezTo>
                  <a:pt x="1586" y="1784"/>
                  <a:pt x="1578" y="1780"/>
                  <a:pt x="1570" y="1776"/>
                </a:cubicBezTo>
                <a:cubicBezTo>
                  <a:pt x="1567" y="1774"/>
                  <a:pt x="1563" y="1773"/>
                  <a:pt x="1559" y="1773"/>
                </a:cubicBezTo>
                <a:cubicBezTo>
                  <a:pt x="1546" y="1774"/>
                  <a:pt x="1533" y="1771"/>
                  <a:pt x="1520" y="1768"/>
                </a:cubicBezTo>
                <a:cubicBezTo>
                  <a:pt x="1519" y="1767"/>
                  <a:pt x="1517" y="1768"/>
                  <a:pt x="1515" y="1768"/>
                </a:cubicBezTo>
                <a:cubicBezTo>
                  <a:pt x="1513" y="1769"/>
                  <a:pt x="1511" y="1770"/>
                  <a:pt x="1509" y="1771"/>
                </a:cubicBezTo>
                <a:cubicBezTo>
                  <a:pt x="1508" y="1772"/>
                  <a:pt x="1506" y="1771"/>
                  <a:pt x="1506" y="1769"/>
                </a:cubicBezTo>
                <a:cubicBezTo>
                  <a:pt x="1505" y="1767"/>
                  <a:pt x="1504" y="1764"/>
                  <a:pt x="1503" y="1762"/>
                </a:cubicBezTo>
                <a:cubicBezTo>
                  <a:pt x="1502" y="1760"/>
                  <a:pt x="1500" y="1758"/>
                  <a:pt x="1498" y="1757"/>
                </a:cubicBezTo>
                <a:cubicBezTo>
                  <a:pt x="1490" y="1757"/>
                  <a:pt x="1485" y="1752"/>
                  <a:pt x="1478" y="1750"/>
                </a:cubicBezTo>
                <a:cubicBezTo>
                  <a:pt x="1473" y="1748"/>
                  <a:pt x="1468" y="1746"/>
                  <a:pt x="1462" y="1746"/>
                </a:cubicBezTo>
                <a:cubicBezTo>
                  <a:pt x="1457" y="1745"/>
                  <a:pt x="1454" y="1746"/>
                  <a:pt x="1451" y="1751"/>
                </a:cubicBezTo>
                <a:cubicBezTo>
                  <a:pt x="1451" y="1751"/>
                  <a:pt x="1450" y="1752"/>
                  <a:pt x="1450" y="1752"/>
                </a:cubicBezTo>
                <a:cubicBezTo>
                  <a:pt x="1449" y="1752"/>
                  <a:pt x="1448" y="1751"/>
                  <a:pt x="1449" y="1749"/>
                </a:cubicBezTo>
                <a:cubicBezTo>
                  <a:pt x="1449" y="1748"/>
                  <a:pt x="1449" y="1747"/>
                  <a:pt x="1449" y="1746"/>
                </a:cubicBezTo>
                <a:cubicBezTo>
                  <a:pt x="1451" y="1742"/>
                  <a:pt x="1448" y="1739"/>
                  <a:pt x="1445" y="1738"/>
                </a:cubicBezTo>
                <a:cubicBezTo>
                  <a:pt x="1441" y="1737"/>
                  <a:pt x="1437" y="1736"/>
                  <a:pt x="1433" y="1734"/>
                </a:cubicBezTo>
                <a:cubicBezTo>
                  <a:pt x="1433" y="1735"/>
                  <a:pt x="1432" y="1736"/>
                  <a:pt x="1432" y="1737"/>
                </a:cubicBezTo>
                <a:cubicBezTo>
                  <a:pt x="1432" y="1737"/>
                  <a:pt x="1432" y="1737"/>
                  <a:pt x="1433" y="1737"/>
                </a:cubicBezTo>
                <a:cubicBezTo>
                  <a:pt x="1433" y="1738"/>
                  <a:pt x="1433" y="1738"/>
                  <a:pt x="1433" y="1738"/>
                </a:cubicBezTo>
                <a:cubicBezTo>
                  <a:pt x="1432" y="1737"/>
                  <a:pt x="1432" y="1737"/>
                  <a:pt x="1432" y="1737"/>
                </a:cubicBezTo>
                <a:cubicBezTo>
                  <a:pt x="1432" y="1737"/>
                  <a:pt x="1432" y="1737"/>
                  <a:pt x="1432" y="1737"/>
                </a:cubicBezTo>
                <a:cubicBezTo>
                  <a:pt x="1428" y="1736"/>
                  <a:pt x="1423" y="1737"/>
                  <a:pt x="1420" y="1740"/>
                </a:cubicBezTo>
                <a:cubicBezTo>
                  <a:pt x="1418" y="1738"/>
                  <a:pt x="1416" y="1737"/>
                  <a:pt x="1413" y="1737"/>
                </a:cubicBezTo>
                <a:cubicBezTo>
                  <a:pt x="1417" y="1734"/>
                  <a:pt x="1421" y="1732"/>
                  <a:pt x="1426" y="1731"/>
                </a:cubicBezTo>
                <a:cubicBezTo>
                  <a:pt x="1427" y="1726"/>
                  <a:pt x="1428" y="1722"/>
                  <a:pt x="1429" y="1718"/>
                </a:cubicBezTo>
                <a:cubicBezTo>
                  <a:pt x="1430" y="1715"/>
                  <a:pt x="1430" y="1713"/>
                  <a:pt x="1428" y="1710"/>
                </a:cubicBezTo>
                <a:cubicBezTo>
                  <a:pt x="1426" y="1708"/>
                  <a:pt x="1424" y="1705"/>
                  <a:pt x="1422" y="1702"/>
                </a:cubicBezTo>
                <a:cubicBezTo>
                  <a:pt x="1418" y="1697"/>
                  <a:pt x="1414" y="1692"/>
                  <a:pt x="1413" y="1685"/>
                </a:cubicBezTo>
                <a:cubicBezTo>
                  <a:pt x="1413" y="1682"/>
                  <a:pt x="1411" y="1679"/>
                  <a:pt x="1409" y="1676"/>
                </a:cubicBezTo>
                <a:cubicBezTo>
                  <a:pt x="1400" y="1667"/>
                  <a:pt x="1391" y="1658"/>
                  <a:pt x="1378" y="1655"/>
                </a:cubicBezTo>
                <a:cubicBezTo>
                  <a:pt x="1376" y="1655"/>
                  <a:pt x="1375" y="1654"/>
                  <a:pt x="1373" y="1654"/>
                </a:cubicBezTo>
                <a:cubicBezTo>
                  <a:pt x="1368" y="1651"/>
                  <a:pt x="1362" y="1650"/>
                  <a:pt x="1356" y="1650"/>
                </a:cubicBezTo>
                <a:cubicBezTo>
                  <a:pt x="1350" y="1651"/>
                  <a:pt x="1343" y="1650"/>
                  <a:pt x="1337" y="1650"/>
                </a:cubicBezTo>
                <a:cubicBezTo>
                  <a:pt x="1336" y="1650"/>
                  <a:pt x="1334" y="1650"/>
                  <a:pt x="1333" y="1649"/>
                </a:cubicBezTo>
                <a:cubicBezTo>
                  <a:pt x="1327" y="1646"/>
                  <a:pt x="1323" y="1640"/>
                  <a:pt x="1316" y="1639"/>
                </a:cubicBezTo>
                <a:cubicBezTo>
                  <a:pt x="1315" y="1639"/>
                  <a:pt x="1314" y="1637"/>
                  <a:pt x="1314" y="1637"/>
                </a:cubicBezTo>
                <a:cubicBezTo>
                  <a:pt x="1313" y="1634"/>
                  <a:pt x="1312" y="1631"/>
                  <a:pt x="1310" y="1629"/>
                </a:cubicBezTo>
                <a:cubicBezTo>
                  <a:pt x="1307" y="1626"/>
                  <a:pt x="1303" y="1622"/>
                  <a:pt x="1299" y="1619"/>
                </a:cubicBezTo>
                <a:cubicBezTo>
                  <a:pt x="1297" y="1617"/>
                  <a:pt x="1294" y="1616"/>
                  <a:pt x="1291" y="1615"/>
                </a:cubicBezTo>
                <a:cubicBezTo>
                  <a:pt x="1288" y="1614"/>
                  <a:pt x="1285" y="1614"/>
                  <a:pt x="1283" y="1614"/>
                </a:cubicBezTo>
                <a:cubicBezTo>
                  <a:pt x="1281" y="1613"/>
                  <a:pt x="1279" y="1612"/>
                  <a:pt x="1280" y="1611"/>
                </a:cubicBezTo>
                <a:cubicBezTo>
                  <a:pt x="1280" y="1605"/>
                  <a:pt x="1277" y="1602"/>
                  <a:pt x="1273" y="1600"/>
                </a:cubicBezTo>
                <a:cubicBezTo>
                  <a:pt x="1269" y="1599"/>
                  <a:pt x="1265" y="1597"/>
                  <a:pt x="1261" y="1595"/>
                </a:cubicBezTo>
                <a:cubicBezTo>
                  <a:pt x="1259" y="1594"/>
                  <a:pt x="1258" y="1593"/>
                  <a:pt x="1257" y="1592"/>
                </a:cubicBezTo>
                <a:cubicBezTo>
                  <a:pt x="1257" y="1590"/>
                  <a:pt x="1259" y="1590"/>
                  <a:pt x="1260" y="1589"/>
                </a:cubicBezTo>
                <a:cubicBezTo>
                  <a:pt x="1261" y="1589"/>
                  <a:pt x="1262" y="1589"/>
                  <a:pt x="1262" y="1588"/>
                </a:cubicBezTo>
                <a:cubicBezTo>
                  <a:pt x="1263" y="1588"/>
                  <a:pt x="1264" y="1587"/>
                  <a:pt x="1263" y="1586"/>
                </a:cubicBezTo>
                <a:cubicBezTo>
                  <a:pt x="1263" y="1586"/>
                  <a:pt x="1262" y="1585"/>
                  <a:pt x="1262" y="1585"/>
                </a:cubicBezTo>
                <a:cubicBezTo>
                  <a:pt x="1257" y="1583"/>
                  <a:pt x="1252" y="1584"/>
                  <a:pt x="1247" y="1585"/>
                </a:cubicBezTo>
                <a:cubicBezTo>
                  <a:pt x="1244" y="1585"/>
                  <a:pt x="1242" y="1584"/>
                  <a:pt x="1240" y="1581"/>
                </a:cubicBezTo>
                <a:cubicBezTo>
                  <a:pt x="1239" y="1581"/>
                  <a:pt x="1238" y="1581"/>
                  <a:pt x="1237" y="1582"/>
                </a:cubicBezTo>
                <a:cubicBezTo>
                  <a:pt x="1236" y="1584"/>
                  <a:pt x="1236" y="1586"/>
                  <a:pt x="1235" y="1587"/>
                </a:cubicBezTo>
                <a:cubicBezTo>
                  <a:pt x="1230" y="1591"/>
                  <a:pt x="1222" y="1595"/>
                  <a:pt x="1216" y="1590"/>
                </a:cubicBezTo>
                <a:cubicBezTo>
                  <a:pt x="1212" y="1587"/>
                  <a:pt x="1208" y="1587"/>
                  <a:pt x="1203" y="1587"/>
                </a:cubicBezTo>
                <a:cubicBezTo>
                  <a:pt x="1198" y="1588"/>
                  <a:pt x="1193" y="1588"/>
                  <a:pt x="1188" y="1588"/>
                </a:cubicBezTo>
                <a:cubicBezTo>
                  <a:pt x="1186" y="1588"/>
                  <a:pt x="1184" y="1587"/>
                  <a:pt x="1183" y="1585"/>
                </a:cubicBezTo>
                <a:cubicBezTo>
                  <a:pt x="1183" y="1584"/>
                  <a:pt x="1183" y="1584"/>
                  <a:pt x="1183" y="1583"/>
                </a:cubicBezTo>
                <a:cubicBezTo>
                  <a:pt x="1182" y="1580"/>
                  <a:pt x="1180" y="1577"/>
                  <a:pt x="1177" y="1577"/>
                </a:cubicBezTo>
                <a:cubicBezTo>
                  <a:pt x="1174" y="1576"/>
                  <a:pt x="1172" y="1576"/>
                  <a:pt x="1170" y="1575"/>
                </a:cubicBezTo>
                <a:cubicBezTo>
                  <a:pt x="1166" y="1575"/>
                  <a:pt x="1163" y="1573"/>
                  <a:pt x="1162" y="1568"/>
                </a:cubicBezTo>
                <a:cubicBezTo>
                  <a:pt x="1161" y="1567"/>
                  <a:pt x="1160" y="1566"/>
                  <a:pt x="1158" y="1566"/>
                </a:cubicBezTo>
                <a:cubicBezTo>
                  <a:pt x="1157" y="1565"/>
                  <a:pt x="1154" y="1567"/>
                  <a:pt x="1153" y="1569"/>
                </a:cubicBezTo>
                <a:cubicBezTo>
                  <a:pt x="1153" y="1570"/>
                  <a:pt x="1152" y="1571"/>
                  <a:pt x="1152" y="1572"/>
                </a:cubicBezTo>
                <a:cubicBezTo>
                  <a:pt x="1152" y="1576"/>
                  <a:pt x="1150" y="1578"/>
                  <a:pt x="1146" y="1579"/>
                </a:cubicBezTo>
                <a:cubicBezTo>
                  <a:pt x="1144" y="1580"/>
                  <a:pt x="1141" y="1581"/>
                  <a:pt x="1139" y="1582"/>
                </a:cubicBezTo>
                <a:cubicBezTo>
                  <a:pt x="1137" y="1583"/>
                  <a:pt x="1136" y="1582"/>
                  <a:pt x="1135" y="1580"/>
                </a:cubicBezTo>
                <a:cubicBezTo>
                  <a:pt x="1134" y="1579"/>
                  <a:pt x="1133" y="1577"/>
                  <a:pt x="1134" y="1576"/>
                </a:cubicBezTo>
                <a:cubicBezTo>
                  <a:pt x="1137" y="1573"/>
                  <a:pt x="1139" y="1571"/>
                  <a:pt x="1141" y="1569"/>
                </a:cubicBezTo>
                <a:cubicBezTo>
                  <a:pt x="1143" y="1567"/>
                  <a:pt x="1142" y="1564"/>
                  <a:pt x="1140" y="1563"/>
                </a:cubicBezTo>
                <a:cubicBezTo>
                  <a:pt x="1138" y="1562"/>
                  <a:pt x="1137" y="1562"/>
                  <a:pt x="1135" y="1562"/>
                </a:cubicBezTo>
                <a:cubicBezTo>
                  <a:pt x="1131" y="1563"/>
                  <a:pt x="1128" y="1564"/>
                  <a:pt x="1125" y="1567"/>
                </a:cubicBezTo>
                <a:cubicBezTo>
                  <a:pt x="1121" y="1571"/>
                  <a:pt x="1117" y="1573"/>
                  <a:pt x="1112" y="1575"/>
                </a:cubicBezTo>
                <a:cubicBezTo>
                  <a:pt x="1107" y="1576"/>
                  <a:pt x="1101" y="1576"/>
                  <a:pt x="1097" y="1580"/>
                </a:cubicBezTo>
                <a:cubicBezTo>
                  <a:pt x="1096" y="1580"/>
                  <a:pt x="1095" y="1580"/>
                  <a:pt x="1094" y="1580"/>
                </a:cubicBezTo>
                <a:cubicBezTo>
                  <a:pt x="1090" y="1580"/>
                  <a:pt x="1087" y="1581"/>
                  <a:pt x="1085" y="1584"/>
                </a:cubicBezTo>
                <a:cubicBezTo>
                  <a:pt x="1082" y="1587"/>
                  <a:pt x="1079" y="1591"/>
                  <a:pt x="1079" y="1595"/>
                </a:cubicBezTo>
                <a:cubicBezTo>
                  <a:pt x="1078" y="1599"/>
                  <a:pt x="1077" y="1602"/>
                  <a:pt x="1073" y="1604"/>
                </a:cubicBezTo>
                <a:cubicBezTo>
                  <a:pt x="1070" y="1607"/>
                  <a:pt x="1067" y="1609"/>
                  <a:pt x="1064" y="1612"/>
                </a:cubicBezTo>
                <a:cubicBezTo>
                  <a:pt x="1063" y="1613"/>
                  <a:pt x="1063" y="1616"/>
                  <a:pt x="1062" y="1618"/>
                </a:cubicBezTo>
                <a:cubicBezTo>
                  <a:pt x="1062" y="1618"/>
                  <a:pt x="1063" y="1618"/>
                  <a:pt x="1063" y="1618"/>
                </a:cubicBezTo>
                <a:cubicBezTo>
                  <a:pt x="1063" y="1619"/>
                  <a:pt x="1063" y="1619"/>
                  <a:pt x="1063" y="1619"/>
                </a:cubicBezTo>
                <a:cubicBezTo>
                  <a:pt x="1062" y="1618"/>
                  <a:pt x="1062" y="1618"/>
                  <a:pt x="1062" y="1618"/>
                </a:cubicBezTo>
                <a:cubicBezTo>
                  <a:pt x="1062" y="1618"/>
                  <a:pt x="1062" y="1618"/>
                  <a:pt x="1062" y="1618"/>
                </a:cubicBezTo>
                <a:cubicBezTo>
                  <a:pt x="1061" y="1617"/>
                  <a:pt x="1060" y="1617"/>
                  <a:pt x="1060" y="1617"/>
                </a:cubicBezTo>
                <a:cubicBezTo>
                  <a:pt x="1057" y="1614"/>
                  <a:pt x="1054" y="1612"/>
                  <a:pt x="1051" y="1609"/>
                </a:cubicBezTo>
                <a:cubicBezTo>
                  <a:pt x="1048" y="1605"/>
                  <a:pt x="1043" y="1603"/>
                  <a:pt x="1038" y="1602"/>
                </a:cubicBezTo>
                <a:cubicBezTo>
                  <a:pt x="1032" y="1601"/>
                  <a:pt x="1025" y="1601"/>
                  <a:pt x="1019" y="1604"/>
                </a:cubicBezTo>
                <a:cubicBezTo>
                  <a:pt x="1017" y="1605"/>
                  <a:pt x="1015" y="1606"/>
                  <a:pt x="1013" y="1607"/>
                </a:cubicBezTo>
                <a:cubicBezTo>
                  <a:pt x="1009" y="1610"/>
                  <a:pt x="1004" y="1612"/>
                  <a:pt x="999" y="1608"/>
                </a:cubicBezTo>
                <a:cubicBezTo>
                  <a:pt x="990" y="1608"/>
                  <a:pt x="985" y="1602"/>
                  <a:pt x="980" y="1595"/>
                </a:cubicBezTo>
                <a:cubicBezTo>
                  <a:pt x="977" y="1591"/>
                  <a:pt x="974" y="1587"/>
                  <a:pt x="972" y="1582"/>
                </a:cubicBezTo>
                <a:cubicBezTo>
                  <a:pt x="971" y="1581"/>
                  <a:pt x="971" y="1579"/>
                  <a:pt x="971" y="1578"/>
                </a:cubicBezTo>
                <a:cubicBezTo>
                  <a:pt x="971" y="1572"/>
                  <a:pt x="971" y="1567"/>
                  <a:pt x="974" y="1562"/>
                </a:cubicBezTo>
                <a:cubicBezTo>
                  <a:pt x="975" y="1560"/>
                  <a:pt x="976" y="1558"/>
                  <a:pt x="976" y="1556"/>
                </a:cubicBezTo>
                <a:cubicBezTo>
                  <a:pt x="976" y="1550"/>
                  <a:pt x="978" y="1545"/>
                  <a:pt x="979" y="1540"/>
                </a:cubicBezTo>
                <a:cubicBezTo>
                  <a:pt x="981" y="1535"/>
                  <a:pt x="980" y="1529"/>
                  <a:pt x="981" y="1524"/>
                </a:cubicBezTo>
                <a:cubicBezTo>
                  <a:pt x="981" y="1523"/>
                  <a:pt x="980" y="1522"/>
                  <a:pt x="979" y="1521"/>
                </a:cubicBezTo>
                <a:cubicBezTo>
                  <a:pt x="977" y="1520"/>
                  <a:pt x="975" y="1520"/>
                  <a:pt x="973" y="1519"/>
                </a:cubicBezTo>
                <a:cubicBezTo>
                  <a:pt x="973" y="1519"/>
                  <a:pt x="973" y="1519"/>
                  <a:pt x="973" y="1519"/>
                </a:cubicBezTo>
                <a:cubicBezTo>
                  <a:pt x="973" y="1519"/>
                  <a:pt x="973" y="1519"/>
                  <a:pt x="973" y="1519"/>
                </a:cubicBezTo>
                <a:cubicBezTo>
                  <a:pt x="972" y="1520"/>
                  <a:pt x="972" y="1520"/>
                  <a:pt x="972" y="1520"/>
                </a:cubicBezTo>
                <a:cubicBezTo>
                  <a:pt x="973" y="1519"/>
                  <a:pt x="973" y="1519"/>
                  <a:pt x="973" y="1519"/>
                </a:cubicBezTo>
                <a:cubicBezTo>
                  <a:pt x="969" y="1516"/>
                  <a:pt x="965" y="1513"/>
                  <a:pt x="960" y="1513"/>
                </a:cubicBezTo>
                <a:cubicBezTo>
                  <a:pt x="955" y="1513"/>
                  <a:pt x="950" y="1512"/>
                  <a:pt x="946" y="1511"/>
                </a:cubicBezTo>
                <a:cubicBezTo>
                  <a:pt x="940" y="1510"/>
                  <a:pt x="935" y="1513"/>
                  <a:pt x="929" y="1513"/>
                </a:cubicBezTo>
                <a:cubicBezTo>
                  <a:pt x="925" y="1512"/>
                  <a:pt x="921" y="1513"/>
                  <a:pt x="916" y="1513"/>
                </a:cubicBezTo>
                <a:cubicBezTo>
                  <a:pt x="914" y="1513"/>
                  <a:pt x="911" y="1513"/>
                  <a:pt x="908" y="1512"/>
                </a:cubicBezTo>
                <a:cubicBezTo>
                  <a:pt x="907" y="1512"/>
                  <a:pt x="906" y="1510"/>
                  <a:pt x="907" y="1510"/>
                </a:cubicBezTo>
                <a:cubicBezTo>
                  <a:pt x="912" y="1505"/>
                  <a:pt x="914" y="1499"/>
                  <a:pt x="914" y="1492"/>
                </a:cubicBezTo>
                <a:cubicBezTo>
                  <a:pt x="914" y="1489"/>
                  <a:pt x="914" y="1485"/>
                  <a:pt x="915" y="1482"/>
                </a:cubicBezTo>
                <a:cubicBezTo>
                  <a:pt x="915" y="1480"/>
                  <a:pt x="916" y="1479"/>
                  <a:pt x="918" y="1479"/>
                </a:cubicBezTo>
                <a:cubicBezTo>
                  <a:pt x="922" y="1479"/>
                  <a:pt x="924" y="1476"/>
                  <a:pt x="924" y="1473"/>
                </a:cubicBezTo>
                <a:cubicBezTo>
                  <a:pt x="925" y="1469"/>
                  <a:pt x="926" y="1465"/>
                  <a:pt x="926" y="1461"/>
                </a:cubicBezTo>
                <a:cubicBezTo>
                  <a:pt x="926" y="1456"/>
                  <a:pt x="927" y="1452"/>
                  <a:pt x="931" y="1448"/>
                </a:cubicBezTo>
                <a:cubicBezTo>
                  <a:pt x="933" y="1446"/>
                  <a:pt x="935" y="1443"/>
                  <a:pt x="937" y="1440"/>
                </a:cubicBezTo>
                <a:cubicBezTo>
                  <a:pt x="938" y="1439"/>
                  <a:pt x="938" y="1437"/>
                  <a:pt x="939" y="1436"/>
                </a:cubicBezTo>
                <a:cubicBezTo>
                  <a:pt x="939" y="1433"/>
                  <a:pt x="937" y="1428"/>
                  <a:pt x="934" y="1428"/>
                </a:cubicBezTo>
                <a:cubicBezTo>
                  <a:pt x="927" y="1428"/>
                  <a:pt x="920" y="1427"/>
                  <a:pt x="914" y="1430"/>
                </a:cubicBezTo>
                <a:cubicBezTo>
                  <a:pt x="909" y="1432"/>
                  <a:pt x="903" y="1433"/>
                  <a:pt x="898" y="1433"/>
                </a:cubicBezTo>
                <a:cubicBezTo>
                  <a:pt x="893" y="1433"/>
                  <a:pt x="890" y="1436"/>
                  <a:pt x="888" y="1440"/>
                </a:cubicBezTo>
                <a:cubicBezTo>
                  <a:pt x="887" y="1442"/>
                  <a:pt x="886" y="1445"/>
                  <a:pt x="885" y="1448"/>
                </a:cubicBezTo>
                <a:cubicBezTo>
                  <a:pt x="883" y="1456"/>
                  <a:pt x="880" y="1463"/>
                  <a:pt x="873" y="1469"/>
                </a:cubicBezTo>
                <a:cubicBezTo>
                  <a:pt x="871" y="1475"/>
                  <a:pt x="867" y="1475"/>
                  <a:pt x="862" y="1473"/>
                </a:cubicBezTo>
                <a:cubicBezTo>
                  <a:pt x="859" y="1472"/>
                  <a:pt x="856" y="1473"/>
                  <a:pt x="854" y="1473"/>
                </a:cubicBezTo>
                <a:cubicBezTo>
                  <a:pt x="848" y="1475"/>
                  <a:pt x="843" y="1477"/>
                  <a:pt x="838" y="1478"/>
                </a:cubicBezTo>
                <a:cubicBezTo>
                  <a:pt x="834" y="1479"/>
                  <a:pt x="829" y="1479"/>
                  <a:pt x="826" y="1475"/>
                </a:cubicBezTo>
                <a:cubicBezTo>
                  <a:pt x="823" y="1472"/>
                  <a:pt x="820" y="1471"/>
                  <a:pt x="816" y="1469"/>
                </a:cubicBezTo>
                <a:cubicBezTo>
                  <a:pt x="812" y="1468"/>
                  <a:pt x="809" y="1465"/>
                  <a:pt x="807" y="1460"/>
                </a:cubicBezTo>
                <a:cubicBezTo>
                  <a:pt x="805" y="1455"/>
                  <a:pt x="802" y="1450"/>
                  <a:pt x="798" y="1445"/>
                </a:cubicBezTo>
                <a:cubicBezTo>
                  <a:pt x="796" y="1443"/>
                  <a:pt x="795" y="1440"/>
                  <a:pt x="794" y="1438"/>
                </a:cubicBezTo>
                <a:cubicBezTo>
                  <a:pt x="794" y="1433"/>
                  <a:pt x="793" y="1428"/>
                  <a:pt x="792" y="1423"/>
                </a:cubicBezTo>
                <a:cubicBezTo>
                  <a:pt x="791" y="1420"/>
                  <a:pt x="791" y="1416"/>
                  <a:pt x="791" y="1413"/>
                </a:cubicBezTo>
                <a:cubicBezTo>
                  <a:pt x="792" y="1402"/>
                  <a:pt x="793" y="1390"/>
                  <a:pt x="796" y="1379"/>
                </a:cubicBezTo>
                <a:cubicBezTo>
                  <a:pt x="796" y="1377"/>
                  <a:pt x="797" y="1374"/>
                  <a:pt x="798" y="1373"/>
                </a:cubicBezTo>
                <a:cubicBezTo>
                  <a:pt x="802" y="1368"/>
                  <a:pt x="803" y="1363"/>
                  <a:pt x="802" y="1358"/>
                </a:cubicBezTo>
                <a:cubicBezTo>
                  <a:pt x="801" y="1350"/>
                  <a:pt x="803" y="1342"/>
                  <a:pt x="806" y="1335"/>
                </a:cubicBezTo>
                <a:cubicBezTo>
                  <a:pt x="808" y="1328"/>
                  <a:pt x="812" y="1323"/>
                  <a:pt x="819" y="1321"/>
                </a:cubicBezTo>
                <a:cubicBezTo>
                  <a:pt x="827" y="1320"/>
                  <a:pt x="834" y="1317"/>
                  <a:pt x="839" y="1312"/>
                </a:cubicBezTo>
                <a:cubicBezTo>
                  <a:pt x="844" y="1308"/>
                  <a:pt x="849" y="1307"/>
                  <a:pt x="854" y="1305"/>
                </a:cubicBezTo>
                <a:cubicBezTo>
                  <a:pt x="858" y="1304"/>
                  <a:pt x="863" y="1305"/>
                  <a:pt x="867" y="1306"/>
                </a:cubicBezTo>
                <a:cubicBezTo>
                  <a:pt x="870" y="1307"/>
                  <a:pt x="873" y="1308"/>
                  <a:pt x="877" y="1307"/>
                </a:cubicBezTo>
                <a:cubicBezTo>
                  <a:pt x="880" y="1305"/>
                  <a:pt x="883" y="1306"/>
                  <a:pt x="885" y="1309"/>
                </a:cubicBezTo>
                <a:cubicBezTo>
                  <a:pt x="889" y="1315"/>
                  <a:pt x="895" y="1315"/>
                  <a:pt x="901" y="1314"/>
                </a:cubicBezTo>
                <a:cubicBezTo>
                  <a:pt x="904" y="1313"/>
                  <a:pt x="907" y="1312"/>
                  <a:pt x="910" y="1311"/>
                </a:cubicBezTo>
                <a:cubicBezTo>
                  <a:pt x="911" y="1307"/>
                  <a:pt x="912" y="1304"/>
                  <a:pt x="912" y="1301"/>
                </a:cubicBezTo>
                <a:cubicBezTo>
                  <a:pt x="913" y="1298"/>
                  <a:pt x="915" y="1297"/>
                  <a:pt x="917" y="1296"/>
                </a:cubicBezTo>
                <a:cubicBezTo>
                  <a:pt x="919" y="1295"/>
                  <a:pt x="922" y="1295"/>
                  <a:pt x="924" y="1295"/>
                </a:cubicBezTo>
                <a:cubicBezTo>
                  <a:pt x="932" y="1293"/>
                  <a:pt x="939" y="1295"/>
                  <a:pt x="947" y="1295"/>
                </a:cubicBezTo>
                <a:cubicBezTo>
                  <a:pt x="956" y="1294"/>
                  <a:pt x="963" y="1296"/>
                  <a:pt x="969" y="1303"/>
                </a:cubicBezTo>
                <a:cubicBezTo>
                  <a:pt x="971" y="1305"/>
                  <a:pt x="974" y="1305"/>
                  <a:pt x="977" y="1304"/>
                </a:cubicBezTo>
                <a:cubicBezTo>
                  <a:pt x="979" y="1303"/>
                  <a:pt x="981" y="1302"/>
                  <a:pt x="983" y="1301"/>
                </a:cubicBezTo>
                <a:cubicBezTo>
                  <a:pt x="985" y="1301"/>
                  <a:pt x="988" y="1301"/>
                  <a:pt x="989" y="1303"/>
                </a:cubicBezTo>
                <a:cubicBezTo>
                  <a:pt x="993" y="1307"/>
                  <a:pt x="996" y="1312"/>
                  <a:pt x="999" y="1316"/>
                </a:cubicBezTo>
                <a:cubicBezTo>
                  <a:pt x="1001" y="1318"/>
                  <a:pt x="1001" y="1321"/>
                  <a:pt x="1000" y="1324"/>
                </a:cubicBezTo>
                <a:cubicBezTo>
                  <a:pt x="1000" y="1325"/>
                  <a:pt x="999" y="1327"/>
                  <a:pt x="999" y="1328"/>
                </a:cubicBezTo>
                <a:cubicBezTo>
                  <a:pt x="997" y="1332"/>
                  <a:pt x="997" y="1335"/>
                  <a:pt x="1000" y="1338"/>
                </a:cubicBezTo>
                <a:cubicBezTo>
                  <a:pt x="1002" y="1347"/>
                  <a:pt x="1007" y="1355"/>
                  <a:pt x="1011" y="1363"/>
                </a:cubicBezTo>
                <a:cubicBezTo>
                  <a:pt x="1012" y="1367"/>
                  <a:pt x="1015" y="1370"/>
                  <a:pt x="1018" y="1374"/>
                </a:cubicBezTo>
                <a:cubicBezTo>
                  <a:pt x="1021" y="1377"/>
                  <a:pt x="1026" y="1376"/>
                  <a:pt x="1028" y="1373"/>
                </a:cubicBezTo>
                <a:cubicBezTo>
                  <a:pt x="1032" y="1366"/>
                  <a:pt x="1035" y="1359"/>
                  <a:pt x="1036" y="1351"/>
                </a:cubicBezTo>
                <a:cubicBezTo>
                  <a:pt x="1036" y="1350"/>
                  <a:pt x="1036" y="1349"/>
                  <a:pt x="1035" y="1348"/>
                </a:cubicBezTo>
                <a:cubicBezTo>
                  <a:pt x="1034" y="1344"/>
                  <a:pt x="1032" y="1339"/>
                  <a:pt x="1031" y="1335"/>
                </a:cubicBezTo>
                <a:cubicBezTo>
                  <a:pt x="1030" y="1331"/>
                  <a:pt x="1030" y="1327"/>
                  <a:pt x="1030" y="1322"/>
                </a:cubicBezTo>
                <a:cubicBezTo>
                  <a:pt x="1030" y="1322"/>
                  <a:pt x="1030" y="1321"/>
                  <a:pt x="1029" y="1321"/>
                </a:cubicBezTo>
                <a:cubicBezTo>
                  <a:pt x="1024" y="1308"/>
                  <a:pt x="1025" y="1295"/>
                  <a:pt x="1026" y="1282"/>
                </a:cubicBezTo>
                <a:cubicBezTo>
                  <a:pt x="1026" y="1279"/>
                  <a:pt x="1027" y="1277"/>
                  <a:pt x="1028" y="1275"/>
                </a:cubicBezTo>
                <a:cubicBezTo>
                  <a:pt x="1034" y="1269"/>
                  <a:pt x="1040" y="1262"/>
                  <a:pt x="1049" y="1259"/>
                </a:cubicBezTo>
                <a:cubicBezTo>
                  <a:pt x="1050" y="1259"/>
                  <a:pt x="1051" y="1259"/>
                  <a:pt x="1052" y="1258"/>
                </a:cubicBezTo>
                <a:cubicBezTo>
                  <a:pt x="1055" y="1257"/>
                  <a:pt x="1058" y="1255"/>
                  <a:pt x="1060" y="1253"/>
                </a:cubicBezTo>
                <a:cubicBezTo>
                  <a:pt x="1062" y="1250"/>
                  <a:pt x="1063" y="1248"/>
                  <a:pt x="1065" y="1246"/>
                </a:cubicBezTo>
                <a:cubicBezTo>
                  <a:pt x="1066" y="1244"/>
                  <a:pt x="1068" y="1243"/>
                  <a:pt x="1070" y="1242"/>
                </a:cubicBezTo>
                <a:cubicBezTo>
                  <a:pt x="1074" y="1241"/>
                  <a:pt x="1077" y="1239"/>
                  <a:pt x="1080" y="1236"/>
                </a:cubicBezTo>
                <a:cubicBezTo>
                  <a:pt x="1084" y="1232"/>
                  <a:pt x="1089" y="1229"/>
                  <a:pt x="1095" y="1227"/>
                </a:cubicBezTo>
                <a:cubicBezTo>
                  <a:pt x="1098" y="1227"/>
                  <a:pt x="1100" y="1225"/>
                  <a:pt x="1100" y="1221"/>
                </a:cubicBezTo>
                <a:cubicBezTo>
                  <a:pt x="1100" y="1219"/>
                  <a:pt x="1102" y="1219"/>
                  <a:pt x="1103" y="1218"/>
                </a:cubicBezTo>
                <a:cubicBezTo>
                  <a:pt x="1105" y="1217"/>
                  <a:pt x="1107" y="1216"/>
                  <a:pt x="1108" y="1214"/>
                </a:cubicBezTo>
                <a:cubicBezTo>
                  <a:pt x="1109" y="1213"/>
                  <a:pt x="1110" y="1211"/>
                  <a:pt x="1109" y="1210"/>
                </a:cubicBezTo>
                <a:cubicBezTo>
                  <a:pt x="1108" y="1207"/>
                  <a:pt x="1107" y="1205"/>
                  <a:pt x="1108" y="1202"/>
                </a:cubicBezTo>
                <a:cubicBezTo>
                  <a:pt x="1110" y="1198"/>
                  <a:pt x="1111" y="1194"/>
                  <a:pt x="1108" y="1190"/>
                </a:cubicBezTo>
                <a:cubicBezTo>
                  <a:pt x="1107" y="1188"/>
                  <a:pt x="1107" y="1186"/>
                  <a:pt x="1107" y="1185"/>
                </a:cubicBezTo>
                <a:cubicBezTo>
                  <a:pt x="1107" y="1180"/>
                  <a:pt x="1108" y="1175"/>
                  <a:pt x="1108" y="1170"/>
                </a:cubicBezTo>
                <a:cubicBezTo>
                  <a:pt x="1108" y="1170"/>
                  <a:pt x="1109" y="1170"/>
                  <a:pt x="1109" y="1170"/>
                </a:cubicBezTo>
                <a:cubicBezTo>
                  <a:pt x="1110" y="1170"/>
                  <a:pt x="1110" y="1170"/>
                  <a:pt x="1111" y="1170"/>
                </a:cubicBezTo>
                <a:cubicBezTo>
                  <a:pt x="1113" y="1172"/>
                  <a:pt x="1113" y="1175"/>
                  <a:pt x="1113" y="1178"/>
                </a:cubicBezTo>
                <a:cubicBezTo>
                  <a:pt x="1113" y="1179"/>
                  <a:pt x="1114" y="1179"/>
                  <a:pt x="1115" y="1180"/>
                </a:cubicBezTo>
                <a:cubicBezTo>
                  <a:pt x="1115" y="1180"/>
                  <a:pt x="1116" y="1180"/>
                  <a:pt x="1116" y="1179"/>
                </a:cubicBezTo>
                <a:cubicBezTo>
                  <a:pt x="1119" y="1175"/>
                  <a:pt x="1122" y="1171"/>
                  <a:pt x="1124" y="1167"/>
                </a:cubicBezTo>
                <a:cubicBezTo>
                  <a:pt x="1125" y="1165"/>
                  <a:pt x="1126" y="1163"/>
                  <a:pt x="1126" y="1161"/>
                </a:cubicBezTo>
                <a:cubicBezTo>
                  <a:pt x="1126" y="1159"/>
                  <a:pt x="1126" y="1158"/>
                  <a:pt x="1126" y="1156"/>
                </a:cubicBezTo>
                <a:cubicBezTo>
                  <a:pt x="1126" y="1155"/>
                  <a:pt x="1127" y="1154"/>
                  <a:pt x="1128" y="1154"/>
                </a:cubicBezTo>
                <a:cubicBezTo>
                  <a:pt x="1131" y="1154"/>
                  <a:pt x="1133" y="1152"/>
                  <a:pt x="1135" y="1150"/>
                </a:cubicBezTo>
                <a:cubicBezTo>
                  <a:pt x="1140" y="1146"/>
                  <a:pt x="1144" y="1140"/>
                  <a:pt x="1145" y="1133"/>
                </a:cubicBezTo>
                <a:cubicBezTo>
                  <a:pt x="1146" y="1128"/>
                  <a:pt x="1149" y="1126"/>
                  <a:pt x="1154" y="1126"/>
                </a:cubicBezTo>
                <a:cubicBezTo>
                  <a:pt x="1157" y="1126"/>
                  <a:pt x="1160" y="1125"/>
                  <a:pt x="1164" y="1124"/>
                </a:cubicBezTo>
                <a:cubicBezTo>
                  <a:pt x="1165" y="1124"/>
                  <a:pt x="1167" y="1123"/>
                  <a:pt x="1168" y="1122"/>
                </a:cubicBezTo>
                <a:cubicBezTo>
                  <a:pt x="1168" y="1122"/>
                  <a:pt x="1169" y="1121"/>
                  <a:pt x="1169" y="1121"/>
                </a:cubicBezTo>
                <a:cubicBezTo>
                  <a:pt x="1169" y="1120"/>
                  <a:pt x="1168" y="1120"/>
                  <a:pt x="1168" y="1119"/>
                </a:cubicBezTo>
                <a:cubicBezTo>
                  <a:pt x="1167" y="1119"/>
                  <a:pt x="1166" y="1119"/>
                  <a:pt x="1165" y="1119"/>
                </a:cubicBezTo>
                <a:cubicBezTo>
                  <a:pt x="1163" y="1118"/>
                  <a:pt x="1163" y="1118"/>
                  <a:pt x="1163" y="1117"/>
                </a:cubicBezTo>
                <a:cubicBezTo>
                  <a:pt x="1163" y="1117"/>
                  <a:pt x="1164" y="1117"/>
                  <a:pt x="1165" y="1116"/>
                </a:cubicBezTo>
                <a:cubicBezTo>
                  <a:pt x="1165" y="1116"/>
                  <a:pt x="1166" y="1116"/>
                  <a:pt x="1166" y="1116"/>
                </a:cubicBezTo>
                <a:cubicBezTo>
                  <a:pt x="1176" y="1118"/>
                  <a:pt x="1184" y="1113"/>
                  <a:pt x="1194" y="1113"/>
                </a:cubicBezTo>
                <a:cubicBezTo>
                  <a:pt x="1195" y="1113"/>
                  <a:pt x="1197" y="1112"/>
                  <a:pt x="1198" y="1111"/>
                </a:cubicBezTo>
                <a:cubicBezTo>
                  <a:pt x="1201" y="1108"/>
                  <a:pt x="1201" y="1107"/>
                  <a:pt x="1197" y="1104"/>
                </a:cubicBezTo>
                <a:cubicBezTo>
                  <a:pt x="1194" y="1102"/>
                  <a:pt x="1192" y="1099"/>
                  <a:pt x="1193" y="1096"/>
                </a:cubicBezTo>
                <a:cubicBezTo>
                  <a:pt x="1194" y="1092"/>
                  <a:pt x="1195" y="1089"/>
                  <a:pt x="1197" y="1085"/>
                </a:cubicBezTo>
                <a:cubicBezTo>
                  <a:pt x="1200" y="1079"/>
                  <a:pt x="1204" y="1074"/>
                  <a:pt x="1211" y="1071"/>
                </a:cubicBezTo>
                <a:cubicBezTo>
                  <a:pt x="1214" y="1070"/>
                  <a:pt x="1218" y="1069"/>
                  <a:pt x="1221" y="1066"/>
                </a:cubicBezTo>
                <a:cubicBezTo>
                  <a:pt x="1223" y="1064"/>
                  <a:pt x="1225" y="1063"/>
                  <a:pt x="1228" y="1063"/>
                </a:cubicBezTo>
                <a:cubicBezTo>
                  <a:pt x="1236" y="1064"/>
                  <a:pt x="1242" y="1060"/>
                  <a:pt x="1249" y="1059"/>
                </a:cubicBezTo>
                <a:cubicBezTo>
                  <a:pt x="1252" y="1059"/>
                  <a:pt x="1252" y="1056"/>
                  <a:pt x="1253" y="1054"/>
                </a:cubicBezTo>
                <a:cubicBezTo>
                  <a:pt x="1253" y="1053"/>
                  <a:pt x="1255" y="1052"/>
                  <a:pt x="1256" y="1051"/>
                </a:cubicBezTo>
                <a:cubicBezTo>
                  <a:pt x="1262" y="1050"/>
                  <a:pt x="1267" y="1049"/>
                  <a:pt x="1272" y="1048"/>
                </a:cubicBezTo>
                <a:cubicBezTo>
                  <a:pt x="1273" y="1048"/>
                  <a:pt x="1274" y="1048"/>
                  <a:pt x="1274" y="1048"/>
                </a:cubicBezTo>
                <a:cubicBezTo>
                  <a:pt x="1273" y="1049"/>
                  <a:pt x="1273" y="1050"/>
                  <a:pt x="1273" y="1051"/>
                </a:cubicBezTo>
                <a:cubicBezTo>
                  <a:pt x="1271" y="1052"/>
                  <a:pt x="1269" y="1052"/>
                  <a:pt x="1267" y="1053"/>
                </a:cubicBezTo>
                <a:cubicBezTo>
                  <a:pt x="1262" y="1056"/>
                  <a:pt x="1258" y="1059"/>
                  <a:pt x="1257" y="1064"/>
                </a:cubicBezTo>
                <a:cubicBezTo>
                  <a:pt x="1256" y="1066"/>
                  <a:pt x="1255" y="1068"/>
                  <a:pt x="1256" y="1070"/>
                </a:cubicBezTo>
                <a:cubicBezTo>
                  <a:pt x="1256" y="1074"/>
                  <a:pt x="1258" y="1076"/>
                  <a:pt x="1261" y="1078"/>
                </a:cubicBezTo>
                <a:cubicBezTo>
                  <a:pt x="1262" y="1078"/>
                  <a:pt x="1264" y="1079"/>
                  <a:pt x="1265" y="1078"/>
                </a:cubicBezTo>
                <a:cubicBezTo>
                  <a:pt x="1271" y="1076"/>
                  <a:pt x="1277" y="1072"/>
                  <a:pt x="1282" y="1066"/>
                </a:cubicBezTo>
                <a:cubicBezTo>
                  <a:pt x="1284" y="1062"/>
                  <a:pt x="1287" y="1061"/>
                  <a:pt x="1291" y="1062"/>
                </a:cubicBezTo>
                <a:cubicBezTo>
                  <a:pt x="1300" y="1059"/>
                  <a:pt x="1308" y="1056"/>
                  <a:pt x="1316" y="1054"/>
                </a:cubicBezTo>
                <a:cubicBezTo>
                  <a:pt x="1319" y="1053"/>
                  <a:pt x="1322" y="1052"/>
                  <a:pt x="1324" y="1051"/>
                </a:cubicBezTo>
                <a:cubicBezTo>
                  <a:pt x="1325" y="1045"/>
                  <a:pt x="1331" y="1047"/>
                  <a:pt x="1335" y="1045"/>
                </a:cubicBezTo>
                <a:cubicBezTo>
                  <a:pt x="1336" y="1044"/>
                  <a:pt x="1338" y="1043"/>
                  <a:pt x="1339" y="1043"/>
                </a:cubicBezTo>
                <a:cubicBezTo>
                  <a:pt x="1340" y="1042"/>
                  <a:pt x="1341" y="1041"/>
                  <a:pt x="1342" y="1041"/>
                </a:cubicBezTo>
                <a:cubicBezTo>
                  <a:pt x="1343" y="1040"/>
                  <a:pt x="1344" y="1037"/>
                  <a:pt x="1343" y="1036"/>
                </a:cubicBezTo>
                <a:cubicBezTo>
                  <a:pt x="1339" y="1033"/>
                  <a:pt x="1337" y="1030"/>
                  <a:pt x="1339" y="1025"/>
                </a:cubicBezTo>
                <a:cubicBezTo>
                  <a:pt x="1339" y="1025"/>
                  <a:pt x="1338" y="1024"/>
                  <a:pt x="1338" y="1024"/>
                </a:cubicBezTo>
                <a:cubicBezTo>
                  <a:pt x="1338" y="1022"/>
                  <a:pt x="1335" y="1021"/>
                  <a:pt x="1334" y="1022"/>
                </a:cubicBezTo>
                <a:cubicBezTo>
                  <a:pt x="1329" y="1027"/>
                  <a:pt x="1324" y="1033"/>
                  <a:pt x="1320" y="1038"/>
                </a:cubicBezTo>
                <a:cubicBezTo>
                  <a:pt x="1319" y="1041"/>
                  <a:pt x="1317" y="1041"/>
                  <a:pt x="1315" y="1041"/>
                </a:cubicBezTo>
                <a:cubicBezTo>
                  <a:pt x="1314" y="1040"/>
                  <a:pt x="1312" y="1040"/>
                  <a:pt x="1310" y="1040"/>
                </a:cubicBezTo>
                <a:cubicBezTo>
                  <a:pt x="1310" y="1041"/>
                  <a:pt x="1309" y="1042"/>
                  <a:pt x="1307" y="1041"/>
                </a:cubicBezTo>
                <a:cubicBezTo>
                  <a:pt x="1306" y="1041"/>
                  <a:pt x="1305" y="1040"/>
                  <a:pt x="1304" y="1040"/>
                </a:cubicBezTo>
                <a:cubicBezTo>
                  <a:pt x="1302" y="1039"/>
                  <a:pt x="1301" y="1039"/>
                  <a:pt x="1299" y="1039"/>
                </a:cubicBezTo>
                <a:cubicBezTo>
                  <a:pt x="1295" y="1039"/>
                  <a:pt x="1294" y="1036"/>
                  <a:pt x="1294" y="1033"/>
                </a:cubicBezTo>
                <a:cubicBezTo>
                  <a:pt x="1288" y="1032"/>
                  <a:pt x="1285" y="1029"/>
                  <a:pt x="1284" y="1023"/>
                </a:cubicBezTo>
                <a:cubicBezTo>
                  <a:pt x="1283" y="1017"/>
                  <a:pt x="1283" y="1012"/>
                  <a:pt x="1285" y="1007"/>
                </a:cubicBezTo>
                <a:cubicBezTo>
                  <a:pt x="1286" y="1005"/>
                  <a:pt x="1285" y="1003"/>
                  <a:pt x="1282" y="1002"/>
                </a:cubicBezTo>
                <a:cubicBezTo>
                  <a:pt x="1281" y="1002"/>
                  <a:pt x="1280" y="1002"/>
                  <a:pt x="1279" y="1002"/>
                </a:cubicBezTo>
                <a:cubicBezTo>
                  <a:pt x="1279" y="1002"/>
                  <a:pt x="1278" y="1002"/>
                  <a:pt x="1278" y="1001"/>
                </a:cubicBezTo>
                <a:cubicBezTo>
                  <a:pt x="1279" y="1001"/>
                  <a:pt x="1280" y="1001"/>
                  <a:pt x="1281" y="1000"/>
                </a:cubicBezTo>
                <a:cubicBezTo>
                  <a:pt x="1285" y="999"/>
                  <a:pt x="1288" y="997"/>
                  <a:pt x="1292" y="994"/>
                </a:cubicBezTo>
                <a:cubicBezTo>
                  <a:pt x="1294" y="992"/>
                  <a:pt x="1294" y="989"/>
                  <a:pt x="1293" y="986"/>
                </a:cubicBezTo>
                <a:cubicBezTo>
                  <a:pt x="1292" y="985"/>
                  <a:pt x="1291" y="982"/>
                  <a:pt x="1289" y="981"/>
                </a:cubicBezTo>
                <a:cubicBezTo>
                  <a:pt x="1285" y="978"/>
                  <a:pt x="1280" y="976"/>
                  <a:pt x="1274" y="977"/>
                </a:cubicBezTo>
                <a:cubicBezTo>
                  <a:pt x="1259" y="981"/>
                  <a:pt x="1244" y="984"/>
                  <a:pt x="1232" y="993"/>
                </a:cubicBezTo>
                <a:cubicBezTo>
                  <a:pt x="1232" y="993"/>
                  <a:pt x="1232" y="993"/>
                  <a:pt x="1232" y="994"/>
                </a:cubicBezTo>
                <a:cubicBezTo>
                  <a:pt x="1231" y="994"/>
                  <a:pt x="1231" y="994"/>
                  <a:pt x="1231" y="994"/>
                </a:cubicBezTo>
                <a:cubicBezTo>
                  <a:pt x="1229" y="996"/>
                  <a:pt x="1227" y="997"/>
                  <a:pt x="1225" y="999"/>
                </a:cubicBezTo>
                <a:cubicBezTo>
                  <a:pt x="1225" y="1000"/>
                  <a:pt x="1225" y="1000"/>
                  <a:pt x="1225" y="1000"/>
                </a:cubicBezTo>
                <a:cubicBezTo>
                  <a:pt x="1223" y="1001"/>
                  <a:pt x="1220" y="1002"/>
                  <a:pt x="1218" y="1003"/>
                </a:cubicBezTo>
                <a:cubicBezTo>
                  <a:pt x="1217" y="1004"/>
                  <a:pt x="1215" y="1005"/>
                  <a:pt x="1214" y="1006"/>
                </a:cubicBezTo>
                <a:cubicBezTo>
                  <a:pt x="1214" y="1007"/>
                  <a:pt x="1214" y="1007"/>
                  <a:pt x="1214" y="1007"/>
                </a:cubicBezTo>
                <a:cubicBezTo>
                  <a:pt x="1214" y="1006"/>
                  <a:pt x="1214" y="1006"/>
                  <a:pt x="1214" y="1006"/>
                </a:cubicBezTo>
                <a:cubicBezTo>
                  <a:pt x="1215" y="1005"/>
                  <a:pt x="1217" y="1004"/>
                  <a:pt x="1218" y="1003"/>
                </a:cubicBezTo>
                <a:cubicBezTo>
                  <a:pt x="1220" y="1002"/>
                  <a:pt x="1222" y="1001"/>
                  <a:pt x="1225" y="1000"/>
                </a:cubicBezTo>
                <a:cubicBezTo>
                  <a:pt x="1225" y="1000"/>
                  <a:pt x="1225" y="1000"/>
                  <a:pt x="1225" y="999"/>
                </a:cubicBezTo>
                <a:cubicBezTo>
                  <a:pt x="1226" y="995"/>
                  <a:pt x="1226" y="994"/>
                  <a:pt x="1231" y="994"/>
                </a:cubicBezTo>
                <a:cubicBezTo>
                  <a:pt x="1231" y="994"/>
                  <a:pt x="1231" y="993"/>
                  <a:pt x="1231" y="993"/>
                </a:cubicBezTo>
                <a:cubicBezTo>
                  <a:pt x="1231" y="993"/>
                  <a:pt x="1232" y="993"/>
                  <a:pt x="1232" y="993"/>
                </a:cubicBezTo>
                <a:cubicBezTo>
                  <a:pt x="1231" y="990"/>
                  <a:pt x="1233" y="988"/>
                  <a:pt x="1235" y="986"/>
                </a:cubicBezTo>
                <a:cubicBezTo>
                  <a:pt x="1240" y="982"/>
                  <a:pt x="1246" y="978"/>
                  <a:pt x="1253" y="976"/>
                </a:cubicBezTo>
                <a:cubicBezTo>
                  <a:pt x="1257" y="975"/>
                  <a:pt x="1261" y="973"/>
                  <a:pt x="1263" y="968"/>
                </a:cubicBezTo>
                <a:cubicBezTo>
                  <a:pt x="1264" y="967"/>
                  <a:pt x="1264" y="966"/>
                  <a:pt x="1265" y="966"/>
                </a:cubicBezTo>
                <a:cubicBezTo>
                  <a:pt x="1268" y="963"/>
                  <a:pt x="1271" y="960"/>
                  <a:pt x="1275" y="957"/>
                </a:cubicBezTo>
                <a:cubicBezTo>
                  <a:pt x="1279" y="955"/>
                  <a:pt x="1283" y="957"/>
                  <a:pt x="1286" y="957"/>
                </a:cubicBezTo>
                <a:cubicBezTo>
                  <a:pt x="1302" y="958"/>
                  <a:pt x="1317" y="960"/>
                  <a:pt x="1332" y="962"/>
                </a:cubicBezTo>
                <a:cubicBezTo>
                  <a:pt x="1339" y="963"/>
                  <a:pt x="1345" y="960"/>
                  <a:pt x="1352" y="961"/>
                </a:cubicBezTo>
                <a:cubicBezTo>
                  <a:pt x="1353" y="961"/>
                  <a:pt x="1355" y="961"/>
                  <a:pt x="1356" y="960"/>
                </a:cubicBezTo>
                <a:cubicBezTo>
                  <a:pt x="1358" y="960"/>
                  <a:pt x="1360" y="959"/>
                  <a:pt x="1361" y="958"/>
                </a:cubicBezTo>
                <a:cubicBezTo>
                  <a:pt x="1365" y="956"/>
                  <a:pt x="1369" y="953"/>
                  <a:pt x="1372" y="949"/>
                </a:cubicBezTo>
                <a:cubicBezTo>
                  <a:pt x="1374" y="945"/>
                  <a:pt x="1378" y="944"/>
                  <a:pt x="1382" y="943"/>
                </a:cubicBezTo>
                <a:cubicBezTo>
                  <a:pt x="1384" y="943"/>
                  <a:pt x="1387" y="942"/>
                  <a:pt x="1390" y="942"/>
                </a:cubicBezTo>
                <a:cubicBezTo>
                  <a:pt x="1398" y="941"/>
                  <a:pt x="1404" y="937"/>
                  <a:pt x="1411" y="933"/>
                </a:cubicBezTo>
                <a:cubicBezTo>
                  <a:pt x="1414" y="930"/>
                  <a:pt x="1416" y="927"/>
                  <a:pt x="1414" y="923"/>
                </a:cubicBezTo>
                <a:cubicBezTo>
                  <a:pt x="1413" y="920"/>
                  <a:pt x="1412" y="918"/>
                  <a:pt x="1414" y="915"/>
                </a:cubicBezTo>
                <a:cubicBezTo>
                  <a:pt x="1415" y="913"/>
                  <a:pt x="1416" y="911"/>
                  <a:pt x="1416" y="909"/>
                </a:cubicBezTo>
                <a:cubicBezTo>
                  <a:pt x="1416" y="907"/>
                  <a:pt x="1416" y="905"/>
                  <a:pt x="1415" y="904"/>
                </a:cubicBezTo>
                <a:cubicBezTo>
                  <a:pt x="1413" y="900"/>
                  <a:pt x="1409" y="896"/>
                  <a:pt x="1404" y="897"/>
                </a:cubicBezTo>
                <a:cubicBezTo>
                  <a:pt x="1404" y="897"/>
                  <a:pt x="1404" y="897"/>
                  <a:pt x="1404" y="897"/>
                </a:cubicBezTo>
                <a:cubicBezTo>
                  <a:pt x="1402" y="898"/>
                  <a:pt x="1402" y="898"/>
                  <a:pt x="1402" y="898"/>
                </a:cubicBezTo>
                <a:cubicBezTo>
                  <a:pt x="1403" y="897"/>
                  <a:pt x="1403" y="897"/>
                  <a:pt x="1403" y="897"/>
                </a:cubicBezTo>
                <a:cubicBezTo>
                  <a:pt x="1403" y="897"/>
                  <a:pt x="1403" y="897"/>
                  <a:pt x="1404" y="897"/>
                </a:cubicBezTo>
                <a:cubicBezTo>
                  <a:pt x="1403" y="896"/>
                  <a:pt x="1403" y="894"/>
                  <a:pt x="1403" y="892"/>
                </a:cubicBezTo>
                <a:cubicBezTo>
                  <a:pt x="1402" y="890"/>
                  <a:pt x="1400" y="888"/>
                  <a:pt x="1397" y="887"/>
                </a:cubicBezTo>
                <a:cubicBezTo>
                  <a:pt x="1396" y="887"/>
                  <a:pt x="1394" y="887"/>
                  <a:pt x="1392" y="887"/>
                </a:cubicBezTo>
                <a:cubicBezTo>
                  <a:pt x="1392" y="887"/>
                  <a:pt x="1391" y="886"/>
                  <a:pt x="1391" y="886"/>
                </a:cubicBezTo>
                <a:cubicBezTo>
                  <a:pt x="1391" y="886"/>
                  <a:pt x="1392" y="885"/>
                  <a:pt x="1393" y="885"/>
                </a:cubicBezTo>
                <a:cubicBezTo>
                  <a:pt x="1394" y="884"/>
                  <a:pt x="1396" y="884"/>
                  <a:pt x="1397" y="883"/>
                </a:cubicBezTo>
                <a:cubicBezTo>
                  <a:pt x="1399" y="882"/>
                  <a:pt x="1400" y="879"/>
                  <a:pt x="1398" y="877"/>
                </a:cubicBezTo>
                <a:cubicBezTo>
                  <a:pt x="1397" y="875"/>
                  <a:pt x="1395" y="873"/>
                  <a:pt x="1392" y="873"/>
                </a:cubicBezTo>
                <a:cubicBezTo>
                  <a:pt x="1391" y="873"/>
                  <a:pt x="1389" y="873"/>
                  <a:pt x="1388" y="873"/>
                </a:cubicBezTo>
                <a:cubicBezTo>
                  <a:pt x="1384" y="868"/>
                  <a:pt x="1379" y="866"/>
                  <a:pt x="1373" y="864"/>
                </a:cubicBezTo>
                <a:cubicBezTo>
                  <a:pt x="1372" y="863"/>
                  <a:pt x="1371" y="862"/>
                  <a:pt x="1371" y="861"/>
                </a:cubicBezTo>
                <a:cubicBezTo>
                  <a:pt x="1370" y="855"/>
                  <a:pt x="1365" y="852"/>
                  <a:pt x="1361" y="848"/>
                </a:cubicBezTo>
                <a:cubicBezTo>
                  <a:pt x="1359" y="846"/>
                  <a:pt x="1358" y="844"/>
                  <a:pt x="1356" y="842"/>
                </a:cubicBezTo>
                <a:cubicBezTo>
                  <a:pt x="1354" y="840"/>
                  <a:pt x="1354" y="838"/>
                  <a:pt x="1356" y="836"/>
                </a:cubicBezTo>
                <a:cubicBezTo>
                  <a:pt x="1358" y="834"/>
                  <a:pt x="1360" y="832"/>
                  <a:pt x="1362" y="830"/>
                </a:cubicBezTo>
                <a:cubicBezTo>
                  <a:pt x="1363" y="828"/>
                  <a:pt x="1364" y="826"/>
                  <a:pt x="1362" y="824"/>
                </a:cubicBezTo>
                <a:cubicBezTo>
                  <a:pt x="1360" y="820"/>
                  <a:pt x="1358" y="817"/>
                  <a:pt x="1359" y="812"/>
                </a:cubicBezTo>
                <a:cubicBezTo>
                  <a:pt x="1359" y="811"/>
                  <a:pt x="1358" y="809"/>
                  <a:pt x="1357" y="808"/>
                </a:cubicBezTo>
                <a:cubicBezTo>
                  <a:pt x="1355" y="806"/>
                  <a:pt x="1356" y="802"/>
                  <a:pt x="1354" y="801"/>
                </a:cubicBezTo>
                <a:cubicBezTo>
                  <a:pt x="1351" y="799"/>
                  <a:pt x="1353" y="797"/>
                  <a:pt x="1353" y="794"/>
                </a:cubicBezTo>
                <a:cubicBezTo>
                  <a:pt x="1352" y="792"/>
                  <a:pt x="1352" y="789"/>
                  <a:pt x="1352" y="786"/>
                </a:cubicBezTo>
                <a:cubicBezTo>
                  <a:pt x="1351" y="783"/>
                  <a:pt x="1351" y="780"/>
                  <a:pt x="1349" y="777"/>
                </a:cubicBezTo>
                <a:cubicBezTo>
                  <a:pt x="1347" y="770"/>
                  <a:pt x="1345" y="762"/>
                  <a:pt x="1344" y="755"/>
                </a:cubicBezTo>
                <a:cubicBezTo>
                  <a:pt x="1344" y="752"/>
                  <a:pt x="1344" y="750"/>
                  <a:pt x="1343" y="748"/>
                </a:cubicBezTo>
                <a:cubicBezTo>
                  <a:pt x="1343" y="747"/>
                  <a:pt x="1342" y="747"/>
                  <a:pt x="1341" y="746"/>
                </a:cubicBezTo>
                <a:cubicBezTo>
                  <a:pt x="1340" y="746"/>
                  <a:pt x="1339" y="747"/>
                  <a:pt x="1339" y="747"/>
                </a:cubicBezTo>
                <a:cubicBezTo>
                  <a:pt x="1335" y="753"/>
                  <a:pt x="1330" y="759"/>
                  <a:pt x="1327" y="766"/>
                </a:cubicBezTo>
                <a:cubicBezTo>
                  <a:pt x="1323" y="773"/>
                  <a:pt x="1319" y="779"/>
                  <a:pt x="1312" y="783"/>
                </a:cubicBezTo>
                <a:cubicBezTo>
                  <a:pt x="1310" y="783"/>
                  <a:pt x="1308" y="785"/>
                  <a:pt x="1306" y="787"/>
                </a:cubicBezTo>
                <a:cubicBezTo>
                  <a:pt x="1304" y="788"/>
                  <a:pt x="1302" y="789"/>
                  <a:pt x="1299" y="790"/>
                </a:cubicBezTo>
                <a:cubicBezTo>
                  <a:pt x="1296" y="791"/>
                  <a:pt x="1294" y="790"/>
                  <a:pt x="1291" y="788"/>
                </a:cubicBezTo>
                <a:cubicBezTo>
                  <a:pt x="1290" y="787"/>
                  <a:pt x="1288" y="785"/>
                  <a:pt x="1288" y="783"/>
                </a:cubicBezTo>
                <a:cubicBezTo>
                  <a:pt x="1287" y="780"/>
                  <a:pt x="1285" y="779"/>
                  <a:pt x="1282" y="777"/>
                </a:cubicBezTo>
                <a:cubicBezTo>
                  <a:pt x="1279" y="775"/>
                  <a:pt x="1278" y="772"/>
                  <a:pt x="1278" y="769"/>
                </a:cubicBezTo>
                <a:cubicBezTo>
                  <a:pt x="1279" y="763"/>
                  <a:pt x="1282" y="758"/>
                  <a:pt x="1280" y="753"/>
                </a:cubicBezTo>
                <a:cubicBezTo>
                  <a:pt x="1279" y="752"/>
                  <a:pt x="1281" y="750"/>
                  <a:pt x="1281" y="748"/>
                </a:cubicBezTo>
                <a:cubicBezTo>
                  <a:pt x="1283" y="743"/>
                  <a:pt x="1285" y="738"/>
                  <a:pt x="1288" y="733"/>
                </a:cubicBezTo>
                <a:cubicBezTo>
                  <a:pt x="1289" y="732"/>
                  <a:pt x="1288" y="729"/>
                  <a:pt x="1286" y="729"/>
                </a:cubicBezTo>
                <a:cubicBezTo>
                  <a:pt x="1282" y="729"/>
                  <a:pt x="1278" y="724"/>
                  <a:pt x="1273" y="724"/>
                </a:cubicBezTo>
                <a:cubicBezTo>
                  <a:pt x="1271" y="724"/>
                  <a:pt x="1269" y="722"/>
                  <a:pt x="1267" y="721"/>
                </a:cubicBezTo>
                <a:cubicBezTo>
                  <a:pt x="1266" y="720"/>
                  <a:pt x="1265" y="719"/>
                  <a:pt x="1265" y="717"/>
                </a:cubicBezTo>
                <a:cubicBezTo>
                  <a:pt x="1265" y="715"/>
                  <a:pt x="1266" y="714"/>
                  <a:pt x="1264" y="712"/>
                </a:cubicBezTo>
                <a:cubicBezTo>
                  <a:pt x="1262" y="709"/>
                  <a:pt x="1259" y="705"/>
                  <a:pt x="1258" y="701"/>
                </a:cubicBezTo>
                <a:cubicBezTo>
                  <a:pt x="1257" y="698"/>
                  <a:pt x="1255" y="696"/>
                  <a:pt x="1253" y="694"/>
                </a:cubicBezTo>
                <a:cubicBezTo>
                  <a:pt x="1251" y="690"/>
                  <a:pt x="1247" y="688"/>
                  <a:pt x="1242" y="690"/>
                </a:cubicBezTo>
                <a:cubicBezTo>
                  <a:pt x="1240" y="691"/>
                  <a:pt x="1238" y="691"/>
                  <a:pt x="1236" y="691"/>
                </a:cubicBezTo>
                <a:cubicBezTo>
                  <a:pt x="1229" y="689"/>
                  <a:pt x="1223" y="689"/>
                  <a:pt x="1217" y="685"/>
                </a:cubicBezTo>
                <a:cubicBezTo>
                  <a:pt x="1215" y="684"/>
                  <a:pt x="1212" y="683"/>
                  <a:pt x="1209" y="682"/>
                </a:cubicBezTo>
                <a:cubicBezTo>
                  <a:pt x="1203" y="680"/>
                  <a:pt x="1196" y="684"/>
                  <a:pt x="1194" y="691"/>
                </a:cubicBezTo>
                <a:cubicBezTo>
                  <a:pt x="1192" y="695"/>
                  <a:pt x="1192" y="698"/>
                  <a:pt x="1194" y="702"/>
                </a:cubicBezTo>
                <a:cubicBezTo>
                  <a:pt x="1195" y="704"/>
                  <a:pt x="1196" y="707"/>
                  <a:pt x="1194" y="709"/>
                </a:cubicBezTo>
                <a:cubicBezTo>
                  <a:pt x="1191" y="713"/>
                  <a:pt x="1188" y="716"/>
                  <a:pt x="1186" y="720"/>
                </a:cubicBezTo>
                <a:cubicBezTo>
                  <a:pt x="1184" y="725"/>
                  <a:pt x="1189" y="729"/>
                  <a:pt x="1188" y="735"/>
                </a:cubicBezTo>
                <a:cubicBezTo>
                  <a:pt x="1187" y="737"/>
                  <a:pt x="1188" y="739"/>
                  <a:pt x="1188" y="741"/>
                </a:cubicBezTo>
                <a:cubicBezTo>
                  <a:pt x="1190" y="745"/>
                  <a:pt x="1188" y="747"/>
                  <a:pt x="1184" y="749"/>
                </a:cubicBezTo>
                <a:cubicBezTo>
                  <a:pt x="1183" y="750"/>
                  <a:pt x="1181" y="751"/>
                  <a:pt x="1180" y="752"/>
                </a:cubicBezTo>
                <a:cubicBezTo>
                  <a:pt x="1177" y="759"/>
                  <a:pt x="1171" y="763"/>
                  <a:pt x="1167" y="768"/>
                </a:cubicBezTo>
                <a:cubicBezTo>
                  <a:pt x="1164" y="771"/>
                  <a:pt x="1164" y="774"/>
                  <a:pt x="1167" y="777"/>
                </a:cubicBezTo>
                <a:cubicBezTo>
                  <a:pt x="1168" y="779"/>
                  <a:pt x="1170" y="781"/>
                  <a:pt x="1172" y="784"/>
                </a:cubicBezTo>
                <a:cubicBezTo>
                  <a:pt x="1173" y="785"/>
                  <a:pt x="1174" y="787"/>
                  <a:pt x="1174" y="789"/>
                </a:cubicBezTo>
                <a:cubicBezTo>
                  <a:pt x="1175" y="795"/>
                  <a:pt x="1176" y="801"/>
                  <a:pt x="1177" y="807"/>
                </a:cubicBezTo>
                <a:cubicBezTo>
                  <a:pt x="1178" y="814"/>
                  <a:pt x="1174" y="820"/>
                  <a:pt x="1176" y="827"/>
                </a:cubicBezTo>
                <a:cubicBezTo>
                  <a:pt x="1176" y="827"/>
                  <a:pt x="1175" y="829"/>
                  <a:pt x="1174" y="829"/>
                </a:cubicBezTo>
                <a:cubicBezTo>
                  <a:pt x="1172" y="831"/>
                  <a:pt x="1170" y="832"/>
                  <a:pt x="1168" y="834"/>
                </a:cubicBezTo>
                <a:cubicBezTo>
                  <a:pt x="1161" y="841"/>
                  <a:pt x="1153" y="845"/>
                  <a:pt x="1144" y="849"/>
                </a:cubicBezTo>
                <a:cubicBezTo>
                  <a:pt x="1140" y="851"/>
                  <a:pt x="1136" y="852"/>
                  <a:pt x="1132" y="854"/>
                </a:cubicBezTo>
                <a:cubicBezTo>
                  <a:pt x="1129" y="855"/>
                  <a:pt x="1128" y="857"/>
                  <a:pt x="1128" y="860"/>
                </a:cubicBezTo>
                <a:cubicBezTo>
                  <a:pt x="1128" y="867"/>
                  <a:pt x="1129" y="873"/>
                  <a:pt x="1128" y="880"/>
                </a:cubicBezTo>
                <a:cubicBezTo>
                  <a:pt x="1127" y="884"/>
                  <a:pt x="1126" y="889"/>
                  <a:pt x="1126" y="893"/>
                </a:cubicBezTo>
                <a:cubicBezTo>
                  <a:pt x="1126" y="897"/>
                  <a:pt x="1127" y="902"/>
                  <a:pt x="1127" y="906"/>
                </a:cubicBezTo>
                <a:cubicBezTo>
                  <a:pt x="1127" y="908"/>
                  <a:pt x="1127" y="909"/>
                  <a:pt x="1126" y="911"/>
                </a:cubicBezTo>
                <a:cubicBezTo>
                  <a:pt x="1125" y="914"/>
                  <a:pt x="1123" y="917"/>
                  <a:pt x="1121" y="919"/>
                </a:cubicBezTo>
                <a:cubicBezTo>
                  <a:pt x="1121" y="920"/>
                  <a:pt x="1119" y="921"/>
                  <a:pt x="1119" y="921"/>
                </a:cubicBezTo>
                <a:cubicBezTo>
                  <a:pt x="1115" y="920"/>
                  <a:pt x="1113" y="923"/>
                  <a:pt x="1110" y="925"/>
                </a:cubicBezTo>
                <a:cubicBezTo>
                  <a:pt x="1109" y="926"/>
                  <a:pt x="1105" y="925"/>
                  <a:pt x="1104" y="924"/>
                </a:cubicBezTo>
                <a:cubicBezTo>
                  <a:pt x="1104" y="922"/>
                  <a:pt x="1103" y="921"/>
                  <a:pt x="1103" y="919"/>
                </a:cubicBezTo>
                <a:cubicBezTo>
                  <a:pt x="1101" y="917"/>
                  <a:pt x="1101" y="914"/>
                  <a:pt x="1099" y="912"/>
                </a:cubicBezTo>
                <a:cubicBezTo>
                  <a:pt x="1093" y="907"/>
                  <a:pt x="1092" y="900"/>
                  <a:pt x="1088" y="894"/>
                </a:cubicBezTo>
                <a:cubicBezTo>
                  <a:pt x="1087" y="892"/>
                  <a:pt x="1087" y="890"/>
                  <a:pt x="1088" y="888"/>
                </a:cubicBezTo>
                <a:cubicBezTo>
                  <a:pt x="1092" y="880"/>
                  <a:pt x="1095" y="873"/>
                  <a:pt x="1095" y="864"/>
                </a:cubicBezTo>
                <a:cubicBezTo>
                  <a:pt x="1095" y="861"/>
                  <a:pt x="1097" y="859"/>
                  <a:pt x="1097" y="856"/>
                </a:cubicBezTo>
                <a:cubicBezTo>
                  <a:pt x="1098" y="854"/>
                  <a:pt x="1099" y="851"/>
                  <a:pt x="1100" y="848"/>
                </a:cubicBezTo>
                <a:cubicBezTo>
                  <a:pt x="1100" y="847"/>
                  <a:pt x="1099" y="844"/>
                  <a:pt x="1098" y="844"/>
                </a:cubicBezTo>
                <a:cubicBezTo>
                  <a:pt x="1089" y="843"/>
                  <a:pt x="1080" y="840"/>
                  <a:pt x="1072" y="840"/>
                </a:cubicBezTo>
                <a:cubicBezTo>
                  <a:pt x="1069" y="840"/>
                  <a:pt x="1067" y="839"/>
                  <a:pt x="1066" y="837"/>
                </a:cubicBezTo>
                <a:cubicBezTo>
                  <a:pt x="1062" y="832"/>
                  <a:pt x="1057" y="828"/>
                  <a:pt x="1051" y="825"/>
                </a:cubicBezTo>
                <a:cubicBezTo>
                  <a:pt x="1045" y="822"/>
                  <a:pt x="1041" y="818"/>
                  <a:pt x="1038" y="812"/>
                </a:cubicBezTo>
                <a:cubicBezTo>
                  <a:pt x="1035" y="806"/>
                  <a:pt x="1030" y="802"/>
                  <a:pt x="1024" y="798"/>
                </a:cubicBezTo>
                <a:cubicBezTo>
                  <a:pt x="1019" y="795"/>
                  <a:pt x="1014" y="792"/>
                  <a:pt x="1008" y="789"/>
                </a:cubicBezTo>
                <a:cubicBezTo>
                  <a:pt x="1006" y="788"/>
                  <a:pt x="1003" y="788"/>
                  <a:pt x="1000" y="788"/>
                </a:cubicBezTo>
                <a:cubicBezTo>
                  <a:pt x="996" y="790"/>
                  <a:pt x="991" y="792"/>
                  <a:pt x="987" y="791"/>
                </a:cubicBezTo>
                <a:cubicBezTo>
                  <a:pt x="987" y="791"/>
                  <a:pt x="986" y="791"/>
                  <a:pt x="986" y="791"/>
                </a:cubicBezTo>
                <a:cubicBezTo>
                  <a:pt x="986" y="792"/>
                  <a:pt x="986" y="792"/>
                  <a:pt x="986" y="792"/>
                </a:cubicBezTo>
                <a:cubicBezTo>
                  <a:pt x="986" y="791"/>
                  <a:pt x="986" y="791"/>
                  <a:pt x="986" y="791"/>
                </a:cubicBezTo>
                <a:cubicBezTo>
                  <a:pt x="986" y="791"/>
                  <a:pt x="986" y="791"/>
                  <a:pt x="987" y="791"/>
                </a:cubicBezTo>
                <a:cubicBezTo>
                  <a:pt x="989" y="787"/>
                  <a:pt x="991" y="783"/>
                  <a:pt x="991" y="777"/>
                </a:cubicBezTo>
                <a:cubicBezTo>
                  <a:pt x="990" y="772"/>
                  <a:pt x="990" y="765"/>
                  <a:pt x="990" y="759"/>
                </a:cubicBezTo>
                <a:cubicBezTo>
                  <a:pt x="990" y="757"/>
                  <a:pt x="990" y="755"/>
                  <a:pt x="989" y="753"/>
                </a:cubicBezTo>
                <a:cubicBezTo>
                  <a:pt x="989" y="752"/>
                  <a:pt x="988" y="751"/>
                  <a:pt x="987" y="751"/>
                </a:cubicBezTo>
                <a:cubicBezTo>
                  <a:pt x="985" y="751"/>
                  <a:pt x="982" y="750"/>
                  <a:pt x="980" y="750"/>
                </a:cubicBezTo>
                <a:cubicBezTo>
                  <a:pt x="978" y="750"/>
                  <a:pt x="976" y="749"/>
                  <a:pt x="976" y="747"/>
                </a:cubicBezTo>
                <a:cubicBezTo>
                  <a:pt x="975" y="745"/>
                  <a:pt x="975" y="743"/>
                  <a:pt x="975" y="742"/>
                </a:cubicBezTo>
                <a:cubicBezTo>
                  <a:pt x="976" y="739"/>
                  <a:pt x="978" y="736"/>
                  <a:pt x="978" y="733"/>
                </a:cubicBezTo>
                <a:cubicBezTo>
                  <a:pt x="981" y="719"/>
                  <a:pt x="987" y="707"/>
                  <a:pt x="998" y="698"/>
                </a:cubicBezTo>
                <a:cubicBezTo>
                  <a:pt x="1000" y="696"/>
                  <a:pt x="1002" y="693"/>
                  <a:pt x="1004" y="690"/>
                </a:cubicBezTo>
                <a:cubicBezTo>
                  <a:pt x="1010" y="682"/>
                  <a:pt x="1015" y="674"/>
                  <a:pt x="1025" y="671"/>
                </a:cubicBezTo>
                <a:cubicBezTo>
                  <a:pt x="1030" y="667"/>
                  <a:pt x="1035" y="664"/>
                  <a:pt x="1037" y="657"/>
                </a:cubicBezTo>
                <a:cubicBezTo>
                  <a:pt x="1037" y="656"/>
                  <a:pt x="1038" y="654"/>
                  <a:pt x="1040" y="655"/>
                </a:cubicBezTo>
                <a:cubicBezTo>
                  <a:pt x="1043" y="655"/>
                  <a:pt x="1045" y="656"/>
                  <a:pt x="1047" y="656"/>
                </a:cubicBezTo>
                <a:cubicBezTo>
                  <a:pt x="1052" y="656"/>
                  <a:pt x="1057" y="652"/>
                  <a:pt x="1057" y="647"/>
                </a:cubicBezTo>
                <a:cubicBezTo>
                  <a:pt x="1057" y="645"/>
                  <a:pt x="1056" y="642"/>
                  <a:pt x="1056" y="639"/>
                </a:cubicBezTo>
                <a:cubicBezTo>
                  <a:pt x="1056" y="639"/>
                  <a:pt x="1056" y="639"/>
                  <a:pt x="1056" y="639"/>
                </a:cubicBezTo>
                <a:cubicBezTo>
                  <a:pt x="1055" y="639"/>
                  <a:pt x="1055" y="639"/>
                  <a:pt x="1055" y="639"/>
                </a:cubicBezTo>
                <a:cubicBezTo>
                  <a:pt x="1055" y="639"/>
                  <a:pt x="1056" y="639"/>
                  <a:pt x="1056" y="639"/>
                </a:cubicBezTo>
                <a:cubicBezTo>
                  <a:pt x="1056" y="639"/>
                  <a:pt x="1056" y="639"/>
                  <a:pt x="1056" y="639"/>
                </a:cubicBezTo>
                <a:cubicBezTo>
                  <a:pt x="1064" y="640"/>
                  <a:pt x="1070" y="638"/>
                  <a:pt x="1073" y="630"/>
                </a:cubicBezTo>
                <a:cubicBezTo>
                  <a:pt x="1073" y="629"/>
                  <a:pt x="1075" y="628"/>
                  <a:pt x="1077" y="629"/>
                </a:cubicBezTo>
                <a:cubicBezTo>
                  <a:pt x="1080" y="630"/>
                  <a:pt x="1082" y="631"/>
                  <a:pt x="1085" y="632"/>
                </a:cubicBezTo>
                <a:cubicBezTo>
                  <a:pt x="1087" y="633"/>
                  <a:pt x="1090" y="633"/>
                  <a:pt x="1092" y="631"/>
                </a:cubicBezTo>
                <a:cubicBezTo>
                  <a:pt x="1101" y="623"/>
                  <a:pt x="1109" y="615"/>
                  <a:pt x="1117" y="607"/>
                </a:cubicBezTo>
                <a:cubicBezTo>
                  <a:pt x="1118" y="607"/>
                  <a:pt x="1118" y="605"/>
                  <a:pt x="1118" y="604"/>
                </a:cubicBezTo>
                <a:cubicBezTo>
                  <a:pt x="1118" y="602"/>
                  <a:pt x="1119" y="600"/>
                  <a:pt x="1121" y="599"/>
                </a:cubicBezTo>
                <a:cubicBezTo>
                  <a:pt x="1124" y="596"/>
                  <a:pt x="1128" y="593"/>
                  <a:pt x="1132" y="589"/>
                </a:cubicBezTo>
                <a:cubicBezTo>
                  <a:pt x="1133" y="588"/>
                  <a:pt x="1134" y="587"/>
                  <a:pt x="1135" y="586"/>
                </a:cubicBezTo>
                <a:cubicBezTo>
                  <a:pt x="1135" y="586"/>
                  <a:pt x="1135" y="586"/>
                  <a:pt x="1135" y="586"/>
                </a:cubicBezTo>
                <a:cubicBezTo>
                  <a:pt x="1136" y="586"/>
                  <a:pt x="1137" y="585"/>
                  <a:pt x="1137" y="584"/>
                </a:cubicBezTo>
                <a:cubicBezTo>
                  <a:pt x="1141" y="580"/>
                  <a:pt x="1141" y="580"/>
                  <a:pt x="1139" y="575"/>
                </a:cubicBezTo>
                <a:cubicBezTo>
                  <a:pt x="1138" y="574"/>
                  <a:pt x="1138" y="574"/>
                  <a:pt x="1138" y="573"/>
                </a:cubicBezTo>
                <a:cubicBezTo>
                  <a:pt x="1137" y="572"/>
                  <a:pt x="1138" y="571"/>
                  <a:pt x="1139" y="570"/>
                </a:cubicBezTo>
                <a:cubicBezTo>
                  <a:pt x="1144" y="570"/>
                  <a:pt x="1149" y="569"/>
                  <a:pt x="1151" y="576"/>
                </a:cubicBezTo>
                <a:cubicBezTo>
                  <a:pt x="1151" y="576"/>
                  <a:pt x="1152" y="577"/>
                  <a:pt x="1152" y="577"/>
                </a:cubicBezTo>
                <a:cubicBezTo>
                  <a:pt x="1160" y="580"/>
                  <a:pt x="1168" y="581"/>
                  <a:pt x="1176" y="577"/>
                </a:cubicBezTo>
                <a:cubicBezTo>
                  <a:pt x="1181" y="575"/>
                  <a:pt x="1187" y="572"/>
                  <a:pt x="1191" y="567"/>
                </a:cubicBezTo>
                <a:cubicBezTo>
                  <a:pt x="1193" y="566"/>
                  <a:pt x="1195" y="564"/>
                  <a:pt x="1197" y="564"/>
                </a:cubicBezTo>
                <a:cubicBezTo>
                  <a:pt x="1201" y="563"/>
                  <a:pt x="1203" y="560"/>
                  <a:pt x="1205" y="556"/>
                </a:cubicBezTo>
                <a:cubicBezTo>
                  <a:pt x="1206" y="554"/>
                  <a:pt x="1207" y="551"/>
                  <a:pt x="1206" y="549"/>
                </a:cubicBezTo>
                <a:cubicBezTo>
                  <a:pt x="1205" y="546"/>
                  <a:pt x="1205" y="544"/>
                  <a:pt x="1204" y="542"/>
                </a:cubicBezTo>
                <a:cubicBezTo>
                  <a:pt x="1202" y="539"/>
                  <a:pt x="1202" y="536"/>
                  <a:pt x="1203" y="533"/>
                </a:cubicBezTo>
                <a:cubicBezTo>
                  <a:pt x="1204" y="530"/>
                  <a:pt x="1205" y="526"/>
                  <a:pt x="1205" y="523"/>
                </a:cubicBezTo>
                <a:cubicBezTo>
                  <a:pt x="1205" y="523"/>
                  <a:pt x="1205" y="523"/>
                  <a:pt x="1205" y="523"/>
                </a:cubicBezTo>
                <a:cubicBezTo>
                  <a:pt x="1204" y="523"/>
                  <a:pt x="1204" y="523"/>
                  <a:pt x="1204" y="523"/>
                </a:cubicBezTo>
                <a:cubicBezTo>
                  <a:pt x="1205" y="523"/>
                  <a:pt x="1205" y="523"/>
                  <a:pt x="1205" y="523"/>
                </a:cubicBezTo>
                <a:cubicBezTo>
                  <a:pt x="1205" y="523"/>
                  <a:pt x="1205" y="523"/>
                  <a:pt x="1205" y="523"/>
                </a:cubicBezTo>
                <a:cubicBezTo>
                  <a:pt x="1207" y="524"/>
                  <a:pt x="1209" y="524"/>
                  <a:pt x="1211" y="524"/>
                </a:cubicBezTo>
                <a:cubicBezTo>
                  <a:pt x="1217" y="524"/>
                  <a:pt x="1220" y="521"/>
                  <a:pt x="1220" y="515"/>
                </a:cubicBezTo>
                <a:cubicBezTo>
                  <a:pt x="1220" y="513"/>
                  <a:pt x="1220" y="511"/>
                  <a:pt x="1222" y="509"/>
                </a:cubicBezTo>
                <a:cubicBezTo>
                  <a:pt x="1224" y="506"/>
                  <a:pt x="1223" y="503"/>
                  <a:pt x="1221" y="501"/>
                </a:cubicBezTo>
                <a:cubicBezTo>
                  <a:pt x="1217" y="499"/>
                  <a:pt x="1214" y="496"/>
                  <a:pt x="1215" y="491"/>
                </a:cubicBezTo>
                <a:cubicBezTo>
                  <a:pt x="1215" y="487"/>
                  <a:pt x="1213" y="485"/>
                  <a:pt x="1209" y="486"/>
                </a:cubicBezTo>
                <a:cubicBezTo>
                  <a:pt x="1206" y="486"/>
                  <a:pt x="1205" y="483"/>
                  <a:pt x="1204" y="481"/>
                </a:cubicBezTo>
                <a:cubicBezTo>
                  <a:pt x="1201" y="481"/>
                  <a:pt x="1197" y="480"/>
                  <a:pt x="1195" y="477"/>
                </a:cubicBezTo>
                <a:cubicBezTo>
                  <a:pt x="1195" y="477"/>
                  <a:pt x="1195" y="477"/>
                  <a:pt x="1195" y="477"/>
                </a:cubicBezTo>
                <a:cubicBezTo>
                  <a:pt x="1194" y="477"/>
                  <a:pt x="1194" y="477"/>
                  <a:pt x="1194" y="477"/>
                </a:cubicBezTo>
                <a:cubicBezTo>
                  <a:pt x="1195" y="477"/>
                  <a:pt x="1195" y="477"/>
                  <a:pt x="1195" y="477"/>
                </a:cubicBezTo>
                <a:cubicBezTo>
                  <a:pt x="1194" y="478"/>
                  <a:pt x="1193" y="478"/>
                  <a:pt x="1192" y="478"/>
                </a:cubicBezTo>
                <a:cubicBezTo>
                  <a:pt x="1186" y="478"/>
                  <a:pt x="1183" y="481"/>
                  <a:pt x="1182" y="485"/>
                </a:cubicBezTo>
                <a:cubicBezTo>
                  <a:pt x="1181" y="490"/>
                  <a:pt x="1178" y="494"/>
                  <a:pt x="1180" y="500"/>
                </a:cubicBezTo>
                <a:cubicBezTo>
                  <a:pt x="1180" y="501"/>
                  <a:pt x="1180" y="502"/>
                  <a:pt x="1179" y="503"/>
                </a:cubicBezTo>
                <a:cubicBezTo>
                  <a:pt x="1177" y="504"/>
                  <a:pt x="1175" y="506"/>
                  <a:pt x="1173" y="508"/>
                </a:cubicBezTo>
                <a:cubicBezTo>
                  <a:pt x="1168" y="509"/>
                  <a:pt x="1166" y="512"/>
                  <a:pt x="1164" y="517"/>
                </a:cubicBezTo>
                <a:cubicBezTo>
                  <a:pt x="1163" y="519"/>
                  <a:pt x="1162" y="521"/>
                  <a:pt x="1160" y="524"/>
                </a:cubicBezTo>
                <a:cubicBezTo>
                  <a:pt x="1159" y="525"/>
                  <a:pt x="1157" y="526"/>
                  <a:pt x="1155" y="526"/>
                </a:cubicBezTo>
                <a:cubicBezTo>
                  <a:pt x="1155" y="527"/>
                  <a:pt x="1155" y="527"/>
                  <a:pt x="1155" y="527"/>
                </a:cubicBezTo>
                <a:cubicBezTo>
                  <a:pt x="1155" y="527"/>
                  <a:pt x="1155" y="527"/>
                  <a:pt x="1154" y="528"/>
                </a:cubicBezTo>
                <a:cubicBezTo>
                  <a:pt x="1155" y="527"/>
                  <a:pt x="1155" y="527"/>
                  <a:pt x="1155" y="526"/>
                </a:cubicBezTo>
                <a:cubicBezTo>
                  <a:pt x="1155" y="526"/>
                  <a:pt x="1155" y="526"/>
                  <a:pt x="1155" y="526"/>
                </a:cubicBezTo>
                <a:cubicBezTo>
                  <a:pt x="1154" y="525"/>
                  <a:pt x="1154" y="523"/>
                  <a:pt x="1151" y="522"/>
                </a:cubicBezTo>
                <a:cubicBezTo>
                  <a:pt x="1149" y="521"/>
                  <a:pt x="1148" y="524"/>
                  <a:pt x="1147" y="528"/>
                </a:cubicBezTo>
                <a:cubicBezTo>
                  <a:pt x="1146" y="530"/>
                  <a:pt x="1146" y="532"/>
                  <a:pt x="1147" y="534"/>
                </a:cubicBezTo>
                <a:cubicBezTo>
                  <a:pt x="1148" y="537"/>
                  <a:pt x="1147" y="539"/>
                  <a:pt x="1146" y="540"/>
                </a:cubicBezTo>
                <a:cubicBezTo>
                  <a:pt x="1145" y="542"/>
                  <a:pt x="1142" y="543"/>
                  <a:pt x="1140" y="543"/>
                </a:cubicBezTo>
                <a:cubicBezTo>
                  <a:pt x="1139" y="542"/>
                  <a:pt x="1137" y="541"/>
                  <a:pt x="1136" y="539"/>
                </a:cubicBezTo>
                <a:cubicBezTo>
                  <a:pt x="1135" y="536"/>
                  <a:pt x="1135" y="533"/>
                  <a:pt x="1134" y="530"/>
                </a:cubicBezTo>
                <a:cubicBezTo>
                  <a:pt x="1133" y="524"/>
                  <a:pt x="1135" y="518"/>
                  <a:pt x="1140" y="514"/>
                </a:cubicBezTo>
                <a:cubicBezTo>
                  <a:pt x="1142" y="512"/>
                  <a:pt x="1142" y="510"/>
                  <a:pt x="1143" y="508"/>
                </a:cubicBezTo>
                <a:cubicBezTo>
                  <a:pt x="1144" y="500"/>
                  <a:pt x="1141" y="494"/>
                  <a:pt x="1138" y="487"/>
                </a:cubicBezTo>
                <a:cubicBezTo>
                  <a:pt x="1137" y="486"/>
                  <a:pt x="1134" y="486"/>
                  <a:pt x="1133" y="487"/>
                </a:cubicBezTo>
                <a:cubicBezTo>
                  <a:pt x="1130" y="491"/>
                  <a:pt x="1126" y="495"/>
                  <a:pt x="1125" y="500"/>
                </a:cubicBezTo>
                <a:cubicBezTo>
                  <a:pt x="1124" y="502"/>
                  <a:pt x="1122" y="504"/>
                  <a:pt x="1120" y="506"/>
                </a:cubicBezTo>
                <a:cubicBezTo>
                  <a:pt x="1120" y="506"/>
                  <a:pt x="1119" y="507"/>
                  <a:pt x="1119" y="507"/>
                </a:cubicBezTo>
                <a:cubicBezTo>
                  <a:pt x="1117" y="507"/>
                  <a:pt x="1117" y="506"/>
                  <a:pt x="1117" y="505"/>
                </a:cubicBezTo>
                <a:cubicBezTo>
                  <a:pt x="1119" y="499"/>
                  <a:pt x="1120" y="494"/>
                  <a:pt x="1120" y="489"/>
                </a:cubicBezTo>
                <a:cubicBezTo>
                  <a:pt x="1119" y="486"/>
                  <a:pt x="1122" y="486"/>
                  <a:pt x="1124" y="485"/>
                </a:cubicBezTo>
                <a:cubicBezTo>
                  <a:pt x="1127" y="483"/>
                  <a:pt x="1127" y="480"/>
                  <a:pt x="1125" y="478"/>
                </a:cubicBezTo>
                <a:cubicBezTo>
                  <a:pt x="1122" y="476"/>
                  <a:pt x="1120" y="474"/>
                  <a:pt x="1116" y="473"/>
                </a:cubicBezTo>
                <a:cubicBezTo>
                  <a:pt x="1113" y="473"/>
                  <a:pt x="1111" y="472"/>
                  <a:pt x="1109" y="470"/>
                </a:cubicBezTo>
                <a:cubicBezTo>
                  <a:pt x="1108" y="469"/>
                  <a:pt x="1107" y="468"/>
                  <a:pt x="1108" y="467"/>
                </a:cubicBezTo>
                <a:cubicBezTo>
                  <a:pt x="1111" y="464"/>
                  <a:pt x="1114" y="461"/>
                  <a:pt x="1117" y="458"/>
                </a:cubicBezTo>
                <a:cubicBezTo>
                  <a:pt x="1118" y="457"/>
                  <a:pt x="1119" y="457"/>
                  <a:pt x="1120" y="457"/>
                </a:cubicBezTo>
                <a:cubicBezTo>
                  <a:pt x="1124" y="455"/>
                  <a:pt x="1125" y="454"/>
                  <a:pt x="1124" y="451"/>
                </a:cubicBezTo>
                <a:cubicBezTo>
                  <a:pt x="1122" y="441"/>
                  <a:pt x="1120" y="431"/>
                  <a:pt x="1124" y="421"/>
                </a:cubicBezTo>
                <a:cubicBezTo>
                  <a:pt x="1125" y="419"/>
                  <a:pt x="1125" y="417"/>
                  <a:pt x="1125" y="416"/>
                </a:cubicBezTo>
                <a:cubicBezTo>
                  <a:pt x="1122" y="410"/>
                  <a:pt x="1123" y="403"/>
                  <a:pt x="1120" y="397"/>
                </a:cubicBezTo>
                <a:cubicBezTo>
                  <a:pt x="1119" y="394"/>
                  <a:pt x="1120" y="393"/>
                  <a:pt x="1122" y="391"/>
                </a:cubicBezTo>
                <a:cubicBezTo>
                  <a:pt x="1126" y="388"/>
                  <a:pt x="1130" y="385"/>
                  <a:pt x="1134" y="382"/>
                </a:cubicBezTo>
                <a:cubicBezTo>
                  <a:pt x="1137" y="380"/>
                  <a:pt x="1138" y="377"/>
                  <a:pt x="1139" y="374"/>
                </a:cubicBezTo>
                <a:cubicBezTo>
                  <a:pt x="1139" y="373"/>
                  <a:pt x="1139" y="372"/>
                  <a:pt x="1140" y="371"/>
                </a:cubicBezTo>
                <a:cubicBezTo>
                  <a:pt x="1141" y="370"/>
                  <a:pt x="1142" y="369"/>
                  <a:pt x="1143" y="369"/>
                </a:cubicBezTo>
                <a:cubicBezTo>
                  <a:pt x="1145" y="370"/>
                  <a:pt x="1148" y="372"/>
                  <a:pt x="1150" y="373"/>
                </a:cubicBezTo>
                <a:cubicBezTo>
                  <a:pt x="1153" y="375"/>
                  <a:pt x="1156" y="374"/>
                  <a:pt x="1159" y="372"/>
                </a:cubicBezTo>
                <a:cubicBezTo>
                  <a:pt x="1161" y="371"/>
                  <a:pt x="1163" y="370"/>
                  <a:pt x="1164" y="368"/>
                </a:cubicBezTo>
                <a:cubicBezTo>
                  <a:pt x="1172" y="361"/>
                  <a:pt x="1180" y="354"/>
                  <a:pt x="1187" y="346"/>
                </a:cubicBezTo>
                <a:cubicBezTo>
                  <a:pt x="1189" y="345"/>
                  <a:pt x="1190" y="343"/>
                  <a:pt x="1191" y="341"/>
                </a:cubicBezTo>
                <a:cubicBezTo>
                  <a:pt x="1193" y="339"/>
                  <a:pt x="1191" y="334"/>
                  <a:pt x="1188" y="332"/>
                </a:cubicBezTo>
                <a:cubicBezTo>
                  <a:pt x="1188" y="332"/>
                  <a:pt x="1187" y="332"/>
                  <a:pt x="1187" y="332"/>
                </a:cubicBezTo>
                <a:cubicBezTo>
                  <a:pt x="1180" y="331"/>
                  <a:pt x="1175" y="328"/>
                  <a:pt x="1169" y="324"/>
                </a:cubicBezTo>
                <a:cubicBezTo>
                  <a:pt x="1168" y="323"/>
                  <a:pt x="1166" y="322"/>
                  <a:pt x="1163" y="321"/>
                </a:cubicBezTo>
                <a:cubicBezTo>
                  <a:pt x="1159" y="320"/>
                  <a:pt x="1154" y="320"/>
                  <a:pt x="1149" y="321"/>
                </a:cubicBezTo>
                <a:cubicBezTo>
                  <a:pt x="1147" y="322"/>
                  <a:pt x="1145" y="322"/>
                  <a:pt x="1144" y="323"/>
                </a:cubicBezTo>
                <a:cubicBezTo>
                  <a:pt x="1142" y="326"/>
                  <a:pt x="1140" y="330"/>
                  <a:pt x="1136" y="331"/>
                </a:cubicBezTo>
                <a:cubicBezTo>
                  <a:pt x="1134" y="334"/>
                  <a:pt x="1132" y="338"/>
                  <a:pt x="1130" y="341"/>
                </a:cubicBezTo>
                <a:cubicBezTo>
                  <a:pt x="1127" y="346"/>
                  <a:pt x="1124" y="351"/>
                  <a:pt x="1122" y="357"/>
                </a:cubicBezTo>
                <a:cubicBezTo>
                  <a:pt x="1120" y="360"/>
                  <a:pt x="1119" y="363"/>
                  <a:pt x="1119" y="366"/>
                </a:cubicBezTo>
                <a:cubicBezTo>
                  <a:pt x="1119" y="374"/>
                  <a:pt x="1115" y="380"/>
                  <a:pt x="1113" y="387"/>
                </a:cubicBezTo>
                <a:cubicBezTo>
                  <a:pt x="1112" y="388"/>
                  <a:pt x="1112" y="389"/>
                  <a:pt x="1110" y="390"/>
                </a:cubicBezTo>
                <a:cubicBezTo>
                  <a:pt x="1107" y="392"/>
                  <a:pt x="1104" y="395"/>
                  <a:pt x="1101" y="397"/>
                </a:cubicBezTo>
                <a:cubicBezTo>
                  <a:pt x="1098" y="399"/>
                  <a:pt x="1098" y="401"/>
                  <a:pt x="1099" y="404"/>
                </a:cubicBezTo>
                <a:cubicBezTo>
                  <a:pt x="1099" y="404"/>
                  <a:pt x="1099" y="404"/>
                  <a:pt x="1099" y="404"/>
                </a:cubicBezTo>
                <a:cubicBezTo>
                  <a:pt x="1099" y="404"/>
                  <a:pt x="1099" y="404"/>
                  <a:pt x="1099" y="405"/>
                </a:cubicBezTo>
                <a:cubicBezTo>
                  <a:pt x="1099" y="405"/>
                  <a:pt x="1099" y="405"/>
                  <a:pt x="1100" y="405"/>
                </a:cubicBezTo>
                <a:cubicBezTo>
                  <a:pt x="1099" y="406"/>
                  <a:pt x="1099" y="405"/>
                  <a:pt x="1099" y="405"/>
                </a:cubicBezTo>
                <a:cubicBezTo>
                  <a:pt x="1099" y="405"/>
                  <a:pt x="1099" y="404"/>
                  <a:pt x="1099" y="404"/>
                </a:cubicBezTo>
                <a:cubicBezTo>
                  <a:pt x="1099" y="404"/>
                  <a:pt x="1099" y="404"/>
                  <a:pt x="1099" y="404"/>
                </a:cubicBezTo>
                <a:cubicBezTo>
                  <a:pt x="1096" y="405"/>
                  <a:pt x="1093" y="405"/>
                  <a:pt x="1091" y="406"/>
                </a:cubicBezTo>
                <a:cubicBezTo>
                  <a:pt x="1084" y="411"/>
                  <a:pt x="1080" y="418"/>
                  <a:pt x="1079" y="426"/>
                </a:cubicBezTo>
                <a:cubicBezTo>
                  <a:pt x="1078" y="430"/>
                  <a:pt x="1078" y="432"/>
                  <a:pt x="1075" y="435"/>
                </a:cubicBezTo>
                <a:cubicBezTo>
                  <a:pt x="1074" y="435"/>
                  <a:pt x="1073" y="436"/>
                  <a:pt x="1073" y="437"/>
                </a:cubicBezTo>
                <a:cubicBezTo>
                  <a:pt x="1070" y="440"/>
                  <a:pt x="1069" y="444"/>
                  <a:pt x="1070" y="448"/>
                </a:cubicBezTo>
                <a:cubicBezTo>
                  <a:pt x="1070" y="452"/>
                  <a:pt x="1071" y="455"/>
                  <a:pt x="1073" y="458"/>
                </a:cubicBezTo>
                <a:cubicBezTo>
                  <a:pt x="1074" y="460"/>
                  <a:pt x="1075" y="462"/>
                  <a:pt x="1076" y="464"/>
                </a:cubicBezTo>
                <a:cubicBezTo>
                  <a:pt x="1077" y="464"/>
                  <a:pt x="1079" y="464"/>
                  <a:pt x="1080" y="465"/>
                </a:cubicBezTo>
                <a:cubicBezTo>
                  <a:pt x="1083" y="467"/>
                  <a:pt x="1086" y="469"/>
                  <a:pt x="1089" y="471"/>
                </a:cubicBezTo>
                <a:cubicBezTo>
                  <a:pt x="1090" y="472"/>
                  <a:pt x="1090" y="472"/>
                  <a:pt x="1090" y="472"/>
                </a:cubicBezTo>
                <a:cubicBezTo>
                  <a:pt x="1090" y="474"/>
                  <a:pt x="1089" y="474"/>
                  <a:pt x="1088" y="474"/>
                </a:cubicBezTo>
                <a:cubicBezTo>
                  <a:pt x="1087" y="474"/>
                  <a:pt x="1085" y="475"/>
                  <a:pt x="1084" y="476"/>
                </a:cubicBezTo>
                <a:cubicBezTo>
                  <a:pt x="1081" y="478"/>
                  <a:pt x="1079" y="482"/>
                  <a:pt x="1077" y="485"/>
                </a:cubicBezTo>
                <a:cubicBezTo>
                  <a:pt x="1076" y="486"/>
                  <a:pt x="1076" y="488"/>
                  <a:pt x="1079" y="490"/>
                </a:cubicBezTo>
                <a:cubicBezTo>
                  <a:pt x="1080" y="490"/>
                  <a:pt x="1081" y="490"/>
                  <a:pt x="1082" y="490"/>
                </a:cubicBezTo>
                <a:cubicBezTo>
                  <a:pt x="1082" y="490"/>
                  <a:pt x="1082" y="490"/>
                  <a:pt x="1082" y="490"/>
                </a:cubicBezTo>
                <a:cubicBezTo>
                  <a:pt x="1083" y="490"/>
                  <a:pt x="1083" y="490"/>
                  <a:pt x="1083" y="490"/>
                </a:cubicBezTo>
                <a:cubicBezTo>
                  <a:pt x="1082" y="491"/>
                  <a:pt x="1082" y="491"/>
                  <a:pt x="1082" y="491"/>
                </a:cubicBezTo>
                <a:cubicBezTo>
                  <a:pt x="1082" y="490"/>
                  <a:pt x="1082" y="490"/>
                  <a:pt x="1082" y="490"/>
                </a:cubicBezTo>
                <a:cubicBezTo>
                  <a:pt x="1082" y="493"/>
                  <a:pt x="1082" y="495"/>
                  <a:pt x="1081" y="496"/>
                </a:cubicBezTo>
                <a:cubicBezTo>
                  <a:pt x="1078" y="499"/>
                  <a:pt x="1075" y="502"/>
                  <a:pt x="1072" y="504"/>
                </a:cubicBezTo>
                <a:cubicBezTo>
                  <a:pt x="1069" y="507"/>
                  <a:pt x="1065" y="509"/>
                  <a:pt x="1060" y="509"/>
                </a:cubicBezTo>
                <a:cubicBezTo>
                  <a:pt x="1054" y="509"/>
                  <a:pt x="1052" y="514"/>
                  <a:pt x="1051" y="519"/>
                </a:cubicBezTo>
                <a:cubicBezTo>
                  <a:pt x="1050" y="522"/>
                  <a:pt x="1049" y="526"/>
                  <a:pt x="1049" y="530"/>
                </a:cubicBezTo>
                <a:cubicBezTo>
                  <a:pt x="1048" y="531"/>
                  <a:pt x="1048" y="531"/>
                  <a:pt x="1047" y="532"/>
                </a:cubicBezTo>
                <a:cubicBezTo>
                  <a:pt x="1047" y="532"/>
                  <a:pt x="1046" y="531"/>
                  <a:pt x="1046" y="531"/>
                </a:cubicBezTo>
                <a:cubicBezTo>
                  <a:pt x="1045" y="529"/>
                  <a:pt x="1044" y="527"/>
                  <a:pt x="1042" y="525"/>
                </a:cubicBezTo>
                <a:cubicBezTo>
                  <a:pt x="1040" y="522"/>
                  <a:pt x="1040" y="521"/>
                  <a:pt x="1043" y="518"/>
                </a:cubicBezTo>
                <a:cubicBezTo>
                  <a:pt x="1046" y="514"/>
                  <a:pt x="1049" y="510"/>
                  <a:pt x="1051" y="506"/>
                </a:cubicBezTo>
                <a:cubicBezTo>
                  <a:pt x="1052" y="505"/>
                  <a:pt x="1051" y="502"/>
                  <a:pt x="1050" y="502"/>
                </a:cubicBezTo>
                <a:cubicBezTo>
                  <a:pt x="1044" y="502"/>
                  <a:pt x="1043" y="498"/>
                  <a:pt x="1042" y="493"/>
                </a:cubicBezTo>
                <a:cubicBezTo>
                  <a:pt x="1042" y="493"/>
                  <a:pt x="1041" y="493"/>
                  <a:pt x="1041" y="492"/>
                </a:cubicBezTo>
                <a:cubicBezTo>
                  <a:pt x="1041" y="493"/>
                  <a:pt x="1042" y="493"/>
                  <a:pt x="1042" y="493"/>
                </a:cubicBezTo>
                <a:cubicBezTo>
                  <a:pt x="1042" y="493"/>
                  <a:pt x="1042" y="493"/>
                  <a:pt x="1042" y="493"/>
                </a:cubicBezTo>
                <a:cubicBezTo>
                  <a:pt x="1042" y="494"/>
                  <a:pt x="1043" y="494"/>
                  <a:pt x="1043" y="494"/>
                </a:cubicBezTo>
                <a:cubicBezTo>
                  <a:pt x="1042" y="493"/>
                  <a:pt x="1042" y="493"/>
                  <a:pt x="1042" y="493"/>
                </a:cubicBezTo>
                <a:cubicBezTo>
                  <a:pt x="1044" y="494"/>
                  <a:pt x="1046" y="494"/>
                  <a:pt x="1049" y="495"/>
                </a:cubicBezTo>
                <a:cubicBezTo>
                  <a:pt x="1051" y="496"/>
                  <a:pt x="1053" y="496"/>
                  <a:pt x="1055" y="495"/>
                </a:cubicBezTo>
                <a:cubicBezTo>
                  <a:pt x="1058" y="494"/>
                  <a:pt x="1062" y="492"/>
                  <a:pt x="1065" y="490"/>
                </a:cubicBezTo>
                <a:cubicBezTo>
                  <a:pt x="1066" y="490"/>
                  <a:pt x="1067" y="489"/>
                  <a:pt x="1067" y="488"/>
                </a:cubicBezTo>
                <a:cubicBezTo>
                  <a:pt x="1067" y="484"/>
                  <a:pt x="1066" y="480"/>
                  <a:pt x="1066" y="476"/>
                </a:cubicBezTo>
                <a:cubicBezTo>
                  <a:pt x="1066" y="473"/>
                  <a:pt x="1066" y="473"/>
                  <a:pt x="1070" y="472"/>
                </a:cubicBezTo>
                <a:cubicBezTo>
                  <a:pt x="1075" y="471"/>
                  <a:pt x="1075" y="468"/>
                  <a:pt x="1075" y="464"/>
                </a:cubicBezTo>
                <a:cubicBezTo>
                  <a:pt x="1074" y="464"/>
                  <a:pt x="1073" y="464"/>
                  <a:pt x="1073" y="464"/>
                </a:cubicBezTo>
                <a:cubicBezTo>
                  <a:pt x="1065" y="465"/>
                  <a:pt x="1060" y="462"/>
                  <a:pt x="1057" y="455"/>
                </a:cubicBezTo>
                <a:cubicBezTo>
                  <a:pt x="1057" y="454"/>
                  <a:pt x="1056" y="453"/>
                  <a:pt x="1056" y="452"/>
                </a:cubicBezTo>
                <a:cubicBezTo>
                  <a:pt x="1055" y="451"/>
                  <a:pt x="1052" y="450"/>
                  <a:pt x="1051" y="451"/>
                </a:cubicBezTo>
                <a:cubicBezTo>
                  <a:pt x="1049" y="453"/>
                  <a:pt x="1047" y="455"/>
                  <a:pt x="1045" y="457"/>
                </a:cubicBezTo>
                <a:cubicBezTo>
                  <a:pt x="1041" y="463"/>
                  <a:pt x="1036" y="468"/>
                  <a:pt x="1029" y="469"/>
                </a:cubicBezTo>
                <a:cubicBezTo>
                  <a:pt x="1028" y="469"/>
                  <a:pt x="1027" y="470"/>
                  <a:pt x="1026" y="470"/>
                </a:cubicBezTo>
                <a:cubicBezTo>
                  <a:pt x="1025" y="470"/>
                  <a:pt x="1025" y="471"/>
                  <a:pt x="1025" y="471"/>
                </a:cubicBezTo>
                <a:cubicBezTo>
                  <a:pt x="1024" y="472"/>
                  <a:pt x="1023" y="475"/>
                  <a:pt x="1025" y="476"/>
                </a:cubicBezTo>
                <a:cubicBezTo>
                  <a:pt x="1030" y="480"/>
                  <a:pt x="1036" y="484"/>
                  <a:pt x="1039" y="491"/>
                </a:cubicBezTo>
                <a:cubicBezTo>
                  <a:pt x="1039" y="490"/>
                  <a:pt x="1039" y="490"/>
                  <a:pt x="1039" y="490"/>
                </a:cubicBezTo>
                <a:cubicBezTo>
                  <a:pt x="1039" y="490"/>
                  <a:pt x="1039" y="490"/>
                  <a:pt x="1039" y="491"/>
                </a:cubicBezTo>
                <a:cubicBezTo>
                  <a:pt x="1037" y="491"/>
                  <a:pt x="1034" y="492"/>
                  <a:pt x="1031" y="492"/>
                </a:cubicBezTo>
                <a:cubicBezTo>
                  <a:pt x="1028" y="492"/>
                  <a:pt x="1026" y="492"/>
                  <a:pt x="1025" y="495"/>
                </a:cubicBezTo>
                <a:cubicBezTo>
                  <a:pt x="1024" y="497"/>
                  <a:pt x="1022" y="499"/>
                  <a:pt x="1021" y="500"/>
                </a:cubicBezTo>
                <a:cubicBezTo>
                  <a:pt x="1019" y="501"/>
                  <a:pt x="1018" y="502"/>
                  <a:pt x="1018" y="504"/>
                </a:cubicBezTo>
                <a:cubicBezTo>
                  <a:pt x="1018" y="506"/>
                  <a:pt x="1018" y="507"/>
                  <a:pt x="1017" y="508"/>
                </a:cubicBezTo>
                <a:cubicBezTo>
                  <a:pt x="1014" y="510"/>
                  <a:pt x="1012" y="509"/>
                  <a:pt x="1010" y="508"/>
                </a:cubicBezTo>
                <a:cubicBezTo>
                  <a:pt x="1008" y="508"/>
                  <a:pt x="1006" y="507"/>
                  <a:pt x="1004" y="506"/>
                </a:cubicBezTo>
                <a:cubicBezTo>
                  <a:pt x="1001" y="504"/>
                  <a:pt x="997" y="503"/>
                  <a:pt x="993" y="505"/>
                </a:cubicBezTo>
                <a:cubicBezTo>
                  <a:pt x="992" y="506"/>
                  <a:pt x="990" y="506"/>
                  <a:pt x="988" y="507"/>
                </a:cubicBezTo>
                <a:cubicBezTo>
                  <a:pt x="986" y="507"/>
                  <a:pt x="984" y="507"/>
                  <a:pt x="982" y="506"/>
                </a:cubicBezTo>
                <a:cubicBezTo>
                  <a:pt x="979" y="504"/>
                  <a:pt x="975" y="502"/>
                  <a:pt x="973" y="498"/>
                </a:cubicBezTo>
                <a:cubicBezTo>
                  <a:pt x="971" y="493"/>
                  <a:pt x="967" y="491"/>
                  <a:pt x="962" y="490"/>
                </a:cubicBezTo>
                <a:cubicBezTo>
                  <a:pt x="960" y="489"/>
                  <a:pt x="958" y="488"/>
                  <a:pt x="957" y="485"/>
                </a:cubicBezTo>
                <a:cubicBezTo>
                  <a:pt x="956" y="480"/>
                  <a:pt x="953" y="475"/>
                  <a:pt x="954" y="469"/>
                </a:cubicBezTo>
                <a:cubicBezTo>
                  <a:pt x="954" y="468"/>
                  <a:pt x="954" y="466"/>
                  <a:pt x="954" y="465"/>
                </a:cubicBezTo>
                <a:cubicBezTo>
                  <a:pt x="953" y="461"/>
                  <a:pt x="949" y="457"/>
                  <a:pt x="946" y="458"/>
                </a:cubicBezTo>
                <a:cubicBezTo>
                  <a:pt x="938" y="459"/>
                  <a:pt x="931" y="460"/>
                  <a:pt x="923" y="460"/>
                </a:cubicBezTo>
                <a:cubicBezTo>
                  <a:pt x="920" y="461"/>
                  <a:pt x="917" y="464"/>
                  <a:pt x="916" y="467"/>
                </a:cubicBezTo>
                <a:cubicBezTo>
                  <a:pt x="915" y="469"/>
                  <a:pt x="916" y="472"/>
                  <a:pt x="918" y="474"/>
                </a:cubicBezTo>
                <a:cubicBezTo>
                  <a:pt x="920" y="475"/>
                  <a:pt x="921" y="476"/>
                  <a:pt x="923" y="475"/>
                </a:cubicBezTo>
                <a:cubicBezTo>
                  <a:pt x="924" y="474"/>
                  <a:pt x="925" y="473"/>
                  <a:pt x="926" y="473"/>
                </a:cubicBezTo>
                <a:cubicBezTo>
                  <a:pt x="929" y="472"/>
                  <a:pt x="932" y="472"/>
                  <a:pt x="935" y="471"/>
                </a:cubicBezTo>
                <a:cubicBezTo>
                  <a:pt x="939" y="471"/>
                  <a:pt x="942" y="469"/>
                  <a:pt x="945" y="468"/>
                </a:cubicBezTo>
                <a:cubicBezTo>
                  <a:pt x="945" y="468"/>
                  <a:pt x="946" y="469"/>
                  <a:pt x="947" y="470"/>
                </a:cubicBezTo>
                <a:cubicBezTo>
                  <a:pt x="947" y="470"/>
                  <a:pt x="946" y="471"/>
                  <a:pt x="946" y="471"/>
                </a:cubicBezTo>
                <a:cubicBezTo>
                  <a:pt x="943" y="473"/>
                  <a:pt x="940" y="473"/>
                  <a:pt x="937" y="475"/>
                </a:cubicBezTo>
                <a:cubicBezTo>
                  <a:pt x="933" y="478"/>
                  <a:pt x="930" y="479"/>
                  <a:pt x="925" y="480"/>
                </a:cubicBezTo>
                <a:cubicBezTo>
                  <a:pt x="923" y="481"/>
                  <a:pt x="921" y="481"/>
                  <a:pt x="919" y="482"/>
                </a:cubicBezTo>
                <a:cubicBezTo>
                  <a:pt x="916" y="483"/>
                  <a:pt x="913" y="485"/>
                  <a:pt x="912" y="489"/>
                </a:cubicBezTo>
                <a:cubicBezTo>
                  <a:pt x="911" y="494"/>
                  <a:pt x="909" y="500"/>
                  <a:pt x="909" y="505"/>
                </a:cubicBezTo>
                <a:cubicBezTo>
                  <a:pt x="909" y="506"/>
                  <a:pt x="908" y="508"/>
                  <a:pt x="906" y="509"/>
                </a:cubicBezTo>
                <a:cubicBezTo>
                  <a:pt x="905" y="510"/>
                  <a:pt x="903" y="511"/>
                  <a:pt x="902" y="511"/>
                </a:cubicBezTo>
                <a:cubicBezTo>
                  <a:pt x="900" y="510"/>
                  <a:pt x="901" y="508"/>
                  <a:pt x="902" y="507"/>
                </a:cubicBezTo>
                <a:cubicBezTo>
                  <a:pt x="904" y="504"/>
                  <a:pt x="904" y="502"/>
                  <a:pt x="902" y="499"/>
                </a:cubicBezTo>
                <a:cubicBezTo>
                  <a:pt x="901" y="496"/>
                  <a:pt x="899" y="492"/>
                  <a:pt x="897" y="489"/>
                </a:cubicBezTo>
                <a:cubicBezTo>
                  <a:pt x="896" y="486"/>
                  <a:pt x="894" y="483"/>
                  <a:pt x="893" y="480"/>
                </a:cubicBezTo>
                <a:cubicBezTo>
                  <a:pt x="892" y="478"/>
                  <a:pt x="889" y="477"/>
                  <a:pt x="887" y="477"/>
                </a:cubicBezTo>
                <a:cubicBezTo>
                  <a:pt x="885" y="477"/>
                  <a:pt x="883" y="478"/>
                  <a:pt x="881" y="479"/>
                </a:cubicBezTo>
                <a:cubicBezTo>
                  <a:pt x="865" y="482"/>
                  <a:pt x="850" y="479"/>
                  <a:pt x="836" y="468"/>
                </a:cubicBezTo>
                <a:cubicBezTo>
                  <a:pt x="835" y="468"/>
                  <a:pt x="835" y="465"/>
                  <a:pt x="836" y="464"/>
                </a:cubicBezTo>
                <a:cubicBezTo>
                  <a:pt x="838" y="461"/>
                  <a:pt x="840" y="459"/>
                  <a:pt x="844" y="459"/>
                </a:cubicBezTo>
                <a:cubicBezTo>
                  <a:pt x="845" y="459"/>
                  <a:pt x="847" y="459"/>
                  <a:pt x="849" y="459"/>
                </a:cubicBezTo>
                <a:cubicBezTo>
                  <a:pt x="856" y="458"/>
                  <a:pt x="859" y="455"/>
                  <a:pt x="857" y="448"/>
                </a:cubicBezTo>
                <a:cubicBezTo>
                  <a:pt x="857" y="445"/>
                  <a:pt x="855" y="442"/>
                  <a:pt x="854" y="439"/>
                </a:cubicBezTo>
                <a:cubicBezTo>
                  <a:pt x="852" y="435"/>
                  <a:pt x="848" y="432"/>
                  <a:pt x="843" y="433"/>
                </a:cubicBezTo>
                <a:cubicBezTo>
                  <a:pt x="837" y="433"/>
                  <a:pt x="833" y="431"/>
                  <a:pt x="828" y="428"/>
                </a:cubicBezTo>
                <a:cubicBezTo>
                  <a:pt x="822" y="423"/>
                  <a:pt x="816" y="418"/>
                  <a:pt x="810" y="413"/>
                </a:cubicBezTo>
                <a:cubicBezTo>
                  <a:pt x="806" y="410"/>
                  <a:pt x="803" y="407"/>
                  <a:pt x="802" y="402"/>
                </a:cubicBezTo>
                <a:cubicBezTo>
                  <a:pt x="801" y="395"/>
                  <a:pt x="796" y="391"/>
                  <a:pt x="790" y="389"/>
                </a:cubicBezTo>
                <a:cubicBezTo>
                  <a:pt x="785" y="387"/>
                  <a:pt x="781" y="387"/>
                  <a:pt x="777" y="392"/>
                </a:cubicBezTo>
                <a:cubicBezTo>
                  <a:pt x="776" y="393"/>
                  <a:pt x="774" y="395"/>
                  <a:pt x="772" y="396"/>
                </a:cubicBezTo>
                <a:cubicBezTo>
                  <a:pt x="771" y="397"/>
                  <a:pt x="769" y="397"/>
                  <a:pt x="767" y="397"/>
                </a:cubicBezTo>
                <a:cubicBezTo>
                  <a:pt x="765" y="397"/>
                  <a:pt x="764" y="395"/>
                  <a:pt x="765" y="394"/>
                </a:cubicBezTo>
                <a:cubicBezTo>
                  <a:pt x="769" y="388"/>
                  <a:pt x="770" y="382"/>
                  <a:pt x="771" y="376"/>
                </a:cubicBezTo>
                <a:cubicBezTo>
                  <a:pt x="771" y="375"/>
                  <a:pt x="771" y="375"/>
                  <a:pt x="770" y="374"/>
                </a:cubicBezTo>
                <a:cubicBezTo>
                  <a:pt x="770" y="374"/>
                  <a:pt x="769" y="374"/>
                  <a:pt x="769" y="374"/>
                </a:cubicBezTo>
                <a:cubicBezTo>
                  <a:pt x="767" y="374"/>
                  <a:pt x="766" y="375"/>
                  <a:pt x="765" y="376"/>
                </a:cubicBezTo>
                <a:cubicBezTo>
                  <a:pt x="760" y="380"/>
                  <a:pt x="755" y="384"/>
                  <a:pt x="751" y="388"/>
                </a:cubicBezTo>
                <a:cubicBezTo>
                  <a:pt x="750" y="388"/>
                  <a:pt x="749" y="388"/>
                  <a:pt x="748" y="388"/>
                </a:cubicBezTo>
                <a:cubicBezTo>
                  <a:pt x="747" y="388"/>
                  <a:pt x="746" y="387"/>
                  <a:pt x="746" y="386"/>
                </a:cubicBezTo>
                <a:cubicBezTo>
                  <a:pt x="745" y="382"/>
                  <a:pt x="745" y="377"/>
                  <a:pt x="746" y="373"/>
                </a:cubicBezTo>
                <a:cubicBezTo>
                  <a:pt x="748" y="365"/>
                  <a:pt x="749" y="358"/>
                  <a:pt x="748" y="350"/>
                </a:cubicBezTo>
                <a:cubicBezTo>
                  <a:pt x="748" y="348"/>
                  <a:pt x="748" y="347"/>
                  <a:pt x="747" y="345"/>
                </a:cubicBezTo>
                <a:cubicBezTo>
                  <a:pt x="747" y="345"/>
                  <a:pt x="745" y="344"/>
                  <a:pt x="744" y="345"/>
                </a:cubicBezTo>
                <a:cubicBezTo>
                  <a:pt x="742" y="346"/>
                  <a:pt x="741" y="349"/>
                  <a:pt x="741" y="352"/>
                </a:cubicBezTo>
                <a:cubicBezTo>
                  <a:pt x="740" y="355"/>
                  <a:pt x="739" y="357"/>
                  <a:pt x="737" y="359"/>
                </a:cubicBezTo>
                <a:cubicBezTo>
                  <a:pt x="733" y="361"/>
                  <a:pt x="730" y="363"/>
                  <a:pt x="727" y="364"/>
                </a:cubicBezTo>
                <a:cubicBezTo>
                  <a:pt x="725" y="366"/>
                  <a:pt x="723" y="365"/>
                  <a:pt x="721" y="363"/>
                </a:cubicBezTo>
                <a:cubicBezTo>
                  <a:pt x="720" y="363"/>
                  <a:pt x="719" y="362"/>
                  <a:pt x="719" y="361"/>
                </a:cubicBezTo>
                <a:cubicBezTo>
                  <a:pt x="719" y="362"/>
                  <a:pt x="719" y="362"/>
                  <a:pt x="719" y="362"/>
                </a:cubicBezTo>
                <a:cubicBezTo>
                  <a:pt x="718" y="362"/>
                  <a:pt x="718" y="362"/>
                  <a:pt x="717" y="362"/>
                </a:cubicBezTo>
                <a:cubicBezTo>
                  <a:pt x="717" y="362"/>
                  <a:pt x="716" y="363"/>
                  <a:pt x="715" y="364"/>
                </a:cubicBezTo>
                <a:cubicBezTo>
                  <a:pt x="714" y="364"/>
                  <a:pt x="714" y="364"/>
                  <a:pt x="713" y="364"/>
                </a:cubicBezTo>
                <a:cubicBezTo>
                  <a:pt x="712" y="363"/>
                  <a:pt x="712" y="362"/>
                  <a:pt x="714" y="362"/>
                </a:cubicBezTo>
                <a:cubicBezTo>
                  <a:pt x="715" y="362"/>
                  <a:pt x="716" y="362"/>
                  <a:pt x="717" y="362"/>
                </a:cubicBezTo>
                <a:cubicBezTo>
                  <a:pt x="718" y="362"/>
                  <a:pt x="718" y="361"/>
                  <a:pt x="718" y="361"/>
                </a:cubicBezTo>
                <a:cubicBezTo>
                  <a:pt x="718" y="361"/>
                  <a:pt x="719" y="361"/>
                  <a:pt x="719" y="361"/>
                </a:cubicBezTo>
                <a:cubicBezTo>
                  <a:pt x="719" y="360"/>
                  <a:pt x="720" y="358"/>
                  <a:pt x="720" y="357"/>
                </a:cubicBezTo>
                <a:cubicBezTo>
                  <a:pt x="720" y="355"/>
                  <a:pt x="720" y="353"/>
                  <a:pt x="718" y="353"/>
                </a:cubicBezTo>
                <a:cubicBezTo>
                  <a:pt x="714" y="352"/>
                  <a:pt x="711" y="351"/>
                  <a:pt x="707" y="352"/>
                </a:cubicBezTo>
                <a:cubicBezTo>
                  <a:pt x="699" y="356"/>
                  <a:pt x="691" y="358"/>
                  <a:pt x="682" y="359"/>
                </a:cubicBezTo>
                <a:cubicBezTo>
                  <a:pt x="679" y="359"/>
                  <a:pt x="676" y="360"/>
                  <a:pt x="674" y="361"/>
                </a:cubicBezTo>
                <a:cubicBezTo>
                  <a:pt x="669" y="365"/>
                  <a:pt x="664" y="365"/>
                  <a:pt x="659" y="364"/>
                </a:cubicBezTo>
                <a:cubicBezTo>
                  <a:pt x="659" y="364"/>
                  <a:pt x="659" y="364"/>
                  <a:pt x="659" y="364"/>
                </a:cubicBezTo>
                <a:cubicBezTo>
                  <a:pt x="658" y="365"/>
                  <a:pt x="658" y="365"/>
                  <a:pt x="658" y="365"/>
                </a:cubicBezTo>
                <a:cubicBezTo>
                  <a:pt x="659" y="364"/>
                  <a:pt x="659" y="364"/>
                  <a:pt x="659" y="364"/>
                </a:cubicBezTo>
                <a:cubicBezTo>
                  <a:pt x="659" y="364"/>
                  <a:pt x="659" y="364"/>
                  <a:pt x="659" y="364"/>
                </a:cubicBezTo>
                <a:cubicBezTo>
                  <a:pt x="659" y="364"/>
                  <a:pt x="660" y="363"/>
                  <a:pt x="660" y="363"/>
                </a:cubicBezTo>
                <a:cubicBezTo>
                  <a:pt x="661" y="361"/>
                  <a:pt x="662" y="359"/>
                  <a:pt x="660" y="357"/>
                </a:cubicBezTo>
                <a:cubicBezTo>
                  <a:pt x="659" y="355"/>
                  <a:pt x="657" y="355"/>
                  <a:pt x="654" y="357"/>
                </a:cubicBezTo>
                <a:cubicBezTo>
                  <a:pt x="653" y="358"/>
                  <a:pt x="651" y="359"/>
                  <a:pt x="649" y="359"/>
                </a:cubicBezTo>
                <a:cubicBezTo>
                  <a:pt x="645" y="360"/>
                  <a:pt x="641" y="361"/>
                  <a:pt x="638" y="362"/>
                </a:cubicBezTo>
                <a:cubicBezTo>
                  <a:pt x="633" y="364"/>
                  <a:pt x="630" y="366"/>
                  <a:pt x="629" y="371"/>
                </a:cubicBezTo>
                <a:cubicBezTo>
                  <a:pt x="629" y="373"/>
                  <a:pt x="627" y="374"/>
                  <a:pt x="626" y="373"/>
                </a:cubicBezTo>
                <a:cubicBezTo>
                  <a:pt x="624" y="372"/>
                  <a:pt x="621" y="370"/>
                  <a:pt x="619" y="369"/>
                </a:cubicBezTo>
                <a:cubicBezTo>
                  <a:pt x="616" y="366"/>
                  <a:pt x="614" y="363"/>
                  <a:pt x="613" y="360"/>
                </a:cubicBezTo>
                <a:cubicBezTo>
                  <a:pt x="612" y="356"/>
                  <a:pt x="610" y="352"/>
                  <a:pt x="609" y="349"/>
                </a:cubicBezTo>
                <a:cubicBezTo>
                  <a:pt x="608" y="346"/>
                  <a:pt x="607" y="344"/>
                  <a:pt x="606" y="341"/>
                </a:cubicBezTo>
                <a:cubicBezTo>
                  <a:pt x="602" y="337"/>
                  <a:pt x="597" y="335"/>
                  <a:pt x="593" y="332"/>
                </a:cubicBezTo>
                <a:cubicBezTo>
                  <a:pt x="586" y="327"/>
                  <a:pt x="579" y="323"/>
                  <a:pt x="576" y="314"/>
                </a:cubicBezTo>
                <a:cubicBezTo>
                  <a:pt x="576" y="313"/>
                  <a:pt x="575" y="312"/>
                  <a:pt x="574" y="311"/>
                </a:cubicBezTo>
                <a:cubicBezTo>
                  <a:pt x="573" y="310"/>
                  <a:pt x="571" y="308"/>
                  <a:pt x="569" y="308"/>
                </a:cubicBezTo>
                <a:cubicBezTo>
                  <a:pt x="567" y="308"/>
                  <a:pt x="565" y="308"/>
                  <a:pt x="562" y="308"/>
                </a:cubicBezTo>
                <a:cubicBezTo>
                  <a:pt x="558" y="308"/>
                  <a:pt x="554" y="306"/>
                  <a:pt x="550" y="303"/>
                </a:cubicBezTo>
                <a:cubicBezTo>
                  <a:pt x="545" y="299"/>
                  <a:pt x="540" y="295"/>
                  <a:pt x="534" y="292"/>
                </a:cubicBezTo>
                <a:cubicBezTo>
                  <a:pt x="531" y="291"/>
                  <a:pt x="528" y="289"/>
                  <a:pt x="526" y="286"/>
                </a:cubicBezTo>
                <a:cubicBezTo>
                  <a:pt x="523" y="284"/>
                  <a:pt x="521" y="281"/>
                  <a:pt x="520" y="277"/>
                </a:cubicBezTo>
                <a:cubicBezTo>
                  <a:pt x="518" y="273"/>
                  <a:pt x="514" y="272"/>
                  <a:pt x="510" y="272"/>
                </a:cubicBezTo>
                <a:cubicBezTo>
                  <a:pt x="507" y="273"/>
                  <a:pt x="505" y="274"/>
                  <a:pt x="502" y="274"/>
                </a:cubicBezTo>
                <a:cubicBezTo>
                  <a:pt x="500" y="275"/>
                  <a:pt x="499" y="274"/>
                  <a:pt x="498" y="272"/>
                </a:cubicBezTo>
                <a:cubicBezTo>
                  <a:pt x="495" y="268"/>
                  <a:pt x="495" y="263"/>
                  <a:pt x="493" y="259"/>
                </a:cubicBezTo>
                <a:cubicBezTo>
                  <a:pt x="492" y="258"/>
                  <a:pt x="493" y="257"/>
                  <a:pt x="494" y="256"/>
                </a:cubicBezTo>
                <a:cubicBezTo>
                  <a:pt x="495" y="255"/>
                  <a:pt x="496" y="253"/>
                  <a:pt x="495" y="251"/>
                </a:cubicBezTo>
                <a:cubicBezTo>
                  <a:pt x="494" y="250"/>
                  <a:pt x="493" y="249"/>
                  <a:pt x="492" y="248"/>
                </a:cubicBezTo>
                <a:cubicBezTo>
                  <a:pt x="490" y="247"/>
                  <a:pt x="487" y="246"/>
                  <a:pt x="484" y="245"/>
                </a:cubicBezTo>
                <a:cubicBezTo>
                  <a:pt x="483" y="245"/>
                  <a:pt x="481" y="245"/>
                  <a:pt x="479" y="244"/>
                </a:cubicBezTo>
                <a:cubicBezTo>
                  <a:pt x="477" y="244"/>
                  <a:pt x="476" y="243"/>
                  <a:pt x="477" y="239"/>
                </a:cubicBezTo>
                <a:cubicBezTo>
                  <a:pt x="477" y="237"/>
                  <a:pt x="477" y="234"/>
                  <a:pt x="474" y="233"/>
                </a:cubicBezTo>
                <a:cubicBezTo>
                  <a:pt x="474" y="233"/>
                  <a:pt x="474" y="233"/>
                  <a:pt x="474" y="233"/>
                </a:cubicBezTo>
                <a:cubicBezTo>
                  <a:pt x="474" y="233"/>
                  <a:pt x="474" y="233"/>
                  <a:pt x="473" y="233"/>
                </a:cubicBezTo>
                <a:cubicBezTo>
                  <a:pt x="472" y="234"/>
                  <a:pt x="470" y="234"/>
                  <a:pt x="468" y="235"/>
                </a:cubicBezTo>
                <a:cubicBezTo>
                  <a:pt x="468" y="235"/>
                  <a:pt x="467" y="235"/>
                  <a:pt x="467" y="236"/>
                </a:cubicBezTo>
                <a:cubicBezTo>
                  <a:pt x="466" y="236"/>
                  <a:pt x="466" y="236"/>
                  <a:pt x="466" y="236"/>
                </a:cubicBezTo>
                <a:cubicBezTo>
                  <a:pt x="466" y="237"/>
                  <a:pt x="466" y="238"/>
                  <a:pt x="466" y="239"/>
                </a:cubicBezTo>
                <a:cubicBezTo>
                  <a:pt x="464" y="241"/>
                  <a:pt x="463" y="242"/>
                  <a:pt x="460" y="240"/>
                </a:cubicBezTo>
                <a:cubicBezTo>
                  <a:pt x="460" y="240"/>
                  <a:pt x="459" y="238"/>
                  <a:pt x="459" y="237"/>
                </a:cubicBezTo>
                <a:cubicBezTo>
                  <a:pt x="459" y="237"/>
                  <a:pt x="460" y="236"/>
                  <a:pt x="460" y="236"/>
                </a:cubicBezTo>
                <a:cubicBezTo>
                  <a:pt x="462" y="236"/>
                  <a:pt x="464" y="236"/>
                  <a:pt x="466" y="236"/>
                </a:cubicBezTo>
                <a:cubicBezTo>
                  <a:pt x="466" y="236"/>
                  <a:pt x="466" y="235"/>
                  <a:pt x="466" y="235"/>
                </a:cubicBezTo>
                <a:cubicBezTo>
                  <a:pt x="467" y="235"/>
                  <a:pt x="468" y="235"/>
                  <a:pt x="468" y="235"/>
                </a:cubicBezTo>
                <a:cubicBezTo>
                  <a:pt x="470" y="234"/>
                  <a:pt x="471" y="233"/>
                  <a:pt x="473" y="233"/>
                </a:cubicBezTo>
                <a:cubicBezTo>
                  <a:pt x="473" y="233"/>
                  <a:pt x="474" y="233"/>
                  <a:pt x="474" y="233"/>
                </a:cubicBezTo>
                <a:cubicBezTo>
                  <a:pt x="474" y="233"/>
                  <a:pt x="474" y="233"/>
                  <a:pt x="474" y="233"/>
                </a:cubicBezTo>
                <a:cubicBezTo>
                  <a:pt x="473" y="229"/>
                  <a:pt x="471" y="225"/>
                  <a:pt x="468" y="222"/>
                </a:cubicBezTo>
                <a:cubicBezTo>
                  <a:pt x="466" y="220"/>
                  <a:pt x="464" y="220"/>
                  <a:pt x="462" y="221"/>
                </a:cubicBezTo>
                <a:cubicBezTo>
                  <a:pt x="458" y="222"/>
                  <a:pt x="454" y="223"/>
                  <a:pt x="451" y="225"/>
                </a:cubicBezTo>
                <a:cubicBezTo>
                  <a:pt x="447" y="229"/>
                  <a:pt x="441" y="229"/>
                  <a:pt x="436" y="228"/>
                </a:cubicBezTo>
                <a:cubicBezTo>
                  <a:pt x="433" y="227"/>
                  <a:pt x="429" y="226"/>
                  <a:pt x="426" y="225"/>
                </a:cubicBezTo>
                <a:cubicBezTo>
                  <a:pt x="421" y="223"/>
                  <a:pt x="417" y="226"/>
                  <a:pt x="413" y="229"/>
                </a:cubicBezTo>
                <a:cubicBezTo>
                  <a:pt x="412" y="230"/>
                  <a:pt x="411" y="232"/>
                  <a:pt x="410" y="234"/>
                </a:cubicBezTo>
                <a:cubicBezTo>
                  <a:pt x="409" y="235"/>
                  <a:pt x="408" y="236"/>
                  <a:pt x="407" y="236"/>
                </a:cubicBezTo>
                <a:cubicBezTo>
                  <a:pt x="402" y="237"/>
                  <a:pt x="398" y="239"/>
                  <a:pt x="394" y="238"/>
                </a:cubicBezTo>
                <a:cubicBezTo>
                  <a:pt x="387" y="236"/>
                  <a:pt x="382" y="238"/>
                  <a:pt x="377" y="241"/>
                </a:cubicBezTo>
                <a:cubicBezTo>
                  <a:pt x="367" y="248"/>
                  <a:pt x="356" y="253"/>
                  <a:pt x="348" y="261"/>
                </a:cubicBezTo>
                <a:cubicBezTo>
                  <a:pt x="347" y="262"/>
                  <a:pt x="346" y="263"/>
                  <a:pt x="344" y="264"/>
                </a:cubicBezTo>
                <a:cubicBezTo>
                  <a:pt x="334" y="270"/>
                  <a:pt x="323" y="276"/>
                  <a:pt x="310" y="269"/>
                </a:cubicBezTo>
                <a:cubicBezTo>
                  <a:pt x="310" y="269"/>
                  <a:pt x="309" y="268"/>
                  <a:pt x="309" y="268"/>
                </a:cubicBezTo>
                <a:cubicBezTo>
                  <a:pt x="304" y="266"/>
                  <a:pt x="301" y="267"/>
                  <a:pt x="297" y="271"/>
                </a:cubicBezTo>
                <a:cubicBezTo>
                  <a:pt x="295" y="274"/>
                  <a:pt x="293" y="278"/>
                  <a:pt x="290" y="280"/>
                </a:cubicBezTo>
                <a:cubicBezTo>
                  <a:pt x="285" y="284"/>
                  <a:pt x="284" y="288"/>
                  <a:pt x="286" y="293"/>
                </a:cubicBezTo>
                <a:cubicBezTo>
                  <a:pt x="288" y="297"/>
                  <a:pt x="288" y="301"/>
                  <a:pt x="290" y="304"/>
                </a:cubicBezTo>
                <a:cubicBezTo>
                  <a:pt x="293" y="315"/>
                  <a:pt x="294" y="325"/>
                  <a:pt x="289" y="335"/>
                </a:cubicBezTo>
                <a:cubicBezTo>
                  <a:pt x="288" y="337"/>
                  <a:pt x="289" y="340"/>
                  <a:pt x="291" y="342"/>
                </a:cubicBezTo>
                <a:cubicBezTo>
                  <a:pt x="294" y="344"/>
                  <a:pt x="297" y="345"/>
                  <a:pt x="300" y="347"/>
                </a:cubicBezTo>
                <a:cubicBezTo>
                  <a:pt x="300" y="347"/>
                  <a:pt x="300" y="349"/>
                  <a:pt x="300" y="350"/>
                </a:cubicBezTo>
                <a:cubicBezTo>
                  <a:pt x="301" y="350"/>
                  <a:pt x="300" y="350"/>
                  <a:pt x="299" y="350"/>
                </a:cubicBezTo>
                <a:cubicBezTo>
                  <a:pt x="297" y="350"/>
                  <a:pt x="296" y="351"/>
                  <a:pt x="295" y="353"/>
                </a:cubicBezTo>
                <a:cubicBezTo>
                  <a:pt x="295" y="357"/>
                  <a:pt x="295" y="361"/>
                  <a:pt x="294" y="366"/>
                </a:cubicBezTo>
                <a:cubicBezTo>
                  <a:pt x="294" y="366"/>
                  <a:pt x="296" y="368"/>
                  <a:pt x="297" y="368"/>
                </a:cubicBezTo>
                <a:cubicBezTo>
                  <a:pt x="298" y="368"/>
                  <a:pt x="299" y="368"/>
                  <a:pt x="301" y="368"/>
                </a:cubicBezTo>
                <a:cubicBezTo>
                  <a:pt x="301" y="368"/>
                  <a:pt x="301" y="368"/>
                  <a:pt x="301" y="368"/>
                </a:cubicBezTo>
                <a:cubicBezTo>
                  <a:pt x="301" y="368"/>
                  <a:pt x="301" y="368"/>
                  <a:pt x="302" y="368"/>
                </a:cubicBezTo>
                <a:cubicBezTo>
                  <a:pt x="302" y="367"/>
                  <a:pt x="302" y="366"/>
                  <a:pt x="302" y="365"/>
                </a:cubicBezTo>
                <a:cubicBezTo>
                  <a:pt x="302" y="365"/>
                  <a:pt x="302" y="365"/>
                  <a:pt x="302" y="365"/>
                </a:cubicBezTo>
                <a:cubicBezTo>
                  <a:pt x="301" y="364"/>
                  <a:pt x="301" y="364"/>
                  <a:pt x="301" y="364"/>
                </a:cubicBezTo>
                <a:cubicBezTo>
                  <a:pt x="302" y="365"/>
                  <a:pt x="302" y="365"/>
                  <a:pt x="302" y="365"/>
                </a:cubicBezTo>
                <a:cubicBezTo>
                  <a:pt x="302" y="365"/>
                  <a:pt x="302" y="365"/>
                  <a:pt x="302" y="365"/>
                </a:cubicBezTo>
                <a:cubicBezTo>
                  <a:pt x="307" y="364"/>
                  <a:pt x="311" y="364"/>
                  <a:pt x="316" y="366"/>
                </a:cubicBezTo>
                <a:cubicBezTo>
                  <a:pt x="317" y="367"/>
                  <a:pt x="318" y="369"/>
                  <a:pt x="317" y="370"/>
                </a:cubicBezTo>
                <a:cubicBezTo>
                  <a:pt x="316" y="371"/>
                  <a:pt x="315" y="372"/>
                  <a:pt x="315" y="372"/>
                </a:cubicBezTo>
                <a:cubicBezTo>
                  <a:pt x="310" y="372"/>
                  <a:pt x="306" y="370"/>
                  <a:pt x="302" y="368"/>
                </a:cubicBezTo>
                <a:cubicBezTo>
                  <a:pt x="302" y="368"/>
                  <a:pt x="302" y="368"/>
                  <a:pt x="302" y="368"/>
                </a:cubicBezTo>
                <a:cubicBezTo>
                  <a:pt x="301" y="368"/>
                  <a:pt x="301" y="368"/>
                  <a:pt x="301" y="368"/>
                </a:cubicBezTo>
                <a:cubicBezTo>
                  <a:pt x="300" y="370"/>
                  <a:pt x="300" y="372"/>
                  <a:pt x="298" y="373"/>
                </a:cubicBezTo>
                <a:cubicBezTo>
                  <a:pt x="294" y="373"/>
                  <a:pt x="291" y="374"/>
                  <a:pt x="289" y="376"/>
                </a:cubicBezTo>
                <a:cubicBezTo>
                  <a:pt x="286" y="378"/>
                  <a:pt x="282" y="378"/>
                  <a:pt x="279" y="376"/>
                </a:cubicBezTo>
                <a:cubicBezTo>
                  <a:pt x="276" y="375"/>
                  <a:pt x="273" y="373"/>
                  <a:pt x="269" y="371"/>
                </a:cubicBezTo>
                <a:cubicBezTo>
                  <a:pt x="267" y="370"/>
                  <a:pt x="266" y="367"/>
                  <a:pt x="268" y="365"/>
                </a:cubicBezTo>
                <a:cubicBezTo>
                  <a:pt x="269" y="364"/>
                  <a:pt x="270" y="362"/>
                  <a:pt x="272" y="360"/>
                </a:cubicBezTo>
                <a:cubicBezTo>
                  <a:pt x="274" y="356"/>
                  <a:pt x="270" y="352"/>
                  <a:pt x="267" y="352"/>
                </a:cubicBezTo>
                <a:cubicBezTo>
                  <a:pt x="262" y="352"/>
                  <a:pt x="258" y="352"/>
                  <a:pt x="254" y="352"/>
                </a:cubicBezTo>
                <a:cubicBezTo>
                  <a:pt x="251" y="353"/>
                  <a:pt x="248" y="354"/>
                  <a:pt x="246" y="356"/>
                </a:cubicBezTo>
                <a:cubicBezTo>
                  <a:pt x="244" y="359"/>
                  <a:pt x="241" y="359"/>
                  <a:pt x="238" y="358"/>
                </a:cubicBezTo>
                <a:cubicBezTo>
                  <a:pt x="235" y="358"/>
                  <a:pt x="232" y="359"/>
                  <a:pt x="230" y="360"/>
                </a:cubicBezTo>
                <a:cubicBezTo>
                  <a:pt x="222" y="361"/>
                  <a:pt x="216" y="366"/>
                  <a:pt x="209" y="369"/>
                </a:cubicBezTo>
                <a:cubicBezTo>
                  <a:pt x="206" y="370"/>
                  <a:pt x="205" y="373"/>
                  <a:pt x="207" y="376"/>
                </a:cubicBezTo>
                <a:cubicBezTo>
                  <a:pt x="209" y="379"/>
                  <a:pt x="212" y="383"/>
                  <a:pt x="214" y="386"/>
                </a:cubicBezTo>
                <a:cubicBezTo>
                  <a:pt x="215" y="388"/>
                  <a:pt x="215" y="388"/>
                  <a:pt x="212" y="390"/>
                </a:cubicBezTo>
                <a:cubicBezTo>
                  <a:pt x="211" y="390"/>
                  <a:pt x="210" y="390"/>
                  <a:pt x="209" y="391"/>
                </a:cubicBezTo>
                <a:cubicBezTo>
                  <a:pt x="208" y="396"/>
                  <a:pt x="205" y="401"/>
                  <a:pt x="204" y="406"/>
                </a:cubicBezTo>
                <a:cubicBezTo>
                  <a:pt x="203" y="408"/>
                  <a:pt x="204" y="411"/>
                  <a:pt x="205" y="413"/>
                </a:cubicBezTo>
                <a:cubicBezTo>
                  <a:pt x="209" y="418"/>
                  <a:pt x="213" y="423"/>
                  <a:pt x="221" y="422"/>
                </a:cubicBezTo>
                <a:cubicBezTo>
                  <a:pt x="227" y="421"/>
                  <a:pt x="233" y="421"/>
                  <a:pt x="238" y="425"/>
                </a:cubicBezTo>
                <a:cubicBezTo>
                  <a:pt x="241" y="428"/>
                  <a:pt x="244" y="428"/>
                  <a:pt x="247" y="426"/>
                </a:cubicBezTo>
                <a:cubicBezTo>
                  <a:pt x="253" y="424"/>
                  <a:pt x="258" y="421"/>
                  <a:pt x="264" y="419"/>
                </a:cubicBezTo>
                <a:cubicBezTo>
                  <a:pt x="265" y="419"/>
                  <a:pt x="267" y="419"/>
                  <a:pt x="269" y="420"/>
                </a:cubicBezTo>
                <a:cubicBezTo>
                  <a:pt x="269" y="420"/>
                  <a:pt x="270" y="420"/>
                  <a:pt x="270" y="421"/>
                </a:cubicBezTo>
                <a:cubicBezTo>
                  <a:pt x="270" y="421"/>
                  <a:pt x="270" y="422"/>
                  <a:pt x="270" y="422"/>
                </a:cubicBezTo>
                <a:cubicBezTo>
                  <a:pt x="269" y="423"/>
                  <a:pt x="268" y="424"/>
                  <a:pt x="267" y="424"/>
                </a:cubicBezTo>
                <a:cubicBezTo>
                  <a:pt x="264" y="425"/>
                  <a:pt x="262" y="426"/>
                  <a:pt x="262" y="429"/>
                </a:cubicBezTo>
                <a:cubicBezTo>
                  <a:pt x="263" y="431"/>
                  <a:pt x="263" y="433"/>
                  <a:pt x="262" y="434"/>
                </a:cubicBezTo>
                <a:cubicBezTo>
                  <a:pt x="260" y="438"/>
                  <a:pt x="258" y="443"/>
                  <a:pt x="257" y="448"/>
                </a:cubicBezTo>
                <a:cubicBezTo>
                  <a:pt x="256" y="453"/>
                  <a:pt x="248" y="459"/>
                  <a:pt x="242" y="459"/>
                </a:cubicBezTo>
                <a:cubicBezTo>
                  <a:pt x="241" y="459"/>
                  <a:pt x="240" y="459"/>
                  <a:pt x="239" y="458"/>
                </a:cubicBezTo>
                <a:cubicBezTo>
                  <a:pt x="237" y="457"/>
                  <a:pt x="236" y="456"/>
                  <a:pt x="234" y="454"/>
                </a:cubicBezTo>
                <a:cubicBezTo>
                  <a:pt x="233" y="453"/>
                  <a:pt x="232" y="451"/>
                  <a:pt x="231" y="451"/>
                </a:cubicBezTo>
                <a:cubicBezTo>
                  <a:pt x="229" y="451"/>
                  <a:pt x="229" y="453"/>
                  <a:pt x="229" y="455"/>
                </a:cubicBezTo>
                <a:cubicBezTo>
                  <a:pt x="226" y="461"/>
                  <a:pt x="221" y="464"/>
                  <a:pt x="215" y="465"/>
                </a:cubicBezTo>
                <a:cubicBezTo>
                  <a:pt x="214" y="465"/>
                  <a:pt x="213" y="464"/>
                  <a:pt x="212" y="464"/>
                </a:cubicBezTo>
                <a:cubicBezTo>
                  <a:pt x="211" y="463"/>
                  <a:pt x="211" y="462"/>
                  <a:pt x="210" y="461"/>
                </a:cubicBezTo>
                <a:cubicBezTo>
                  <a:pt x="207" y="457"/>
                  <a:pt x="204" y="456"/>
                  <a:pt x="201" y="458"/>
                </a:cubicBezTo>
                <a:cubicBezTo>
                  <a:pt x="194" y="461"/>
                  <a:pt x="188" y="465"/>
                  <a:pt x="186" y="473"/>
                </a:cubicBezTo>
                <a:cubicBezTo>
                  <a:pt x="186" y="474"/>
                  <a:pt x="185" y="475"/>
                  <a:pt x="184" y="475"/>
                </a:cubicBezTo>
                <a:cubicBezTo>
                  <a:pt x="174" y="481"/>
                  <a:pt x="168" y="490"/>
                  <a:pt x="159" y="496"/>
                </a:cubicBezTo>
                <a:cubicBezTo>
                  <a:pt x="153" y="501"/>
                  <a:pt x="151" y="506"/>
                  <a:pt x="153" y="513"/>
                </a:cubicBezTo>
                <a:cubicBezTo>
                  <a:pt x="153" y="516"/>
                  <a:pt x="154" y="519"/>
                  <a:pt x="155" y="521"/>
                </a:cubicBezTo>
                <a:cubicBezTo>
                  <a:pt x="156" y="524"/>
                  <a:pt x="155" y="527"/>
                  <a:pt x="153" y="529"/>
                </a:cubicBezTo>
                <a:cubicBezTo>
                  <a:pt x="148" y="534"/>
                  <a:pt x="148" y="540"/>
                  <a:pt x="150" y="546"/>
                </a:cubicBezTo>
                <a:cubicBezTo>
                  <a:pt x="151" y="550"/>
                  <a:pt x="152" y="553"/>
                  <a:pt x="153" y="557"/>
                </a:cubicBezTo>
                <a:cubicBezTo>
                  <a:pt x="153" y="559"/>
                  <a:pt x="155" y="561"/>
                  <a:pt x="157" y="561"/>
                </a:cubicBezTo>
                <a:cubicBezTo>
                  <a:pt x="159" y="562"/>
                  <a:pt x="162" y="563"/>
                  <a:pt x="164" y="562"/>
                </a:cubicBezTo>
                <a:cubicBezTo>
                  <a:pt x="168" y="561"/>
                  <a:pt x="172" y="560"/>
                  <a:pt x="176" y="561"/>
                </a:cubicBezTo>
                <a:cubicBezTo>
                  <a:pt x="176" y="561"/>
                  <a:pt x="176" y="561"/>
                  <a:pt x="176" y="560"/>
                </a:cubicBezTo>
                <a:cubicBezTo>
                  <a:pt x="176" y="560"/>
                  <a:pt x="176" y="560"/>
                  <a:pt x="177" y="559"/>
                </a:cubicBezTo>
                <a:cubicBezTo>
                  <a:pt x="177" y="558"/>
                  <a:pt x="177" y="557"/>
                  <a:pt x="177" y="556"/>
                </a:cubicBezTo>
                <a:cubicBezTo>
                  <a:pt x="177" y="555"/>
                  <a:pt x="177" y="555"/>
                  <a:pt x="177" y="554"/>
                </a:cubicBezTo>
                <a:cubicBezTo>
                  <a:pt x="178" y="554"/>
                  <a:pt x="179" y="554"/>
                  <a:pt x="178" y="556"/>
                </a:cubicBezTo>
                <a:cubicBezTo>
                  <a:pt x="178" y="557"/>
                  <a:pt x="177" y="558"/>
                  <a:pt x="177" y="559"/>
                </a:cubicBezTo>
                <a:cubicBezTo>
                  <a:pt x="177" y="560"/>
                  <a:pt x="177" y="560"/>
                  <a:pt x="177" y="561"/>
                </a:cubicBezTo>
                <a:cubicBezTo>
                  <a:pt x="176" y="561"/>
                  <a:pt x="176" y="561"/>
                  <a:pt x="176" y="561"/>
                </a:cubicBezTo>
                <a:cubicBezTo>
                  <a:pt x="176" y="563"/>
                  <a:pt x="175" y="566"/>
                  <a:pt x="175" y="569"/>
                </a:cubicBezTo>
                <a:cubicBezTo>
                  <a:pt x="175" y="573"/>
                  <a:pt x="173" y="576"/>
                  <a:pt x="170" y="578"/>
                </a:cubicBezTo>
                <a:cubicBezTo>
                  <a:pt x="167" y="580"/>
                  <a:pt x="167" y="583"/>
                  <a:pt x="169" y="586"/>
                </a:cubicBezTo>
                <a:cubicBezTo>
                  <a:pt x="170" y="588"/>
                  <a:pt x="169" y="590"/>
                  <a:pt x="168" y="592"/>
                </a:cubicBezTo>
                <a:cubicBezTo>
                  <a:pt x="168" y="594"/>
                  <a:pt x="167" y="595"/>
                  <a:pt x="166" y="596"/>
                </a:cubicBezTo>
                <a:cubicBezTo>
                  <a:pt x="165" y="598"/>
                  <a:pt x="165" y="599"/>
                  <a:pt x="167" y="600"/>
                </a:cubicBezTo>
                <a:cubicBezTo>
                  <a:pt x="172" y="601"/>
                  <a:pt x="176" y="603"/>
                  <a:pt x="179" y="597"/>
                </a:cubicBezTo>
                <a:cubicBezTo>
                  <a:pt x="180" y="596"/>
                  <a:pt x="181" y="596"/>
                  <a:pt x="181" y="596"/>
                </a:cubicBezTo>
                <a:cubicBezTo>
                  <a:pt x="185" y="600"/>
                  <a:pt x="191" y="603"/>
                  <a:pt x="192" y="610"/>
                </a:cubicBezTo>
                <a:cubicBezTo>
                  <a:pt x="193" y="611"/>
                  <a:pt x="195" y="611"/>
                  <a:pt x="196" y="610"/>
                </a:cubicBezTo>
                <a:cubicBezTo>
                  <a:pt x="196" y="610"/>
                  <a:pt x="197" y="609"/>
                  <a:pt x="197" y="609"/>
                </a:cubicBezTo>
                <a:cubicBezTo>
                  <a:pt x="199" y="605"/>
                  <a:pt x="200" y="606"/>
                  <a:pt x="205" y="608"/>
                </a:cubicBezTo>
                <a:cubicBezTo>
                  <a:pt x="206" y="608"/>
                  <a:pt x="208" y="608"/>
                  <a:pt x="209" y="608"/>
                </a:cubicBezTo>
                <a:cubicBezTo>
                  <a:pt x="211" y="608"/>
                  <a:pt x="212" y="608"/>
                  <a:pt x="214" y="607"/>
                </a:cubicBezTo>
                <a:cubicBezTo>
                  <a:pt x="215" y="607"/>
                  <a:pt x="215" y="607"/>
                  <a:pt x="216" y="608"/>
                </a:cubicBezTo>
                <a:cubicBezTo>
                  <a:pt x="217" y="608"/>
                  <a:pt x="217" y="609"/>
                  <a:pt x="215" y="610"/>
                </a:cubicBezTo>
                <a:cubicBezTo>
                  <a:pt x="211" y="613"/>
                  <a:pt x="208" y="618"/>
                  <a:pt x="205" y="623"/>
                </a:cubicBezTo>
                <a:cubicBezTo>
                  <a:pt x="199" y="634"/>
                  <a:pt x="192" y="644"/>
                  <a:pt x="180" y="650"/>
                </a:cubicBezTo>
                <a:cubicBezTo>
                  <a:pt x="176" y="652"/>
                  <a:pt x="173" y="655"/>
                  <a:pt x="169" y="657"/>
                </a:cubicBezTo>
                <a:cubicBezTo>
                  <a:pt x="162" y="660"/>
                  <a:pt x="156" y="664"/>
                  <a:pt x="150" y="667"/>
                </a:cubicBezTo>
                <a:cubicBezTo>
                  <a:pt x="146" y="669"/>
                  <a:pt x="143" y="672"/>
                  <a:pt x="140" y="675"/>
                </a:cubicBezTo>
                <a:cubicBezTo>
                  <a:pt x="139" y="678"/>
                  <a:pt x="137" y="678"/>
                  <a:pt x="134" y="677"/>
                </a:cubicBezTo>
                <a:cubicBezTo>
                  <a:pt x="129" y="675"/>
                  <a:pt x="124" y="676"/>
                  <a:pt x="120" y="679"/>
                </a:cubicBezTo>
                <a:cubicBezTo>
                  <a:pt x="116" y="681"/>
                  <a:pt x="113" y="684"/>
                  <a:pt x="109" y="687"/>
                </a:cubicBezTo>
                <a:cubicBezTo>
                  <a:pt x="104" y="692"/>
                  <a:pt x="98" y="695"/>
                  <a:pt x="90" y="695"/>
                </a:cubicBezTo>
                <a:cubicBezTo>
                  <a:pt x="87" y="695"/>
                  <a:pt x="85" y="696"/>
                  <a:pt x="82" y="696"/>
                </a:cubicBezTo>
                <a:cubicBezTo>
                  <a:pt x="76" y="696"/>
                  <a:pt x="73" y="700"/>
                  <a:pt x="70" y="704"/>
                </a:cubicBezTo>
                <a:cubicBezTo>
                  <a:pt x="70" y="705"/>
                  <a:pt x="70" y="707"/>
                  <a:pt x="71" y="707"/>
                </a:cubicBezTo>
                <a:cubicBezTo>
                  <a:pt x="71" y="708"/>
                  <a:pt x="72" y="709"/>
                  <a:pt x="73" y="709"/>
                </a:cubicBezTo>
                <a:cubicBezTo>
                  <a:pt x="75" y="709"/>
                  <a:pt x="77" y="709"/>
                  <a:pt x="78" y="708"/>
                </a:cubicBezTo>
                <a:cubicBezTo>
                  <a:pt x="81" y="707"/>
                  <a:pt x="85" y="708"/>
                  <a:pt x="88" y="707"/>
                </a:cubicBezTo>
                <a:cubicBezTo>
                  <a:pt x="90" y="707"/>
                  <a:pt x="93" y="706"/>
                  <a:pt x="94" y="705"/>
                </a:cubicBezTo>
                <a:cubicBezTo>
                  <a:pt x="97" y="701"/>
                  <a:pt x="102" y="699"/>
                  <a:pt x="107" y="699"/>
                </a:cubicBezTo>
                <a:cubicBezTo>
                  <a:pt x="114" y="699"/>
                  <a:pt x="119" y="696"/>
                  <a:pt x="123" y="689"/>
                </a:cubicBezTo>
                <a:cubicBezTo>
                  <a:pt x="123" y="689"/>
                  <a:pt x="122" y="689"/>
                  <a:pt x="122" y="689"/>
                </a:cubicBezTo>
                <a:cubicBezTo>
                  <a:pt x="123" y="688"/>
                  <a:pt x="123" y="688"/>
                  <a:pt x="123" y="688"/>
                </a:cubicBezTo>
                <a:cubicBezTo>
                  <a:pt x="123" y="689"/>
                  <a:pt x="123" y="689"/>
                  <a:pt x="123" y="689"/>
                </a:cubicBezTo>
                <a:cubicBezTo>
                  <a:pt x="123" y="689"/>
                  <a:pt x="123" y="689"/>
                  <a:pt x="123" y="689"/>
                </a:cubicBezTo>
                <a:cubicBezTo>
                  <a:pt x="124" y="691"/>
                  <a:pt x="125" y="694"/>
                  <a:pt x="127" y="696"/>
                </a:cubicBezTo>
                <a:cubicBezTo>
                  <a:pt x="128" y="697"/>
                  <a:pt x="128" y="697"/>
                  <a:pt x="129" y="694"/>
                </a:cubicBezTo>
                <a:cubicBezTo>
                  <a:pt x="130" y="693"/>
                  <a:pt x="130" y="692"/>
                  <a:pt x="131" y="692"/>
                </a:cubicBezTo>
                <a:cubicBezTo>
                  <a:pt x="136" y="691"/>
                  <a:pt x="140" y="688"/>
                  <a:pt x="145" y="689"/>
                </a:cubicBezTo>
                <a:cubicBezTo>
                  <a:pt x="148" y="689"/>
                  <a:pt x="149" y="690"/>
                  <a:pt x="151" y="688"/>
                </a:cubicBezTo>
                <a:cubicBezTo>
                  <a:pt x="154" y="686"/>
                  <a:pt x="157" y="685"/>
                  <a:pt x="160" y="684"/>
                </a:cubicBezTo>
                <a:cubicBezTo>
                  <a:pt x="165" y="682"/>
                  <a:pt x="171" y="681"/>
                  <a:pt x="173" y="675"/>
                </a:cubicBezTo>
                <a:cubicBezTo>
                  <a:pt x="177" y="673"/>
                  <a:pt x="180" y="670"/>
                  <a:pt x="184" y="668"/>
                </a:cubicBezTo>
                <a:cubicBezTo>
                  <a:pt x="185" y="668"/>
                  <a:pt x="187" y="668"/>
                  <a:pt x="189" y="669"/>
                </a:cubicBezTo>
                <a:cubicBezTo>
                  <a:pt x="190" y="667"/>
                  <a:pt x="190" y="665"/>
                  <a:pt x="191" y="665"/>
                </a:cubicBezTo>
                <a:cubicBezTo>
                  <a:pt x="195" y="664"/>
                  <a:pt x="198" y="662"/>
                  <a:pt x="202" y="660"/>
                </a:cubicBezTo>
                <a:cubicBezTo>
                  <a:pt x="206" y="659"/>
                  <a:pt x="208" y="657"/>
                  <a:pt x="210" y="653"/>
                </a:cubicBezTo>
                <a:cubicBezTo>
                  <a:pt x="210" y="652"/>
                  <a:pt x="212" y="650"/>
                  <a:pt x="213" y="649"/>
                </a:cubicBezTo>
                <a:cubicBezTo>
                  <a:pt x="221" y="645"/>
                  <a:pt x="228" y="640"/>
                  <a:pt x="237" y="638"/>
                </a:cubicBezTo>
                <a:cubicBezTo>
                  <a:pt x="243" y="636"/>
                  <a:pt x="247" y="633"/>
                  <a:pt x="251" y="628"/>
                </a:cubicBezTo>
                <a:cubicBezTo>
                  <a:pt x="253" y="626"/>
                  <a:pt x="255" y="625"/>
                  <a:pt x="258" y="623"/>
                </a:cubicBezTo>
                <a:cubicBezTo>
                  <a:pt x="260" y="622"/>
                  <a:pt x="262" y="621"/>
                  <a:pt x="263" y="620"/>
                </a:cubicBezTo>
                <a:cubicBezTo>
                  <a:pt x="267" y="618"/>
                  <a:pt x="268" y="615"/>
                  <a:pt x="266" y="612"/>
                </a:cubicBezTo>
                <a:cubicBezTo>
                  <a:pt x="265" y="610"/>
                  <a:pt x="264" y="609"/>
                  <a:pt x="264" y="608"/>
                </a:cubicBezTo>
                <a:cubicBezTo>
                  <a:pt x="262" y="605"/>
                  <a:pt x="263" y="603"/>
                  <a:pt x="264" y="602"/>
                </a:cubicBezTo>
                <a:cubicBezTo>
                  <a:pt x="268" y="598"/>
                  <a:pt x="272" y="596"/>
                  <a:pt x="276" y="597"/>
                </a:cubicBezTo>
                <a:cubicBezTo>
                  <a:pt x="279" y="598"/>
                  <a:pt x="281" y="597"/>
                  <a:pt x="284" y="596"/>
                </a:cubicBezTo>
                <a:cubicBezTo>
                  <a:pt x="287" y="593"/>
                  <a:pt x="291" y="591"/>
                  <a:pt x="292" y="586"/>
                </a:cubicBezTo>
                <a:cubicBezTo>
                  <a:pt x="293" y="583"/>
                  <a:pt x="295" y="581"/>
                  <a:pt x="298" y="581"/>
                </a:cubicBezTo>
                <a:cubicBezTo>
                  <a:pt x="301" y="581"/>
                  <a:pt x="303" y="580"/>
                  <a:pt x="304" y="578"/>
                </a:cubicBezTo>
                <a:cubicBezTo>
                  <a:pt x="309" y="568"/>
                  <a:pt x="319" y="565"/>
                  <a:pt x="329" y="561"/>
                </a:cubicBezTo>
                <a:cubicBezTo>
                  <a:pt x="332" y="559"/>
                  <a:pt x="335" y="562"/>
                  <a:pt x="336" y="565"/>
                </a:cubicBezTo>
                <a:cubicBezTo>
                  <a:pt x="336" y="567"/>
                  <a:pt x="336" y="569"/>
                  <a:pt x="335" y="570"/>
                </a:cubicBezTo>
                <a:cubicBezTo>
                  <a:pt x="335" y="571"/>
                  <a:pt x="334" y="572"/>
                  <a:pt x="333" y="572"/>
                </a:cubicBezTo>
                <a:cubicBezTo>
                  <a:pt x="327" y="568"/>
                  <a:pt x="321" y="569"/>
                  <a:pt x="315" y="573"/>
                </a:cubicBezTo>
                <a:cubicBezTo>
                  <a:pt x="313" y="574"/>
                  <a:pt x="312" y="575"/>
                  <a:pt x="311" y="576"/>
                </a:cubicBezTo>
                <a:cubicBezTo>
                  <a:pt x="308" y="584"/>
                  <a:pt x="302" y="590"/>
                  <a:pt x="297" y="596"/>
                </a:cubicBezTo>
                <a:cubicBezTo>
                  <a:pt x="295" y="598"/>
                  <a:pt x="294" y="601"/>
                  <a:pt x="297" y="603"/>
                </a:cubicBezTo>
                <a:cubicBezTo>
                  <a:pt x="298" y="604"/>
                  <a:pt x="298" y="605"/>
                  <a:pt x="297" y="606"/>
                </a:cubicBezTo>
                <a:cubicBezTo>
                  <a:pt x="294" y="607"/>
                  <a:pt x="291" y="609"/>
                  <a:pt x="288" y="610"/>
                </a:cubicBezTo>
                <a:cubicBezTo>
                  <a:pt x="287" y="611"/>
                  <a:pt x="286" y="613"/>
                  <a:pt x="287" y="615"/>
                </a:cubicBezTo>
                <a:cubicBezTo>
                  <a:pt x="288" y="616"/>
                  <a:pt x="289" y="617"/>
                  <a:pt x="291" y="617"/>
                </a:cubicBezTo>
                <a:cubicBezTo>
                  <a:pt x="293" y="617"/>
                  <a:pt x="296" y="617"/>
                  <a:pt x="299" y="616"/>
                </a:cubicBezTo>
                <a:cubicBezTo>
                  <a:pt x="303" y="613"/>
                  <a:pt x="308" y="611"/>
                  <a:pt x="314" y="609"/>
                </a:cubicBezTo>
                <a:cubicBezTo>
                  <a:pt x="316" y="609"/>
                  <a:pt x="318" y="608"/>
                  <a:pt x="320" y="607"/>
                </a:cubicBezTo>
                <a:cubicBezTo>
                  <a:pt x="325" y="605"/>
                  <a:pt x="329" y="602"/>
                  <a:pt x="335" y="603"/>
                </a:cubicBezTo>
                <a:cubicBezTo>
                  <a:pt x="337" y="603"/>
                  <a:pt x="338" y="602"/>
                  <a:pt x="340" y="601"/>
                </a:cubicBezTo>
                <a:cubicBezTo>
                  <a:pt x="343" y="600"/>
                  <a:pt x="344" y="598"/>
                  <a:pt x="346" y="596"/>
                </a:cubicBezTo>
                <a:cubicBezTo>
                  <a:pt x="348" y="594"/>
                  <a:pt x="349" y="594"/>
                  <a:pt x="351" y="596"/>
                </a:cubicBezTo>
                <a:cubicBezTo>
                  <a:pt x="352" y="596"/>
                  <a:pt x="353" y="596"/>
                  <a:pt x="354" y="596"/>
                </a:cubicBezTo>
                <a:cubicBezTo>
                  <a:pt x="355" y="594"/>
                  <a:pt x="356" y="591"/>
                  <a:pt x="353" y="589"/>
                </a:cubicBezTo>
                <a:cubicBezTo>
                  <a:pt x="352" y="588"/>
                  <a:pt x="351" y="586"/>
                  <a:pt x="350" y="584"/>
                </a:cubicBezTo>
                <a:cubicBezTo>
                  <a:pt x="348" y="581"/>
                  <a:pt x="349" y="578"/>
                  <a:pt x="352" y="576"/>
                </a:cubicBezTo>
                <a:cubicBezTo>
                  <a:pt x="354" y="574"/>
                  <a:pt x="355" y="574"/>
                  <a:pt x="356" y="576"/>
                </a:cubicBezTo>
                <a:cubicBezTo>
                  <a:pt x="357" y="579"/>
                  <a:pt x="359" y="582"/>
                  <a:pt x="363" y="581"/>
                </a:cubicBezTo>
                <a:cubicBezTo>
                  <a:pt x="366" y="580"/>
                  <a:pt x="368" y="580"/>
                  <a:pt x="371" y="580"/>
                </a:cubicBezTo>
                <a:cubicBezTo>
                  <a:pt x="371" y="580"/>
                  <a:pt x="371" y="580"/>
                  <a:pt x="371" y="580"/>
                </a:cubicBezTo>
                <a:cubicBezTo>
                  <a:pt x="371" y="579"/>
                  <a:pt x="371" y="579"/>
                  <a:pt x="371" y="579"/>
                </a:cubicBezTo>
                <a:cubicBezTo>
                  <a:pt x="371" y="580"/>
                  <a:pt x="371" y="580"/>
                  <a:pt x="371" y="580"/>
                </a:cubicBezTo>
                <a:cubicBezTo>
                  <a:pt x="371" y="580"/>
                  <a:pt x="371" y="580"/>
                  <a:pt x="371" y="580"/>
                </a:cubicBezTo>
                <a:cubicBezTo>
                  <a:pt x="371" y="582"/>
                  <a:pt x="371" y="583"/>
                  <a:pt x="371" y="585"/>
                </a:cubicBezTo>
                <a:cubicBezTo>
                  <a:pt x="372" y="591"/>
                  <a:pt x="375" y="596"/>
                  <a:pt x="381" y="598"/>
                </a:cubicBezTo>
                <a:cubicBezTo>
                  <a:pt x="385" y="600"/>
                  <a:pt x="387" y="603"/>
                  <a:pt x="389" y="606"/>
                </a:cubicBezTo>
                <a:cubicBezTo>
                  <a:pt x="390" y="608"/>
                  <a:pt x="390" y="609"/>
                  <a:pt x="391" y="611"/>
                </a:cubicBezTo>
                <a:cubicBezTo>
                  <a:pt x="392" y="613"/>
                  <a:pt x="394" y="614"/>
                  <a:pt x="396" y="615"/>
                </a:cubicBezTo>
                <a:cubicBezTo>
                  <a:pt x="398" y="615"/>
                  <a:pt x="401" y="615"/>
                  <a:pt x="403" y="615"/>
                </a:cubicBezTo>
                <a:cubicBezTo>
                  <a:pt x="408" y="615"/>
                  <a:pt x="412" y="617"/>
                  <a:pt x="416" y="620"/>
                </a:cubicBezTo>
                <a:cubicBezTo>
                  <a:pt x="418" y="622"/>
                  <a:pt x="419" y="622"/>
                  <a:pt x="420" y="623"/>
                </a:cubicBezTo>
                <a:cubicBezTo>
                  <a:pt x="420" y="623"/>
                  <a:pt x="420" y="623"/>
                  <a:pt x="420" y="623"/>
                </a:cubicBezTo>
                <a:cubicBezTo>
                  <a:pt x="421" y="622"/>
                  <a:pt x="421" y="622"/>
                  <a:pt x="421" y="622"/>
                </a:cubicBezTo>
                <a:cubicBezTo>
                  <a:pt x="421" y="623"/>
                  <a:pt x="421" y="623"/>
                  <a:pt x="421" y="623"/>
                </a:cubicBezTo>
                <a:cubicBezTo>
                  <a:pt x="421" y="623"/>
                  <a:pt x="421" y="623"/>
                  <a:pt x="420" y="623"/>
                </a:cubicBezTo>
                <a:cubicBezTo>
                  <a:pt x="421" y="624"/>
                  <a:pt x="422" y="625"/>
                  <a:pt x="423" y="627"/>
                </a:cubicBezTo>
                <a:cubicBezTo>
                  <a:pt x="427" y="630"/>
                  <a:pt x="431" y="633"/>
                  <a:pt x="436" y="631"/>
                </a:cubicBezTo>
                <a:cubicBezTo>
                  <a:pt x="437" y="631"/>
                  <a:pt x="438" y="631"/>
                  <a:pt x="438" y="632"/>
                </a:cubicBezTo>
                <a:cubicBezTo>
                  <a:pt x="439" y="632"/>
                  <a:pt x="440" y="633"/>
                  <a:pt x="439" y="634"/>
                </a:cubicBezTo>
                <a:cubicBezTo>
                  <a:pt x="436" y="638"/>
                  <a:pt x="436" y="641"/>
                  <a:pt x="439" y="644"/>
                </a:cubicBezTo>
                <a:cubicBezTo>
                  <a:pt x="441" y="646"/>
                  <a:pt x="442" y="648"/>
                  <a:pt x="443" y="649"/>
                </a:cubicBezTo>
                <a:cubicBezTo>
                  <a:pt x="446" y="650"/>
                  <a:pt x="448" y="651"/>
                  <a:pt x="448" y="655"/>
                </a:cubicBezTo>
                <a:cubicBezTo>
                  <a:pt x="448" y="657"/>
                  <a:pt x="448" y="659"/>
                  <a:pt x="449" y="661"/>
                </a:cubicBezTo>
                <a:cubicBezTo>
                  <a:pt x="450" y="666"/>
                  <a:pt x="452" y="671"/>
                  <a:pt x="455" y="674"/>
                </a:cubicBezTo>
                <a:cubicBezTo>
                  <a:pt x="457" y="676"/>
                  <a:pt x="460" y="678"/>
                  <a:pt x="463" y="677"/>
                </a:cubicBezTo>
                <a:cubicBezTo>
                  <a:pt x="465" y="677"/>
                  <a:pt x="467" y="675"/>
                  <a:pt x="466" y="673"/>
                </a:cubicBezTo>
                <a:cubicBezTo>
                  <a:pt x="466" y="671"/>
                  <a:pt x="465" y="670"/>
                  <a:pt x="465" y="668"/>
                </a:cubicBezTo>
                <a:cubicBezTo>
                  <a:pt x="465" y="668"/>
                  <a:pt x="465" y="667"/>
                  <a:pt x="465" y="666"/>
                </a:cubicBezTo>
                <a:cubicBezTo>
                  <a:pt x="466" y="665"/>
                  <a:pt x="466" y="666"/>
                  <a:pt x="467" y="667"/>
                </a:cubicBezTo>
                <a:cubicBezTo>
                  <a:pt x="468" y="669"/>
                  <a:pt x="469" y="671"/>
                  <a:pt x="469" y="673"/>
                </a:cubicBezTo>
                <a:cubicBezTo>
                  <a:pt x="469" y="677"/>
                  <a:pt x="472" y="679"/>
                  <a:pt x="474" y="682"/>
                </a:cubicBezTo>
                <a:cubicBezTo>
                  <a:pt x="474" y="682"/>
                  <a:pt x="474" y="683"/>
                  <a:pt x="474" y="683"/>
                </a:cubicBezTo>
                <a:cubicBezTo>
                  <a:pt x="473" y="684"/>
                  <a:pt x="472" y="684"/>
                  <a:pt x="471" y="684"/>
                </a:cubicBezTo>
                <a:cubicBezTo>
                  <a:pt x="470" y="683"/>
                  <a:pt x="469" y="682"/>
                  <a:pt x="468" y="682"/>
                </a:cubicBezTo>
                <a:cubicBezTo>
                  <a:pt x="465" y="681"/>
                  <a:pt x="461" y="683"/>
                  <a:pt x="460" y="686"/>
                </a:cubicBezTo>
                <a:cubicBezTo>
                  <a:pt x="459" y="689"/>
                  <a:pt x="458" y="692"/>
                  <a:pt x="458" y="695"/>
                </a:cubicBezTo>
                <a:cubicBezTo>
                  <a:pt x="459" y="699"/>
                  <a:pt x="460" y="702"/>
                  <a:pt x="460" y="705"/>
                </a:cubicBezTo>
                <a:cubicBezTo>
                  <a:pt x="460" y="705"/>
                  <a:pt x="460" y="705"/>
                  <a:pt x="460" y="705"/>
                </a:cubicBezTo>
                <a:cubicBezTo>
                  <a:pt x="460" y="705"/>
                  <a:pt x="460" y="705"/>
                  <a:pt x="460" y="706"/>
                </a:cubicBezTo>
                <a:cubicBezTo>
                  <a:pt x="460" y="705"/>
                  <a:pt x="460" y="705"/>
                  <a:pt x="460" y="705"/>
                </a:cubicBezTo>
                <a:cubicBezTo>
                  <a:pt x="462" y="708"/>
                  <a:pt x="463" y="711"/>
                  <a:pt x="462" y="714"/>
                </a:cubicBezTo>
                <a:cubicBezTo>
                  <a:pt x="460" y="719"/>
                  <a:pt x="460" y="724"/>
                  <a:pt x="461" y="730"/>
                </a:cubicBezTo>
                <a:cubicBezTo>
                  <a:pt x="461" y="730"/>
                  <a:pt x="461" y="731"/>
                  <a:pt x="461" y="731"/>
                </a:cubicBezTo>
                <a:cubicBezTo>
                  <a:pt x="462" y="731"/>
                  <a:pt x="464" y="731"/>
                  <a:pt x="464" y="730"/>
                </a:cubicBezTo>
                <a:cubicBezTo>
                  <a:pt x="466" y="727"/>
                  <a:pt x="468" y="723"/>
                  <a:pt x="469" y="720"/>
                </a:cubicBezTo>
                <a:cubicBezTo>
                  <a:pt x="470" y="719"/>
                  <a:pt x="470" y="719"/>
                  <a:pt x="470" y="718"/>
                </a:cubicBezTo>
                <a:cubicBezTo>
                  <a:pt x="470" y="718"/>
                  <a:pt x="470" y="718"/>
                  <a:pt x="470" y="718"/>
                </a:cubicBezTo>
                <a:cubicBezTo>
                  <a:pt x="472" y="716"/>
                  <a:pt x="474" y="715"/>
                  <a:pt x="477" y="716"/>
                </a:cubicBezTo>
                <a:cubicBezTo>
                  <a:pt x="477" y="715"/>
                  <a:pt x="477" y="715"/>
                  <a:pt x="477" y="715"/>
                </a:cubicBezTo>
                <a:cubicBezTo>
                  <a:pt x="477" y="715"/>
                  <a:pt x="477" y="715"/>
                  <a:pt x="477" y="715"/>
                </a:cubicBezTo>
                <a:cubicBezTo>
                  <a:pt x="477" y="715"/>
                  <a:pt x="477" y="714"/>
                  <a:pt x="478" y="714"/>
                </a:cubicBezTo>
                <a:cubicBezTo>
                  <a:pt x="482" y="708"/>
                  <a:pt x="487" y="702"/>
                  <a:pt x="489" y="695"/>
                </a:cubicBezTo>
                <a:cubicBezTo>
                  <a:pt x="489" y="694"/>
                  <a:pt x="491" y="694"/>
                  <a:pt x="492" y="694"/>
                </a:cubicBezTo>
                <a:cubicBezTo>
                  <a:pt x="492" y="694"/>
                  <a:pt x="493" y="695"/>
                  <a:pt x="493" y="696"/>
                </a:cubicBezTo>
                <a:cubicBezTo>
                  <a:pt x="493" y="697"/>
                  <a:pt x="493" y="699"/>
                  <a:pt x="492" y="700"/>
                </a:cubicBezTo>
                <a:cubicBezTo>
                  <a:pt x="491" y="704"/>
                  <a:pt x="490" y="707"/>
                  <a:pt x="488" y="711"/>
                </a:cubicBezTo>
                <a:cubicBezTo>
                  <a:pt x="487" y="714"/>
                  <a:pt x="489" y="716"/>
                  <a:pt x="490" y="718"/>
                </a:cubicBezTo>
                <a:cubicBezTo>
                  <a:pt x="490" y="718"/>
                  <a:pt x="490" y="718"/>
                  <a:pt x="491" y="718"/>
                </a:cubicBezTo>
                <a:cubicBezTo>
                  <a:pt x="491" y="718"/>
                  <a:pt x="491" y="718"/>
                  <a:pt x="491" y="719"/>
                </a:cubicBezTo>
                <a:cubicBezTo>
                  <a:pt x="492" y="720"/>
                  <a:pt x="493" y="722"/>
                  <a:pt x="493" y="724"/>
                </a:cubicBezTo>
                <a:cubicBezTo>
                  <a:pt x="493" y="725"/>
                  <a:pt x="493" y="725"/>
                  <a:pt x="493" y="725"/>
                </a:cubicBezTo>
                <a:cubicBezTo>
                  <a:pt x="494" y="726"/>
                  <a:pt x="494" y="726"/>
                  <a:pt x="494" y="726"/>
                </a:cubicBezTo>
                <a:cubicBezTo>
                  <a:pt x="493" y="725"/>
                  <a:pt x="493" y="725"/>
                  <a:pt x="493" y="725"/>
                </a:cubicBezTo>
                <a:cubicBezTo>
                  <a:pt x="493" y="725"/>
                  <a:pt x="493" y="725"/>
                  <a:pt x="493" y="724"/>
                </a:cubicBezTo>
                <a:cubicBezTo>
                  <a:pt x="491" y="723"/>
                  <a:pt x="491" y="721"/>
                  <a:pt x="491" y="719"/>
                </a:cubicBezTo>
                <a:cubicBezTo>
                  <a:pt x="490" y="719"/>
                  <a:pt x="490" y="718"/>
                  <a:pt x="490" y="718"/>
                </a:cubicBezTo>
                <a:cubicBezTo>
                  <a:pt x="490" y="718"/>
                  <a:pt x="490" y="718"/>
                  <a:pt x="490" y="718"/>
                </a:cubicBezTo>
                <a:cubicBezTo>
                  <a:pt x="488" y="717"/>
                  <a:pt x="486" y="717"/>
                  <a:pt x="485" y="717"/>
                </a:cubicBezTo>
                <a:cubicBezTo>
                  <a:pt x="482" y="716"/>
                  <a:pt x="480" y="715"/>
                  <a:pt x="477" y="715"/>
                </a:cubicBezTo>
                <a:cubicBezTo>
                  <a:pt x="477" y="715"/>
                  <a:pt x="477" y="716"/>
                  <a:pt x="477" y="716"/>
                </a:cubicBezTo>
                <a:cubicBezTo>
                  <a:pt x="477" y="716"/>
                  <a:pt x="477" y="716"/>
                  <a:pt x="477" y="716"/>
                </a:cubicBezTo>
                <a:cubicBezTo>
                  <a:pt x="475" y="718"/>
                  <a:pt x="473" y="718"/>
                  <a:pt x="470" y="718"/>
                </a:cubicBezTo>
                <a:cubicBezTo>
                  <a:pt x="470" y="718"/>
                  <a:pt x="470" y="718"/>
                  <a:pt x="470" y="719"/>
                </a:cubicBezTo>
                <a:cubicBezTo>
                  <a:pt x="470" y="719"/>
                  <a:pt x="470" y="719"/>
                  <a:pt x="469" y="720"/>
                </a:cubicBezTo>
                <a:cubicBezTo>
                  <a:pt x="469" y="724"/>
                  <a:pt x="470" y="729"/>
                  <a:pt x="467" y="734"/>
                </a:cubicBezTo>
                <a:cubicBezTo>
                  <a:pt x="467" y="736"/>
                  <a:pt x="468" y="738"/>
                  <a:pt x="471" y="738"/>
                </a:cubicBezTo>
                <a:cubicBezTo>
                  <a:pt x="472" y="739"/>
                  <a:pt x="472" y="739"/>
                  <a:pt x="473" y="739"/>
                </a:cubicBezTo>
                <a:cubicBezTo>
                  <a:pt x="473" y="739"/>
                  <a:pt x="473" y="739"/>
                  <a:pt x="473" y="739"/>
                </a:cubicBezTo>
                <a:cubicBezTo>
                  <a:pt x="474" y="738"/>
                  <a:pt x="474" y="738"/>
                  <a:pt x="474" y="738"/>
                </a:cubicBezTo>
                <a:cubicBezTo>
                  <a:pt x="475" y="737"/>
                  <a:pt x="475" y="736"/>
                  <a:pt x="475" y="735"/>
                </a:cubicBezTo>
                <a:cubicBezTo>
                  <a:pt x="475" y="736"/>
                  <a:pt x="476" y="736"/>
                  <a:pt x="475" y="736"/>
                </a:cubicBezTo>
                <a:cubicBezTo>
                  <a:pt x="475" y="737"/>
                  <a:pt x="475" y="737"/>
                  <a:pt x="474" y="738"/>
                </a:cubicBezTo>
                <a:cubicBezTo>
                  <a:pt x="474" y="738"/>
                  <a:pt x="474" y="739"/>
                  <a:pt x="474" y="739"/>
                </a:cubicBezTo>
                <a:cubicBezTo>
                  <a:pt x="474" y="739"/>
                  <a:pt x="473" y="739"/>
                  <a:pt x="473" y="739"/>
                </a:cubicBezTo>
                <a:cubicBezTo>
                  <a:pt x="473" y="740"/>
                  <a:pt x="472" y="742"/>
                  <a:pt x="473" y="743"/>
                </a:cubicBezTo>
                <a:cubicBezTo>
                  <a:pt x="474" y="746"/>
                  <a:pt x="476" y="748"/>
                  <a:pt x="475" y="751"/>
                </a:cubicBezTo>
                <a:cubicBezTo>
                  <a:pt x="474" y="753"/>
                  <a:pt x="473" y="755"/>
                  <a:pt x="473" y="757"/>
                </a:cubicBezTo>
                <a:cubicBezTo>
                  <a:pt x="473" y="759"/>
                  <a:pt x="472" y="761"/>
                  <a:pt x="473" y="762"/>
                </a:cubicBezTo>
                <a:cubicBezTo>
                  <a:pt x="475" y="765"/>
                  <a:pt x="475" y="770"/>
                  <a:pt x="477" y="774"/>
                </a:cubicBezTo>
                <a:cubicBezTo>
                  <a:pt x="477" y="775"/>
                  <a:pt x="479" y="775"/>
                  <a:pt x="480" y="775"/>
                </a:cubicBezTo>
                <a:cubicBezTo>
                  <a:pt x="481" y="775"/>
                  <a:pt x="482" y="774"/>
                  <a:pt x="482" y="774"/>
                </a:cubicBezTo>
                <a:cubicBezTo>
                  <a:pt x="484" y="769"/>
                  <a:pt x="487" y="764"/>
                  <a:pt x="487" y="759"/>
                </a:cubicBezTo>
                <a:cubicBezTo>
                  <a:pt x="487" y="759"/>
                  <a:pt x="487" y="759"/>
                  <a:pt x="487" y="759"/>
                </a:cubicBezTo>
                <a:cubicBezTo>
                  <a:pt x="487" y="758"/>
                  <a:pt x="487" y="758"/>
                  <a:pt x="486" y="758"/>
                </a:cubicBezTo>
                <a:cubicBezTo>
                  <a:pt x="486" y="757"/>
                  <a:pt x="486" y="757"/>
                  <a:pt x="486" y="757"/>
                </a:cubicBezTo>
                <a:cubicBezTo>
                  <a:pt x="486" y="757"/>
                  <a:pt x="486" y="757"/>
                  <a:pt x="486" y="757"/>
                </a:cubicBezTo>
                <a:cubicBezTo>
                  <a:pt x="486" y="757"/>
                  <a:pt x="486" y="758"/>
                  <a:pt x="486" y="758"/>
                </a:cubicBezTo>
                <a:cubicBezTo>
                  <a:pt x="487" y="758"/>
                  <a:pt x="487" y="758"/>
                  <a:pt x="487" y="758"/>
                </a:cubicBezTo>
                <a:cubicBezTo>
                  <a:pt x="487" y="758"/>
                  <a:pt x="487" y="758"/>
                  <a:pt x="487" y="759"/>
                </a:cubicBezTo>
                <a:cubicBezTo>
                  <a:pt x="488" y="759"/>
                  <a:pt x="489" y="759"/>
                  <a:pt x="490" y="759"/>
                </a:cubicBezTo>
                <a:cubicBezTo>
                  <a:pt x="490" y="758"/>
                  <a:pt x="490" y="758"/>
                  <a:pt x="490" y="758"/>
                </a:cubicBezTo>
                <a:cubicBezTo>
                  <a:pt x="490" y="758"/>
                  <a:pt x="490" y="758"/>
                  <a:pt x="490" y="758"/>
                </a:cubicBezTo>
                <a:cubicBezTo>
                  <a:pt x="490" y="758"/>
                  <a:pt x="490" y="758"/>
                  <a:pt x="490" y="759"/>
                </a:cubicBezTo>
                <a:cubicBezTo>
                  <a:pt x="490" y="759"/>
                  <a:pt x="490" y="759"/>
                  <a:pt x="490" y="759"/>
                </a:cubicBezTo>
                <a:cubicBezTo>
                  <a:pt x="491" y="761"/>
                  <a:pt x="492" y="762"/>
                  <a:pt x="493" y="764"/>
                </a:cubicBezTo>
                <a:cubicBezTo>
                  <a:pt x="494" y="764"/>
                  <a:pt x="494" y="764"/>
                  <a:pt x="494" y="764"/>
                </a:cubicBezTo>
                <a:cubicBezTo>
                  <a:pt x="494" y="764"/>
                  <a:pt x="494" y="765"/>
                  <a:pt x="494" y="765"/>
                </a:cubicBezTo>
                <a:cubicBezTo>
                  <a:pt x="494" y="766"/>
                  <a:pt x="495" y="767"/>
                  <a:pt x="495" y="767"/>
                </a:cubicBezTo>
                <a:cubicBezTo>
                  <a:pt x="495" y="769"/>
                  <a:pt x="494" y="769"/>
                  <a:pt x="494" y="767"/>
                </a:cubicBezTo>
                <a:cubicBezTo>
                  <a:pt x="494" y="767"/>
                  <a:pt x="494" y="766"/>
                  <a:pt x="494" y="766"/>
                </a:cubicBezTo>
                <a:cubicBezTo>
                  <a:pt x="494" y="766"/>
                  <a:pt x="494" y="765"/>
                  <a:pt x="494" y="765"/>
                </a:cubicBezTo>
                <a:cubicBezTo>
                  <a:pt x="494" y="765"/>
                  <a:pt x="494" y="765"/>
                  <a:pt x="494" y="764"/>
                </a:cubicBezTo>
                <a:cubicBezTo>
                  <a:pt x="493" y="764"/>
                  <a:pt x="493" y="764"/>
                  <a:pt x="493" y="764"/>
                </a:cubicBezTo>
                <a:cubicBezTo>
                  <a:pt x="491" y="766"/>
                  <a:pt x="490" y="768"/>
                  <a:pt x="491" y="771"/>
                </a:cubicBezTo>
                <a:cubicBezTo>
                  <a:pt x="491" y="773"/>
                  <a:pt x="493" y="775"/>
                  <a:pt x="495" y="776"/>
                </a:cubicBezTo>
                <a:cubicBezTo>
                  <a:pt x="496" y="777"/>
                  <a:pt x="498" y="777"/>
                  <a:pt x="499" y="777"/>
                </a:cubicBezTo>
                <a:cubicBezTo>
                  <a:pt x="502" y="777"/>
                  <a:pt x="502" y="779"/>
                  <a:pt x="501" y="780"/>
                </a:cubicBezTo>
                <a:cubicBezTo>
                  <a:pt x="498" y="784"/>
                  <a:pt x="496" y="787"/>
                  <a:pt x="496" y="792"/>
                </a:cubicBezTo>
                <a:cubicBezTo>
                  <a:pt x="496" y="794"/>
                  <a:pt x="493" y="794"/>
                  <a:pt x="492" y="794"/>
                </a:cubicBezTo>
                <a:cubicBezTo>
                  <a:pt x="490" y="796"/>
                  <a:pt x="490" y="797"/>
                  <a:pt x="491" y="798"/>
                </a:cubicBezTo>
                <a:cubicBezTo>
                  <a:pt x="495" y="802"/>
                  <a:pt x="494" y="804"/>
                  <a:pt x="490" y="806"/>
                </a:cubicBezTo>
                <a:cubicBezTo>
                  <a:pt x="489" y="806"/>
                  <a:pt x="488" y="807"/>
                  <a:pt x="488" y="808"/>
                </a:cubicBezTo>
                <a:cubicBezTo>
                  <a:pt x="489" y="812"/>
                  <a:pt x="492" y="815"/>
                  <a:pt x="495" y="814"/>
                </a:cubicBezTo>
                <a:cubicBezTo>
                  <a:pt x="498" y="812"/>
                  <a:pt x="502" y="811"/>
                  <a:pt x="506" y="811"/>
                </a:cubicBezTo>
                <a:cubicBezTo>
                  <a:pt x="506" y="811"/>
                  <a:pt x="507" y="811"/>
                  <a:pt x="507" y="811"/>
                </a:cubicBezTo>
                <a:cubicBezTo>
                  <a:pt x="507" y="812"/>
                  <a:pt x="507" y="814"/>
                  <a:pt x="507" y="814"/>
                </a:cubicBezTo>
                <a:cubicBezTo>
                  <a:pt x="506" y="816"/>
                  <a:pt x="504" y="817"/>
                  <a:pt x="502" y="819"/>
                </a:cubicBezTo>
                <a:cubicBezTo>
                  <a:pt x="499" y="821"/>
                  <a:pt x="498" y="825"/>
                  <a:pt x="498" y="829"/>
                </a:cubicBezTo>
                <a:cubicBezTo>
                  <a:pt x="498" y="830"/>
                  <a:pt x="499" y="830"/>
                  <a:pt x="500" y="831"/>
                </a:cubicBezTo>
                <a:cubicBezTo>
                  <a:pt x="500" y="831"/>
                  <a:pt x="500" y="831"/>
                  <a:pt x="500" y="831"/>
                </a:cubicBezTo>
                <a:cubicBezTo>
                  <a:pt x="500" y="831"/>
                  <a:pt x="500" y="831"/>
                  <a:pt x="500" y="831"/>
                </a:cubicBezTo>
                <a:cubicBezTo>
                  <a:pt x="500" y="830"/>
                  <a:pt x="501" y="830"/>
                  <a:pt x="501" y="830"/>
                </a:cubicBezTo>
                <a:cubicBezTo>
                  <a:pt x="501" y="830"/>
                  <a:pt x="501" y="831"/>
                  <a:pt x="500" y="831"/>
                </a:cubicBezTo>
                <a:cubicBezTo>
                  <a:pt x="500" y="831"/>
                  <a:pt x="500" y="831"/>
                  <a:pt x="500" y="831"/>
                </a:cubicBezTo>
                <a:cubicBezTo>
                  <a:pt x="503" y="834"/>
                  <a:pt x="505" y="837"/>
                  <a:pt x="508" y="840"/>
                </a:cubicBezTo>
                <a:cubicBezTo>
                  <a:pt x="510" y="842"/>
                  <a:pt x="510" y="844"/>
                  <a:pt x="509" y="846"/>
                </a:cubicBezTo>
                <a:cubicBezTo>
                  <a:pt x="509" y="847"/>
                  <a:pt x="508" y="849"/>
                  <a:pt x="507" y="851"/>
                </a:cubicBezTo>
                <a:cubicBezTo>
                  <a:pt x="507" y="851"/>
                  <a:pt x="506" y="851"/>
                  <a:pt x="506" y="851"/>
                </a:cubicBezTo>
                <a:cubicBezTo>
                  <a:pt x="506" y="851"/>
                  <a:pt x="506" y="851"/>
                  <a:pt x="506" y="851"/>
                </a:cubicBezTo>
                <a:cubicBezTo>
                  <a:pt x="507" y="851"/>
                  <a:pt x="507" y="851"/>
                  <a:pt x="507" y="851"/>
                </a:cubicBezTo>
                <a:cubicBezTo>
                  <a:pt x="507" y="852"/>
                  <a:pt x="506" y="854"/>
                  <a:pt x="506" y="856"/>
                </a:cubicBezTo>
                <a:cubicBezTo>
                  <a:pt x="507" y="858"/>
                  <a:pt x="507" y="861"/>
                  <a:pt x="506" y="863"/>
                </a:cubicBezTo>
                <a:cubicBezTo>
                  <a:pt x="505" y="864"/>
                  <a:pt x="505" y="864"/>
                  <a:pt x="505" y="865"/>
                </a:cubicBezTo>
                <a:cubicBezTo>
                  <a:pt x="510" y="874"/>
                  <a:pt x="510" y="874"/>
                  <a:pt x="510" y="874"/>
                </a:cubicBezTo>
                <a:cubicBezTo>
                  <a:pt x="513" y="876"/>
                  <a:pt x="515" y="878"/>
                  <a:pt x="517" y="880"/>
                </a:cubicBezTo>
                <a:cubicBezTo>
                  <a:pt x="519" y="883"/>
                  <a:pt x="522" y="885"/>
                  <a:pt x="525" y="886"/>
                </a:cubicBezTo>
                <a:cubicBezTo>
                  <a:pt x="528" y="887"/>
                  <a:pt x="530" y="888"/>
                  <a:pt x="532" y="890"/>
                </a:cubicBezTo>
                <a:cubicBezTo>
                  <a:pt x="534" y="891"/>
                  <a:pt x="535" y="892"/>
                  <a:pt x="534" y="894"/>
                </a:cubicBezTo>
                <a:cubicBezTo>
                  <a:pt x="533" y="897"/>
                  <a:pt x="532" y="900"/>
                  <a:pt x="534" y="903"/>
                </a:cubicBezTo>
                <a:cubicBezTo>
                  <a:pt x="534" y="905"/>
                  <a:pt x="535" y="906"/>
                  <a:pt x="536" y="907"/>
                </a:cubicBezTo>
                <a:cubicBezTo>
                  <a:pt x="537" y="907"/>
                  <a:pt x="537" y="907"/>
                  <a:pt x="537" y="907"/>
                </a:cubicBezTo>
                <a:cubicBezTo>
                  <a:pt x="536" y="907"/>
                  <a:pt x="536" y="907"/>
                  <a:pt x="536" y="907"/>
                </a:cubicBezTo>
                <a:cubicBezTo>
                  <a:pt x="536" y="907"/>
                  <a:pt x="536" y="907"/>
                  <a:pt x="536" y="907"/>
                </a:cubicBezTo>
                <a:cubicBezTo>
                  <a:pt x="536" y="907"/>
                  <a:pt x="536" y="907"/>
                  <a:pt x="536" y="907"/>
                </a:cubicBezTo>
                <a:cubicBezTo>
                  <a:pt x="536" y="908"/>
                  <a:pt x="536" y="909"/>
                  <a:pt x="537" y="910"/>
                </a:cubicBezTo>
                <a:cubicBezTo>
                  <a:pt x="538" y="911"/>
                  <a:pt x="539" y="911"/>
                  <a:pt x="541" y="911"/>
                </a:cubicBezTo>
                <a:cubicBezTo>
                  <a:pt x="543" y="912"/>
                  <a:pt x="545" y="912"/>
                  <a:pt x="546" y="915"/>
                </a:cubicBezTo>
                <a:cubicBezTo>
                  <a:pt x="547" y="919"/>
                  <a:pt x="548" y="922"/>
                  <a:pt x="550" y="926"/>
                </a:cubicBezTo>
                <a:cubicBezTo>
                  <a:pt x="552" y="929"/>
                  <a:pt x="550" y="932"/>
                  <a:pt x="549" y="935"/>
                </a:cubicBezTo>
                <a:cubicBezTo>
                  <a:pt x="549" y="936"/>
                  <a:pt x="548" y="937"/>
                  <a:pt x="547" y="937"/>
                </a:cubicBezTo>
                <a:cubicBezTo>
                  <a:pt x="546" y="938"/>
                  <a:pt x="544" y="940"/>
                  <a:pt x="543" y="939"/>
                </a:cubicBezTo>
                <a:cubicBezTo>
                  <a:pt x="538" y="938"/>
                  <a:pt x="533" y="937"/>
                  <a:pt x="529" y="933"/>
                </a:cubicBezTo>
                <a:cubicBezTo>
                  <a:pt x="530" y="934"/>
                  <a:pt x="530" y="934"/>
                  <a:pt x="530" y="934"/>
                </a:cubicBezTo>
                <a:cubicBezTo>
                  <a:pt x="530" y="934"/>
                  <a:pt x="530" y="934"/>
                  <a:pt x="530" y="933"/>
                </a:cubicBezTo>
                <a:cubicBezTo>
                  <a:pt x="531" y="934"/>
                  <a:pt x="533" y="934"/>
                  <a:pt x="534" y="934"/>
                </a:cubicBezTo>
                <a:cubicBezTo>
                  <a:pt x="537" y="934"/>
                  <a:pt x="539" y="932"/>
                  <a:pt x="539" y="929"/>
                </a:cubicBezTo>
                <a:cubicBezTo>
                  <a:pt x="540" y="923"/>
                  <a:pt x="539" y="917"/>
                  <a:pt x="536" y="911"/>
                </a:cubicBezTo>
                <a:cubicBezTo>
                  <a:pt x="534" y="910"/>
                  <a:pt x="532" y="908"/>
                  <a:pt x="531" y="906"/>
                </a:cubicBezTo>
                <a:cubicBezTo>
                  <a:pt x="530" y="903"/>
                  <a:pt x="529" y="900"/>
                  <a:pt x="528" y="898"/>
                </a:cubicBezTo>
                <a:cubicBezTo>
                  <a:pt x="527" y="892"/>
                  <a:pt x="523" y="888"/>
                  <a:pt x="518" y="886"/>
                </a:cubicBezTo>
                <a:cubicBezTo>
                  <a:pt x="513" y="885"/>
                  <a:pt x="510" y="883"/>
                  <a:pt x="506" y="880"/>
                </a:cubicBezTo>
                <a:cubicBezTo>
                  <a:pt x="504" y="878"/>
                  <a:pt x="502" y="876"/>
                  <a:pt x="500" y="875"/>
                </a:cubicBezTo>
                <a:cubicBezTo>
                  <a:pt x="498" y="874"/>
                  <a:pt x="497" y="874"/>
                  <a:pt x="495" y="874"/>
                </a:cubicBezTo>
                <a:cubicBezTo>
                  <a:pt x="494" y="873"/>
                  <a:pt x="491" y="875"/>
                  <a:pt x="492" y="877"/>
                </a:cubicBezTo>
                <a:cubicBezTo>
                  <a:pt x="492" y="880"/>
                  <a:pt x="493" y="883"/>
                  <a:pt x="493" y="886"/>
                </a:cubicBezTo>
                <a:cubicBezTo>
                  <a:pt x="493" y="888"/>
                  <a:pt x="494" y="890"/>
                  <a:pt x="495" y="891"/>
                </a:cubicBezTo>
                <a:cubicBezTo>
                  <a:pt x="497" y="894"/>
                  <a:pt x="500" y="897"/>
                  <a:pt x="502" y="900"/>
                </a:cubicBezTo>
                <a:cubicBezTo>
                  <a:pt x="508" y="909"/>
                  <a:pt x="517" y="917"/>
                  <a:pt x="523" y="927"/>
                </a:cubicBezTo>
                <a:cubicBezTo>
                  <a:pt x="524" y="928"/>
                  <a:pt x="525" y="929"/>
                  <a:pt x="527" y="930"/>
                </a:cubicBezTo>
                <a:cubicBezTo>
                  <a:pt x="526" y="930"/>
                  <a:pt x="526" y="930"/>
                  <a:pt x="526" y="930"/>
                </a:cubicBezTo>
                <a:cubicBezTo>
                  <a:pt x="526" y="930"/>
                  <a:pt x="526" y="930"/>
                  <a:pt x="527" y="930"/>
                </a:cubicBezTo>
                <a:cubicBezTo>
                  <a:pt x="522" y="932"/>
                  <a:pt x="519" y="935"/>
                  <a:pt x="519" y="940"/>
                </a:cubicBezTo>
                <a:cubicBezTo>
                  <a:pt x="519" y="947"/>
                  <a:pt x="519" y="955"/>
                  <a:pt x="519" y="962"/>
                </a:cubicBezTo>
                <a:cubicBezTo>
                  <a:pt x="520" y="971"/>
                  <a:pt x="518" y="979"/>
                  <a:pt x="515" y="987"/>
                </a:cubicBezTo>
                <a:cubicBezTo>
                  <a:pt x="512" y="996"/>
                  <a:pt x="508" y="1005"/>
                  <a:pt x="505" y="1014"/>
                </a:cubicBezTo>
                <a:cubicBezTo>
                  <a:pt x="503" y="1022"/>
                  <a:pt x="500" y="1031"/>
                  <a:pt x="495" y="1038"/>
                </a:cubicBezTo>
                <a:cubicBezTo>
                  <a:pt x="491" y="1045"/>
                  <a:pt x="489" y="1052"/>
                  <a:pt x="489" y="1060"/>
                </a:cubicBezTo>
                <a:cubicBezTo>
                  <a:pt x="489" y="1062"/>
                  <a:pt x="490" y="1063"/>
                  <a:pt x="490" y="1065"/>
                </a:cubicBezTo>
                <a:cubicBezTo>
                  <a:pt x="490" y="1074"/>
                  <a:pt x="489" y="1082"/>
                  <a:pt x="483" y="1090"/>
                </a:cubicBezTo>
                <a:cubicBezTo>
                  <a:pt x="482" y="1092"/>
                  <a:pt x="482" y="1095"/>
                  <a:pt x="483" y="1098"/>
                </a:cubicBezTo>
                <a:cubicBezTo>
                  <a:pt x="486" y="1104"/>
                  <a:pt x="486" y="1109"/>
                  <a:pt x="485" y="1116"/>
                </a:cubicBezTo>
                <a:cubicBezTo>
                  <a:pt x="484" y="1118"/>
                  <a:pt x="485" y="1121"/>
                  <a:pt x="485" y="1124"/>
                </a:cubicBezTo>
                <a:cubicBezTo>
                  <a:pt x="485" y="1125"/>
                  <a:pt x="485" y="1127"/>
                  <a:pt x="485" y="1128"/>
                </a:cubicBezTo>
                <a:cubicBezTo>
                  <a:pt x="487" y="1133"/>
                  <a:pt x="489" y="1138"/>
                  <a:pt x="491" y="1142"/>
                </a:cubicBezTo>
                <a:cubicBezTo>
                  <a:pt x="492" y="1143"/>
                  <a:pt x="494" y="1144"/>
                  <a:pt x="495" y="1145"/>
                </a:cubicBezTo>
                <a:cubicBezTo>
                  <a:pt x="498" y="1147"/>
                  <a:pt x="498" y="1147"/>
                  <a:pt x="497" y="1149"/>
                </a:cubicBezTo>
                <a:cubicBezTo>
                  <a:pt x="497" y="1151"/>
                  <a:pt x="496" y="1152"/>
                  <a:pt x="495" y="1154"/>
                </a:cubicBezTo>
                <a:cubicBezTo>
                  <a:pt x="495" y="1156"/>
                  <a:pt x="495" y="1157"/>
                  <a:pt x="495" y="1159"/>
                </a:cubicBezTo>
                <a:cubicBezTo>
                  <a:pt x="497" y="1163"/>
                  <a:pt x="499" y="1168"/>
                  <a:pt x="497" y="1173"/>
                </a:cubicBezTo>
                <a:cubicBezTo>
                  <a:pt x="497" y="1174"/>
                  <a:pt x="498" y="1176"/>
                  <a:pt x="498" y="1178"/>
                </a:cubicBezTo>
                <a:cubicBezTo>
                  <a:pt x="501" y="1184"/>
                  <a:pt x="504" y="1190"/>
                  <a:pt x="506" y="1196"/>
                </a:cubicBezTo>
                <a:cubicBezTo>
                  <a:pt x="508" y="1199"/>
                  <a:pt x="509" y="1202"/>
                  <a:pt x="508" y="1205"/>
                </a:cubicBezTo>
                <a:cubicBezTo>
                  <a:pt x="508" y="1209"/>
                  <a:pt x="509" y="1211"/>
                  <a:pt x="512" y="1212"/>
                </a:cubicBezTo>
                <a:cubicBezTo>
                  <a:pt x="522" y="1213"/>
                  <a:pt x="529" y="1219"/>
                  <a:pt x="537" y="1224"/>
                </a:cubicBezTo>
                <a:cubicBezTo>
                  <a:pt x="544" y="1228"/>
                  <a:pt x="547" y="1234"/>
                  <a:pt x="548" y="1241"/>
                </a:cubicBezTo>
                <a:cubicBezTo>
                  <a:pt x="548" y="1248"/>
                  <a:pt x="550" y="1253"/>
                  <a:pt x="551" y="1259"/>
                </a:cubicBezTo>
                <a:cubicBezTo>
                  <a:pt x="554" y="1269"/>
                  <a:pt x="559" y="1279"/>
                  <a:pt x="560" y="1289"/>
                </a:cubicBezTo>
                <a:cubicBezTo>
                  <a:pt x="561" y="1292"/>
                  <a:pt x="563" y="1295"/>
                  <a:pt x="565" y="1297"/>
                </a:cubicBezTo>
                <a:cubicBezTo>
                  <a:pt x="571" y="1302"/>
                  <a:pt x="574" y="1307"/>
                  <a:pt x="577" y="1313"/>
                </a:cubicBezTo>
                <a:cubicBezTo>
                  <a:pt x="579" y="1316"/>
                  <a:pt x="578" y="1320"/>
                  <a:pt x="577" y="1323"/>
                </a:cubicBezTo>
                <a:cubicBezTo>
                  <a:pt x="575" y="1325"/>
                  <a:pt x="573" y="1325"/>
                  <a:pt x="571" y="1325"/>
                </a:cubicBezTo>
                <a:cubicBezTo>
                  <a:pt x="570" y="1325"/>
                  <a:pt x="570" y="1325"/>
                  <a:pt x="569" y="1325"/>
                </a:cubicBezTo>
                <a:cubicBezTo>
                  <a:pt x="568" y="1326"/>
                  <a:pt x="567" y="1328"/>
                  <a:pt x="568" y="1329"/>
                </a:cubicBezTo>
                <a:cubicBezTo>
                  <a:pt x="570" y="1334"/>
                  <a:pt x="574" y="1339"/>
                  <a:pt x="579" y="1341"/>
                </a:cubicBezTo>
                <a:cubicBezTo>
                  <a:pt x="586" y="1344"/>
                  <a:pt x="590" y="1349"/>
                  <a:pt x="596" y="1354"/>
                </a:cubicBezTo>
                <a:cubicBezTo>
                  <a:pt x="598" y="1356"/>
                  <a:pt x="599" y="1359"/>
                  <a:pt x="599" y="1361"/>
                </a:cubicBezTo>
                <a:cubicBezTo>
                  <a:pt x="599" y="1364"/>
                  <a:pt x="599" y="1367"/>
                  <a:pt x="598" y="1370"/>
                </a:cubicBezTo>
                <a:cubicBezTo>
                  <a:pt x="597" y="1373"/>
                  <a:pt x="598" y="1376"/>
                  <a:pt x="601" y="1378"/>
                </a:cubicBezTo>
                <a:cubicBezTo>
                  <a:pt x="609" y="1387"/>
                  <a:pt x="619" y="1393"/>
                  <a:pt x="624" y="1404"/>
                </a:cubicBezTo>
                <a:cubicBezTo>
                  <a:pt x="625" y="1406"/>
                  <a:pt x="628" y="1406"/>
                  <a:pt x="630" y="1404"/>
                </a:cubicBezTo>
                <a:cubicBezTo>
                  <a:pt x="632" y="1402"/>
                  <a:pt x="633" y="1399"/>
                  <a:pt x="633" y="1397"/>
                </a:cubicBezTo>
                <a:cubicBezTo>
                  <a:pt x="631" y="1393"/>
                  <a:pt x="629" y="1390"/>
                  <a:pt x="627" y="1387"/>
                </a:cubicBezTo>
                <a:cubicBezTo>
                  <a:pt x="625" y="1385"/>
                  <a:pt x="618" y="1373"/>
                  <a:pt x="617" y="1370"/>
                </a:cubicBezTo>
                <a:cubicBezTo>
                  <a:pt x="616" y="1367"/>
                  <a:pt x="615" y="1365"/>
                  <a:pt x="614" y="1362"/>
                </a:cubicBezTo>
                <a:cubicBezTo>
                  <a:pt x="614" y="1358"/>
                  <a:pt x="613" y="1353"/>
                  <a:pt x="612" y="1349"/>
                </a:cubicBezTo>
                <a:cubicBezTo>
                  <a:pt x="611" y="1344"/>
                  <a:pt x="606" y="1342"/>
                  <a:pt x="605" y="1337"/>
                </a:cubicBezTo>
                <a:cubicBezTo>
                  <a:pt x="602" y="1329"/>
                  <a:pt x="599" y="1322"/>
                  <a:pt x="595" y="1316"/>
                </a:cubicBezTo>
                <a:cubicBezTo>
                  <a:pt x="590" y="1309"/>
                  <a:pt x="587" y="1301"/>
                  <a:pt x="582" y="1295"/>
                </a:cubicBezTo>
                <a:cubicBezTo>
                  <a:pt x="581" y="1294"/>
                  <a:pt x="580" y="1292"/>
                  <a:pt x="580" y="1290"/>
                </a:cubicBezTo>
                <a:cubicBezTo>
                  <a:pt x="579" y="1282"/>
                  <a:pt x="578" y="1274"/>
                  <a:pt x="580" y="1266"/>
                </a:cubicBezTo>
                <a:cubicBezTo>
                  <a:pt x="580" y="1264"/>
                  <a:pt x="581" y="1264"/>
                  <a:pt x="583" y="1264"/>
                </a:cubicBezTo>
                <a:cubicBezTo>
                  <a:pt x="586" y="1266"/>
                  <a:pt x="588" y="1267"/>
                  <a:pt x="591" y="1268"/>
                </a:cubicBezTo>
                <a:cubicBezTo>
                  <a:pt x="594" y="1270"/>
                  <a:pt x="597" y="1272"/>
                  <a:pt x="597" y="1276"/>
                </a:cubicBezTo>
                <a:cubicBezTo>
                  <a:pt x="598" y="1283"/>
                  <a:pt x="599" y="1290"/>
                  <a:pt x="602" y="1297"/>
                </a:cubicBezTo>
                <a:cubicBezTo>
                  <a:pt x="606" y="1307"/>
                  <a:pt x="611" y="1317"/>
                  <a:pt x="618" y="1325"/>
                </a:cubicBezTo>
                <a:cubicBezTo>
                  <a:pt x="620" y="1327"/>
                  <a:pt x="622" y="1328"/>
                  <a:pt x="622" y="1330"/>
                </a:cubicBezTo>
                <a:cubicBezTo>
                  <a:pt x="623" y="1336"/>
                  <a:pt x="627" y="1339"/>
                  <a:pt x="631" y="1342"/>
                </a:cubicBezTo>
                <a:cubicBezTo>
                  <a:pt x="633" y="1344"/>
                  <a:pt x="636" y="1346"/>
                  <a:pt x="638" y="1349"/>
                </a:cubicBezTo>
                <a:cubicBezTo>
                  <a:pt x="639" y="1350"/>
                  <a:pt x="640" y="1351"/>
                  <a:pt x="639" y="1353"/>
                </a:cubicBezTo>
                <a:cubicBezTo>
                  <a:pt x="638" y="1354"/>
                  <a:pt x="637" y="1355"/>
                  <a:pt x="637" y="1356"/>
                </a:cubicBezTo>
                <a:cubicBezTo>
                  <a:pt x="635" y="1358"/>
                  <a:pt x="636" y="1362"/>
                  <a:pt x="638" y="1363"/>
                </a:cubicBezTo>
                <a:cubicBezTo>
                  <a:pt x="641" y="1366"/>
                  <a:pt x="644" y="1368"/>
                  <a:pt x="648" y="1370"/>
                </a:cubicBezTo>
                <a:cubicBezTo>
                  <a:pt x="651" y="1372"/>
                  <a:pt x="654" y="1374"/>
                  <a:pt x="654" y="1378"/>
                </a:cubicBezTo>
                <a:cubicBezTo>
                  <a:pt x="654" y="1380"/>
                  <a:pt x="656" y="1382"/>
                  <a:pt x="657" y="1384"/>
                </a:cubicBezTo>
                <a:cubicBezTo>
                  <a:pt x="674" y="1401"/>
                  <a:pt x="679" y="1410"/>
                  <a:pt x="684" y="1430"/>
                </a:cubicBezTo>
                <a:cubicBezTo>
                  <a:pt x="684" y="1432"/>
                  <a:pt x="684" y="1433"/>
                  <a:pt x="684" y="1435"/>
                </a:cubicBezTo>
                <a:cubicBezTo>
                  <a:pt x="683" y="1437"/>
                  <a:pt x="682" y="1439"/>
                  <a:pt x="681" y="1441"/>
                </a:cubicBezTo>
                <a:cubicBezTo>
                  <a:pt x="677" y="1446"/>
                  <a:pt x="679" y="1451"/>
                  <a:pt x="682" y="1456"/>
                </a:cubicBezTo>
                <a:cubicBezTo>
                  <a:pt x="684" y="1461"/>
                  <a:pt x="687" y="1465"/>
                  <a:pt x="692" y="1466"/>
                </a:cubicBezTo>
                <a:cubicBezTo>
                  <a:pt x="697" y="1468"/>
                  <a:pt x="701" y="1471"/>
                  <a:pt x="704" y="1475"/>
                </a:cubicBezTo>
                <a:cubicBezTo>
                  <a:pt x="707" y="1479"/>
                  <a:pt x="711" y="1481"/>
                  <a:pt x="716" y="1483"/>
                </a:cubicBezTo>
                <a:cubicBezTo>
                  <a:pt x="718" y="1483"/>
                  <a:pt x="721" y="1483"/>
                  <a:pt x="723" y="1484"/>
                </a:cubicBezTo>
                <a:cubicBezTo>
                  <a:pt x="725" y="1485"/>
                  <a:pt x="727" y="1485"/>
                  <a:pt x="729" y="1487"/>
                </a:cubicBezTo>
                <a:cubicBezTo>
                  <a:pt x="736" y="1493"/>
                  <a:pt x="743" y="1498"/>
                  <a:pt x="753" y="1500"/>
                </a:cubicBezTo>
                <a:cubicBezTo>
                  <a:pt x="758" y="1501"/>
                  <a:pt x="762" y="1504"/>
                  <a:pt x="766" y="1506"/>
                </a:cubicBezTo>
                <a:cubicBezTo>
                  <a:pt x="771" y="1509"/>
                  <a:pt x="776" y="1511"/>
                  <a:pt x="782" y="1512"/>
                </a:cubicBezTo>
                <a:cubicBezTo>
                  <a:pt x="800" y="1518"/>
                  <a:pt x="800" y="1518"/>
                  <a:pt x="818" y="1511"/>
                </a:cubicBezTo>
                <a:cubicBezTo>
                  <a:pt x="823" y="1509"/>
                  <a:pt x="828" y="1510"/>
                  <a:pt x="832" y="1513"/>
                </a:cubicBezTo>
                <a:cubicBezTo>
                  <a:pt x="840" y="1521"/>
                  <a:pt x="850" y="1527"/>
                  <a:pt x="858" y="1536"/>
                </a:cubicBezTo>
                <a:cubicBezTo>
                  <a:pt x="861" y="1540"/>
                  <a:pt x="865" y="1543"/>
                  <a:pt x="871" y="1543"/>
                </a:cubicBezTo>
                <a:cubicBezTo>
                  <a:pt x="878" y="1544"/>
                  <a:pt x="884" y="1546"/>
                  <a:pt x="891" y="1548"/>
                </a:cubicBezTo>
                <a:cubicBezTo>
                  <a:pt x="899" y="1551"/>
                  <a:pt x="907" y="1554"/>
                  <a:pt x="915" y="1554"/>
                </a:cubicBezTo>
                <a:cubicBezTo>
                  <a:pt x="917" y="1554"/>
                  <a:pt x="918" y="1555"/>
                  <a:pt x="919" y="1556"/>
                </a:cubicBezTo>
                <a:cubicBezTo>
                  <a:pt x="921" y="1561"/>
                  <a:pt x="925" y="1564"/>
                  <a:pt x="928" y="1568"/>
                </a:cubicBezTo>
                <a:cubicBezTo>
                  <a:pt x="931" y="1572"/>
                  <a:pt x="935" y="1576"/>
                  <a:pt x="939" y="1581"/>
                </a:cubicBezTo>
                <a:cubicBezTo>
                  <a:pt x="940" y="1583"/>
                  <a:pt x="942" y="1586"/>
                  <a:pt x="941" y="1590"/>
                </a:cubicBezTo>
                <a:cubicBezTo>
                  <a:pt x="939" y="1595"/>
                  <a:pt x="942" y="1598"/>
                  <a:pt x="947" y="1600"/>
                </a:cubicBezTo>
                <a:cubicBezTo>
                  <a:pt x="949" y="1600"/>
                  <a:pt x="951" y="1601"/>
                  <a:pt x="953" y="1601"/>
                </a:cubicBezTo>
                <a:cubicBezTo>
                  <a:pt x="955" y="1601"/>
                  <a:pt x="956" y="1601"/>
                  <a:pt x="958" y="1602"/>
                </a:cubicBezTo>
                <a:cubicBezTo>
                  <a:pt x="962" y="1605"/>
                  <a:pt x="966" y="1608"/>
                  <a:pt x="967" y="1613"/>
                </a:cubicBezTo>
                <a:cubicBezTo>
                  <a:pt x="968" y="1619"/>
                  <a:pt x="973" y="1620"/>
                  <a:pt x="978" y="1621"/>
                </a:cubicBezTo>
                <a:cubicBezTo>
                  <a:pt x="980" y="1622"/>
                  <a:pt x="981" y="1621"/>
                  <a:pt x="983" y="1621"/>
                </a:cubicBezTo>
                <a:cubicBezTo>
                  <a:pt x="988" y="1619"/>
                  <a:pt x="993" y="1621"/>
                  <a:pt x="996" y="1625"/>
                </a:cubicBezTo>
                <a:cubicBezTo>
                  <a:pt x="999" y="1628"/>
                  <a:pt x="1004" y="1630"/>
                  <a:pt x="1007" y="1632"/>
                </a:cubicBezTo>
                <a:cubicBezTo>
                  <a:pt x="1010" y="1636"/>
                  <a:pt x="1012" y="1635"/>
                  <a:pt x="1017" y="1632"/>
                </a:cubicBezTo>
                <a:cubicBezTo>
                  <a:pt x="1019" y="1630"/>
                  <a:pt x="1019" y="1628"/>
                  <a:pt x="1018" y="1626"/>
                </a:cubicBezTo>
                <a:cubicBezTo>
                  <a:pt x="1018" y="1625"/>
                  <a:pt x="1017" y="1622"/>
                  <a:pt x="1018" y="1622"/>
                </a:cubicBezTo>
                <a:cubicBezTo>
                  <a:pt x="1023" y="1619"/>
                  <a:pt x="1025" y="1614"/>
                  <a:pt x="1028" y="1611"/>
                </a:cubicBezTo>
                <a:cubicBezTo>
                  <a:pt x="1029" y="1610"/>
                  <a:pt x="1032" y="1610"/>
                  <a:pt x="1033" y="1611"/>
                </a:cubicBezTo>
                <a:cubicBezTo>
                  <a:pt x="1037" y="1613"/>
                  <a:pt x="1041" y="1617"/>
                  <a:pt x="1041" y="1622"/>
                </a:cubicBezTo>
                <a:cubicBezTo>
                  <a:pt x="1042" y="1626"/>
                  <a:pt x="1043" y="1629"/>
                  <a:pt x="1045" y="1632"/>
                </a:cubicBezTo>
                <a:cubicBezTo>
                  <a:pt x="1049" y="1636"/>
                  <a:pt x="1049" y="1642"/>
                  <a:pt x="1053" y="1645"/>
                </a:cubicBezTo>
                <a:cubicBezTo>
                  <a:pt x="1054" y="1646"/>
                  <a:pt x="1054" y="1648"/>
                  <a:pt x="1054" y="1650"/>
                </a:cubicBezTo>
                <a:cubicBezTo>
                  <a:pt x="1054" y="1657"/>
                  <a:pt x="1054" y="1664"/>
                  <a:pt x="1054" y="1671"/>
                </a:cubicBezTo>
                <a:cubicBezTo>
                  <a:pt x="1053" y="1675"/>
                  <a:pt x="1053" y="1679"/>
                  <a:pt x="1056" y="1682"/>
                </a:cubicBezTo>
                <a:cubicBezTo>
                  <a:pt x="1057" y="1683"/>
                  <a:pt x="1057" y="1685"/>
                  <a:pt x="1056" y="1686"/>
                </a:cubicBezTo>
                <a:cubicBezTo>
                  <a:pt x="1053" y="1691"/>
                  <a:pt x="1049" y="1697"/>
                  <a:pt x="1043" y="1699"/>
                </a:cubicBezTo>
                <a:cubicBezTo>
                  <a:pt x="1037" y="1702"/>
                  <a:pt x="1034" y="1706"/>
                  <a:pt x="1032" y="1713"/>
                </a:cubicBezTo>
                <a:cubicBezTo>
                  <a:pt x="1031" y="1716"/>
                  <a:pt x="1029" y="1718"/>
                  <a:pt x="1026" y="1720"/>
                </a:cubicBezTo>
                <a:cubicBezTo>
                  <a:pt x="1023" y="1722"/>
                  <a:pt x="1020" y="1723"/>
                  <a:pt x="1018" y="1725"/>
                </a:cubicBezTo>
                <a:cubicBezTo>
                  <a:pt x="1017" y="1725"/>
                  <a:pt x="1016" y="1727"/>
                  <a:pt x="1016" y="1728"/>
                </a:cubicBezTo>
                <a:cubicBezTo>
                  <a:pt x="1013" y="1741"/>
                  <a:pt x="1013" y="1741"/>
                  <a:pt x="1007" y="1750"/>
                </a:cubicBezTo>
                <a:cubicBezTo>
                  <a:pt x="1007" y="1751"/>
                  <a:pt x="1006" y="1752"/>
                  <a:pt x="1006" y="1753"/>
                </a:cubicBezTo>
                <a:cubicBezTo>
                  <a:pt x="1005" y="1759"/>
                  <a:pt x="1004" y="1764"/>
                  <a:pt x="1005" y="1769"/>
                </a:cubicBezTo>
                <a:cubicBezTo>
                  <a:pt x="1006" y="1774"/>
                  <a:pt x="1010" y="1776"/>
                  <a:pt x="1014" y="1778"/>
                </a:cubicBezTo>
                <a:cubicBezTo>
                  <a:pt x="1015" y="1778"/>
                  <a:pt x="1015" y="1778"/>
                  <a:pt x="1016" y="1777"/>
                </a:cubicBezTo>
                <a:cubicBezTo>
                  <a:pt x="1016" y="1777"/>
                  <a:pt x="1017" y="1776"/>
                  <a:pt x="1018" y="1775"/>
                </a:cubicBezTo>
                <a:cubicBezTo>
                  <a:pt x="1018" y="1776"/>
                  <a:pt x="1018" y="1776"/>
                  <a:pt x="1018" y="1777"/>
                </a:cubicBezTo>
                <a:cubicBezTo>
                  <a:pt x="1018" y="1780"/>
                  <a:pt x="1017" y="1783"/>
                  <a:pt x="1015" y="1785"/>
                </a:cubicBezTo>
                <a:cubicBezTo>
                  <a:pt x="1012" y="1787"/>
                  <a:pt x="1009" y="1789"/>
                  <a:pt x="1006" y="1791"/>
                </a:cubicBezTo>
                <a:cubicBezTo>
                  <a:pt x="1001" y="1795"/>
                  <a:pt x="998" y="1800"/>
                  <a:pt x="1000" y="1806"/>
                </a:cubicBezTo>
                <a:cubicBezTo>
                  <a:pt x="1001" y="1808"/>
                  <a:pt x="1002" y="1811"/>
                  <a:pt x="1002" y="1814"/>
                </a:cubicBezTo>
                <a:cubicBezTo>
                  <a:pt x="1003" y="1815"/>
                  <a:pt x="1002" y="1817"/>
                  <a:pt x="1002" y="1819"/>
                </a:cubicBezTo>
                <a:cubicBezTo>
                  <a:pt x="1001" y="1822"/>
                  <a:pt x="1002" y="1824"/>
                  <a:pt x="1004" y="1825"/>
                </a:cubicBezTo>
                <a:cubicBezTo>
                  <a:pt x="1008" y="1827"/>
                  <a:pt x="1011" y="1829"/>
                  <a:pt x="1014" y="1831"/>
                </a:cubicBezTo>
                <a:cubicBezTo>
                  <a:pt x="1018" y="1833"/>
                  <a:pt x="1022" y="1836"/>
                  <a:pt x="1024" y="1840"/>
                </a:cubicBezTo>
                <a:cubicBezTo>
                  <a:pt x="1025" y="1844"/>
                  <a:pt x="1027" y="1847"/>
                  <a:pt x="1030" y="1849"/>
                </a:cubicBezTo>
                <a:cubicBezTo>
                  <a:pt x="1032" y="1851"/>
                  <a:pt x="1034" y="1853"/>
                  <a:pt x="1034" y="1855"/>
                </a:cubicBezTo>
                <a:cubicBezTo>
                  <a:pt x="1036" y="1862"/>
                  <a:pt x="1040" y="1868"/>
                  <a:pt x="1043" y="1874"/>
                </a:cubicBezTo>
                <a:cubicBezTo>
                  <a:pt x="1046" y="1883"/>
                  <a:pt x="1051" y="1891"/>
                  <a:pt x="1056" y="1899"/>
                </a:cubicBezTo>
                <a:cubicBezTo>
                  <a:pt x="1062" y="1907"/>
                  <a:pt x="1066" y="1915"/>
                  <a:pt x="1071" y="1924"/>
                </a:cubicBezTo>
                <a:cubicBezTo>
                  <a:pt x="1072" y="1925"/>
                  <a:pt x="1073" y="1927"/>
                  <a:pt x="1073" y="1929"/>
                </a:cubicBezTo>
                <a:cubicBezTo>
                  <a:pt x="1072" y="1934"/>
                  <a:pt x="1075" y="1937"/>
                  <a:pt x="1078" y="1940"/>
                </a:cubicBezTo>
                <a:cubicBezTo>
                  <a:pt x="1087" y="1951"/>
                  <a:pt x="1099" y="1957"/>
                  <a:pt x="1110" y="1965"/>
                </a:cubicBezTo>
                <a:cubicBezTo>
                  <a:pt x="1112" y="1967"/>
                  <a:pt x="1115" y="1967"/>
                  <a:pt x="1118" y="1968"/>
                </a:cubicBezTo>
                <a:cubicBezTo>
                  <a:pt x="1124" y="1971"/>
                  <a:pt x="1130" y="1974"/>
                  <a:pt x="1135" y="1978"/>
                </a:cubicBezTo>
                <a:cubicBezTo>
                  <a:pt x="1141" y="1985"/>
                  <a:pt x="1148" y="1990"/>
                  <a:pt x="1154" y="1996"/>
                </a:cubicBezTo>
                <a:cubicBezTo>
                  <a:pt x="1156" y="1997"/>
                  <a:pt x="1157" y="1999"/>
                  <a:pt x="1157" y="2002"/>
                </a:cubicBezTo>
                <a:cubicBezTo>
                  <a:pt x="1158" y="2004"/>
                  <a:pt x="1158" y="2007"/>
                  <a:pt x="1158" y="2010"/>
                </a:cubicBezTo>
                <a:cubicBezTo>
                  <a:pt x="1159" y="2015"/>
                  <a:pt x="1160" y="2020"/>
                  <a:pt x="1159" y="2026"/>
                </a:cubicBezTo>
                <a:cubicBezTo>
                  <a:pt x="1158" y="2028"/>
                  <a:pt x="1159" y="2030"/>
                  <a:pt x="1159" y="2033"/>
                </a:cubicBezTo>
                <a:cubicBezTo>
                  <a:pt x="1163" y="2043"/>
                  <a:pt x="1162" y="2054"/>
                  <a:pt x="1159" y="2065"/>
                </a:cubicBezTo>
                <a:cubicBezTo>
                  <a:pt x="1159" y="2067"/>
                  <a:pt x="1158" y="2068"/>
                  <a:pt x="1159" y="2070"/>
                </a:cubicBezTo>
                <a:cubicBezTo>
                  <a:pt x="1163" y="2086"/>
                  <a:pt x="1160" y="2103"/>
                  <a:pt x="1161" y="2119"/>
                </a:cubicBezTo>
                <a:cubicBezTo>
                  <a:pt x="1161" y="2123"/>
                  <a:pt x="1160" y="2128"/>
                  <a:pt x="1160" y="2132"/>
                </a:cubicBezTo>
                <a:cubicBezTo>
                  <a:pt x="1159" y="2138"/>
                  <a:pt x="1158" y="2143"/>
                  <a:pt x="1156" y="2148"/>
                </a:cubicBezTo>
                <a:cubicBezTo>
                  <a:pt x="1155" y="2152"/>
                  <a:pt x="1155" y="2155"/>
                  <a:pt x="1156" y="2158"/>
                </a:cubicBezTo>
                <a:cubicBezTo>
                  <a:pt x="1158" y="2163"/>
                  <a:pt x="1158" y="2168"/>
                  <a:pt x="1156" y="2172"/>
                </a:cubicBezTo>
                <a:cubicBezTo>
                  <a:pt x="1154" y="2177"/>
                  <a:pt x="1154" y="2182"/>
                  <a:pt x="1156" y="2187"/>
                </a:cubicBezTo>
                <a:cubicBezTo>
                  <a:pt x="1159" y="2193"/>
                  <a:pt x="1157" y="2200"/>
                  <a:pt x="1159" y="2206"/>
                </a:cubicBezTo>
                <a:cubicBezTo>
                  <a:pt x="1161" y="2209"/>
                  <a:pt x="1159" y="2213"/>
                  <a:pt x="1159" y="2216"/>
                </a:cubicBezTo>
                <a:cubicBezTo>
                  <a:pt x="1160" y="2219"/>
                  <a:pt x="1160" y="2222"/>
                  <a:pt x="1161" y="2224"/>
                </a:cubicBezTo>
                <a:cubicBezTo>
                  <a:pt x="1161" y="2227"/>
                  <a:pt x="1161" y="2230"/>
                  <a:pt x="1160" y="2232"/>
                </a:cubicBezTo>
                <a:cubicBezTo>
                  <a:pt x="1159" y="2236"/>
                  <a:pt x="1158" y="2240"/>
                  <a:pt x="1157" y="2243"/>
                </a:cubicBezTo>
                <a:cubicBezTo>
                  <a:pt x="1154" y="2256"/>
                  <a:pt x="1151" y="2268"/>
                  <a:pt x="1149" y="2280"/>
                </a:cubicBezTo>
                <a:cubicBezTo>
                  <a:pt x="1148" y="2283"/>
                  <a:pt x="1148" y="2285"/>
                  <a:pt x="1146" y="2286"/>
                </a:cubicBezTo>
                <a:cubicBezTo>
                  <a:pt x="1142" y="2289"/>
                  <a:pt x="1142" y="2293"/>
                  <a:pt x="1144" y="2297"/>
                </a:cubicBezTo>
                <a:cubicBezTo>
                  <a:pt x="1148" y="2302"/>
                  <a:pt x="1148" y="2309"/>
                  <a:pt x="1152" y="2315"/>
                </a:cubicBezTo>
                <a:cubicBezTo>
                  <a:pt x="1155" y="2320"/>
                  <a:pt x="1155" y="2325"/>
                  <a:pt x="1152" y="2330"/>
                </a:cubicBezTo>
                <a:cubicBezTo>
                  <a:pt x="1150" y="2333"/>
                  <a:pt x="1150" y="2336"/>
                  <a:pt x="1150" y="2340"/>
                </a:cubicBezTo>
                <a:cubicBezTo>
                  <a:pt x="1151" y="2343"/>
                  <a:pt x="1150" y="2347"/>
                  <a:pt x="1150" y="2350"/>
                </a:cubicBezTo>
                <a:cubicBezTo>
                  <a:pt x="1150" y="2354"/>
                  <a:pt x="1152" y="2357"/>
                  <a:pt x="1154" y="2361"/>
                </a:cubicBezTo>
                <a:cubicBezTo>
                  <a:pt x="1155" y="2362"/>
                  <a:pt x="1157" y="2364"/>
                  <a:pt x="1158" y="2366"/>
                </a:cubicBezTo>
                <a:cubicBezTo>
                  <a:pt x="1152" y="2366"/>
                  <a:pt x="1151" y="2366"/>
                  <a:pt x="1150" y="2371"/>
                </a:cubicBezTo>
                <a:cubicBezTo>
                  <a:pt x="1150" y="2372"/>
                  <a:pt x="1149" y="2374"/>
                  <a:pt x="1149" y="2375"/>
                </a:cubicBezTo>
                <a:cubicBezTo>
                  <a:pt x="1150" y="2381"/>
                  <a:pt x="1151" y="2386"/>
                  <a:pt x="1152" y="2391"/>
                </a:cubicBezTo>
                <a:cubicBezTo>
                  <a:pt x="1152" y="2393"/>
                  <a:pt x="1156" y="2394"/>
                  <a:pt x="1157" y="2393"/>
                </a:cubicBezTo>
                <a:cubicBezTo>
                  <a:pt x="1159" y="2391"/>
                  <a:pt x="1161" y="2389"/>
                  <a:pt x="1161" y="2386"/>
                </a:cubicBezTo>
                <a:cubicBezTo>
                  <a:pt x="1161" y="2382"/>
                  <a:pt x="1161" y="2378"/>
                  <a:pt x="1161" y="2375"/>
                </a:cubicBezTo>
                <a:cubicBezTo>
                  <a:pt x="1162" y="2371"/>
                  <a:pt x="1160" y="2369"/>
                  <a:pt x="1158" y="2366"/>
                </a:cubicBezTo>
                <a:cubicBezTo>
                  <a:pt x="1161" y="2367"/>
                  <a:pt x="1164" y="2366"/>
                  <a:pt x="1166" y="2364"/>
                </a:cubicBezTo>
                <a:cubicBezTo>
                  <a:pt x="1168" y="2363"/>
                  <a:pt x="1168" y="2364"/>
                  <a:pt x="1169" y="2367"/>
                </a:cubicBezTo>
                <a:cubicBezTo>
                  <a:pt x="1169" y="2368"/>
                  <a:pt x="1170" y="2370"/>
                  <a:pt x="1170" y="2371"/>
                </a:cubicBezTo>
                <a:cubicBezTo>
                  <a:pt x="1170" y="2378"/>
                  <a:pt x="1169" y="2385"/>
                  <a:pt x="1169" y="2392"/>
                </a:cubicBezTo>
                <a:cubicBezTo>
                  <a:pt x="1169" y="2399"/>
                  <a:pt x="1168" y="2406"/>
                  <a:pt x="1167" y="2413"/>
                </a:cubicBezTo>
                <a:cubicBezTo>
                  <a:pt x="1167" y="2415"/>
                  <a:pt x="1167" y="2417"/>
                  <a:pt x="1168" y="2419"/>
                </a:cubicBezTo>
                <a:cubicBezTo>
                  <a:pt x="1172" y="2426"/>
                  <a:pt x="1170" y="2432"/>
                  <a:pt x="1167" y="2438"/>
                </a:cubicBezTo>
                <a:cubicBezTo>
                  <a:pt x="1167" y="2439"/>
                  <a:pt x="1166" y="2440"/>
                  <a:pt x="1165" y="2439"/>
                </a:cubicBezTo>
                <a:cubicBezTo>
                  <a:pt x="1164" y="2439"/>
                  <a:pt x="1164" y="2439"/>
                  <a:pt x="1164" y="2438"/>
                </a:cubicBezTo>
                <a:cubicBezTo>
                  <a:pt x="1163" y="2436"/>
                  <a:pt x="1162" y="2434"/>
                  <a:pt x="1162" y="2432"/>
                </a:cubicBezTo>
                <a:cubicBezTo>
                  <a:pt x="1157" y="2432"/>
                  <a:pt x="1153" y="2435"/>
                  <a:pt x="1152" y="2439"/>
                </a:cubicBezTo>
                <a:cubicBezTo>
                  <a:pt x="1151" y="2445"/>
                  <a:pt x="1148" y="2449"/>
                  <a:pt x="1145" y="2454"/>
                </a:cubicBezTo>
                <a:cubicBezTo>
                  <a:pt x="1145" y="2454"/>
                  <a:pt x="1146" y="2456"/>
                  <a:pt x="1147" y="2457"/>
                </a:cubicBezTo>
                <a:cubicBezTo>
                  <a:pt x="1147" y="2457"/>
                  <a:pt x="1149" y="2458"/>
                  <a:pt x="1149" y="2457"/>
                </a:cubicBezTo>
                <a:cubicBezTo>
                  <a:pt x="1151" y="2457"/>
                  <a:pt x="1152" y="2455"/>
                  <a:pt x="1153" y="2455"/>
                </a:cubicBezTo>
                <a:cubicBezTo>
                  <a:pt x="1156" y="2455"/>
                  <a:pt x="1160" y="2456"/>
                  <a:pt x="1163" y="2457"/>
                </a:cubicBezTo>
                <a:cubicBezTo>
                  <a:pt x="1165" y="2457"/>
                  <a:pt x="1166" y="2460"/>
                  <a:pt x="1166" y="2462"/>
                </a:cubicBezTo>
                <a:cubicBezTo>
                  <a:pt x="1165" y="2466"/>
                  <a:pt x="1164" y="2470"/>
                  <a:pt x="1164" y="2475"/>
                </a:cubicBezTo>
                <a:cubicBezTo>
                  <a:pt x="1165" y="2475"/>
                  <a:pt x="1165" y="2475"/>
                  <a:pt x="1165" y="2475"/>
                </a:cubicBezTo>
                <a:cubicBezTo>
                  <a:pt x="1165" y="2475"/>
                  <a:pt x="1165" y="2475"/>
                  <a:pt x="1165" y="2475"/>
                </a:cubicBezTo>
                <a:cubicBezTo>
                  <a:pt x="1165" y="2475"/>
                  <a:pt x="1166" y="2475"/>
                  <a:pt x="1166" y="2476"/>
                </a:cubicBezTo>
                <a:cubicBezTo>
                  <a:pt x="1166" y="2476"/>
                  <a:pt x="1165" y="2476"/>
                  <a:pt x="1165" y="2475"/>
                </a:cubicBezTo>
                <a:cubicBezTo>
                  <a:pt x="1165" y="2475"/>
                  <a:pt x="1165" y="2475"/>
                  <a:pt x="1165" y="2475"/>
                </a:cubicBezTo>
                <a:cubicBezTo>
                  <a:pt x="1165" y="2475"/>
                  <a:pt x="1165" y="2475"/>
                  <a:pt x="1164" y="2475"/>
                </a:cubicBezTo>
                <a:cubicBezTo>
                  <a:pt x="1161" y="2475"/>
                  <a:pt x="1159" y="2476"/>
                  <a:pt x="1156" y="2478"/>
                </a:cubicBezTo>
                <a:cubicBezTo>
                  <a:pt x="1154" y="2480"/>
                  <a:pt x="1153" y="2481"/>
                  <a:pt x="1154" y="2484"/>
                </a:cubicBezTo>
                <a:cubicBezTo>
                  <a:pt x="1154" y="2486"/>
                  <a:pt x="1155" y="2488"/>
                  <a:pt x="1155" y="2490"/>
                </a:cubicBezTo>
                <a:cubicBezTo>
                  <a:pt x="1156" y="2491"/>
                  <a:pt x="1158" y="2492"/>
                  <a:pt x="1158" y="2494"/>
                </a:cubicBezTo>
                <a:cubicBezTo>
                  <a:pt x="1158" y="2496"/>
                  <a:pt x="1157" y="2498"/>
                  <a:pt x="1159" y="2500"/>
                </a:cubicBezTo>
                <a:cubicBezTo>
                  <a:pt x="1160" y="2500"/>
                  <a:pt x="1160" y="2501"/>
                  <a:pt x="1161" y="2501"/>
                </a:cubicBezTo>
                <a:cubicBezTo>
                  <a:pt x="1161" y="2501"/>
                  <a:pt x="1161" y="2501"/>
                  <a:pt x="1161" y="2501"/>
                </a:cubicBezTo>
                <a:cubicBezTo>
                  <a:pt x="1162" y="2501"/>
                  <a:pt x="1162" y="2501"/>
                  <a:pt x="1162" y="2501"/>
                </a:cubicBezTo>
                <a:cubicBezTo>
                  <a:pt x="1161" y="2502"/>
                  <a:pt x="1161" y="2502"/>
                  <a:pt x="1161" y="2502"/>
                </a:cubicBezTo>
                <a:cubicBezTo>
                  <a:pt x="1161" y="2502"/>
                  <a:pt x="1161" y="2501"/>
                  <a:pt x="1161" y="2501"/>
                </a:cubicBezTo>
                <a:cubicBezTo>
                  <a:pt x="1161" y="2503"/>
                  <a:pt x="1161" y="2504"/>
                  <a:pt x="1161" y="2506"/>
                </a:cubicBezTo>
                <a:cubicBezTo>
                  <a:pt x="1160" y="2511"/>
                  <a:pt x="1160" y="2511"/>
                  <a:pt x="1164" y="2513"/>
                </a:cubicBezTo>
                <a:cubicBezTo>
                  <a:pt x="1167" y="2515"/>
                  <a:pt x="1169" y="2516"/>
                  <a:pt x="1171" y="2518"/>
                </a:cubicBezTo>
                <a:cubicBezTo>
                  <a:pt x="1171" y="2518"/>
                  <a:pt x="1171" y="2518"/>
                  <a:pt x="1171" y="2518"/>
                </a:cubicBezTo>
                <a:cubicBezTo>
                  <a:pt x="1171" y="2518"/>
                  <a:pt x="1171" y="2518"/>
                  <a:pt x="1172" y="2518"/>
                </a:cubicBezTo>
                <a:cubicBezTo>
                  <a:pt x="1174" y="2522"/>
                  <a:pt x="1174" y="2522"/>
                  <a:pt x="1172" y="2524"/>
                </a:cubicBezTo>
                <a:cubicBezTo>
                  <a:pt x="1171" y="2524"/>
                  <a:pt x="1171" y="2524"/>
                  <a:pt x="1171" y="2524"/>
                </a:cubicBezTo>
                <a:cubicBezTo>
                  <a:pt x="1171" y="2525"/>
                  <a:pt x="1171" y="2525"/>
                  <a:pt x="1171" y="2525"/>
                </a:cubicBezTo>
                <a:cubicBezTo>
                  <a:pt x="1172" y="2524"/>
                  <a:pt x="1172" y="2524"/>
                  <a:pt x="1172" y="2524"/>
                </a:cubicBezTo>
                <a:cubicBezTo>
                  <a:pt x="1172" y="2530"/>
                  <a:pt x="1174" y="2535"/>
                  <a:pt x="1172" y="2540"/>
                </a:cubicBezTo>
                <a:cubicBezTo>
                  <a:pt x="1171" y="2543"/>
                  <a:pt x="1173" y="2544"/>
                  <a:pt x="1176" y="2544"/>
                </a:cubicBezTo>
                <a:cubicBezTo>
                  <a:pt x="1178" y="2544"/>
                  <a:pt x="1179" y="2543"/>
                  <a:pt x="1180" y="2540"/>
                </a:cubicBezTo>
                <a:cubicBezTo>
                  <a:pt x="1180" y="2536"/>
                  <a:pt x="1180" y="2532"/>
                  <a:pt x="1181" y="2528"/>
                </a:cubicBezTo>
                <a:cubicBezTo>
                  <a:pt x="1181" y="2528"/>
                  <a:pt x="1181" y="2528"/>
                  <a:pt x="1181" y="2528"/>
                </a:cubicBezTo>
                <a:cubicBezTo>
                  <a:pt x="1181" y="2527"/>
                  <a:pt x="1181" y="2527"/>
                  <a:pt x="1181" y="2527"/>
                </a:cubicBezTo>
                <a:cubicBezTo>
                  <a:pt x="1182" y="2528"/>
                  <a:pt x="1182" y="2528"/>
                  <a:pt x="1182" y="2528"/>
                </a:cubicBezTo>
                <a:cubicBezTo>
                  <a:pt x="1182" y="2528"/>
                  <a:pt x="1182" y="2528"/>
                  <a:pt x="1181" y="2528"/>
                </a:cubicBezTo>
                <a:cubicBezTo>
                  <a:pt x="1183" y="2530"/>
                  <a:pt x="1184" y="2532"/>
                  <a:pt x="1184" y="2534"/>
                </a:cubicBezTo>
                <a:cubicBezTo>
                  <a:pt x="1184" y="2536"/>
                  <a:pt x="1185" y="2538"/>
                  <a:pt x="1186" y="2540"/>
                </a:cubicBezTo>
                <a:cubicBezTo>
                  <a:pt x="1188" y="2542"/>
                  <a:pt x="1189" y="2543"/>
                  <a:pt x="1187" y="2546"/>
                </a:cubicBezTo>
                <a:cubicBezTo>
                  <a:pt x="1186" y="2547"/>
                  <a:pt x="1184" y="2549"/>
                  <a:pt x="1182" y="2549"/>
                </a:cubicBezTo>
                <a:cubicBezTo>
                  <a:pt x="1181" y="2549"/>
                  <a:pt x="1180" y="2549"/>
                  <a:pt x="1179" y="2549"/>
                </a:cubicBezTo>
                <a:cubicBezTo>
                  <a:pt x="1178" y="2549"/>
                  <a:pt x="1177" y="2550"/>
                  <a:pt x="1176" y="2551"/>
                </a:cubicBezTo>
                <a:cubicBezTo>
                  <a:pt x="1176" y="2552"/>
                  <a:pt x="1176" y="2553"/>
                  <a:pt x="1177" y="2553"/>
                </a:cubicBezTo>
                <a:cubicBezTo>
                  <a:pt x="1179" y="2554"/>
                  <a:pt x="1181" y="2555"/>
                  <a:pt x="1182" y="2555"/>
                </a:cubicBezTo>
                <a:cubicBezTo>
                  <a:pt x="1188" y="2555"/>
                  <a:pt x="1189" y="2559"/>
                  <a:pt x="1191" y="2563"/>
                </a:cubicBezTo>
                <a:cubicBezTo>
                  <a:pt x="1190" y="2566"/>
                  <a:pt x="1191" y="2568"/>
                  <a:pt x="1194" y="2570"/>
                </a:cubicBezTo>
                <a:cubicBezTo>
                  <a:pt x="1197" y="2572"/>
                  <a:pt x="1201" y="2575"/>
                  <a:pt x="1204" y="2577"/>
                </a:cubicBezTo>
                <a:cubicBezTo>
                  <a:pt x="1204" y="2577"/>
                  <a:pt x="1204" y="2577"/>
                  <a:pt x="1205" y="2577"/>
                </a:cubicBezTo>
                <a:cubicBezTo>
                  <a:pt x="1205" y="2577"/>
                  <a:pt x="1205" y="2578"/>
                  <a:pt x="1205" y="2578"/>
                </a:cubicBezTo>
                <a:cubicBezTo>
                  <a:pt x="1206" y="2578"/>
                  <a:pt x="1207" y="2579"/>
                  <a:pt x="1207" y="2580"/>
                </a:cubicBezTo>
                <a:cubicBezTo>
                  <a:pt x="1207" y="2580"/>
                  <a:pt x="1208" y="2580"/>
                  <a:pt x="1208" y="2580"/>
                </a:cubicBezTo>
                <a:cubicBezTo>
                  <a:pt x="1208" y="2581"/>
                  <a:pt x="1208" y="2581"/>
                  <a:pt x="1208" y="2581"/>
                </a:cubicBezTo>
                <a:cubicBezTo>
                  <a:pt x="1207" y="2581"/>
                  <a:pt x="1207" y="2581"/>
                  <a:pt x="1207" y="2581"/>
                </a:cubicBezTo>
                <a:cubicBezTo>
                  <a:pt x="1207" y="2580"/>
                  <a:pt x="1207" y="2580"/>
                  <a:pt x="1207" y="2580"/>
                </a:cubicBezTo>
                <a:cubicBezTo>
                  <a:pt x="1206" y="2580"/>
                  <a:pt x="1205" y="2579"/>
                  <a:pt x="1205" y="2578"/>
                </a:cubicBezTo>
                <a:cubicBezTo>
                  <a:pt x="1205" y="2578"/>
                  <a:pt x="1205" y="2578"/>
                  <a:pt x="1204" y="2577"/>
                </a:cubicBezTo>
                <a:cubicBezTo>
                  <a:pt x="1204" y="2577"/>
                  <a:pt x="1204" y="2577"/>
                  <a:pt x="1204" y="2577"/>
                </a:cubicBezTo>
                <a:cubicBezTo>
                  <a:pt x="1199" y="2578"/>
                  <a:pt x="1195" y="2577"/>
                  <a:pt x="1191" y="2574"/>
                </a:cubicBezTo>
                <a:cubicBezTo>
                  <a:pt x="1190" y="2574"/>
                  <a:pt x="1189" y="2574"/>
                  <a:pt x="1188" y="2574"/>
                </a:cubicBezTo>
                <a:cubicBezTo>
                  <a:pt x="1187" y="2574"/>
                  <a:pt x="1186" y="2574"/>
                  <a:pt x="1186" y="2575"/>
                </a:cubicBezTo>
                <a:cubicBezTo>
                  <a:pt x="1187" y="2576"/>
                  <a:pt x="1187" y="2577"/>
                  <a:pt x="1187" y="2577"/>
                </a:cubicBezTo>
                <a:cubicBezTo>
                  <a:pt x="1194" y="2582"/>
                  <a:pt x="1201" y="2586"/>
                  <a:pt x="1206" y="2593"/>
                </a:cubicBezTo>
                <a:cubicBezTo>
                  <a:pt x="1208" y="2595"/>
                  <a:pt x="1212" y="2596"/>
                  <a:pt x="1215" y="2597"/>
                </a:cubicBezTo>
                <a:cubicBezTo>
                  <a:pt x="1217" y="2598"/>
                  <a:pt x="1219" y="2597"/>
                  <a:pt x="1221" y="2597"/>
                </a:cubicBezTo>
                <a:cubicBezTo>
                  <a:pt x="1222" y="2596"/>
                  <a:pt x="1222" y="2595"/>
                  <a:pt x="1223" y="2593"/>
                </a:cubicBezTo>
                <a:cubicBezTo>
                  <a:pt x="1223" y="2593"/>
                  <a:pt x="1223" y="2593"/>
                  <a:pt x="1224" y="2593"/>
                </a:cubicBezTo>
                <a:cubicBezTo>
                  <a:pt x="1225" y="2593"/>
                  <a:pt x="1225" y="2593"/>
                  <a:pt x="1225" y="2595"/>
                </a:cubicBezTo>
                <a:cubicBezTo>
                  <a:pt x="1224" y="2595"/>
                  <a:pt x="1225" y="2596"/>
                  <a:pt x="1225" y="2597"/>
                </a:cubicBezTo>
                <a:cubicBezTo>
                  <a:pt x="1225" y="2598"/>
                  <a:pt x="1226" y="2598"/>
                  <a:pt x="1227" y="2598"/>
                </a:cubicBezTo>
                <a:cubicBezTo>
                  <a:pt x="1231" y="2599"/>
                  <a:pt x="1233" y="2600"/>
                  <a:pt x="1232" y="2605"/>
                </a:cubicBezTo>
                <a:cubicBezTo>
                  <a:pt x="1232" y="2606"/>
                  <a:pt x="1233" y="2607"/>
                  <a:pt x="1234" y="2607"/>
                </a:cubicBezTo>
                <a:cubicBezTo>
                  <a:pt x="1238" y="2608"/>
                  <a:pt x="1240" y="2611"/>
                  <a:pt x="1242" y="2614"/>
                </a:cubicBezTo>
                <a:cubicBezTo>
                  <a:pt x="1243" y="2616"/>
                  <a:pt x="1245" y="2617"/>
                  <a:pt x="1247" y="2617"/>
                </a:cubicBezTo>
                <a:cubicBezTo>
                  <a:pt x="1249" y="2615"/>
                  <a:pt x="1251" y="2612"/>
                  <a:pt x="1253" y="2610"/>
                </a:cubicBezTo>
                <a:cubicBezTo>
                  <a:pt x="1255" y="2610"/>
                  <a:pt x="1256" y="2610"/>
                  <a:pt x="1256" y="2611"/>
                </a:cubicBezTo>
                <a:cubicBezTo>
                  <a:pt x="1257" y="2612"/>
                  <a:pt x="1257" y="2613"/>
                  <a:pt x="1257" y="2614"/>
                </a:cubicBezTo>
                <a:cubicBezTo>
                  <a:pt x="1256" y="2616"/>
                  <a:pt x="1256" y="2619"/>
                  <a:pt x="1258" y="2620"/>
                </a:cubicBezTo>
                <a:cubicBezTo>
                  <a:pt x="1260" y="2621"/>
                  <a:pt x="1262" y="2622"/>
                  <a:pt x="1264" y="2622"/>
                </a:cubicBezTo>
                <a:cubicBezTo>
                  <a:pt x="1265" y="2623"/>
                  <a:pt x="1267" y="2622"/>
                  <a:pt x="1269" y="2622"/>
                </a:cubicBezTo>
                <a:cubicBezTo>
                  <a:pt x="1271" y="2622"/>
                  <a:pt x="1273" y="2622"/>
                  <a:pt x="1275" y="2622"/>
                </a:cubicBezTo>
                <a:cubicBezTo>
                  <a:pt x="1278" y="2623"/>
                  <a:pt x="1279" y="2622"/>
                  <a:pt x="1277" y="2618"/>
                </a:cubicBezTo>
                <a:cubicBezTo>
                  <a:pt x="1277" y="2618"/>
                  <a:pt x="1277" y="2618"/>
                  <a:pt x="1277" y="2618"/>
                </a:cubicBezTo>
                <a:cubicBezTo>
                  <a:pt x="1277" y="2617"/>
                  <a:pt x="1277" y="2617"/>
                  <a:pt x="1277" y="2617"/>
                </a:cubicBezTo>
                <a:cubicBezTo>
                  <a:pt x="1277" y="2617"/>
                  <a:pt x="1276" y="2617"/>
                  <a:pt x="1276" y="2616"/>
                </a:cubicBezTo>
                <a:cubicBezTo>
                  <a:pt x="1277" y="2616"/>
                  <a:pt x="1277" y="2616"/>
                  <a:pt x="1277" y="2617"/>
                </a:cubicBezTo>
                <a:cubicBezTo>
                  <a:pt x="1277" y="2617"/>
                  <a:pt x="1277" y="2617"/>
                  <a:pt x="1277" y="2617"/>
                </a:cubicBezTo>
                <a:cubicBezTo>
                  <a:pt x="1277" y="2617"/>
                  <a:pt x="1277" y="2617"/>
                  <a:pt x="1277" y="2618"/>
                </a:cubicBezTo>
                <a:cubicBezTo>
                  <a:pt x="1280" y="2617"/>
                  <a:pt x="1283" y="2616"/>
                  <a:pt x="1286" y="2615"/>
                </a:cubicBezTo>
                <a:cubicBezTo>
                  <a:pt x="1289" y="2614"/>
                  <a:pt x="1290" y="2613"/>
                  <a:pt x="1290" y="2610"/>
                </a:cubicBezTo>
                <a:cubicBezTo>
                  <a:pt x="1290" y="2609"/>
                  <a:pt x="1292" y="2609"/>
                  <a:pt x="1293" y="2609"/>
                </a:cubicBezTo>
                <a:cubicBezTo>
                  <a:pt x="1295" y="2609"/>
                  <a:pt x="1298" y="2610"/>
                  <a:pt x="1299" y="2610"/>
                </a:cubicBezTo>
                <a:cubicBezTo>
                  <a:pt x="1303" y="2608"/>
                  <a:pt x="1306" y="2605"/>
                  <a:pt x="1310" y="2602"/>
                </a:cubicBezTo>
                <a:cubicBezTo>
                  <a:pt x="1310" y="2602"/>
                  <a:pt x="1310" y="2601"/>
                  <a:pt x="1309" y="2601"/>
                </a:cubicBezTo>
                <a:cubicBezTo>
                  <a:pt x="1308" y="2599"/>
                  <a:pt x="1305" y="2600"/>
                  <a:pt x="1303" y="2599"/>
                </a:cubicBezTo>
                <a:cubicBezTo>
                  <a:pt x="1296" y="2596"/>
                  <a:pt x="1289" y="2593"/>
                  <a:pt x="1282" y="2590"/>
                </a:cubicBezTo>
                <a:cubicBezTo>
                  <a:pt x="1281" y="2589"/>
                  <a:pt x="1280" y="2589"/>
                  <a:pt x="1280" y="2588"/>
                </a:cubicBezTo>
                <a:cubicBezTo>
                  <a:pt x="1277" y="2584"/>
                  <a:pt x="1272" y="2582"/>
                  <a:pt x="1269" y="2578"/>
                </a:cubicBezTo>
                <a:cubicBezTo>
                  <a:pt x="1267" y="2576"/>
                  <a:pt x="1267" y="2574"/>
                  <a:pt x="1266" y="2571"/>
                </a:cubicBezTo>
                <a:cubicBezTo>
                  <a:pt x="1265" y="2564"/>
                  <a:pt x="1261" y="2561"/>
                  <a:pt x="1254" y="2560"/>
                </a:cubicBezTo>
                <a:cubicBezTo>
                  <a:pt x="1252" y="2560"/>
                  <a:pt x="1250" y="2560"/>
                  <a:pt x="1248" y="2560"/>
                </a:cubicBezTo>
                <a:cubicBezTo>
                  <a:pt x="1248" y="2561"/>
                  <a:pt x="1248" y="2561"/>
                  <a:pt x="1248" y="2561"/>
                </a:cubicBezTo>
                <a:cubicBezTo>
                  <a:pt x="1248" y="2561"/>
                  <a:pt x="1247" y="2561"/>
                  <a:pt x="1247" y="2561"/>
                </a:cubicBezTo>
                <a:cubicBezTo>
                  <a:pt x="1247" y="2563"/>
                  <a:pt x="1247" y="2565"/>
                  <a:pt x="1246" y="2565"/>
                </a:cubicBezTo>
                <a:cubicBezTo>
                  <a:pt x="1240" y="2568"/>
                  <a:pt x="1241" y="2573"/>
                  <a:pt x="1240" y="2577"/>
                </a:cubicBezTo>
                <a:cubicBezTo>
                  <a:pt x="1240" y="2578"/>
                  <a:pt x="1240" y="2578"/>
                  <a:pt x="1240" y="2579"/>
                </a:cubicBezTo>
                <a:cubicBezTo>
                  <a:pt x="1240" y="2579"/>
                  <a:pt x="1239" y="2580"/>
                  <a:pt x="1239" y="2580"/>
                </a:cubicBezTo>
                <a:cubicBezTo>
                  <a:pt x="1238" y="2580"/>
                  <a:pt x="1238" y="2579"/>
                  <a:pt x="1238" y="2579"/>
                </a:cubicBezTo>
                <a:cubicBezTo>
                  <a:pt x="1238" y="2576"/>
                  <a:pt x="1237" y="2574"/>
                  <a:pt x="1238" y="2572"/>
                </a:cubicBezTo>
                <a:cubicBezTo>
                  <a:pt x="1239" y="2566"/>
                  <a:pt x="1242" y="2563"/>
                  <a:pt x="1247" y="2561"/>
                </a:cubicBezTo>
                <a:cubicBezTo>
                  <a:pt x="1247" y="2561"/>
                  <a:pt x="1247" y="2561"/>
                  <a:pt x="1247" y="2560"/>
                </a:cubicBezTo>
                <a:cubicBezTo>
                  <a:pt x="1248" y="2560"/>
                  <a:pt x="1248" y="2560"/>
                  <a:pt x="1248" y="2560"/>
                </a:cubicBezTo>
                <a:cubicBezTo>
                  <a:pt x="1249" y="2558"/>
                  <a:pt x="1251" y="2555"/>
                  <a:pt x="1255" y="2556"/>
                </a:cubicBezTo>
                <a:cubicBezTo>
                  <a:pt x="1255" y="2556"/>
                  <a:pt x="1256" y="2556"/>
                  <a:pt x="1257" y="2556"/>
                </a:cubicBezTo>
                <a:cubicBezTo>
                  <a:pt x="1258" y="2556"/>
                  <a:pt x="1259" y="2556"/>
                  <a:pt x="1259" y="2555"/>
                </a:cubicBezTo>
                <a:cubicBezTo>
                  <a:pt x="1260" y="2554"/>
                  <a:pt x="1260" y="2553"/>
                  <a:pt x="1259" y="2552"/>
                </a:cubicBezTo>
                <a:cubicBezTo>
                  <a:pt x="1257" y="2548"/>
                  <a:pt x="1254" y="2545"/>
                  <a:pt x="1252" y="2541"/>
                </a:cubicBezTo>
                <a:cubicBezTo>
                  <a:pt x="1250" y="2538"/>
                  <a:pt x="1249" y="2533"/>
                  <a:pt x="1248" y="2529"/>
                </a:cubicBezTo>
                <a:cubicBezTo>
                  <a:pt x="1247" y="2524"/>
                  <a:pt x="1247" y="2520"/>
                  <a:pt x="1251" y="2517"/>
                </a:cubicBezTo>
                <a:cubicBezTo>
                  <a:pt x="1252" y="2515"/>
                  <a:pt x="1253" y="2513"/>
                  <a:pt x="1255" y="2512"/>
                </a:cubicBezTo>
                <a:cubicBezTo>
                  <a:pt x="1259" y="2509"/>
                  <a:pt x="1261" y="2505"/>
                  <a:pt x="1261" y="2499"/>
                </a:cubicBezTo>
                <a:cubicBezTo>
                  <a:pt x="1260" y="2495"/>
                  <a:pt x="1262" y="2491"/>
                  <a:pt x="1265" y="2487"/>
                </a:cubicBezTo>
                <a:cubicBezTo>
                  <a:pt x="1269" y="2484"/>
                  <a:pt x="1272" y="2480"/>
                  <a:pt x="1275" y="2476"/>
                </a:cubicBezTo>
                <a:cubicBezTo>
                  <a:pt x="1277" y="2474"/>
                  <a:pt x="1277" y="2471"/>
                  <a:pt x="1277" y="2468"/>
                </a:cubicBezTo>
                <a:cubicBezTo>
                  <a:pt x="1277" y="2467"/>
                  <a:pt x="1277" y="2465"/>
                  <a:pt x="1276" y="2463"/>
                </a:cubicBezTo>
                <a:cubicBezTo>
                  <a:pt x="1275" y="2459"/>
                  <a:pt x="1274" y="2455"/>
                  <a:pt x="1268" y="2455"/>
                </a:cubicBezTo>
                <a:cubicBezTo>
                  <a:pt x="1265" y="2455"/>
                  <a:pt x="1263" y="2454"/>
                  <a:pt x="1260" y="2452"/>
                </a:cubicBezTo>
                <a:cubicBezTo>
                  <a:pt x="1258" y="2450"/>
                  <a:pt x="1255" y="2448"/>
                  <a:pt x="1253" y="2446"/>
                </a:cubicBezTo>
                <a:cubicBezTo>
                  <a:pt x="1248" y="2441"/>
                  <a:pt x="1247" y="2435"/>
                  <a:pt x="1251" y="2430"/>
                </a:cubicBezTo>
                <a:cubicBezTo>
                  <a:pt x="1253" y="2427"/>
                  <a:pt x="1255" y="2425"/>
                  <a:pt x="1257" y="2424"/>
                </a:cubicBezTo>
                <a:cubicBezTo>
                  <a:pt x="1260" y="2422"/>
                  <a:pt x="1264" y="2421"/>
                  <a:pt x="1268" y="2419"/>
                </a:cubicBezTo>
                <a:cubicBezTo>
                  <a:pt x="1268" y="2419"/>
                  <a:pt x="1270" y="2418"/>
                  <a:pt x="1270" y="2417"/>
                </a:cubicBezTo>
                <a:cubicBezTo>
                  <a:pt x="1270" y="2412"/>
                  <a:pt x="1274" y="2408"/>
                  <a:pt x="1272" y="2403"/>
                </a:cubicBezTo>
                <a:cubicBezTo>
                  <a:pt x="1271" y="2401"/>
                  <a:pt x="1271" y="2400"/>
                  <a:pt x="1271" y="2398"/>
                </a:cubicBezTo>
                <a:cubicBezTo>
                  <a:pt x="1271" y="2394"/>
                  <a:pt x="1272" y="2390"/>
                  <a:pt x="1275" y="2386"/>
                </a:cubicBezTo>
                <a:cubicBezTo>
                  <a:pt x="1277" y="2384"/>
                  <a:pt x="1279" y="2382"/>
                  <a:pt x="1281" y="2379"/>
                </a:cubicBezTo>
                <a:cubicBezTo>
                  <a:pt x="1281" y="2379"/>
                  <a:pt x="1281" y="2379"/>
                  <a:pt x="1281" y="2379"/>
                </a:cubicBezTo>
                <a:cubicBezTo>
                  <a:pt x="1281" y="2379"/>
                  <a:pt x="1280" y="2379"/>
                  <a:pt x="1280" y="2378"/>
                </a:cubicBezTo>
                <a:cubicBezTo>
                  <a:pt x="1279" y="2378"/>
                  <a:pt x="1278" y="2378"/>
                  <a:pt x="1276" y="2378"/>
                </a:cubicBezTo>
                <a:cubicBezTo>
                  <a:pt x="1275" y="2377"/>
                  <a:pt x="1276" y="2376"/>
                  <a:pt x="1277" y="2376"/>
                </a:cubicBezTo>
                <a:cubicBezTo>
                  <a:pt x="1277" y="2375"/>
                  <a:pt x="1278" y="2375"/>
                  <a:pt x="1278" y="2375"/>
                </a:cubicBezTo>
                <a:cubicBezTo>
                  <a:pt x="1279" y="2376"/>
                  <a:pt x="1280" y="2377"/>
                  <a:pt x="1280" y="2378"/>
                </a:cubicBezTo>
                <a:cubicBezTo>
                  <a:pt x="1281" y="2378"/>
                  <a:pt x="1281" y="2379"/>
                  <a:pt x="1281" y="2379"/>
                </a:cubicBezTo>
                <a:cubicBezTo>
                  <a:pt x="1281" y="2379"/>
                  <a:pt x="1281" y="2379"/>
                  <a:pt x="1281" y="2379"/>
                </a:cubicBezTo>
                <a:cubicBezTo>
                  <a:pt x="1282" y="2379"/>
                  <a:pt x="1283" y="2380"/>
                  <a:pt x="1284" y="2380"/>
                </a:cubicBezTo>
                <a:cubicBezTo>
                  <a:pt x="1288" y="2379"/>
                  <a:pt x="1290" y="2377"/>
                  <a:pt x="1290" y="2373"/>
                </a:cubicBezTo>
                <a:cubicBezTo>
                  <a:pt x="1289" y="2371"/>
                  <a:pt x="1288" y="2368"/>
                  <a:pt x="1288" y="2365"/>
                </a:cubicBezTo>
                <a:cubicBezTo>
                  <a:pt x="1287" y="2364"/>
                  <a:pt x="1285" y="2363"/>
                  <a:pt x="1283" y="2364"/>
                </a:cubicBezTo>
                <a:cubicBezTo>
                  <a:pt x="1282" y="2364"/>
                  <a:pt x="1282" y="2365"/>
                  <a:pt x="1281" y="2365"/>
                </a:cubicBezTo>
                <a:cubicBezTo>
                  <a:pt x="1275" y="2368"/>
                  <a:pt x="1270" y="2365"/>
                  <a:pt x="1269" y="2360"/>
                </a:cubicBezTo>
                <a:cubicBezTo>
                  <a:pt x="1268" y="2357"/>
                  <a:pt x="1268" y="2354"/>
                  <a:pt x="1267" y="2350"/>
                </a:cubicBezTo>
                <a:cubicBezTo>
                  <a:pt x="1267" y="2349"/>
                  <a:pt x="1266" y="2348"/>
                  <a:pt x="1266" y="2347"/>
                </a:cubicBezTo>
                <a:cubicBezTo>
                  <a:pt x="1265" y="2345"/>
                  <a:pt x="1268" y="2343"/>
                  <a:pt x="1270" y="2344"/>
                </a:cubicBezTo>
                <a:cubicBezTo>
                  <a:pt x="1274" y="2345"/>
                  <a:pt x="1277" y="2346"/>
                  <a:pt x="1280" y="2348"/>
                </a:cubicBezTo>
                <a:cubicBezTo>
                  <a:pt x="1284" y="2350"/>
                  <a:pt x="1288" y="2350"/>
                  <a:pt x="1292" y="2350"/>
                </a:cubicBezTo>
                <a:cubicBezTo>
                  <a:pt x="1297" y="2349"/>
                  <a:pt x="1302" y="2344"/>
                  <a:pt x="1302" y="2340"/>
                </a:cubicBezTo>
                <a:cubicBezTo>
                  <a:pt x="1302" y="2336"/>
                  <a:pt x="1301" y="2333"/>
                  <a:pt x="1301" y="2330"/>
                </a:cubicBezTo>
                <a:cubicBezTo>
                  <a:pt x="1301" y="2326"/>
                  <a:pt x="1302" y="2322"/>
                  <a:pt x="1302" y="2319"/>
                </a:cubicBezTo>
                <a:cubicBezTo>
                  <a:pt x="1302" y="2318"/>
                  <a:pt x="1302" y="2318"/>
                  <a:pt x="1302" y="2317"/>
                </a:cubicBezTo>
                <a:cubicBezTo>
                  <a:pt x="1302" y="2316"/>
                  <a:pt x="1301" y="2315"/>
                  <a:pt x="1301" y="2314"/>
                </a:cubicBezTo>
                <a:cubicBezTo>
                  <a:pt x="1300" y="2310"/>
                  <a:pt x="1302" y="2308"/>
                  <a:pt x="1305" y="2309"/>
                </a:cubicBezTo>
                <a:cubicBezTo>
                  <a:pt x="1317" y="2312"/>
                  <a:pt x="1329" y="2311"/>
                  <a:pt x="1341" y="2306"/>
                </a:cubicBezTo>
                <a:cubicBezTo>
                  <a:pt x="1344" y="2305"/>
                  <a:pt x="1347" y="2304"/>
                  <a:pt x="1350" y="2302"/>
                </a:cubicBezTo>
                <a:cubicBezTo>
                  <a:pt x="1355" y="2300"/>
                  <a:pt x="1360" y="2297"/>
                  <a:pt x="1361" y="2291"/>
                </a:cubicBezTo>
                <a:cubicBezTo>
                  <a:pt x="1362" y="2287"/>
                  <a:pt x="1364" y="2284"/>
                  <a:pt x="1365" y="2280"/>
                </a:cubicBezTo>
                <a:cubicBezTo>
                  <a:pt x="1366" y="2278"/>
                  <a:pt x="1367" y="2276"/>
                  <a:pt x="1367" y="2274"/>
                </a:cubicBezTo>
                <a:cubicBezTo>
                  <a:pt x="1368" y="2272"/>
                  <a:pt x="1366" y="2268"/>
                  <a:pt x="1364" y="2267"/>
                </a:cubicBezTo>
                <a:cubicBezTo>
                  <a:pt x="1363" y="2266"/>
                  <a:pt x="1361" y="2266"/>
                  <a:pt x="1360" y="2265"/>
                </a:cubicBezTo>
                <a:cubicBezTo>
                  <a:pt x="1358" y="2264"/>
                  <a:pt x="1358" y="2262"/>
                  <a:pt x="1358" y="2261"/>
                </a:cubicBezTo>
                <a:cubicBezTo>
                  <a:pt x="1358" y="2259"/>
                  <a:pt x="1358" y="2257"/>
                  <a:pt x="1359" y="2256"/>
                </a:cubicBezTo>
                <a:cubicBezTo>
                  <a:pt x="1360" y="2251"/>
                  <a:pt x="1358" y="2249"/>
                  <a:pt x="1355" y="2246"/>
                </a:cubicBezTo>
                <a:cubicBezTo>
                  <a:pt x="1352" y="2243"/>
                  <a:pt x="1347" y="2241"/>
                  <a:pt x="1344" y="2237"/>
                </a:cubicBezTo>
                <a:cubicBezTo>
                  <a:pt x="1344" y="2237"/>
                  <a:pt x="1343" y="2237"/>
                  <a:pt x="1343" y="2237"/>
                </a:cubicBezTo>
                <a:cubicBezTo>
                  <a:pt x="1343" y="2237"/>
                  <a:pt x="1343" y="2237"/>
                  <a:pt x="1343" y="2236"/>
                </a:cubicBezTo>
                <a:cubicBezTo>
                  <a:pt x="1343" y="2236"/>
                  <a:pt x="1343" y="2236"/>
                  <a:pt x="1342" y="2236"/>
                </a:cubicBezTo>
                <a:cubicBezTo>
                  <a:pt x="1343" y="2236"/>
                  <a:pt x="1343" y="2236"/>
                  <a:pt x="1343" y="2236"/>
                </a:cubicBezTo>
                <a:cubicBezTo>
                  <a:pt x="1343" y="2236"/>
                  <a:pt x="1343" y="2236"/>
                  <a:pt x="1343" y="2236"/>
                </a:cubicBezTo>
                <a:cubicBezTo>
                  <a:pt x="1343" y="2236"/>
                  <a:pt x="1343" y="2237"/>
                  <a:pt x="1344" y="2237"/>
                </a:cubicBezTo>
                <a:cubicBezTo>
                  <a:pt x="1344" y="2237"/>
                  <a:pt x="1344" y="2237"/>
                  <a:pt x="1344" y="2237"/>
                </a:cubicBezTo>
                <a:cubicBezTo>
                  <a:pt x="1352" y="2238"/>
                  <a:pt x="1360" y="2238"/>
                  <a:pt x="1367" y="2242"/>
                </a:cubicBezTo>
                <a:cubicBezTo>
                  <a:pt x="1368" y="2243"/>
                  <a:pt x="1370" y="2243"/>
                  <a:pt x="1372" y="2243"/>
                </a:cubicBezTo>
                <a:cubicBezTo>
                  <a:pt x="1375" y="2244"/>
                  <a:pt x="1378" y="2244"/>
                  <a:pt x="1382" y="2244"/>
                </a:cubicBezTo>
                <a:cubicBezTo>
                  <a:pt x="1390" y="2244"/>
                  <a:pt x="1397" y="2241"/>
                  <a:pt x="1401" y="2233"/>
                </a:cubicBezTo>
                <a:cubicBezTo>
                  <a:pt x="1403" y="2230"/>
                  <a:pt x="1404" y="2225"/>
                  <a:pt x="1408" y="2222"/>
                </a:cubicBezTo>
                <a:cubicBezTo>
                  <a:pt x="1412" y="2219"/>
                  <a:pt x="1414" y="2215"/>
                  <a:pt x="1415" y="2210"/>
                </a:cubicBezTo>
                <a:cubicBezTo>
                  <a:pt x="1417" y="2204"/>
                  <a:pt x="1418" y="2199"/>
                  <a:pt x="1419" y="2194"/>
                </a:cubicBezTo>
                <a:cubicBezTo>
                  <a:pt x="1420" y="2194"/>
                  <a:pt x="1420" y="2194"/>
                  <a:pt x="1420" y="2194"/>
                </a:cubicBezTo>
                <a:cubicBezTo>
                  <a:pt x="1420" y="2194"/>
                  <a:pt x="1420" y="2194"/>
                  <a:pt x="1420" y="2194"/>
                </a:cubicBezTo>
                <a:cubicBezTo>
                  <a:pt x="1420" y="2194"/>
                  <a:pt x="1420" y="2194"/>
                  <a:pt x="1419" y="2194"/>
                </a:cubicBezTo>
                <a:cubicBezTo>
                  <a:pt x="1418" y="2189"/>
                  <a:pt x="1419" y="2187"/>
                  <a:pt x="1422" y="2185"/>
                </a:cubicBezTo>
                <a:cubicBezTo>
                  <a:pt x="1423" y="2184"/>
                  <a:pt x="1425" y="2184"/>
                  <a:pt x="1426" y="2184"/>
                </a:cubicBezTo>
                <a:cubicBezTo>
                  <a:pt x="1427" y="2180"/>
                  <a:pt x="1428" y="2176"/>
                  <a:pt x="1431" y="2172"/>
                </a:cubicBezTo>
                <a:cubicBezTo>
                  <a:pt x="1431" y="2171"/>
                  <a:pt x="1432" y="2170"/>
                  <a:pt x="1433" y="2171"/>
                </a:cubicBezTo>
                <a:cubicBezTo>
                  <a:pt x="1434" y="2171"/>
                  <a:pt x="1435" y="2172"/>
                  <a:pt x="1435" y="2173"/>
                </a:cubicBezTo>
                <a:cubicBezTo>
                  <a:pt x="1436" y="2174"/>
                  <a:pt x="1436" y="2176"/>
                  <a:pt x="1436" y="2177"/>
                </a:cubicBezTo>
                <a:cubicBezTo>
                  <a:pt x="1439" y="2177"/>
                  <a:pt x="1441" y="2174"/>
                  <a:pt x="1442" y="2172"/>
                </a:cubicBezTo>
                <a:cubicBezTo>
                  <a:pt x="1446" y="2161"/>
                  <a:pt x="1451" y="2151"/>
                  <a:pt x="1458" y="2141"/>
                </a:cubicBezTo>
                <a:cubicBezTo>
                  <a:pt x="1462" y="2135"/>
                  <a:pt x="1465" y="2127"/>
                  <a:pt x="1461" y="2120"/>
                </a:cubicBezTo>
                <a:cubicBezTo>
                  <a:pt x="1460" y="2119"/>
                  <a:pt x="1460" y="2117"/>
                  <a:pt x="1460" y="2116"/>
                </a:cubicBezTo>
                <a:cubicBezTo>
                  <a:pt x="1458" y="2107"/>
                  <a:pt x="1460" y="2098"/>
                  <a:pt x="1468" y="2091"/>
                </a:cubicBezTo>
                <a:cubicBezTo>
                  <a:pt x="1472" y="2088"/>
                  <a:pt x="1475" y="2085"/>
                  <a:pt x="1478" y="2082"/>
                </a:cubicBezTo>
                <a:cubicBezTo>
                  <a:pt x="1483" y="2077"/>
                  <a:pt x="1489" y="2073"/>
                  <a:pt x="1496" y="2071"/>
                </a:cubicBezTo>
                <a:cubicBezTo>
                  <a:pt x="1500" y="2070"/>
                  <a:pt x="1503" y="2068"/>
                  <a:pt x="1506" y="2065"/>
                </a:cubicBezTo>
                <a:cubicBezTo>
                  <a:pt x="1508" y="2063"/>
                  <a:pt x="1511" y="2062"/>
                  <a:pt x="1512" y="2058"/>
                </a:cubicBezTo>
                <a:cubicBezTo>
                  <a:pt x="1512" y="2057"/>
                  <a:pt x="1514" y="2056"/>
                  <a:pt x="1514" y="2057"/>
                </a:cubicBezTo>
                <a:cubicBezTo>
                  <a:pt x="1518" y="2057"/>
                  <a:pt x="1521" y="2057"/>
                  <a:pt x="1524" y="2056"/>
                </a:cubicBezTo>
                <a:cubicBezTo>
                  <a:pt x="1527" y="2056"/>
                  <a:pt x="1531" y="2057"/>
                  <a:pt x="1534" y="2056"/>
                </a:cubicBezTo>
                <a:cubicBezTo>
                  <a:pt x="1540" y="2056"/>
                  <a:pt x="1546" y="2055"/>
                  <a:pt x="1550" y="2050"/>
                </a:cubicBezTo>
                <a:cubicBezTo>
                  <a:pt x="1552" y="2047"/>
                  <a:pt x="1555" y="2046"/>
                  <a:pt x="1558" y="2044"/>
                </a:cubicBezTo>
                <a:cubicBezTo>
                  <a:pt x="1560" y="2043"/>
                  <a:pt x="1561" y="2041"/>
                  <a:pt x="1560" y="2039"/>
                </a:cubicBezTo>
                <a:cubicBezTo>
                  <a:pt x="1560" y="2036"/>
                  <a:pt x="1560" y="2033"/>
                  <a:pt x="1561" y="2031"/>
                </a:cubicBezTo>
                <a:cubicBezTo>
                  <a:pt x="1565" y="2025"/>
                  <a:pt x="1567" y="2019"/>
                  <a:pt x="1571" y="2013"/>
                </a:cubicBezTo>
                <a:cubicBezTo>
                  <a:pt x="1574" y="2009"/>
                  <a:pt x="1575" y="2005"/>
                  <a:pt x="1575" y="1999"/>
                </a:cubicBezTo>
                <a:cubicBezTo>
                  <a:pt x="1574" y="1996"/>
                  <a:pt x="1574" y="1991"/>
                  <a:pt x="1576" y="1988"/>
                </a:cubicBezTo>
                <a:cubicBezTo>
                  <a:pt x="1581" y="1982"/>
                  <a:pt x="1582" y="1975"/>
                  <a:pt x="1582" y="1968"/>
                </a:cubicBezTo>
                <a:cubicBezTo>
                  <a:pt x="1582" y="1959"/>
                  <a:pt x="1582" y="1950"/>
                  <a:pt x="1582" y="1941"/>
                </a:cubicBezTo>
                <a:cubicBezTo>
                  <a:pt x="1582" y="1935"/>
                  <a:pt x="1582" y="1929"/>
                  <a:pt x="1582" y="1923"/>
                </a:cubicBezTo>
                <a:cubicBezTo>
                  <a:pt x="1582" y="1920"/>
                  <a:pt x="1583" y="1918"/>
                  <a:pt x="1585" y="1916"/>
                </a:cubicBezTo>
                <a:cubicBezTo>
                  <a:pt x="1593" y="1913"/>
                  <a:pt x="1597" y="1907"/>
                  <a:pt x="1600" y="1899"/>
                </a:cubicBezTo>
                <a:cubicBezTo>
                  <a:pt x="1600" y="1898"/>
                  <a:pt x="1601" y="1896"/>
                  <a:pt x="1602" y="1895"/>
                </a:cubicBezTo>
                <a:cubicBezTo>
                  <a:pt x="1604" y="1890"/>
                  <a:pt x="1607" y="1886"/>
                  <a:pt x="1611" y="1883"/>
                </a:cubicBezTo>
                <a:cubicBezTo>
                  <a:pt x="1615" y="1879"/>
                  <a:pt x="1620" y="1875"/>
                  <a:pt x="1624" y="1870"/>
                </a:cubicBezTo>
                <a:cubicBezTo>
                  <a:pt x="1628" y="1866"/>
                  <a:pt x="1631" y="1861"/>
                  <a:pt x="1633" y="1855"/>
                </a:cubicBezTo>
                <a:cubicBezTo>
                  <a:pt x="1635" y="1849"/>
                  <a:pt x="1637" y="1837"/>
                  <a:pt x="1636" y="1832"/>
                </a:cubicBezTo>
                <a:cubicBezTo>
                  <a:pt x="1633" y="1825"/>
                  <a:pt x="1631" y="1818"/>
                  <a:pt x="1628" y="1811"/>
                </a:cubicBezTo>
                <a:close/>
                <a:moveTo>
                  <a:pt x="1376" y="892"/>
                </a:moveTo>
                <a:cubicBezTo>
                  <a:pt x="1376" y="892"/>
                  <a:pt x="1377" y="893"/>
                  <a:pt x="1376" y="893"/>
                </a:cubicBezTo>
                <a:cubicBezTo>
                  <a:pt x="1375" y="898"/>
                  <a:pt x="1371" y="898"/>
                  <a:pt x="1368" y="900"/>
                </a:cubicBezTo>
                <a:cubicBezTo>
                  <a:pt x="1367" y="899"/>
                  <a:pt x="1366" y="898"/>
                  <a:pt x="1367" y="898"/>
                </a:cubicBezTo>
                <a:cubicBezTo>
                  <a:pt x="1369" y="894"/>
                  <a:pt x="1372" y="893"/>
                  <a:pt x="1376" y="892"/>
                </a:cubicBezTo>
                <a:close/>
                <a:moveTo>
                  <a:pt x="1305" y="914"/>
                </a:moveTo>
                <a:cubicBezTo>
                  <a:pt x="1305" y="913"/>
                  <a:pt x="1305" y="913"/>
                  <a:pt x="1305" y="913"/>
                </a:cubicBezTo>
                <a:cubicBezTo>
                  <a:pt x="1306" y="914"/>
                  <a:pt x="1306" y="914"/>
                  <a:pt x="1306" y="914"/>
                </a:cubicBezTo>
                <a:lnTo>
                  <a:pt x="1305" y="914"/>
                </a:lnTo>
                <a:close/>
                <a:moveTo>
                  <a:pt x="1301" y="882"/>
                </a:moveTo>
                <a:cubicBezTo>
                  <a:pt x="1304" y="882"/>
                  <a:pt x="1306" y="883"/>
                  <a:pt x="1309" y="882"/>
                </a:cubicBezTo>
                <a:cubicBezTo>
                  <a:pt x="1314" y="879"/>
                  <a:pt x="1319" y="881"/>
                  <a:pt x="1325" y="883"/>
                </a:cubicBezTo>
                <a:cubicBezTo>
                  <a:pt x="1325" y="883"/>
                  <a:pt x="1325" y="884"/>
                  <a:pt x="1326" y="885"/>
                </a:cubicBezTo>
                <a:cubicBezTo>
                  <a:pt x="1326" y="886"/>
                  <a:pt x="1325" y="886"/>
                  <a:pt x="1325" y="886"/>
                </a:cubicBezTo>
                <a:cubicBezTo>
                  <a:pt x="1323" y="887"/>
                  <a:pt x="1321" y="888"/>
                  <a:pt x="1319" y="888"/>
                </a:cubicBezTo>
                <a:cubicBezTo>
                  <a:pt x="1314" y="886"/>
                  <a:pt x="1310" y="887"/>
                  <a:pt x="1306" y="887"/>
                </a:cubicBezTo>
                <a:cubicBezTo>
                  <a:pt x="1304" y="887"/>
                  <a:pt x="1303" y="886"/>
                  <a:pt x="1301" y="885"/>
                </a:cubicBezTo>
                <a:cubicBezTo>
                  <a:pt x="1301" y="885"/>
                  <a:pt x="1301" y="884"/>
                  <a:pt x="1301" y="884"/>
                </a:cubicBezTo>
                <a:cubicBezTo>
                  <a:pt x="1300" y="883"/>
                  <a:pt x="1301" y="882"/>
                  <a:pt x="1301" y="882"/>
                </a:cubicBezTo>
                <a:close/>
                <a:moveTo>
                  <a:pt x="1297" y="910"/>
                </a:moveTo>
                <a:cubicBezTo>
                  <a:pt x="1297" y="911"/>
                  <a:pt x="1297" y="911"/>
                  <a:pt x="1297" y="911"/>
                </a:cubicBezTo>
                <a:cubicBezTo>
                  <a:pt x="1296" y="911"/>
                  <a:pt x="1296" y="911"/>
                  <a:pt x="1296" y="911"/>
                </a:cubicBezTo>
                <a:lnTo>
                  <a:pt x="1297" y="910"/>
                </a:lnTo>
                <a:close/>
                <a:moveTo>
                  <a:pt x="1257" y="867"/>
                </a:moveTo>
                <a:cubicBezTo>
                  <a:pt x="1257" y="867"/>
                  <a:pt x="1258" y="867"/>
                  <a:pt x="1258" y="867"/>
                </a:cubicBezTo>
                <a:cubicBezTo>
                  <a:pt x="1258" y="868"/>
                  <a:pt x="1259" y="869"/>
                  <a:pt x="1259" y="870"/>
                </a:cubicBezTo>
                <a:cubicBezTo>
                  <a:pt x="1258" y="869"/>
                  <a:pt x="1258" y="868"/>
                  <a:pt x="1258" y="867"/>
                </a:cubicBezTo>
                <a:cubicBezTo>
                  <a:pt x="1257" y="868"/>
                  <a:pt x="1256" y="867"/>
                  <a:pt x="1257" y="867"/>
                </a:cubicBezTo>
                <a:close/>
                <a:moveTo>
                  <a:pt x="1246" y="872"/>
                </a:moveTo>
                <a:cubicBezTo>
                  <a:pt x="1247" y="870"/>
                  <a:pt x="1248" y="869"/>
                  <a:pt x="1249" y="868"/>
                </a:cubicBezTo>
                <a:cubicBezTo>
                  <a:pt x="1250" y="869"/>
                  <a:pt x="1250" y="870"/>
                  <a:pt x="1250" y="871"/>
                </a:cubicBezTo>
                <a:cubicBezTo>
                  <a:pt x="1251" y="872"/>
                  <a:pt x="1251" y="873"/>
                  <a:pt x="1251" y="876"/>
                </a:cubicBezTo>
                <a:cubicBezTo>
                  <a:pt x="1251" y="876"/>
                  <a:pt x="1251" y="877"/>
                  <a:pt x="1250" y="879"/>
                </a:cubicBezTo>
                <a:cubicBezTo>
                  <a:pt x="1250" y="879"/>
                  <a:pt x="1250" y="879"/>
                  <a:pt x="1249" y="879"/>
                </a:cubicBezTo>
                <a:cubicBezTo>
                  <a:pt x="1246" y="878"/>
                  <a:pt x="1245" y="875"/>
                  <a:pt x="1246" y="872"/>
                </a:cubicBezTo>
                <a:close/>
                <a:moveTo>
                  <a:pt x="1216" y="856"/>
                </a:moveTo>
                <a:cubicBezTo>
                  <a:pt x="1218" y="856"/>
                  <a:pt x="1218" y="856"/>
                  <a:pt x="1216" y="856"/>
                </a:cubicBezTo>
                <a:cubicBezTo>
                  <a:pt x="1215" y="856"/>
                  <a:pt x="1215" y="856"/>
                  <a:pt x="1215" y="856"/>
                </a:cubicBezTo>
                <a:cubicBezTo>
                  <a:pt x="1215" y="856"/>
                  <a:pt x="1216" y="855"/>
                  <a:pt x="1216" y="856"/>
                </a:cubicBezTo>
                <a:close/>
                <a:moveTo>
                  <a:pt x="1190" y="934"/>
                </a:moveTo>
                <a:cubicBezTo>
                  <a:pt x="1190" y="934"/>
                  <a:pt x="1191" y="935"/>
                  <a:pt x="1191" y="935"/>
                </a:cubicBezTo>
                <a:cubicBezTo>
                  <a:pt x="1191" y="935"/>
                  <a:pt x="1191" y="936"/>
                  <a:pt x="1191" y="936"/>
                </a:cubicBezTo>
                <a:cubicBezTo>
                  <a:pt x="1189" y="937"/>
                  <a:pt x="1187" y="939"/>
                  <a:pt x="1184" y="940"/>
                </a:cubicBezTo>
                <a:cubicBezTo>
                  <a:pt x="1184" y="940"/>
                  <a:pt x="1184" y="939"/>
                  <a:pt x="1184" y="939"/>
                </a:cubicBezTo>
                <a:cubicBezTo>
                  <a:pt x="1185" y="936"/>
                  <a:pt x="1187" y="935"/>
                  <a:pt x="1190" y="934"/>
                </a:cubicBezTo>
                <a:close/>
                <a:moveTo>
                  <a:pt x="1161" y="981"/>
                </a:moveTo>
                <a:cubicBezTo>
                  <a:pt x="1161" y="981"/>
                  <a:pt x="1162" y="981"/>
                  <a:pt x="1162" y="981"/>
                </a:cubicBezTo>
                <a:cubicBezTo>
                  <a:pt x="1162" y="981"/>
                  <a:pt x="1162" y="982"/>
                  <a:pt x="1162" y="982"/>
                </a:cubicBezTo>
                <a:cubicBezTo>
                  <a:pt x="1162" y="982"/>
                  <a:pt x="1161" y="982"/>
                  <a:pt x="1161" y="982"/>
                </a:cubicBezTo>
                <a:cubicBezTo>
                  <a:pt x="1161" y="982"/>
                  <a:pt x="1160" y="982"/>
                  <a:pt x="1160" y="981"/>
                </a:cubicBezTo>
                <a:cubicBezTo>
                  <a:pt x="1160" y="981"/>
                  <a:pt x="1161" y="981"/>
                  <a:pt x="1161" y="981"/>
                </a:cubicBezTo>
                <a:close/>
                <a:moveTo>
                  <a:pt x="1095" y="582"/>
                </a:moveTo>
                <a:cubicBezTo>
                  <a:pt x="1095" y="582"/>
                  <a:pt x="1096" y="582"/>
                  <a:pt x="1096" y="583"/>
                </a:cubicBezTo>
                <a:cubicBezTo>
                  <a:pt x="1101" y="586"/>
                  <a:pt x="1103" y="591"/>
                  <a:pt x="1106" y="596"/>
                </a:cubicBezTo>
                <a:cubicBezTo>
                  <a:pt x="1106" y="596"/>
                  <a:pt x="1106" y="597"/>
                  <a:pt x="1106" y="597"/>
                </a:cubicBezTo>
                <a:cubicBezTo>
                  <a:pt x="1105" y="598"/>
                  <a:pt x="1105" y="598"/>
                  <a:pt x="1104" y="598"/>
                </a:cubicBezTo>
                <a:cubicBezTo>
                  <a:pt x="1103" y="597"/>
                  <a:pt x="1101" y="597"/>
                  <a:pt x="1100" y="596"/>
                </a:cubicBezTo>
                <a:cubicBezTo>
                  <a:pt x="1097" y="593"/>
                  <a:pt x="1095" y="589"/>
                  <a:pt x="1094" y="585"/>
                </a:cubicBezTo>
                <a:cubicBezTo>
                  <a:pt x="1093" y="584"/>
                  <a:pt x="1094" y="583"/>
                  <a:pt x="1095" y="582"/>
                </a:cubicBezTo>
                <a:close/>
                <a:moveTo>
                  <a:pt x="1008" y="609"/>
                </a:moveTo>
                <a:cubicBezTo>
                  <a:pt x="1008" y="609"/>
                  <a:pt x="1009" y="608"/>
                  <a:pt x="1010" y="609"/>
                </a:cubicBezTo>
                <a:cubicBezTo>
                  <a:pt x="1012" y="609"/>
                  <a:pt x="1014" y="610"/>
                  <a:pt x="1015" y="613"/>
                </a:cubicBezTo>
                <a:cubicBezTo>
                  <a:pt x="1016" y="613"/>
                  <a:pt x="1016" y="613"/>
                  <a:pt x="1016" y="613"/>
                </a:cubicBezTo>
                <a:cubicBezTo>
                  <a:pt x="1016" y="613"/>
                  <a:pt x="1016" y="613"/>
                  <a:pt x="1016" y="613"/>
                </a:cubicBezTo>
                <a:cubicBezTo>
                  <a:pt x="1019" y="613"/>
                  <a:pt x="1020" y="614"/>
                  <a:pt x="1022" y="615"/>
                </a:cubicBezTo>
                <a:cubicBezTo>
                  <a:pt x="1022" y="615"/>
                  <a:pt x="1023" y="615"/>
                  <a:pt x="1023" y="615"/>
                </a:cubicBezTo>
                <a:cubicBezTo>
                  <a:pt x="1023" y="617"/>
                  <a:pt x="1023" y="617"/>
                  <a:pt x="1023" y="617"/>
                </a:cubicBezTo>
                <a:cubicBezTo>
                  <a:pt x="1022" y="616"/>
                  <a:pt x="1022" y="616"/>
                  <a:pt x="1022" y="616"/>
                </a:cubicBezTo>
                <a:cubicBezTo>
                  <a:pt x="1022" y="616"/>
                  <a:pt x="1022" y="616"/>
                  <a:pt x="1022" y="615"/>
                </a:cubicBezTo>
                <a:cubicBezTo>
                  <a:pt x="1020" y="615"/>
                  <a:pt x="1018" y="615"/>
                  <a:pt x="1016" y="613"/>
                </a:cubicBezTo>
                <a:cubicBezTo>
                  <a:pt x="1016" y="613"/>
                  <a:pt x="1016" y="613"/>
                  <a:pt x="1016" y="613"/>
                </a:cubicBezTo>
                <a:cubicBezTo>
                  <a:pt x="1016" y="613"/>
                  <a:pt x="1015" y="613"/>
                  <a:pt x="1015" y="613"/>
                </a:cubicBezTo>
                <a:cubicBezTo>
                  <a:pt x="1011" y="614"/>
                  <a:pt x="1010" y="614"/>
                  <a:pt x="1008" y="612"/>
                </a:cubicBezTo>
                <a:cubicBezTo>
                  <a:pt x="1008" y="611"/>
                  <a:pt x="1008" y="610"/>
                  <a:pt x="1008" y="609"/>
                </a:cubicBezTo>
                <a:close/>
                <a:moveTo>
                  <a:pt x="977" y="597"/>
                </a:moveTo>
                <a:cubicBezTo>
                  <a:pt x="977" y="597"/>
                  <a:pt x="977" y="598"/>
                  <a:pt x="978" y="598"/>
                </a:cubicBezTo>
                <a:cubicBezTo>
                  <a:pt x="977" y="598"/>
                  <a:pt x="977" y="599"/>
                  <a:pt x="977" y="598"/>
                </a:cubicBezTo>
                <a:cubicBezTo>
                  <a:pt x="975" y="598"/>
                  <a:pt x="975" y="597"/>
                  <a:pt x="977" y="597"/>
                </a:cubicBezTo>
                <a:close/>
                <a:moveTo>
                  <a:pt x="1097" y="973"/>
                </a:moveTo>
                <a:cubicBezTo>
                  <a:pt x="1097" y="973"/>
                  <a:pt x="1098" y="973"/>
                  <a:pt x="1098" y="973"/>
                </a:cubicBezTo>
                <a:cubicBezTo>
                  <a:pt x="1098" y="973"/>
                  <a:pt x="1099" y="973"/>
                  <a:pt x="1099" y="974"/>
                </a:cubicBezTo>
                <a:cubicBezTo>
                  <a:pt x="1100" y="975"/>
                  <a:pt x="1099" y="975"/>
                  <a:pt x="1098" y="975"/>
                </a:cubicBezTo>
                <a:cubicBezTo>
                  <a:pt x="1097" y="975"/>
                  <a:pt x="1097" y="975"/>
                  <a:pt x="1097" y="974"/>
                </a:cubicBezTo>
                <a:cubicBezTo>
                  <a:pt x="1096" y="974"/>
                  <a:pt x="1097" y="974"/>
                  <a:pt x="1097" y="973"/>
                </a:cubicBezTo>
                <a:close/>
                <a:moveTo>
                  <a:pt x="1086" y="1071"/>
                </a:moveTo>
                <a:cubicBezTo>
                  <a:pt x="1086" y="1070"/>
                  <a:pt x="1086" y="1070"/>
                  <a:pt x="1087" y="1070"/>
                </a:cubicBezTo>
                <a:cubicBezTo>
                  <a:pt x="1090" y="1069"/>
                  <a:pt x="1092" y="1067"/>
                  <a:pt x="1095" y="1067"/>
                </a:cubicBezTo>
                <a:cubicBezTo>
                  <a:pt x="1100" y="1066"/>
                  <a:pt x="1105" y="1066"/>
                  <a:pt x="1111" y="1066"/>
                </a:cubicBezTo>
                <a:cubicBezTo>
                  <a:pt x="1114" y="1066"/>
                  <a:pt x="1117" y="1065"/>
                  <a:pt x="1120" y="1062"/>
                </a:cubicBezTo>
                <a:cubicBezTo>
                  <a:pt x="1120" y="1062"/>
                  <a:pt x="1122" y="1062"/>
                  <a:pt x="1123" y="1061"/>
                </a:cubicBezTo>
                <a:cubicBezTo>
                  <a:pt x="1123" y="1062"/>
                  <a:pt x="1124" y="1062"/>
                  <a:pt x="1124" y="1062"/>
                </a:cubicBezTo>
                <a:cubicBezTo>
                  <a:pt x="1126" y="1066"/>
                  <a:pt x="1125" y="1069"/>
                  <a:pt x="1123" y="1072"/>
                </a:cubicBezTo>
                <a:cubicBezTo>
                  <a:pt x="1120" y="1076"/>
                  <a:pt x="1115" y="1079"/>
                  <a:pt x="1109" y="1077"/>
                </a:cubicBezTo>
                <a:cubicBezTo>
                  <a:pt x="1102" y="1074"/>
                  <a:pt x="1094" y="1076"/>
                  <a:pt x="1087" y="1076"/>
                </a:cubicBezTo>
                <a:cubicBezTo>
                  <a:pt x="1086" y="1076"/>
                  <a:pt x="1085" y="1074"/>
                  <a:pt x="1085" y="1073"/>
                </a:cubicBezTo>
                <a:cubicBezTo>
                  <a:pt x="1084" y="1073"/>
                  <a:pt x="1085" y="1072"/>
                  <a:pt x="1086" y="1071"/>
                </a:cubicBezTo>
                <a:close/>
                <a:moveTo>
                  <a:pt x="1083" y="1086"/>
                </a:moveTo>
                <a:cubicBezTo>
                  <a:pt x="1083" y="1087"/>
                  <a:pt x="1083" y="1088"/>
                  <a:pt x="1082" y="1089"/>
                </a:cubicBezTo>
                <a:cubicBezTo>
                  <a:pt x="1076" y="1092"/>
                  <a:pt x="1070" y="1095"/>
                  <a:pt x="1064" y="1097"/>
                </a:cubicBezTo>
                <a:cubicBezTo>
                  <a:pt x="1060" y="1099"/>
                  <a:pt x="1055" y="1101"/>
                  <a:pt x="1051" y="1103"/>
                </a:cubicBezTo>
                <a:cubicBezTo>
                  <a:pt x="1047" y="1106"/>
                  <a:pt x="1042" y="1107"/>
                  <a:pt x="1037" y="1107"/>
                </a:cubicBezTo>
                <a:cubicBezTo>
                  <a:pt x="1035" y="1106"/>
                  <a:pt x="1033" y="1105"/>
                  <a:pt x="1031" y="1104"/>
                </a:cubicBezTo>
                <a:cubicBezTo>
                  <a:pt x="1030" y="1103"/>
                  <a:pt x="1030" y="1099"/>
                  <a:pt x="1032" y="1098"/>
                </a:cubicBezTo>
                <a:cubicBezTo>
                  <a:pt x="1032" y="1098"/>
                  <a:pt x="1033" y="1097"/>
                  <a:pt x="1033" y="1097"/>
                </a:cubicBezTo>
                <a:cubicBezTo>
                  <a:pt x="1041" y="1097"/>
                  <a:pt x="1048" y="1093"/>
                  <a:pt x="1054" y="1089"/>
                </a:cubicBezTo>
                <a:cubicBezTo>
                  <a:pt x="1057" y="1087"/>
                  <a:pt x="1059" y="1087"/>
                  <a:pt x="1062" y="1088"/>
                </a:cubicBezTo>
                <a:cubicBezTo>
                  <a:pt x="1065" y="1089"/>
                  <a:pt x="1068" y="1089"/>
                  <a:pt x="1071" y="1087"/>
                </a:cubicBezTo>
                <a:cubicBezTo>
                  <a:pt x="1074" y="1086"/>
                  <a:pt x="1077" y="1085"/>
                  <a:pt x="1079" y="1084"/>
                </a:cubicBezTo>
                <a:cubicBezTo>
                  <a:pt x="1080" y="1084"/>
                  <a:pt x="1083" y="1085"/>
                  <a:pt x="1083" y="1086"/>
                </a:cubicBezTo>
                <a:close/>
                <a:moveTo>
                  <a:pt x="1036" y="1018"/>
                </a:moveTo>
                <a:cubicBezTo>
                  <a:pt x="1048" y="1020"/>
                  <a:pt x="1059" y="1023"/>
                  <a:pt x="1069" y="1027"/>
                </a:cubicBezTo>
                <a:cubicBezTo>
                  <a:pt x="1071" y="1027"/>
                  <a:pt x="1072" y="1028"/>
                  <a:pt x="1073" y="1030"/>
                </a:cubicBezTo>
                <a:cubicBezTo>
                  <a:pt x="1076" y="1034"/>
                  <a:pt x="1078" y="1038"/>
                  <a:pt x="1080" y="1043"/>
                </a:cubicBezTo>
                <a:cubicBezTo>
                  <a:pt x="1081" y="1045"/>
                  <a:pt x="1080" y="1047"/>
                  <a:pt x="1079" y="1049"/>
                </a:cubicBezTo>
                <a:cubicBezTo>
                  <a:pt x="1078" y="1051"/>
                  <a:pt x="1076" y="1051"/>
                  <a:pt x="1074" y="1050"/>
                </a:cubicBezTo>
                <a:cubicBezTo>
                  <a:pt x="1071" y="1049"/>
                  <a:pt x="1069" y="1045"/>
                  <a:pt x="1066" y="1043"/>
                </a:cubicBezTo>
                <a:cubicBezTo>
                  <a:pt x="1065" y="1042"/>
                  <a:pt x="1064" y="1042"/>
                  <a:pt x="1063" y="1042"/>
                </a:cubicBezTo>
                <a:cubicBezTo>
                  <a:pt x="1063" y="1042"/>
                  <a:pt x="1062" y="1043"/>
                  <a:pt x="1062" y="1044"/>
                </a:cubicBezTo>
                <a:cubicBezTo>
                  <a:pt x="1062" y="1045"/>
                  <a:pt x="1062" y="1047"/>
                  <a:pt x="1062" y="1048"/>
                </a:cubicBezTo>
                <a:cubicBezTo>
                  <a:pt x="1057" y="1055"/>
                  <a:pt x="1055" y="1063"/>
                  <a:pt x="1053" y="1071"/>
                </a:cubicBezTo>
                <a:cubicBezTo>
                  <a:pt x="1052" y="1072"/>
                  <a:pt x="1051" y="1073"/>
                  <a:pt x="1050" y="1073"/>
                </a:cubicBezTo>
                <a:cubicBezTo>
                  <a:pt x="1049" y="1074"/>
                  <a:pt x="1047" y="1074"/>
                  <a:pt x="1046" y="1072"/>
                </a:cubicBezTo>
                <a:cubicBezTo>
                  <a:pt x="1046" y="1069"/>
                  <a:pt x="1045" y="1066"/>
                  <a:pt x="1045" y="1063"/>
                </a:cubicBezTo>
                <a:cubicBezTo>
                  <a:pt x="1044" y="1060"/>
                  <a:pt x="1041" y="1059"/>
                  <a:pt x="1038" y="1060"/>
                </a:cubicBezTo>
                <a:cubicBezTo>
                  <a:pt x="1037" y="1060"/>
                  <a:pt x="1035" y="1061"/>
                  <a:pt x="1034" y="1062"/>
                </a:cubicBezTo>
                <a:cubicBezTo>
                  <a:pt x="1033" y="1063"/>
                  <a:pt x="1032" y="1063"/>
                  <a:pt x="1031" y="1062"/>
                </a:cubicBezTo>
                <a:cubicBezTo>
                  <a:pt x="1031" y="1062"/>
                  <a:pt x="1031" y="1061"/>
                  <a:pt x="1031" y="1061"/>
                </a:cubicBezTo>
                <a:cubicBezTo>
                  <a:pt x="1033" y="1059"/>
                  <a:pt x="1034" y="1057"/>
                  <a:pt x="1036" y="1054"/>
                </a:cubicBezTo>
                <a:cubicBezTo>
                  <a:pt x="1039" y="1050"/>
                  <a:pt x="1040" y="1045"/>
                  <a:pt x="1038" y="1040"/>
                </a:cubicBezTo>
                <a:cubicBezTo>
                  <a:pt x="1037" y="1038"/>
                  <a:pt x="1036" y="1036"/>
                  <a:pt x="1034" y="1035"/>
                </a:cubicBezTo>
                <a:cubicBezTo>
                  <a:pt x="1032" y="1033"/>
                  <a:pt x="1029" y="1031"/>
                  <a:pt x="1026" y="1029"/>
                </a:cubicBezTo>
                <a:cubicBezTo>
                  <a:pt x="1025" y="1028"/>
                  <a:pt x="1024" y="1027"/>
                  <a:pt x="1023" y="1026"/>
                </a:cubicBezTo>
                <a:cubicBezTo>
                  <a:pt x="1023" y="1026"/>
                  <a:pt x="1023" y="1026"/>
                  <a:pt x="1023" y="1026"/>
                </a:cubicBezTo>
                <a:cubicBezTo>
                  <a:pt x="1023" y="1026"/>
                  <a:pt x="1023" y="1026"/>
                  <a:pt x="1023" y="1026"/>
                </a:cubicBezTo>
                <a:cubicBezTo>
                  <a:pt x="1020" y="1028"/>
                  <a:pt x="1017" y="1031"/>
                  <a:pt x="1015" y="1034"/>
                </a:cubicBezTo>
                <a:cubicBezTo>
                  <a:pt x="1014" y="1036"/>
                  <a:pt x="1012" y="1038"/>
                  <a:pt x="1009" y="1038"/>
                </a:cubicBezTo>
                <a:cubicBezTo>
                  <a:pt x="1005" y="1038"/>
                  <a:pt x="1003" y="1041"/>
                  <a:pt x="1001" y="1044"/>
                </a:cubicBezTo>
                <a:cubicBezTo>
                  <a:pt x="996" y="1053"/>
                  <a:pt x="992" y="1063"/>
                  <a:pt x="993" y="1073"/>
                </a:cubicBezTo>
                <a:cubicBezTo>
                  <a:pt x="993" y="1084"/>
                  <a:pt x="988" y="1091"/>
                  <a:pt x="980" y="1097"/>
                </a:cubicBezTo>
                <a:cubicBezTo>
                  <a:pt x="978" y="1098"/>
                  <a:pt x="974" y="1097"/>
                  <a:pt x="974" y="1094"/>
                </a:cubicBezTo>
                <a:cubicBezTo>
                  <a:pt x="972" y="1085"/>
                  <a:pt x="972" y="1075"/>
                  <a:pt x="977" y="1067"/>
                </a:cubicBezTo>
                <a:cubicBezTo>
                  <a:pt x="980" y="1062"/>
                  <a:pt x="981" y="1056"/>
                  <a:pt x="983" y="1050"/>
                </a:cubicBezTo>
                <a:cubicBezTo>
                  <a:pt x="984" y="1047"/>
                  <a:pt x="984" y="1045"/>
                  <a:pt x="983" y="1042"/>
                </a:cubicBezTo>
                <a:cubicBezTo>
                  <a:pt x="982" y="1041"/>
                  <a:pt x="983" y="1040"/>
                  <a:pt x="983" y="1039"/>
                </a:cubicBezTo>
                <a:cubicBezTo>
                  <a:pt x="983" y="1038"/>
                  <a:pt x="983" y="1038"/>
                  <a:pt x="984" y="1037"/>
                </a:cubicBezTo>
                <a:cubicBezTo>
                  <a:pt x="997" y="1023"/>
                  <a:pt x="994" y="1025"/>
                  <a:pt x="1013" y="1022"/>
                </a:cubicBezTo>
                <a:cubicBezTo>
                  <a:pt x="1017" y="1021"/>
                  <a:pt x="1020" y="1023"/>
                  <a:pt x="1023" y="1026"/>
                </a:cubicBezTo>
                <a:cubicBezTo>
                  <a:pt x="1023" y="1026"/>
                  <a:pt x="1023" y="1026"/>
                  <a:pt x="1023" y="1025"/>
                </a:cubicBezTo>
                <a:cubicBezTo>
                  <a:pt x="1023" y="1026"/>
                  <a:pt x="1023" y="1026"/>
                  <a:pt x="1023" y="1026"/>
                </a:cubicBezTo>
                <a:cubicBezTo>
                  <a:pt x="1026" y="1025"/>
                  <a:pt x="1029" y="1024"/>
                  <a:pt x="1032" y="1023"/>
                </a:cubicBezTo>
                <a:cubicBezTo>
                  <a:pt x="1033" y="1023"/>
                  <a:pt x="1033" y="1021"/>
                  <a:pt x="1034" y="1020"/>
                </a:cubicBezTo>
                <a:cubicBezTo>
                  <a:pt x="1035" y="1020"/>
                  <a:pt x="1036" y="1018"/>
                  <a:pt x="1036" y="1018"/>
                </a:cubicBezTo>
                <a:close/>
                <a:moveTo>
                  <a:pt x="1033" y="874"/>
                </a:moveTo>
                <a:cubicBezTo>
                  <a:pt x="1033" y="874"/>
                  <a:pt x="1033" y="873"/>
                  <a:pt x="1033" y="873"/>
                </a:cubicBezTo>
                <a:cubicBezTo>
                  <a:pt x="1033" y="872"/>
                  <a:pt x="1033" y="871"/>
                  <a:pt x="1033" y="870"/>
                </a:cubicBezTo>
                <a:cubicBezTo>
                  <a:pt x="1033" y="868"/>
                  <a:pt x="1034" y="868"/>
                  <a:pt x="1035" y="869"/>
                </a:cubicBezTo>
                <a:cubicBezTo>
                  <a:pt x="1035" y="869"/>
                  <a:pt x="1035" y="870"/>
                  <a:pt x="1035" y="870"/>
                </a:cubicBezTo>
                <a:cubicBezTo>
                  <a:pt x="1034" y="871"/>
                  <a:pt x="1034" y="872"/>
                  <a:pt x="1033" y="873"/>
                </a:cubicBezTo>
                <a:cubicBezTo>
                  <a:pt x="1033" y="874"/>
                  <a:pt x="1033" y="874"/>
                  <a:pt x="1033" y="874"/>
                </a:cubicBezTo>
                <a:cubicBezTo>
                  <a:pt x="1032" y="875"/>
                  <a:pt x="1032" y="875"/>
                  <a:pt x="1032" y="875"/>
                </a:cubicBezTo>
                <a:lnTo>
                  <a:pt x="1033" y="874"/>
                </a:lnTo>
                <a:close/>
                <a:moveTo>
                  <a:pt x="992" y="942"/>
                </a:moveTo>
                <a:cubicBezTo>
                  <a:pt x="992" y="942"/>
                  <a:pt x="993" y="942"/>
                  <a:pt x="993" y="942"/>
                </a:cubicBezTo>
                <a:cubicBezTo>
                  <a:pt x="994" y="943"/>
                  <a:pt x="995" y="943"/>
                  <a:pt x="995" y="944"/>
                </a:cubicBezTo>
                <a:cubicBezTo>
                  <a:pt x="996" y="946"/>
                  <a:pt x="996" y="949"/>
                  <a:pt x="994" y="951"/>
                </a:cubicBezTo>
                <a:cubicBezTo>
                  <a:pt x="994" y="951"/>
                  <a:pt x="994" y="952"/>
                  <a:pt x="993" y="952"/>
                </a:cubicBezTo>
                <a:cubicBezTo>
                  <a:pt x="992" y="952"/>
                  <a:pt x="991" y="952"/>
                  <a:pt x="991" y="951"/>
                </a:cubicBezTo>
                <a:cubicBezTo>
                  <a:pt x="989" y="947"/>
                  <a:pt x="989" y="945"/>
                  <a:pt x="992" y="942"/>
                </a:cubicBezTo>
                <a:close/>
                <a:moveTo>
                  <a:pt x="976" y="918"/>
                </a:moveTo>
                <a:cubicBezTo>
                  <a:pt x="976" y="919"/>
                  <a:pt x="976" y="919"/>
                  <a:pt x="976" y="919"/>
                </a:cubicBezTo>
                <a:cubicBezTo>
                  <a:pt x="975" y="919"/>
                  <a:pt x="975" y="919"/>
                  <a:pt x="975" y="919"/>
                </a:cubicBezTo>
                <a:lnTo>
                  <a:pt x="976" y="918"/>
                </a:lnTo>
                <a:close/>
                <a:moveTo>
                  <a:pt x="966" y="646"/>
                </a:moveTo>
                <a:cubicBezTo>
                  <a:pt x="967" y="645"/>
                  <a:pt x="968" y="645"/>
                  <a:pt x="969" y="645"/>
                </a:cubicBezTo>
                <a:cubicBezTo>
                  <a:pt x="970" y="645"/>
                  <a:pt x="971" y="646"/>
                  <a:pt x="971" y="647"/>
                </a:cubicBezTo>
                <a:cubicBezTo>
                  <a:pt x="972" y="648"/>
                  <a:pt x="972" y="650"/>
                  <a:pt x="972" y="651"/>
                </a:cubicBezTo>
                <a:cubicBezTo>
                  <a:pt x="971" y="653"/>
                  <a:pt x="970" y="653"/>
                  <a:pt x="969" y="652"/>
                </a:cubicBezTo>
                <a:cubicBezTo>
                  <a:pt x="968" y="651"/>
                  <a:pt x="967" y="650"/>
                  <a:pt x="966" y="649"/>
                </a:cubicBezTo>
                <a:cubicBezTo>
                  <a:pt x="965" y="648"/>
                  <a:pt x="966" y="647"/>
                  <a:pt x="966" y="646"/>
                </a:cubicBezTo>
                <a:close/>
                <a:moveTo>
                  <a:pt x="955" y="635"/>
                </a:moveTo>
                <a:cubicBezTo>
                  <a:pt x="955" y="636"/>
                  <a:pt x="955" y="636"/>
                  <a:pt x="955" y="637"/>
                </a:cubicBezTo>
                <a:cubicBezTo>
                  <a:pt x="955" y="637"/>
                  <a:pt x="955" y="637"/>
                  <a:pt x="955" y="638"/>
                </a:cubicBezTo>
                <a:cubicBezTo>
                  <a:pt x="954" y="637"/>
                  <a:pt x="954" y="637"/>
                  <a:pt x="954" y="636"/>
                </a:cubicBezTo>
                <a:cubicBezTo>
                  <a:pt x="954" y="636"/>
                  <a:pt x="955" y="636"/>
                  <a:pt x="955" y="635"/>
                </a:cubicBezTo>
                <a:close/>
                <a:moveTo>
                  <a:pt x="949" y="839"/>
                </a:moveTo>
                <a:cubicBezTo>
                  <a:pt x="950" y="839"/>
                  <a:pt x="950" y="839"/>
                  <a:pt x="951" y="839"/>
                </a:cubicBezTo>
                <a:cubicBezTo>
                  <a:pt x="951" y="840"/>
                  <a:pt x="950" y="840"/>
                  <a:pt x="950" y="840"/>
                </a:cubicBezTo>
                <a:cubicBezTo>
                  <a:pt x="950" y="840"/>
                  <a:pt x="949" y="840"/>
                  <a:pt x="949" y="840"/>
                </a:cubicBezTo>
                <a:cubicBezTo>
                  <a:pt x="949" y="839"/>
                  <a:pt x="949" y="839"/>
                  <a:pt x="949" y="839"/>
                </a:cubicBezTo>
                <a:close/>
                <a:moveTo>
                  <a:pt x="943" y="930"/>
                </a:moveTo>
                <a:cubicBezTo>
                  <a:pt x="943" y="930"/>
                  <a:pt x="943" y="930"/>
                  <a:pt x="944" y="930"/>
                </a:cubicBezTo>
                <a:cubicBezTo>
                  <a:pt x="944" y="930"/>
                  <a:pt x="944" y="930"/>
                  <a:pt x="944" y="931"/>
                </a:cubicBezTo>
                <a:cubicBezTo>
                  <a:pt x="947" y="931"/>
                  <a:pt x="950" y="931"/>
                  <a:pt x="953" y="931"/>
                </a:cubicBezTo>
                <a:cubicBezTo>
                  <a:pt x="954" y="932"/>
                  <a:pt x="954" y="933"/>
                  <a:pt x="953" y="934"/>
                </a:cubicBezTo>
                <a:cubicBezTo>
                  <a:pt x="953" y="934"/>
                  <a:pt x="952" y="935"/>
                  <a:pt x="952" y="935"/>
                </a:cubicBezTo>
                <a:cubicBezTo>
                  <a:pt x="949" y="934"/>
                  <a:pt x="946" y="933"/>
                  <a:pt x="944" y="931"/>
                </a:cubicBezTo>
                <a:cubicBezTo>
                  <a:pt x="944" y="930"/>
                  <a:pt x="944" y="930"/>
                  <a:pt x="943" y="930"/>
                </a:cubicBezTo>
                <a:cubicBezTo>
                  <a:pt x="942" y="930"/>
                  <a:pt x="942" y="930"/>
                  <a:pt x="943" y="930"/>
                </a:cubicBezTo>
                <a:close/>
                <a:moveTo>
                  <a:pt x="957" y="987"/>
                </a:moveTo>
                <a:cubicBezTo>
                  <a:pt x="963" y="985"/>
                  <a:pt x="970" y="983"/>
                  <a:pt x="976" y="978"/>
                </a:cubicBezTo>
                <a:cubicBezTo>
                  <a:pt x="981" y="974"/>
                  <a:pt x="988" y="974"/>
                  <a:pt x="993" y="969"/>
                </a:cubicBezTo>
                <a:cubicBezTo>
                  <a:pt x="995" y="967"/>
                  <a:pt x="997" y="967"/>
                  <a:pt x="1000" y="968"/>
                </a:cubicBezTo>
                <a:cubicBezTo>
                  <a:pt x="1001" y="968"/>
                  <a:pt x="1003" y="969"/>
                  <a:pt x="1004" y="969"/>
                </a:cubicBezTo>
                <a:cubicBezTo>
                  <a:pt x="1010" y="971"/>
                  <a:pt x="1014" y="973"/>
                  <a:pt x="1015" y="980"/>
                </a:cubicBezTo>
                <a:cubicBezTo>
                  <a:pt x="1016" y="983"/>
                  <a:pt x="1019" y="986"/>
                  <a:pt x="1022" y="986"/>
                </a:cubicBezTo>
                <a:cubicBezTo>
                  <a:pt x="1026" y="987"/>
                  <a:pt x="1027" y="989"/>
                  <a:pt x="1027" y="993"/>
                </a:cubicBezTo>
                <a:cubicBezTo>
                  <a:pt x="1027" y="998"/>
                  <a:pt x="1028" y="1003"/>
                  <a:pt x="1029" y="1008"/>
                </a:cubicBezTo>
                <a:cubicBezTo>
                  <a:pt x="1029" y="1010"/>
                  <a:pt x="1026" y="1012"/>
                  <a:pt x="1024" y="1010"/>
                </a:cubicBezTo>
                <a:cubicBezTo>
                  <a:pt x="1022" y="1009"/>
                  <a:pt x="1020" y="1008"/>
                  <a:pt x="1018" y="1008"/>
                </a:cubicBezTo>
                <a:cubicBezTo>
                  <a:pt x="1014" y="1009"/>
                  <a:pt x="1009" y="1009"/>
                  <a:pt x="1005" y="1010"/>
                </a:cubicBezTo>
                <a:cubicBezTo>
                  <a:pt x="999" y="1011"/>
                  <a:pt x="995" y="1010"/>
                  <a:pt x="992" y="1005"/>
                </a:cubicBezTo>
                <a:cubicBezTo>
                  <a:pt x="991" y="1004"/>
                  <a:pt x="990" y="1004"/>
                  <a:pt x="989" y="1003"/>
                </a:cubicBezTo>
                <a:cubicBezTo>
                  <a:pt x="988" y="1002"/>
                  <a:pt x="986" y="1002"/>
                  <a:pt x="986" y="1000"/>
                </a:cubicBezTo>
                <a:cubicBezTo>
                  <a:pt x="987" y="999"/>
                  <a:pt x="988" y="998"/>
                  <a:pt x="989" y="996"/>
                </a:cubicBezTo>
                <a:cubicBezTo>
                  <a:pt x="990" y="995"/>
                  <a:pt x="990" y="994"/>
                  <a:pt x="989" y="994"/>
                </a:cubicBezTo>
                <a:cubicBezTo>
                  <a:pt x="988" y="993"/>
                  <a:pt x="988" y="993"/>
                  <a:pt x="987" y="993"/>
                </a:cubicBezTo>
                <a:cubicBezTo>
                  <a:pt x="986" y="993"/>
                  <a:pt x="985" y="993"/>
                  <a:pt x="984" y="993"/>
                </a:cubicBezTo>
                <a:cubicBezTo>
                  <a:pt x="983" y="993"/>
                  <a:pt x="982" y="994"/>
                  <a:pt x="981" y="995"/>
                </a:cubicBezTo>
                <a:cubicBezTo>
                  <a:pt x="975" y="999"/>
                  <a:pt x="968" y="1002"/>
                  <a:pt x="960" y="1004"/>
                </a:cubicBezTo>
                <a:cubicBezTo>
                  <a:pt x="956" y="1006"/>
                  <a:pt x="952" y="1007"/>
                  <a:pt x="949" y="1002"/>
                </a:cubicBezTo>
                <a:cubicBezTo>
                  <a:pt x="947" y="999"/>
                  <a:pt x="943" y="1000"/>
                  <a:pt x="940" y="1000"/>
                </a:cubicBezTo>
                <a:cubicBezTo>
                  <a:pt x="940" y="1000"/>
                  <a:pt x="940" y="1000"/>
                  <a:pt x="940" y="1000"/>
                </a:cubicBezTo>
                <a:cubicBezTo>
                  <a:pt x="940" y="1000"/>
                  <a:pt x="940" y="1000"/>
                  <a:pt x="939" y="1000"/>
                </a:cubicBezTo>
                <a:cubicBezTo>
                  <a:pt x="939" y="1000"/>
                  <a:pt x="939" y="1001"/>
                  <a:pt x="939" y="1001"/>
                </a:cubicBezTo>
                <a:cubicBezTo>
                  <a:pt x="939" y="1001"/>
                  <a:pt x="939" y="1000"/>
                  <a:pt x="939" y="1000"/>
                </a:cubicBezTo>
                <a:cubicBezTo>
                  <a:pt x="939" y="1000"/>
                  <a:pt x="939" y="1000"/>
                  <a:pt x="939" y="1000"/>
                </a:cubicBezTo>
                <a:cubicBezTo>
                  <a:pt x="940" y="1000"/>
                  <a:pt x="940" y="1000"/>
                  <a:pt x="940" y="1000"/>
                </a:cubicBezTo>
                <a:cubicBezTo>
                  <a:pt x="940" y="1000"/>
                  <a:pt x="940" y="1000"/>
                  <a:pt x="940" y="1000"/>
                </a:cubicBezTo>
                <a:cubicBezTo>
                  <a:pt x="944" y="993"/>
                  <a:pt x="950" y="990"/>
                  <a:pt x="957" y="987"/>
                </a:cubicBezTo>
                <a:close/>
                <a:moveTo>
                  <a:pt x="939" y="859"/>
                </a:moveTo>
                <a:cubicBezTo>
                  <a:pt x="937" y="859"/>
                  <a:pt x="937" y="858"/>
                  <a:pt x="938" y="857"/>
                </a:cubicBezTo>
                <a:cubicBezTo>
                  <a:pt x="938" y="857"/>
                  <a:pt x="939" y="857"/>
                  <a:pt x="939" y="857"/>
                </a:cubicBezTo>
                <a:cubicBezTo>
                  <a:pt x="939" y="858"/>
                  <a:pt x="940" y="858"/>
                  <a:pt x="940" y="859"/>
                </a:cubicBezTo>
                <a:cubicBezTo>
                  <a:pt x="940" y="859"/>
                  <a:pt x="939" y="860"/>
                  <a:pt x="939" y="859"/>
                </a:cubicBezTo>
                <a:close/>
                <a:moveTo>
                  <a:pt x="931" y="624"/>
                </a:moveTo>
                <a:cubicBezTo>
                  <a:pt x="933" y="623"/>
                  <a:pt x="935" y="623"/>
                  <a:pt x="937" y="623"/>
                </a:cubicBezTo>
                <a:cubicBezTo>
                  <a:pt x="938" y="623"/>
                  <a:pt x="939" y="624"/>
                  <a:pt x="940" y="625"/>
                </a:cubicBezTo>
                <a:cubicBezTo>
                  <a:pt x="936" y="628"/>
                  <a:pt x="937" y="633"/>
                  <a:pt x="936" y="637"/>
                </a:cubicBezTo>
                <a:cubicBezTo>
                  <a:pt x="934" y="640"/>
                  <a:pt x="932" y="640"/>
                  <a:pt x="929" y="638"/>
                </a:cubicBezTo>
                <a:cubicBezTo>
                  <a:pt x="923" y="633"/>
                  <a:pt x="924" y="628"/>
                  <a:pt x="931" y="624"/>
                </a:cubicBezTo>
                <a:close/>
                <a:moveTo>
                  <a:pt x="927" y="705"/>
                </a:moveTo>
                <a:cubicBezTo>
                  <a:pt x="927" y="705"/>
                  <a:pt x="927" y="704"/>
                  <a:pt x="927" y="704"/>
                </a:cubicBezTo>
                <a:cubicBezTo>
                  <a:pt x="927" y="703"/>
                  <a:pt x="928" y="703"/>
                  <a:pt x="928" y="702"/>
                </a:cubicBezTo>
                <a:cubicBezTo>
                  <a:pt x="928" y="702"/>
                  <a:pt x="928" y="702"/>
                  <a:pt x="929" y="703"/>
                </a:cubicBezTo>
                <a:cubicBezTo>
                  <a:pt x="928" y="703"/>
                  <a:pt x="928" y="704"/>
                  <a:pt x="927" y="704"/>
                </a:cubicBezTo>
                <a:cubicBezTo>
                  <a:pt x="927" y="704"/>
                  <a:pt x="927" y="705"/>
                  <a:pt x="927" y="705"/>
                </a:cubicBezTo>
                <a:cubicBezTo>
                  <a:pt x="926" y="706"/>
                  <a:pt x="924" y="708"/>
                  <a:pt x="923" y="709"/>
                </a:cubicBezTo>
                <a:cubicBezTo>
                  <a:pt x="923" y="709"/>
                  <a:pt x="923" y="710"/>
                  <a:pt x="923" y="710"/>
                </a:cubicBezTo>
                <a:cubicBezTo>
                  <a:pt x="923" y="709"/>
                  <a:pt x="923" y="709"/>
                  <a:pt x="923" y="709"/>
                </a:cubicBezTo>
                <a:cubicBezTo>
                  <a:pt x="924" y="707"/>
                  <a:pt x="925" y="706"/>
                  <a:pt x="927" y="705"/>
                </a:cubicBezTo>
                <a:close/>
                <a:moveTo>
                  <a:pt x="923" y="650"/>
                </a:moveTo>
                <a:cubicBezTo>
                  <a:pt x="923" y="651"/>
                  <a:pt x="923" y="651"/>
                  <a:pt x="923" y="651"/>
                </a:cubicBezTo>
                <a:cubicBezTo>
                  <a:pt x="922" y="651"/>
                  <a:pt x="922" y="651"/>
                  <a:pt x="922" y="651"/>
                </a:cubicBezTo>
                <a:lnTo>
                  <a:pt x="923" y="650"/>
                </a:lnTo>
                <a:close/>
                <a:moveTo>
                  <a:pt x="915" y="777"/>
                </a:moveTo>
                <a:cubicBezTo>
                  <a:pt x="916" y="779"/>
                  <a:pt x="916" y="779"/>
                  <a:pt x="916" y="779"/>
                </a:cubicBezTo>
                <a:cubicBezTo>
                  <a:pt x="915" y="779"/>
                  <a:pt x="915" y="779"/>
                  <a:pt x="915" y="779"/>
                </a:cubicBezTo>
                <a:lnTo>
                  <a:pt x="915" y="777"/>
                </a:lnTo>
                <a:close/>
                <a:moveTo>
                  <a:pt x="910" y="954"/>
                </a:moveTo>
                <a:cubicBezTo>
                  <a:pt x="911" y="952"/>
                  <a:pt x="911" y="949"/>
                  <a:pt x="913" y="947"/>
                </a:cubicBezTo>
                <a:cubicBezTo>
                  <a:pt x="913" y="947"/>
                  <a:pt x="913" y="947"/>
                  <a:pt x="913" y="947"/>
                </a:cubicBezTo>
                <a:cubicBezTo>
                  <a:pt x="913" y="946"/>
                  <a:pt x="914" y="946"/>
                  <a:pt x="914" y="946"/>
                </a:cubicBezTo>
                <a:cubicBezTo>
                  <a:pt x="914" y="946"/>
                  <a:pt x="914" y="947"/>
                  <a:pt x="914" y="947"/>
                </a:cubicBezTo>
                <a:cubicBezTo>
                  <a:pt x="913" y="947"/>
                  <a:pt x="913" y="947"/>
                  <a:pt x="913" y="947"/>
                </a:cubicBezTo>
                <a:cubicBezTo>
                  <a:pt x="914" y="949"/>
                  <a:pt x="914" y="951"/>
                  <a:pt x="915" y="953"/>
                </a:cubicBezTo>
                <a:cubicBezTo>
                  <a:pt x="915" y="953"/>
                  <a:pt x="915" y="954"/>
                  <a:pt x="915" y="954"/>
                </a:cubicBezTo>
                <a:cubicBezTo>
                  <a:pt x="914" y="955"/>
                  <a:pt x="913" y="956"/>
                  <a:pt x="912" y="956"/>
                </a:cubicBezTo>
                <a:cubicBezTo>
                  <a:pt x="912" y="956"/>
                  <a:pt x="911" y="956"/>
                  <a:pt x="911" y="956"/>
                </a:cubicBezTo>
                <a:cubicBezTo>
                  <a:pt x="910" y="956"/>
                  <a:pt x="909" y="955"/>
                  <a:pt x="910" y="954"/>
                </a:cubicBezTo>
                <a:close/>
                <a:moveTo>
                  <a:pt x="907" y="836"/>
                </a:moveTo>
                <a:cubicBezTo>
                  <a:pt x="908" y="836"/>
                  <a:pt x="908" y="836"/>
                  <a:pt x="908" y="836"/>
                </a:cubicBezTo>
                <a:cubicBezTo>
                  <a:pt x="907" y="837"/>
                  <a:pt x="907" y="837"/>
                  <a:pt x="907" y="837"/>
                </a:cubicBezTo>
                <a:lnTo>
                  <a:pt x="907" y="836"/>
                </a:lnTo>
                <a:close/>
                <a:moveTo>
                  <a:pt x="902" y="784"/>
                </a:moveTo>
                <a:cubicBezTo>
                  <a:pt x="903" y="783"/>
                  <a:pt x="904" y="784"/>
                  <a:pt x="904" y="785"/>
                </a:cubicBezTo>
                <a:cubicBezTo>
                  <a:pt x="904" y="786"/>
                  <a:pt x="904" y="787"/>
                  <a:pt x="902" y="787"/>
                </a:cubicBezTo>
                <a:cubicBezTo>
                  <a:pt x="901" y="787"/>
                  <a:pt x="901" y="786"/>
                  <a:pt x="900" y="786"/>
                </a:cubicBezTo>
                <a:cubicBezTo>
                  <a:pt x="900" y="785"/>
                  <a:pt x="901" y="784"/>
                  <a:pt x="902" y="784"/>
                </a:cubicBezTo>
                <a:close/>
                <a:moveTo>
                  <a:pt x="900" y="909"/>
                </a:moveTo>
                <a:cubicBezTo>
                  <a:pt x="900" y="915"/>
                  <a:pt x="899" y="920"/>
                  <a:pt x="894" y="923"/>
                </a:cubicBezTo>
                <a:cubicBezTo>
                  <a:pt x="894" y="924"/>
                  <a:pt x="894" y="924"/>
                  <a:pt x="894" y="924"/>
                </a:cubicBezTo>
                <a:cubicBezTo>
                  <a:pt x="893" y="924"/>
                  <a:pt x="893" y="924"/>
                  <a:pt x="893" y="924"/>
                </a:cubicBezTo>
                <a:cubicBezTo>
                  <a:pt x="894" y="924"/>
                  <a:pt x="894" y="924"/>
                  <a:pt x="894" y="924"/>
                </a:cubicBezTo>
                <a:cubicBezTo>
                  <a:pt x="894" y="924"/>
                  <a:pt x="894" y="923"/>
                  <a:pt x="894" y="923"/>
                </a:cubicBezTo>
                <a:cubicBezTo>
                  <a:pt x="893" y="918"/>
                  <a:pt x="895" y="913"/>
                  <a:pt x="898" y="908"/>
                </a:cubicBezTo>
                <a:cubicBezTo>
                  <a:pt x="898" y="908"/>
                  <a:pt x="899" y="908"/>
                  <a:pt x="899" y="908"/>
                </a:cubicBezTo>
                <a:cubicBezTo>
                  <a:pt x="899" y="908"/>
                  <a:pt x="900" y="909"/>
                  <a:pt x="900" y="909"/>
                </a:cubicBezTo>
                <a:close/>
                <a:moveTo>
                  <a:pt x="898" y="843"/>
                </a:moveTo>
                <a:cubicBezTo>
                  <a:pt x="898" y="843"/>
                  <a:pt x="898" y="843"/>
                  <a:pt x="899" y="843"/>
                </a:cubicBezTo>
                <a:cubicBezTo>
                  <a:pt x="899" y="844"/>
                  <a:pt x="898" y="844"/>
                  <a:pt x="898" y="845"/>
                </a:cubicBezTo>
                <a:cubicBezTo>
                  <a:pt x="898" y="845"/>
                  <a:pt x="897" y="845"/>
                  <a:pt x="897" y="844"/>
                </a:cubicBezTo>
                <a:cubicBezTo>
                  <a:pt x="896" y="843"/>
                  <a:pt x="896" y="843"/>
                  <a:pt x="898" y="843"/>
                </a:cubicBezTo>
                <a:close/>
                <a:moveTo>
                  <a:pt x="886" y="856"/>
                </a:moveTo>
                <a:cubicBezTo>
                  <a:pt x="887" y="856"/>
                  <a:pt x="889" y="856"/>
                  <a:pt x="889" y="856"/>
                </a:cubicBezTo>
                <a:cubicBezTo>
                  <a:pt x="893" y="857"/>
                  <a:pt x="896" y="858"/>
                  <a:pt x="897" y="862"/>
                </a:cubicBezTo>
                <a:cubicBezTo>
                  <a:pt x="898" y="865"/>
                  <a:pt x="899" y="869"/>
                  <a:pt x="898" y="873"/>
                </a:cubicBezTo>
                <a:cubicBezTo>
                  <a:pt x="898" y="878"/>
                  <a:pt x="898" y="884"/>
                  <a:pt x="897" y="888"/>
                </a:cubicBezTo>
                <a:cubicBezTo>
                  <a:pt x="898" y="891"/>
                  <a:pt x="899" y="892"/>
                  <a:pt x="899" y="894"/>
                </a:cubicBezTo>
                <a:cubicBezTo>
                  <a:pt x="899" y="895"/>
                  <a:pt x="899" y="898"/>
                  <a:pt x="898" y="898"/>
                </a:cubicBezTo>
                <a:cubicBezTo>
                  <a:pt x="896" y="899"/>
                  <a:pt x="895" y="897"/>
                  <a:pt x="894" y="896"/>
                </a:cubicBezTo>
                <a:cubicBezTo>
                  <a:pt x="894" y="895"/>
                  <a:pt x="892" y="893"/>
                  <a:pt x="891" y="893"/>
                </a:cubicBezTo>
                <a:cubicBezTo>
                  <a:pt x="888" y="892"/>
                  <a:pt x="887" y="890"/>
                  <a:pt x="886" y="887"/>
                </a:cubicBezTo>
                <a:cubicBezTo>
                  <a:pt x="885" y="886"/>
                  <a:pt x="885" y="884"/>
                  <a:pt x="885" y="883"/>
                </a:cubicBezTo>
                <a:cubicBezTo>
                  <a:pt x="884" y="878"/>
                  <a:pt x="882" y="874"/>
                  <a:pt x="885" y="870"/>
                </a:cubicBezTo>
                <a:cubicBezTo>
                  <a:pt x="884" y="868"/>
                  <a:pt x="883" y="866"/>
                  <a:pt x="882" y="865"/>
                </a:cubicBezTo>
                <a:cubicBezTo>
                  <a:pt x="883" y="862"/>
                  <a:pt x="885" y="859"/>
                  <a:pt x="886" y="856"/>
                </a:cubicBezTo>
                <a:close/>
                <a:moveTo>
                  <a:pt x="868" y="879"/>
                </a:moveTo>
                <a:cubicBezTo>
                  <a:pt x="867" y="882"/>
                  <a:pt x="865" y="884"/>
                  <a:pt x="864" y="886"/>
                </a:cubicBezTo>
                <a:cubicBezTo>
                  <a:pt x="863" y="887"/>
                  <a:pt x="862" y="888"/>
                  <a:pt x="862" y="887"/>
                </a:cubicBezTo>
                <a:cubicBezTo>
                  <a:pt x="861" y="886"/>
                  <a:pt x="861" y="886"/>
                  <a:pt x="861" y="885"/>
                </a:cubicBezTo>
                <a:cubicBezTo>
                  <a:pt x="861" y="885"/>
                  <a:pt x="861" y="884"/>
                  <a:pt x="862" y="884"/>
                </a:cubicBezTo>
                <a:cubicBezTo>
                  <a:pt x="863" y="881"/>
                  <a:pt x="865" y="878"/>
                  <a:pt x="864" y="874"/>
                </a:cubicBezTo>
                <a:cubicBezTo>
                  <a:pt x="863" y="870"/>
                  <a:pt x="859" y="871"/>
                  <a:pt x="856" y="869"/>
                </a:cubicBezTo>
                <a:cubicBezTo>
                  <a:pt x="856" y="869"/>
                  <a:pt x="856" y="868"/>
                  <a:pt x="856" y="868"/>
                </a:cubicBezTo>
                <a:cubicBezTo>
                  <a:pt x="856" y="867"/>
                  <a:pt x="857" y="866"/>
                  <a:pt x="858" y="866"/>
                </a:cubicBezTo>
                <a:cubicBezTo>
                  <a:pt x="859" y="866"/>
                  <a:pt x="860" y="866"/>
                  <a:pt x="861" y="867"/>
                </a:cubicBezTo>
                <a:cubicBezTo>
                  <a:pt x="863" y="867"/>
                  <a:pt x="865" y="867"/>
                  <a:pt x="867" y="868"/>
                </a:cubicBezTo>
                <a:cubicBezTo>
                  <a:pt x="867" y="867"/>
                  <a:pt x="867" y="867"/>
                  <a:pt x="867" y="867"/>
                </a:cubicBezTo>
                <a:cubicBezTo>
                  <a:pt x="867" y="867"/>
                  <a:pt x="867" y="867"/>
                  <a:pt x="867" y="867"/>
                </a:cubicBezTo>
                <a:cubicBezTo>
                  <a:pt x="865" y="865"/>
                  <a:pt x="864" y="862"/>
                  <a:pt x="862" y="859"/>
                </a:cubicBezTo>
                <a:cubicBezTo>
                  <a:pt x="860" y="855"/>
                  <a:pt x="860" y="851"/>
                  <a:pt x="862" y="847"/>
                </a:cubicBezTo>
                <a:cubicBezTo>
                  <a:pt x="862" y="845"/>
                  <a:pt x="864" y="844"/>
                  <a:pt x="865" y="844"/>
                </a:cubicBezTo>
                <a:cubicBezTo>
                  <a:pt x="866" y="843"/>
                  <a:pt x="868" y="844"/>
                  <a:pt x="869" y="845"/>
                </a:cubicBezTo>
                <a:cubicBezTo>
                  <a:pt x="871" y="847"/>
                  <a:pt x="872" y="849"/>
                  <a:pt x="874" y="852"/>
                </a:cubicBezTo>
                <a:cubicBezTo>
                  <a:pt x="874" y="852"/>
                  <a:pt x="874" y="851"/>
                  <a:pt x="874" y="851"/>
                </a:cubicBezTo>
                <a:cubicBezTo>
                  <a:pt x="874" y="851"/>
                  <a:pt x="874" y="851"/>
                  <a:pt x="874" y="851"/>
                </a:cubicBezTo>
                <a:cubicBezTo>
                  <a:pt x="874" y="852"/>
                  <a:pt x="874" y="852"/>
                  <a:pt x="874" y="852"/>
                </a:cubicBezTo>
                <a:cubicBezTo>
                  <a:pt x="874" y="852"/>
                  <a:pt x="874" y="852"/>
                  <a:pt x="874" y="852"/>
                </a:cubicBezTo>
                <a:cubicBezTo>
                  <a:pt x="870" y="856"/>
                  <a:pt x="870" y="859"/>
                  <a:pt x="874" y="863"/>
                </a:cubicBezTo>
                <a:cubicBezTo>
                  <a:pt x="875" y="864"/>
                  <a:pt x="874" y="866"/>
                  <a:pt x="873" y="866"/>
                </a:cubicBezTo>
                <a:cubicBezTo>
                  <a:pt x="871" y="866"/>
                  <a:pt x="869" y="867"/>
                  <a:pt x="867" y="867"/>
                </a:cubicBezTo>
                <a:cubicBezTo>
                  <a:pt x="867" y="867"/>
                  <a:pt x="867" y="867"/>
                  <a:pt x="867" y="868"/>
                </a:cubicBezTo>
                <a:cubicBezTo>
                  <a:pt x="867" y="868"/>
                  <a:pt x="867" y="868"/>
                  <a:pt x="867" y="868"/>
                </a:cubicBezTo>
                <a:cubicBezTo>
                  <a:pt x="868" y="869"/>
                  <a:pt x="869" y="871"/>
                  <a:pt x="869" y="873"/>
                </a:cubicBezTo>
                <a:cubicBezTo>
                  <a:pt x="869" y="875"/>
                  <a:pt x="869" y="878"/>
                  <a:pt x="868" y="879"/>
                </a:cubicBezTo>
                <a:close/>
                <a:moveTo>
                  <a:pt x="876" y="924"/>
                </a:moveTo>
                <a:cubicBezTo>
                  <a:pt x="876" y="924"/>
                  <a:pt x="875" y="925"/>
                  <a:pt x="875" y="925"/>
                </a:cubicBezTo>
                <a:cubicBezTo>
                  <a:pt x="874" y="925"/>
                  <a:pt x="872" y="925"/>
                  <a:pt x="872" y="925"/>
                </a:cubicBezTo>
                <a:cubicBezTo>
                  <a:pt x="871" y="921"/>
                  <a:pt x="870" y="918"/>
                  <a:pt x="870" y="914"/>
                </a:cubicBezTo>
                <a:cubicBezTo>
                  <a:pt x="869" y="913"/>
                  <a:pt x="870" y="912"/>
                  <a:pt x="871" y="911"/>
                </a:cubicBezTo>
                <a:cubicBezTo>
                  <a:pt x="871" y="911"/>
                  <a:pt x="871" y="911"/>
                  <a:pt x="871" y="911"/>
                </a:cubicBezTo>
                <a:cubicBezTo>
                  <a:pt x="871" y="910"/>
                  <a:pt x="871" y="909"/>
                  <a:pt x="871" y="909"/>
                </a:cubicBezTo>
                <a:cubicBezTo>
                  <a:pt x="871" y="908"/>
                  <a:pt x="871" y="908"/>
                  <a:pt x="871" y="908"/>
                </a:cubicBezTo>
                <a:cubicBezTo>
                  <a:pt x="871" y="908"/>
                  <a:pt x="872" y="908"/>
                  <a:pt x="872" y="907"/>
                </a:cubicBezTo>
                <a:cubicBezTo>
                  <a:pt x="872" y="908"/>
                  <a:pt x="871" y="908"/>
                  <a:pt x="871" y="909"/>
                </a:cubicBezTo>
                <a:cubicBezTo>
                  <a:pt x="871" y="909"/>
                  <a:pt x="871" y="910"/>
                  <a:pt x="871" y="911"/>
                </a:cubicBezTo>
                <a:cubicBezTo>
                  <a:pt x="871" y="911"/>
                  <a:pt x="871" y="911"/>
                  <a:pt x="871" y="911"/>
                </a:cubicBezTo>
                <a:cubicBezTo>
                  <a:pt x="872" y="915"/>
                  <a:pt x="874" y="918"/>
                  <a:pt x="875" y="921"/>
                </a:cubicBezTo>
                <a:cubicBezTo>
                  <a:pt x="876" y="922"/>
                  <a:pt x="876" y="923"/>
                  <a:pt x="876" y="924"/>
                </a:cubicBezTo>
                <a:close/>
                <a:moveTo>
                  <a:pt x="870" y="592"/>
                </a:moveTo>
                <a:cubicBezTo>
                  <a:pt x="870" y="591"/>
                  <a:pt x="871" y="591"/>
                  <a:pt x="872" y="591"/>
                </a:cubicBezTo>
                <a:cubicBezTo>
                  <a:pt x="873" y="592"/>
                  <a:pt x="873" y="592"/>
                  <a:pt x="872" y="594"/>
                </a:cubicBezTo>
                <a:cubicBezTo>
                  <a:pt x="872" y="594"/>
                  <a:pt x="872" y="594"/>
                  <a:pt x="871" y="594"/>
                </a:cubicBezTo>
                <a:cubicBezTo>
                  <a:pt x="870" y="594"/>
                  <a:pt x="870" y="593"/>
                  <a:pt x="870" y="592"/>
                </a:cubicBezTo>
                <a:close/>
                <a:moveTo>
                  <a:pt x="861" y="745"/>
                </a:moveTo>
                <a:cubicBezTo>
                  <a:pt x="862" y="743"/>
                  <a:pt x="864" y="742"/>
                  <a:pt x="866" y="741"/>
                </a:cubicBezTo>
                <a:cubicBezTo>
                  <a:pt x="867" y="741"/>
                  <a:pt x="868" y="742"/>
                  <a:pt x="869" y="742"/>
                </a:cubicBezTo>
                <a:cubicBezTo>
                  <a:pt x="869" y="742"/>
                  <a:pt x="869" y="743"/>
                  <a:pt x="869" y="744"/>
                </a:cubicBezTo>
                <a:cubicBezTo>
                  <a:pt x="867" y="747"/>
                  <a:pt x="864" y="749"/>
                  <a:pt x="861" y="751"/>
                </a:cubicBezTo>
                <a:cubicBezTo>
                  <a:pt x="861" y="751"/>
                  <a:pt x="861" y="752"/>
                  <a:pt x="861" y="752"/>
                </a:cubicBezTo>
                <a:cubicBezTo>
                  <a:pt x="861" y="752"/>
                  <a:pt x="860" y="752"/>
                  <a:pt x="860" y="752"/>
                </a:cubicBezTo>
                <a:cubicBezTo>
                  <a:pt x="860" y="752"/>
                  <a:pt x="859" y="753"/>
                  <a:pt x="859" y="753"/>
                </a:cubicBezTo>
                <a:cubicBezTo>
                  <a:pt x="859" y="753"/>
                  <a:pt x="859" y="752"/>
                  <a:pt x="860" y="752"/>
                </a:cubicBezTo>
                <a:cubicBezTo>
                  <a:pt x="860" y="752"/>
                  <a:pt x="860" y="752"/>
                  <a:pt x="860" y="752"/>
                </a:cubicBezTo>
                <a:cubicBezTo>
                  <a:pt x="860" y="752"/>
                  <a:pt x="860" y="752"/>
                  <a:pt x="860" y="751"/>
                </a:cubicBezTo>
                <a:cubicBezTo>
                  <a:pt x="861" y="751"/>
                  <a:pt x="861" y="751"/>
                  <a:pt x="861" y="751"/>
                </a:cubicBezTo>
                <a:cubicBezTo>
                  <a:pt x="861" y="749"/>
                  <a:pt x="861" y="747"/>
                  <a:pt x="861" y="745"/>
                </a:cubicBezTo>
                <a:close/>
                <a:moveTo>
                  <a:pt x="859" y="587"/>
                </a:moveTo>
                <a:cubicBezTo>
                  <a:pt x="861" y="587"/>
                  <a:pt x="861" y="587"/>
                  <a:pt x="860" y="588"/>
                </a:cubicBezTo>
                <a:cubicBezTo>
                  <a:pt x="860" y="589"/>
                  <a:pt x="859" y="588"/>
                  <a:pt x="858" y="588"/>
                </a:cubicBezTo>
                <a:cubicBezTo>
                  <a:pt x="858" y="588"/>
                  <a:pt x="858" y="588"/>
                  <a:pt x="858" y="587"/>
                </a:cubicBezTo>
                <a:cubicBezTo>
                  <a:pt x="858" y="587"/>
                  <a:pt x="859" y="587"/>
                  <a:pt x="859" y="587"/>
                </a:cubicBezTo>
                <a:close/>
                <a:moveTo>
                  <a:pt x="853" y="787"/>
                </a:moveTo>
                <a:cubicBezTo>
                  <a:pt x="855" y="786"/>
                  <a:pt x="857" y="786"/>
                  <a:pt x="859" y="786"/>
                </a:cubicBezTo>
                <a:cubicBezTo>
                  <a:pt x="860" y="785"/>
                  <a:pt x="860" y="785"/>
                  <a:pt x="860" y="785"/>
                </a:cubicBezTo>
                <a:cubicBezTo>
                  <a:pt x="862" y="784"/>
                  <a:pt x="863" y="783"/>
                  <a:pt x="864" y="781"/>
                </a:cubicBezTo>
                <a:cubicBezTo>
                  <a:pt x="864" y="781"/>
                  <a:pt x="864" y="781"/>
                  <a:pt x="864" y="781"/>
                </a:cubicBezTo>
                <a:cubicBezTo>
                  <a:pt x="864" y="781"/>
                  <a:pt x="864" y="780"/>
                  <a:pt x="864" y="780"/>
                </a:cubicBezTo>
                <a:cubicBezTo>
                  <a:pt x="861" y="767"/>
                  <a:pt x="860" y="766"/>
                  <a:pt x="875" y="757"/>
                </a:cubicBezTo>
                <a:cubicBezTo>
                  <a:pt x="875" y="756"/>
                  <a:pt x="877" y="757"/>
                  <a:pt x="878" y="757"/>
                </a:cubicBezTo>
                <a:cubicBezTo>
                  <a:pt x="878" y="758"/>
                  <a:pt x="878" y="759"/>
                  <a:pt x="878" y="760"/>
                </a:cubicBezTo>
                <a:cubicBezTo>
                  <a:pt x="878" y="761"/>
                  <a:pt x="878" y="761"/>
                  <a:pt x="878" y="762"/>
                </a:cubicBezTo>
                <a:cubicBezTo>
                  <a:pt x="875" y="765"/>
                  <a:pt x="873" y="767"/>
                  <a:pt x="870" y="770"/>
                </a:cubicBezTo>
                <a:cubicBezTo>
                  <a:pt x="869" y="773"/>
                  <a:pt x="868" y="776"/>
                  <a:pt x="866" y="779"/>
                </a:cubicBezTo>
                <a:cubicBezTo>
                  <a:pt x="866" y="780"/>
                  <a:pt x="865" y="780"/>
                  <a:pt x="864" y="781"/>
                </a:cubicBezTo>
                <a:cubicBezTo>
                  <a:pt x="864" y="781"/>
                  <a:pt x="864" y="781"/>
                  <a:pt x="864" y="782"/>
                </a:cubicBezTo>
                <a:cubicBezTo>
                  <a:pt x="863" y="783"/>
                  <a:pt x="862" y="784"/>
                  <a:pt x="861" y="785"/>
                </a:cubicBezTo>
                <a:cubicBezTo>
                  <a:pt x="860" y="785"/>
                  <a:pt x="860" y="786"/>
                  <a:pt x="859" y="786"/>
                </a:cubicBezTo>
                <a:cubicBezTo>
                  <a:pt x="857" y="787"/>
                  <a:pt x="856" y="788"/>
                  <a:pt x="854" y="789"/>
                </a:cubicBezTo>
                <a:cubicBezTo>
                  <a:pt x="854" y="789"/>
                  <a:pt x="853" y="788"/>
                  <a:pt x="853" y="788"/>
                </a:cubicBezTo>
                <a:cubicBezTo>
                  <a:pt x="853" y="787"/>
                  <a:pt x="853" y="787"/>
                  <a:pt x="853" y="787"/>
                </a:cubicBezTo>
                <a:close/>
                <a:moveTo>
                  <a:pt x="853" y="536"/>
                </a:moveTo>
                <a:cubicBezTo>
                  <a:pt x="852" y="537"/>
                  <a:pt x="852" y="537"/>
                  <a:pt x="852" y="537"/>
                </a:cubicBezTo>
                <a:cubicBezTo>
                  <a:pt x="852" y="536"/>
                  <a:pt x="852" y="536"/>
                  <a:pt x="852" y="536"/>
                </a:cubicBezTo>
                <a:lnTo>
                  <a:pt x="853" y="536"/>
                </a:lnTo>
                <a:close/>
                <a:moveTo>
                  <a:pt x="842" y="569"/>
                </a:moveTo>
                <a:cubicBezTo>
                  <a:pt x="843" y="569"/>
                  <a:pt x="843" y="569"/>
                  <a:pt x="844" y="569"/>
                </a:cubicBezTo>
                <a:cubicBezTo>
                  <a:pt x="845" y="569"/>
                  <a:pt x="845" y="570"/>
                  <a:pt x="844" y="571"/>
                </a:cubicBezTo>
                <a:cubicBezTo>
                  <a:pt x="844" y="571"/>
                  <a:pt x="843" y="572"/>
                  <a:pt x="843" y="571"/>
                </a:cubicBezTo>
                <a:cubicBezTo>
                  <a:pt x="842" y="571"/>
                  <a:pt x="841" y="570"/>
                  <a:pt x="842" y="569"/>
                </a:cubicBezTo>
                <a:close/>
                <a:moveTo>
                  <a:pt x="474" y="706"/>
                </a:moveTo>
                <a:cubicBezTo>
                  <a:pt x="473" y="706"/>
                  <a:pt x="473" y="706"/>
                  <a:pt x="473" y="706"/>
                </a:cubicBezTo>
                <a:cubicBezTo>
                  <a:pt x="474" y="706"/>
                  <a:pt x="474" y="706"/>
                  <a:pt x="474" y="706"/>
                </a:cubicBezTo>
                <a:cubicBezTo>
                  <a:pt x="474" y="705"/>
                  <a:pt x="474" y="705"/>
                  <a:pt x="474" y="705"/>
                </a:cubicBezTo>
                <a:cubicBezTo>
                  <a:pt x="474" y="705"/>
                  <a:pt x="474" y="706"/>
                  <a:pt x="474" y="706"/>
                </a:cubicBezTo>
                <a:close/>
                <a:moveTo>
                  <a:pt x="483" y="682"/>
                </a:moveTo>
                <a:cubicBezTo>
                  <a:pt x="483" y="682"/>
                  <a:pt x="483" y="682"/>
                  <a:pt x="483" y="681"/>
                </a:cubicBezTo>
                <a:cubicBezTo>
                  <a:pt x="483" y="681"/>
                  <a:pt x="482" y="681"/>
                  <a:pt x="481" y="680"/>
                </a:cubicBezTo>
                <a:cubicBezTo>
                  <a:pt x="481" y="680"/>
                  <a:pt x="482" y="679"/>
                  <a:pt x="482" y="679"/>
                </a:cubicBezTo>
                <a:cubicBezTo>
                  <a:pt x="483" y="679"/>
                  <a:pt x="483" y="680"/>
                  <a:pt x="483" y="681"/>
                </a:cubicBezTo>
                <a:cubicBezTo>
                  <a:pt x="483" y="682"/>
                  <a:pt x="483" y="682"/>
                  <a:pt x="484" y="682"/>
                </a:cubicBezTo>
                <a:cubicBezTo>
                  <a:pt x="484" y="682"/>
                  <a:pt x="484" y="683"/>
                  <a:pt x="484" y="683"/>
                </a:cubicBezTo>
                <a:cubicBezTo>
                  <a:pt x="484" y="683"/>
                  <a:pt x="484" y="682"/>
                  <a:pt x="483" y="682"/>
                </a:cubicBezTo>
                <a:close/>
                <a:moveTo>
                  <a:pt x="486" y="661"/>
                </a:moveTo>
                <a:cubicBezTo>
                  <a:pt x="486" y="661"/>
                  <a:pt x="485" y="661"/>
                  <a:pt x="485" y="661"/>
                </a:cubicBezTo>
                <a:cubicBezTo>
                  <a:pt x="485" y="661"/>
                  <a:pt x="485" y="660"/>
                  <a:pt x="485" y="659"/>
                </a:cubicBezTo>
                <a:cubicBezTo>
                  <a:pt x="485" y="659"/>
                  <a:pt x="486" y="660"/>
                  <a:pt x="486" y="660"/>
                </a:cubicBezTo>
                <a:cubicBezTo>
                  <a:pt x="486" y="660"/>
                  <a:pt x="486" y="661"/>
                  <a:pt x="486" y="661"/>
                </a:cubicBezTo>
                <a:close/>
                <a:moveTo>
                  <a:pt x="488" y="749"/>
                </a:moveTo>
                <a:cubicBezTo>
                  <a:pt x="487" y="749"/>
                  <a:pt x="486" y="749"/>
                  <a:pt x="485" y="748"/>
                </a:cubicBezTo>
                <a:cubicBezTo>
                  <a:pt x="484" y="746"/>
                  <a:pt x="482" y="745"/>
                  <a:pt x="482" y="743"/>
                </a:cubicBezTo>
                <a:cubicBezTo>
                  <a:pt x="481" y="740"/>
                  <a:pt x="481" y="738"/>
                  <a:pt x="484" y="736"/>
                </a:cubicBezTo>
                <a:cubicBezTo>
                  <a:pt x="484" y="736"/>
                  <a:pt x="484" y="736"/>
                  <a:pt x="484" y="736"/>
                </a:cubicBezTo>
                <a:cubicBezTo>
                  <a:pt x="484" y="735"/>
                  <a:pt x="484" y="735"/>
                  <a:pt x="484" y="735"/>
                </a:cubicBezTo>
                <a:cubicBezTo>
                  <a:pt x="484" y="734"/>
                  <a:pt x="484" y="733"/>
                  <a:pt x="485" y="732"/>
                </a:cubicBezTo>
                <a:cubicBezTo>
                  <a:pt x="485" y="733"/>
                  <a:pt x="485" y="733"/>
                  <a:pt x="485" y="733"/>
                </a:cubicBezTo>
                <a:cubicBezTo>
                  <a:pt x="485" y="734"/>
                  <a:pt x="484" y="734"/>
                  <a:pt x="484" y="735"/>
                </a:cubicBezTo>
                <a:cubicBezTo>
                  <a:pt x="484" y="735"/>
                  <a:pt x="484" y="736"/>
                  <a:pt x="484" y="736"/>
                </a:cubicBezTo>
                <a:cubicBezTo>
                  <a:pt x="484" y="736"/>
                  <a:pt x="484" y="736"/>
                  <a:pt x="484" y="736"/>
                </a:cubicBezTo>
                <a:cubicBezTo>
                  <a:pt x="485" y="740"/>
                  <a:pt x="487" y="744"/>
                  <a:pt x="488" y="747"/>
                </a:cubicBezTo>
                <a:cubicBezTo>
                  <a:pt x="488" y="748"/>
                  <a:pt x="488" y="748"/>
                  <a:pt x="488" y="749"/>
                </a:cubicBezTo>
                <a:close/>
                <a:moveTo>
                  <a:pt x="492" y="737"/>
                </a:moveTo>
                <a:cubicBezTo>
                  <a:pt x="492" y="737"/>
                  <a:pt x="491" y="737"/>
                  <a:pt x="491" y="736"/>
                </a:cubicBezTo>
                <a:cubicBezTo>
                  <a:pt x="491" y="736"/>
                  <a:pt x="492" y="735"/>
                  <a:pt x="492" y="734"/>
                </a:cubicBezTo>
                <a:cubicBezTo>
                  <a:pt x="493" y="735"/>
                  <a:pt x="493" y="735"/>
                  <a:pt x="494" y="736"/>
                </a:cubicBezTo>
                <a:cubicBezTo>
                  <a:pt x="494" y="737"/>
                  <a:pt x="493" y="737"/>
                  <a:pt x="492" y="737"/>
                </a:cubicBezTo>
                <a:close/>
                <a:moveTo>
                  <a:pt x="640" y="389"/>
                </a:moveTo>
                <a:cubicBezTo>
                  <a:pt x="639" y="389"/>
                  <a:pt x="639" y="388"/>
                  <a:pt x="639" y="387"/>
                </a:cubicBezTo>
                <a:cubicBezTo>
                  <a:pt x="639" y="386"/>
                  <a:pt x="639" y="384"/>
                  <a:pt x="639" y="385"/>
                </a:cubicBezTo>
                <a:cubicBezTo>
                  <a:pt x="639" y="382"/>
                  <a:pt x="639" y="381"/>
                  <a:pt x="639" y="380"/>
                </a:cubicBezTo>
                <a:cubicBezTo>
                  <a:pt x="639" y="379"/>
                  <a:pt x="640" y="379"/>
                  <a:pt x="640" y="379"/>
                </a:cubicBezTo>
                <a:cubicBezTo>
                  <a:pt x="640" y="378"/>
                  <a:pt x="641" y="379"/>
                  <a:pt x="641" y="379"/>
                </a:cubicBezTo>
                <a:cubicBezTo>
                  <a:pt x="641" y="382"/>
                  <a:pt x="641" y="384"/>
                  <a:pt x="641" y="387"/>
                </a:cubicBezTo>
                <a:cubicBezTo>
                  <a:pt x="641" y="388"/>
                  <a:pt x="641" y="389"/>
                  <a:pt x="640" y="389"/>
                </a:cubicBezTo>
                <a:close/>
                <a:moveTo>
                  <a:pt x="662" y="381"/>
                </a:moveTo>
                <a:cubicBezTo>
                  <a:pt x="662" y="382"/>
                  <a:pt x="662" y="382"/>
                  <a:pt x="661" y="382"/>
                </a:cubicBezTo>
                <a:cubicBezTo>
                  <a:pt x="662" y="382"/>
                  <a:pt x="662" y="381"/>
                  <a:pt x="662" y="381"/>
                </a:cubicBezTo>
                <a:cubicBezTo>
                  <a:pt x="663" y="381"/>
                  <a:pt x="663" y="381"/>
                  <a:pt x="663" y="381"/>
                </a:cubicBezTo>
                <a:lnTo>
                  <a:pt x="662" y="381"/>
                </a:lnTo>
                <a:close/>
                <a:moveTo>
                  <a:pt x="669" y="656"/>
                </a:moveTo>
                <a:cubicBezTo>
                  <a:pt x="668" y="656"/>
                  <a:pt x="668" y="656"/>
                  <a:pt x="668" y="656"/>
                </a:cubicBezTo>
                <a:cubicBezTo>
                  <a:pt x="668" y="656"/>
                  <a:pt x="668" y="656"/>
                  <a:pt x="668" y="656"/>
                </a:cubicBezTo>
                <a:cubicBezTo>
                  <a:pt x="669" y="655"/>
                  <a:pt x="669" y="655"/>
                  <a:pt x="669" y="655"/>
                </a:cubicBezTo>
                <a:lnTo>
                  <a:pt x="669" y="656"/>
                </a:lnTo>
                <a:close/>
                <a:moveTo>
                  <a:pt x="694" y="790"/>
                </a:moveTo>
                <a:cubicBezTo>
                  <a:pt x="693" y="790"/>
                  <a:pt x="693" y="790"/>
                  <a:pt x="692" y="790"/>
                </a:cubicBezTo>
                <a:cubicBezTo>
                  <a:pt x="693" y="790"/>
                  <a:pt x="694" y="789"/>
                  <a:pt x="694" y="789"/>
                </a:cubicBezTo>
                <a:cubicBezTo>
                  <a:pt x="694" y="789"/>
                  <a:pt x="695" y="790"/>
                  <a:pt x="695" y="790"/>
                </a:cubicBezTo>
                <a:cubicBezTo>
                  <a:pt x="695" y="790"/>
                  <a:pt x="694" y="790"/>
                  <a:pt x="694" y="790"/>
                </a:cubicBezTo>
                <a:close/>
                <a:moveTo>
                  <a:pt x="697" y="370"/>
                </a:moveTo>
                <a:cubicBezTo>
                  <a:pt x="697" y="370"/>
                  <a:pt x="696" y="371"/>
                  <a:pt x="696" y="371"/>
                </a:cubicBezTo>
                <a:cubicBezTo>
                  <a:pt x="691" y="371"/>
                  <a:pt x="685" y="371"/>
                  <a:pt x="680" y="371"/>
                </a:cubicBezTo>
                <a:cubicBezTo>
                  <a:pt x="679" y="371"/>
                  <a:pt x="679" y="371"/>
                  <a:pt x="679" y="371"/>
                </a:cubicBezTo>
                <a:cubicBezTo>
                  <a:pt x="678" y="372"/>
                  <a:pt x="676" y="374"/>
                  <a:pt x="675" y="375"/>
                </a:cubicBezTo>
                <a:cubicBezTo>
                  <a:pt x="675" y="375"/>
                  <a:pt x="675" y="375"/>
                  <a:pt x="674" y="375"/>
                </a:cubicBezTo>
                <a:cubicBezTo>
                  <a:pt x="674" y="376"/>
                  <a:pt x="673" y="376"/>
                  <a:pt x="673" y="377"/>
                </a:cubicBezTo>
                <a:cubicBezTo>
                  <a:pt x="673" y="377"/>
                  <a:pt x="672" y="376"/>
                  <a:pt x="672" y="376"/>
                </a:cubicBezTo>
                <a:cubicBezTo>
                  <a:pt x="672" y="375"/>
                  <a:pt x="673" y="375"/>
                  <a:pt x="674" y="375"/>
                </a:cubicBezTo>
                <a:cubicBezTo>
                  <a:pt x="675" y="375"/>
                  <a:pt x="675" y="375"/>
                  <a:pt x="675" y="375"/>
                </a:cubicBezTo>
                <a:cubicBezTo>
                  <a:pt x="676" y="373"/>
                  <a:pt x="677" y="372"/>
                  <a:pt x="678" y="371"/>
                </a:cubicBezTo>
                <a:cubicBezTo>
                  <a:pt x="679" y="371"/>
                  <a:pt x="679" y="371"/>
                  <a:pt x="680" y="371"/>
                </a:cubicBezTo>
                <a:cubicBezTo>
                  <a:pt x="685" y="368"/>
                  <a:pt x="691" y="368"/>
                  <a:pt x="697" y="369"/>
                </a:cubicBezTo>
                <a:cubicBezTo>
                  <a:pt x="697" y="369"/>
                  <a:pt x="697" y="370"/>
                  <a:pt x="697" y="370"/>
                </a:cubicBezTo>
                <a:close/>
                <a:moveTo>
                  <a:pt x="817" y="817"/>
                </a:moveTo>
                <a:cubicBezTo>
                  <a:pt x="817" y="817"/>
                  <a:pt x="817" y="816"/>
                  <a:pt x="816" y="816"/>
                </a:cubicBezTo>
                <a:cubicBezTo>
                  <a:pt x="817" y="815"/>
                  <a:pt x="817" y="814"/>
                  <a:pt x="817" y="813"/>
                </a:cubicBezTo>
                <a:cubicBezTo>
                  <a:pt x="818" y="812"/>
                  <a:pt x="820" y="812"/>
                  <a:pt x="821" y="813"/>
                </a:cubicBezTo>
                <a:cubicBezTo>
                  <a:pt x="822" y="813"/>
                  <a:pt x="822" y="813"/>
                  <a:pt x="822" y="814"/>
                </a:cubicBezTo>
                <a:cubicBezTo>
                  <a:pt x="822" y="816"/>
                  <a:pt x="819" y="817"/>
                  <a:pt x="817" y="817"/>
                </a:cubicBezTo>
                <a:close/>
                <a:moveTo>
                  <a:pt x="816" y="763"/>
                </a:moveTo>
                <a:cubicBezTo>
                  <a:pt x="815" y="763"/>
                  <a:pt x="815" y="763"/>
                  <a:pt x="815" y="763"/>
                </a:cubicBezTo>
                <a:cubicBezTo>
                  <a:pt x="815" y="762"/>
                  <a:pt x="815" y="761"/>
                  <a:pt x="815" y="761"/>
                </a:cubicBezTo>
                <a:cubicBezTo>
                  <a:pt x="817" y="759"/>
                  <a:pt x="819" y="758"/>
                  <a:pt x="821" y="758"/>
                </a:cubicBezTo>
                <a:cubicBezTo>
                  <a:pt x="822" y="758"/>
                  <a:pt x="822" y="759"/>
                  <a:pt x="822" y="760"/>
                </a:cubicBezTo>
                <a:cubicBezTo>
                  <a:pt x="821" y="762"/>
                  <a:pt x="819" y="764"/>
                  <a:pt x="816" y="763"/>
                </a:cubicBezTo>
                <a:close/>
                <a:moveTo>
                  <a:pt x="822" y="650"/>
                </a:moveTo>
                <a:cubicBezTo>
                  <a:pt x="822" y="648"/>
                  <a:pt x="822" y="648"/>
                  <a:pt x="822" y="648"/>
                </a:cubicBezTo>
                <a:cubicBezTo>
                  <a:pt x="823" y="650"/>
                  <a:pt x="823" y="650"/>
                  <a:pt x="823" y="650"/>
                </a:cubicBezTo>
                <a:lnTo>
                  <a:pt x="822" y="650"/>
                </a:lnTo>
                <a:close/>
                <a:moveTo>
                  <a:pt x="831" y="518"/>
                </a:moveTo>
                <a:cubicBezTo>
                  <a:pt x="832" y="518"/>
                  <a:pt x="833" y="518"/>
                  <a:pt x="834" y="519"/>
                </a:cubicBezTo>
                <a:cubicBezTo>
                  <a:pt x="834" y="519"/>
                  <a:pt x="834" y="520"/>
                  <a:pt x="835" y="520"/>
                </a:cubicBezTo>
                <a:cubicBezTo>
                  <a:pt x="835" y="520"/>
                  <a:pt x="835" y="521"/>
                  <a:pt x="834" y="521"/>
                </a:cubicBezTo>
                <a:cubicBezTo>
                  <a:pt x="834" y="521"/>
                  <a:pt x="833" y="522"/>
                  <a:pt x="832" y="521"/>
                </a:cubicBezTo>
                <a:cubicBezTo>
                  <a:pt x="830" y="520"/>
                  <a:pt x="830" y="518"/>
                  <a:pt x="831" y="518"/>
                </a:cubicBezTo>
                <a:close/>
                <a:moveTo>
                  <a:pt x="705" y="457"/>
                </a:moveTo>
                <a:cubicBezTo>
                  <a:pt x="705" y="457"/>
                  <a:pt x="705" y="457"/>
                  <a:pt x="706" y="457"/>
                </a:cubicBezTo>
                <a:cubicBezTo>
                  <a:pt x="706" y="457"/>
                  <a:pt x="706" y="456"/>
                  <a:pt x="706" y="456"/>
                </a:cubicBezTo>
                <a:cubicBezTo>
                  <a:pt x="706" y="456"/>
                  <a:pt x="706" y="457"/>
                  <a:pt x="706" y="457"/>
                </a:cubicBezTo>
                <a:cubicBezTo>
                  <a:pt x="706" y="457"/>
                  <a:pt x="705" y="457"/>
                  <a:pt x="705" y="457"/>
                </a:cubicBezTo>
                <a:cubicBezTo>
                  <a:pt x="704" y="458"/>
                  <a:pt x="704" y="458"/>
                  <a:pt x="704" y="458"/>
                </a:cubicBezTo>
                <a:lnTo>
                  <a:pt x="705" y="457"/>
                </a:lnTo>
                <a:close/>
                <a:moveTo>
                  <a:pt x="718" y="639"/>
                </a:moveTo>
                <a:cubicBezTo>
                  <a:pt x="718" y="639"/>
                  <a:pt x="718" y="639"/>
                  <a:pt x="718" y="639"/>
                </a:cubicBezTo>
                <a:cubicBezTo>
                  <a:pt x="718" y="639"/>
                  <a:pt x="718" y="639"/>
                  <a:pt x="719" y="639"/>
                </a:cubicBezTo>
                <a:cubicBezTo>
                  <a:pt x="719" y="640"/>
                  <a:pt x="719" y="640"/>
                  <a:pt x="719" y="640"/>
                </a:cubicBezTo>
                <a:lnTo>
                  <a:pt x="718" y="639"/>
                </a:lnTo>
                <a:close/>
                <a:moveTo>
                  <a:pt x="721" y="527"/>
                </a:moveTo>
                <a:cubicBezTo>
                  <a:pt x="717" y="531"/>
                  <a:pt x="713" y="531"/>
                  <a:pt x="708" y="528"/>
                </a:cubicBezTo>
                <a:cubicBezTo>
                  <a:pt x="705" y="526"/>
                  <a:pt x="705" y="525"/>
                  <a:pt x="706" y="524"/>
                </a:cubicBezTo>
                <a:cubicBezTo>
                  <a:pt x="709" y="523"/>
                  <a:pt x="712" y="521"/>
                  <a:pt x="713" y="519"/>
                </a:cubicBezTo>
                <a:cubicBezTo>
                  <a:pt x="716" y="516"/>
                  <a:pt x="718" y="514"/>
                  <a:pt x="722" y="513"/>
                </a:cubicBezTo>
                <a:cubicBezTo>
                  <a:pt x="725" y="512"/>
                  <a:pt x="726" y="509"/>
                  <a:pt x="727" y="506"/>
                </a:cubicBezTo>
                <a:cubicBezTo>
                  <a:pt x="727" y="506"/>
                  <a:pt x="729" y="505"/>
                  <a:pt x="730" y="505"/>
                </a:cubicBezTo>
                <a:cubicBezTo>
                  <a:pt x="732" y="505"/>
                  <a:pt x="735" y="507"/>
                  <a:pt x="738" y="506"/>
                </a:cubicBezTo>
                <a:cubicBezTo>
                  <a:pt x="740" y="506"/>
                  <a:pt x="741" y="503"/>
                  <a:pt x="740" y="501"/>
                </a:cubicBezTo>
                <a:cubicBezTo>
                  <a:pt x="738" y="500"/>
                  <a:pt x="737" y="498"/>
                  <a:pt x="735" y="497"/>
                </a:cubicBezTo>
                <a:cubicBezTo>
                  <a:pt x="732" y="495"/>
                  <a:pt x="728" y="494"/>
                  <a:pt x="724" y="494"/>
                </a:cubicBezTo>
                <a:cubicBezTo>
                  <a:pt x="717" y="494"/>
                  <a:pt x="710" y="493"/>
                  <a:pt x="703" y="493"/>
                </a:cubicBezTo>
                <a:cubicBezTo>
                  <a:pt x="703" y="493"/>
                  <a:pt x="702" y="492"/>
                  <a:pt x="702" y="492"/>
                </a:cubicBezTo>
                <a:cubicBezTo>
                  <a:pt x="702" y="491"/>
                  <a:pt x="703" y="489"/>
                  <a:pt x="703" y="489"/>
                </a:cubicBezTo>
                <a:cubicBezTo>
                  <a:pt x="704" y="488"/>
                  <a:pt x="706" y="488"/>
                  <a:pt x="707" y="488"/>
                </a:cubicBezTo>
                <a:cubicBezTo>
                  <a:pt x="715" y="488"/>
                  <a:pt x="723" y="487"/>
                  <a:pt x="731" y="487"/>
                </a:cubicBezTo>
                <a:cubicBezTo>
                  <a:pt x="737" y="487"/>
                  <a:pt x="743" y="486"/>
                  <a:pt x="749" y="484"/>
                </a:cubicBezTo>
                <a:cubicBezTo>
                  <a:pt x="754" y="483"/>
                  <a:pt x="760" y="482"/>
                  <a:pt x="765" y="481"/>
                </a:cubicBezTo>
                <a:cubicBezTo>
                  <a:pt x="767" y="480"/>
                  <a:pt x="768" y="481"/>
                  <a:pt x="770" y="481"/>
                </a:cubicBezTo>
                <a:cubicBezTo>
                  <a:pt x="771" y="481"/>
                  <a:pt x="772" y="482"/>
                  <a:pt x="772" y="483"/>
                </a:cubicBezTo>
                <a:cubicBezTo>
                  <a:pt x="773" y="483"/>
                  <a:pt x="772" y="485"/>
                  <a:pt x="771" y="485"/>
                </a:cubicBezTo>
                <a:cubicBezTo>
                  <a:pt x="767" y="487"/>
                  <a:pt x="762" y="489"/>
                  <a:pt x="758" y="491"/>
                </a:cubicBezTo>
                <a:cubicBezTo>
                  <a:pt x="756" y="491"/>
                  <a:pt x="756" y="494"/>
                  <a:pt x="757" y="495"/>
                </a:cubicBezTo>
                <a:cubicBezTo>
                  <a:pt x="757" y="496"/>
                  <a:pt x="757" y="496"/>
                  <a:pt x="757" y="496"/>
                </a:cubicBezTo>
                <a:cubicBezTo>
                  <a:pt x="758" y="497"/>
                  <a:pt x="759" y="498"/>
                  <a:pt x="760" y="498"/>
                </a:cubicBezTo>
                <a:cubicBezTo>
                  <a:pt x="767" y="504"/>
                  <a:pt x="775" y="506"/>
                  <a:pt x="783" y="499"/>
                </a:cubicBezTo>
                <a:cubicBezTo>
                  <a:pt x="783" y="499"/>
                  <a:pt x="784" y="499"/>
                  <a:pt x="784" y="499"/>
                </a:cubicBezTo>
                <a:cubicBezTo>
                  <a:pt x="785" y="499"/>
                  <a:pt x="785" y="500"/>
                  <a:pt x="785" y="502"/>
                </a:cubicBezTo>
                <a:cubicBezTo>
                  <a:pt x="784" y="504"/>
                  <a:pt x="784" y="506"/>
                  <a:pt x="782" y="507"/>
                </a:cubicBezTo>
                <a:cubicBezTo>
                  <a:pt x="780" y="509"/>
                  <a:pt x="777" y="511"/>
                  <a:pt x="775" y="512"/>
                </a:cubicBezTo>
                <a:cubicBezTo>
                  <a:pt x="774" y="514"/>
                  <a:pt x="774" y="515"/>
                  <a:pt x="773" y="517"/>
                </a:cubicBezTo>
                <a:cubicBezTo>
                  <a:pt x="771" y="522"/>
                  <a:pt x="769" y="523"/>
                  <a:pt x="765" y="519"/>
                </a:cubicBezTo>
                <a:cubicBezTo>
                  <a:pt x="761" y="516"/>
                  <a:pt x="756" y="515"/>
                  <a:pt x="752" y="517"/>
                </a:cubicBezTo>
                <a:cubicBezTo>
                  <a:pt x="750" y="518"/>
                  <a:pt x="748" y="520"/>
                  <a:pt x="748" y="521"/>
                </a:cubicBezTo>
                <a:cubicBezTo>
                  <a:pt x="748" y="527"/>
                  <a:pt x="744" y="529"/>
                  <a:pt x="739" y="530"/>
                </a:cubicBezTo>
                <a:cubicBezTo>
                  <a:pt x="739" y="530"/>
                  <a:pt x="739" y="530"/>
                  <a:pt x="739" y="531"/>
                </a:cubicBezTo>
                <a:cubicBezTo>
                  <a:pt x="738" y="531"/>
                  <a:pt x="738" y="531"/>
                  <a:pt x="738" y="531"/>
                </a:cubicBezTo>
                <a:cubicBezTo>
                  <a:pt x="736" y="532"/>
                  <a:pt x="734" y="533"/>
                  <a:pt x="732" y="533"/>
                </a:cubicBezTo>
                <a:cubicBezTo>
                  <a:pt x="732" y="533"/>
                  <a:pt x="732" y="533"/>
                  <a:pt x="732" y="534"/>
                </a:cubicBezTo>
                <a:cubicBezTo>
                  <a:pt x="732" y="534"/>
                  <a:pt x="731" y="534"/>
                  <a:pt x="731" y="534"/>
                </a:cubicBezTo>
                <a:cubicBezTo>
                  <a:pt x="731" y="534"/>
                  <a:pt x="730" y="535"/>
                  <a:pt x="730" y="535"/>
                </a:cubicBezTo>
                <a:cubicBezTo>
                  <a:pt x="730" y="535"/>
                  <a:pt x="729" y="535"/>
                  <a:pt x="729" y="535"/>
                </a:cubicBezTo>
                <a:cubicBezTo>
                  <a:pt x="729" y="534"/>
                  <a:pt x="730" y="534"/>
                  <a:pt x="731" y="534"/>
                </a:cubicBezTo>
                <a:cubicBezTo>
                  <a:pt x="731" y="533"/>
                  <a:pt x="731" y="533"/>
                  <a:pt x="731" y="533"/>
                </a:cubicBezTo>
                <a:cubicBezTo>
                  <a:pt x="732" y="533"/>
                  <a:pt x="732" y="533"/>
                  <a:pt x="732" y="533"/>
                </a:cubicBezTo>
                <a:cubicBezTo>
                  <a:pt x="734" y="531"/>
                  <a:pt x="736" y="531"/>
                  <a:pt x="738" y="531"/>
                </a:cubicBezTo>
                <a:cubicBezTo>
                  <a:pt x="738" y="530"/>
                  <a:pt x="738" y="530"/>
                  <a:pt x="738" y="530"/>
                </a:cubicBezTo>
                <a:cubicBezTo>
                  <a:pt x="739" y="530"/>
                  <a:pt x="739" y="530"/>
                  <a:pt x="739" y="530"/>
                </a:cubicBezTo>
                <a:cubicBezTo>
                  <a:pt x="740" y="528"/>
                  <a:pt x="741" y="525"/>
                  <a:pt x="741" y="523"/>
                </a:cubicBezTo>
                <a:cubicBezTo>
                  <a:pt x="742" y="520"/>
                  <a:pt x="739" y="517"/>
                  <a:pt x="736" y="518"/>
                </a:cubicBezTo>
                <a:cubicBezTo>
                  <a:pt x="733" y="519"/>
                  <a:pt x="730" y="520"/>
                  <a:pt x="727" y="522"/>
                </a:cubicBezTo>
                <a:cubicBezTo>
                  <a:pt x="725" y="523"/>
                  <a:pt x="723" y="525"/>
                  <a:pt x="721" y="527"/>
                </a:cubicBezTo>
                <a:close/>
                <a:moveTo>
                  <a:pt x="760" y="538"/>
                </a:moveTo>
                <a:cubicBezTo>
                  <a:pt x="759" y="538"/>
                  <a:pt x="759" y="539"/>
                  <a:pt x="758" y="539"/>
                </a:cubicBezTo>
                <a:cubicBezTo>
                  <a:pt x="758" y="539"/>
                  <a:pt x="758" y="539"/>
                  <a:pt x="758" y="540"/>
                </a:cubicBezTo>
                <a:cubicBezTo>
                  <a:pt x="758" y="540"/>
                  <a:pt x="758" y="540"/>
                  <a:pt x="757" y="540"/>
                </a:cubicBezTo>
                <a:cubicBezTo>
                  <a:pt x="757" y="541"/>
                  <a:pt x="757" y="542"/>
                  <a:pt x="757" y="542"/>
                </a:cubicBezTo>
                <a:cubicBezTo>
                  <a:pt x="756" y="541"/>
                  <a:pt x="757" y="541"/>
                  <a:pt x="757" y="540"/>
                </a:cubicBezTo>
                <a:cubicBezTo>
                  <a:pt x="757" y="540"/>
                  <a:pt x="757" y="540"/>
                  <a:pt x="757" y="539"/>
                </a:cubicBezTo>
                <a:cubicBezTo>
                  <a:pt x="758" y="539"/>
                  <a:pt x="758" y="539"/>
                  <a:pt x="758" y="539"/>
                </a:cubicBezTo>
                <a:cubicBezTo>
                  <a:pt x="758" y="538"/>
                  <a:pt x="758" y="537"/>
                  <a:pt x="760" y="536"/>
                </a:cubicBezTo>
                <a:cubicBezTo>
                  <a:pt x="760" y="536"/>
                  <a:pt x="760" y="538"/>
                  <a:pt x="760" y="538"/>
                </a:cubicBezTo>
                <a:close/>
                <a:moveTo>
                  <a:pt x="747" y="588"/>
                </a:moveTo>
                <a:cubicBezTo>
                  <a:pt x="746" y="589"/>
                  <a:pt x="745" y="590"/>
                  <a:pt x="745" y="590"/>
                </a:cubicBezTo>
                <a:cubicBezTo>
                  <a:pt x="741" y="589"/>
                  <a:pt x="739" y="586"/>
                  <a:pt x="737" y="582"/>
                </a:cubicBezTo>
                <a:cubicBezTo>
                  <a:pt x="737" y="582"/>
                  <a:pt x="739" y="580"/>
                  <a:pt x="739" y="580"/>
                </a:cubicBezTo>
                <a:cubicBezTo>
                  <a:pt x="740" y="580"/>
                  <a:pt x="742" y="579"/>
                  <a:pt x="742" y="580"/>
                </a:cubicBezTo>
                <a:cubicBezTo>
                  <a:pt x="744" y="583"/>
                  <a:pt x="745" y="586"/>
                  <a:pt x="747" y="588"/>
                </a:cubicBezTo>
                <a:close/>
                <a:moveTo>
                  <a:pt x="735" y="674"/>
                </a:moveTo>
                <a:cubicBezTo>
                  <a:pt x="735" y="673"/>
                  <a:pt x="735" y="673"/>
                  <a:pt x="735" y="673"/>
                </a:cubicBezTo>
                <a:cubicBezTo>
                  <a:pt x="736" y="674"/>
                  <a:pt x="736" y="674"/>
                  <a:pt x="736" y="674"/>
                </a:cubicBezTo>
                <a:lnTo>
                  <a:pt x="735" y="674"/>
                </a:lnTo>
                <a:close/>
                <a:moveTo>
                  <a:pt x="760" y="724"/>
                </a:moveTo>
                <a:cubicBezTo>
                  <a:pt x="760" y="725"/>
                  <a:pt x="760" y="725"/>
                  <a:pt x="759" y="725"/>
                </a:cubicBezTo>
                <a:cubicBezTo>
                  <a:pt x="759" y="724"/>
                  <a:pt x="759" y="723"/>
                  <a:pt x="759" y="722"/>
                </a:cubicBezTo>
                <a:cubicBezTo>
                  <a:pt x="759" y="722"/>
                  <a:pt x="760" y="722"/>
                  <a:pt x="760" y="722"/>
                </a:cubicBezTo>
                <a:cubicBezTo>
                  <a:pt x="760" y="722"/>
                  <a:pt x="760" y="722"/>
                  <a:pt x="761" y="723"/>
                </a:cubicBezTo>
                <a:cubicBezTo>
                  <a:pt x="761" y="723"/>
                  <a:pt x="761" y="724"/>
                  <a:pt x="760" y="724"/>
                </a:cubicBezTo>
                <a:close/>
                <a:moveTo>
                  <a:pt x="767" y="651"/>
                </a:moveTo>
                <a:cubicBezTo>
                  <a:pt x="765" y="654"/>
                  <a:pt x="762" y="655"/>
                  <a:pt x="759" y="656"/>
                </a:cubicBezTo>
                <a:cubicBezTo>
                  <a:pt x="754" y="657"/>
                  <a:pt x="749" y="658"/>
                  <a:pt x="744" y="658"/>
                </a:cubicBezTo>
                <a:cubicBezTo>
                  <a:pt x="740" y="659"/>
                  <a:pt x="736" y="658"/>
                  <a:pt x="734" y="654"/>
                </a:cubicBezTo>
                <a:cubicBezTo>
                  <a:pt x="732" y="652"/>
                  <a:pt x="730" y="650"/>
                  <a:pt x="729" y="648"/>
                </a:cubicBezTo>
                <a:cubicBezTo>
                  <a:pt x="728" y="648"/>
                  <a:pt x="729" y="647"/>
                  <a:pt x="729" y="647"/>
                </a:cubicBezTo>
                <a:cubicBezTo>
                  <a:pt x="729" y="647"/>
                  <a:pt x="730" y="647"/>
                  <a:pt x="730" y="647"/>
                </a:cubicBezTo>
                <a:cubicBezTo>
                  <a:pt x="733" y="647"/>
                  <a:pt x="735" y="648"/>
                  <a:pt x="737" y="648"/>
                </a:cubicBezTo>
                <a:cubicBezTo>
                  <a:pt x="738" y="649"/>
                  <a:pt x="740" y="648"/>
                  <a:pt x="741" y="647"/>
                </a:cubicBezTo>
                <a:cubicBezTo>
                  <a:pt x="744" y="645"/>
                  <a:pt x="746" y="643"/>
                  <a:pt x="748" y="640"/>
                </a:cubicBezTo>
                <a:cubicBezTo>
                  <a:pt x="750" y="637"/>
                  <a:pt x="753" y="636"/>
                  <a:pt x="757" y="637"/>
                </a:cubicBezTo>
                <a:cubicBezTo>
                  <a:pt x="758" y="637"/>
                  <a:pt x="759" y="637"/>
                  <a:pt x="760" y="636"/>
                </a:cubicBezTo>
                <a:cubicBezTo>
                  <a:pt x="762" y="636"/>
                  <a:pt x="764" y="634"/>
                  <a:pt x="764" y="632"/>
                </a:cubicBezTo>
                <a:cubicBezTo>
                  <a:pt x="764" y="630"/>
                  <a:pt x="763" y="629"/>
                  <a:pt x="763" y="627"/>
                </a:cubicBezTo>
                <a:cubicBezTo>
                  <a:pt x="763" y="624"/>
                  <a:pt x="762" y="620"/>
                  <a:pt x="761" y="617"/>
                </a:cubicBezTo>
                <a:cubicBezTo>
                  <a:pt x="761" y="616"/>
                  <a:pt x="761" y="615"/>
                  <a:pt x="762" y="615"/>
                </a:cubicBezTo>
                <a:cubicBezTo>
                  <a:pt x="763" y="615"/>
                  <a:pt x="763" y="615"/>
                  <a:pt x="764" y="615"/>
                </a:cubicBezTo>
                <a:cubicBezTo>
                  <a:pt x="769" y="619"/>
                  <a:pt x="771" y="625"/>
                  <a:pt x="775" y="630"/>
                </a:cubicBezTo>
                <a:cubicBezTo>
                  <a:pt x="776" y="632"/>
                  <a:pt x="779" y="633"/>
                  <a:pt x="782" y="633"/>
                </a:cubicBezTo>
                <a:cubicBezTo>
                  <a:pt x="789" y="634"/>
                  <a:pt x="796" y="632"/>
                  <a:pt x="802" y="627"/>
                </a:cubicBezTo>
                <a:cubicBezTo>
                  <a:pt x="807" y="623"/>
                  <a:pt x="813" y="621"/>
                  <a:pt x="819" y="620"/>
                </a:cubicBezTo>
                <a:cubicBezTo>
                  <a:pt x="822" y="619"/>
                  <a:pt x="825" y="620"/>
                  <a:pt x="827" y="620"/>
                </a:cubicBezTo>
                <a:cubicBezTo>
                  <a:pt x="827" y="620"/>
                  <a:pt x="828" y="620"/>
                  <a:pt x="828" y="620"/>
                </a:cubicBezTo>
                <a:cubicBezTo>
                  <a:pt x="827" y="619"/>
                  <a:pt x="828" y="619"/>
                  <a:pt x="828" y="619"/>
                </a:cubicBezTo>
                <a:cubicBezTo>
                  <a:pt x="828" y="619"/>
                  <a:pt x="828" y="620"/>
                  <a:pt x="828" y="620"/>
                </a:cubicBezTo>
                <a:cubicBezTo>
                  <a:pt x="828" y="620"/>
                  <a:pt x="827" y="620"/>
                  <a:pt x="827" y="620"/>
                </a:cubicBezTo>
                <a:cubicBezTo>
                  <a:pt x="826" y="622"/>
                  <a:pt x="825" y="623"/>
                  <a:pt x="823" y="625"/>
                </a:cubicBezTo>
                <a:cubicBezTo>
                  <a:pt x="821" y="626"/>
                  <a:pt x="819" y="627"/>
                  <a:pt x="816" y="628"/>
                </a:cubicBezTo>
                <a:cubicBezTo>
                  <a:pt x="811" y="631"/>
                  <a:pt x="805" y="634"/>
                  <a:pt x="801" y="638"/>
                </a:cubicBezTo>
                <a:cubicBezTo>
                  <a:pt x="795" y="642"/>
                  <a:pt x="788" y="644"/>
                  <a:pt x="782" y="648"/>
                </a:cubicBezTo>
                <a:cubicBezTo>
                  <a:pt x="781" y="648"/>
                  <a:pt x="779" y="648"/>
                  <a:pt x="779" y="648"/>
                </a:cubicBezTo>
                <a:cubicBezTo>
                  <a:pt x="774" y="645"/>
                  <a:pt x="770" y="648"/>
                  <a:pt x="767" y="651"/>
                </a:cubicBezTo>
                <a:close/>
                <a:moveTo>
                  <a:pt x="778" y="792"/>
                </a:moveTo>
                <a:cubicBezTo>
                  <a:pt x="778" y="792"/>
                  <a:pt x="778" y="792"/>
                  <a:pt x="777" y="791"/>
                </a:cubicBezTo>
                <a:cubicBezTo>
                  <a:pt x="777" y="790"/>
                  <a:pt x="777" y="790"/>
                  <a:pt x="776" y="789"/>
                </a:cubicBezTo>
                <a:cubicBezTo>
                  <a:pt x="777" y="790"/>
                  <a:pt x="777" y="790"/>
                  <a:pt x="778" y="791"/>
                </a:cubicBezTo>
                <a:cubicBezTo>
                  <a:pt x="779" y="791"/>
                  <a:pt x="779" y="792"/>
                  <a:pt x="778" y="792"/>
                </a:cubicBezTo>
                <a:close/>
                <a:moveTo>
                  <a:pt x="781" y="724"/>
                </a:moveTo>
                <a:cubicBezTo>
                  <a:pt x="780" y="724"/>
                  <a:pt x="779" y="723"/>
                  <a:pt x="778" y="723"/>
                </a:cubicBezTo>
                <a:cubicBezTo>
                  <a:pt x="778" y="723"/>
                  <a:pt x="778" y="722"/>
                  <a:pt x="778" y="722"/>
                </a:cubicBezTo>
                <a:cubicBezTo>
                  <a:pt x="779" y="720"/>
                  <a:pt x="780" y="718"/>
                  <a:pt x="782" y="717"/>
                </a:cubicBezTo>
                <a:cubicBezTo>
                  <a:pt x="788" y="713"/>
                  <a:pt x="794" y="709"/>
                  <a:pt x="800" y="706"/>
                </a:cubicBezTo>
                <a:cubicBezTo>
                  <a:pt x="801" y="706"/>
                  <a:pt x="803" y="706"/>
                  <a:pt x="803" y="707"/>
                </a:cubicBezTo>
                <a:cubicBezTo>
                  <a:pt x="806" y="709"/>
                  <a:pt x="809" y="711"/>
                  <a:pt x="813" y="711"/>
                </a:cubicBezTo>
                <a:cubicBezTo>
                  <a:pt x="814" y="711"/>
                  <a:pt x="814" y="713"/>
                  <a:pt x="814" y="713"/>
                </a:cubicBezTo>
                <a:cubicBezTo>
                  <a:pt x="814" y="714"/>
                  <a:pt x="814" y="715"/>
                  <a:pt x="813" y="715"/>
                </a:cubicBezTo>
                <a:cubicBezTo>
                  <a:pt x="810" y="715"/>
                  <a:pt x="806" y="715"/>
                  <a:pt x="802" y="716"/>
                </a:cubicBezTo>
                <a:cubicBezTo>
                  <a:pt x="802" y="716"/>
                  <a:pt x="802" y="715"/>
                  <a:pt x="802" y="715"/>
                </a:cubicBezTo>
                <a:cubicBezTo>
                  <a:pt x="801" y="715"/>
                  <a:pt x="799" y="715"/>
                  <a:pt x="797" y="715"/>
                </a:cubicBezTo>
                <a:cubicBezTo>
                  <a:pt x="792" y="715"/>
                  <a:pt x="788" y="717"/>
                  <a:pt x="784" y="721"/>
                </a:cubicBezTo>
                <a:cubicBezTo>
                  <a:pt x="783" y="722"/>
                  <a:pt x="782" y="723"/>
                  <a:pt x="781" y="724"/>
                </a:cubicBezTo>
                <a:close/>
                <a:moveTo>
                  <a:pt x="952" y="1576"/>
                </a:moveTo>
                <a:cubicBezTo>
                  <a:pt x="952" y="1577"/>
                  <a:pt x="951" y="1577"/>
                  <a:pt x="951" y="1577"/>
                </a:cubicBezTo>
                <a:cubicBezTo>
                  <a:pt x="948" y="1578"/>
                  <a:pt x="944" y="1575"/>
                  <a:pt x="945" y="1572"/>
                </a:cubicBezTo>
                <a:cubicBezTo>
                  <a:pt x="945" y="1572"/>
                  <a:pt x="945" y="1571"/>
                  <a:pt x="946" y="1571"/>
                </a:cubicBezTo>
                <a:cubicBezTo>
                  <a:pt x="949" y="1571"/>
                  <a:pt x="951" y="1572"/>
                  <a:pt x="952" y="1575"/>
                </a:cubicBezTo>
                <a:cubicBezTo>
                  <a:pt x="952" y="1575"/>
                  <a:pt x="952" y="1576"/>
                  <a:pt x="952" y="1576"/>
                </a:cubicBezTo>
                <a:close/>
                <a:moveTo>
                  <a:pt x="1137" y="1604"/>
                </a:moveTo>
                <a:cubicBezTo>
                  <a:pt x="1137" y="1605"/>
                  <a:pt x="1135" y="1607"/>
                  <a:pt x="1134" y="1606"/>
                </a:cubicBezTo>
                <a:cubicBezTo>
                  <a:pt x="1133" y="1606"/>
                  <a:pt x="1132" y="1605"/>
                  <a:pt x="1132" y="1604"/>
                </a:cubicBezTo>
                <a:cubicBezTo>
                  <a:pt x="1129" y="1600"/>
                  <a:pt x="1129" y="1599"/>
                  <a:pt x="1134" y="1593"/>
                </a:cubicBezTo>
                <a:cubicBezTo>
                  <a:pt x="1135" y="1593"/>
                  <a:pt x="1136" y="1593"/>
                  <a:pt x="1137" y="1593"/>
                </a:cubicBezTo>
                <a:cubicBezTo>
                  <a:pt x="1137" y="1593"/>
                  <a:pt x="1137" y="1594"/>
                  <a:pt x="1137" y="1594"/>
                </a:cubicBezTo>
                <a:cubicBezTo>
                  <a:pt x="1138" y="1596"/>
                  <a:pt x="1138" y="1597"/>
                  <a:pt x="1138" y="1599"/>
                </a:cubicBezTo>
                <a:cubicBezTo>
                  <a:pt x="1138" y="1600"/>
                  <a:pt x="1138" y="1602"/>
                  <a:pt x="1137" y="1604"/>
                </a:cubicBezTo>
                <a:close/>
                <a:moveTo>
                  <a:pt x="1170" y="2488"/>
                </a:moveTo>
                <a:cubicBezTo>
                  <a:pt x="1170" y="2488"/>
                  <a:pt x="1169" y="2488"/>
                  <a:pt x="1169" y="2488"/>
                </a:cubicBezTo>
                <a:cubicBezTo>
                  <a:pt x="1169" y="2487"/>
                  <a:pt x="1169" y="2487"/>
                  <a:pt x="1169" y="2486"/>
                </a:cubicBezTo>
                <a:cubicBezTo>
                  <a:pt x="1170" y="2485"/>
                  <a:pt x="1170" y="2485"/>
                  <a:pt x="1171" y="2487"/>
                </a:cubicBezTo>
                <a:cubicBezTo>
                  <a:pt x="1171" y="2487"/>
                  <a:pt x="1170" y="2488"/>
                  <a:pt x="1170" y="2488"/>
                </a:cubicBezTo>
                <a:close/>
                <a:moveTo>
                  <a:pt x="1174" y="1962"/>
                </a:moveTo>
                <a:cubicBezTo>
                  <a:pt x="1174" y="1962"/>
                  <a:pt x="1174" y="1962"/>
                  <a:pt x="1174" y="1962"/>
                </a:cubicBezTo>
                <a:cubicBezTo>
                  <a:pt x="1169" y="1962"/>
                  <a:pt x="1166" y="1959"/>
                  <a:pt x="1163" y="1955"/>
                </a:cubicBezTo>
                <a:cubicBezTo>
                  <a:pt x="1163" y="1954"/>
                  <a:pt x="1164" y="1953"/>
                  <a:pt x="1164" y="1952"/>
                </a:cubicBezTo>
                <a:cubicBezTo>
                  <a:pt x="1164" y="1952"/>
                  <a:pt x="1165" y="1952"/>
                  <a:pt x="1165" y="1952"/>
                </a:cubicBezTo>
                <a:cubicBezTo>
                  <a:pt x="1169" y="1955"/>
                  <a:pt x="1173" y="1957"/>
                  <a:pt x="1174" y="1962"/>
                </a:cubicBezTo>
                <a:cubicBezTo>
                  <a:pt x="1174" y="1962"/>
                  <a:pt x="1175" y="1962"/>
                  <a:pt x="1175" y="1962"/>
                </a:cubicBezTo>
                <a:cubicBezTo>
                  <a:pt x="1175" y="1962"/>
                  <a:pt x="1175" y="1963"/>
                  <a:pt x="1176" y="1963"/>
                </a:cubicBezTo>
                <a:cubicBezTo>
                  <a:pt x="1175" y="1963"/>
                  <a:pt x="1175" y="1963"/>
                  <a:pt x="1174" y="1962"/>
                </a:cubicBezTo>
                <a:close/>
                <a:moveTo>
                  <a:pt x="1205" y="2551"/>
                </a:moveTo>
                <a:cubicBezTo>
                  <a:pt x="1205" y="2551"/>
                  <a:pt x="1205" y="2551"/>
                  <a:pt x="1205" y="2551"/>
                </a:cubicBezTo>
                <a:cubicBezTo>
                  <a:pt x="1204" y="2552"/>
                  <a:pt x="1204" y="2552"/>
                  <a:pt x="1204" y="2552"/>
                </a:cubicBezTo>
                <a:cubicBezTo>
                  <a:pt x="1204" y="2551"/>
                  <a:pt x="1204" y="2551"/>
                  <a:pt x="1204" y="2551"/>
                </a:cubicBezTo>
                <a:cubicBezTo>
                  <a:pt x="1205" y="2551"/>
                  <a:pt x="1205" y="2551"/>
                  <a:pt x="1205" y="2551"/>
                </a:cubicBezTo>
                <a:cubicBezTo>
                  <a:pt x="1205" y="2550"/>
                  <a:pt x="1205" y="2550"/>
                  <a:pt x="1205" y="2550"/>
                </a:cubicBezTo>
                <a:cubicBezTo>
                  <a:pt x="1206" y="2550"/>
                  <a:pt x="1206" y="2550"/>
                  <a:pt x="1205" y="2551"/>
                </a:cubicBezTo>
                <a:close/>
                <a:moveTo>
                  <a:pt x="1214" y="2567"/>
                </a:moveTo>
                <a:cubicBezTo>
                  <a:pt x="1213" y="2568"/>
                  <a:pt x="1212" y="2568"/>
                  <a:pt x="1211" y="2568"/>
                </a:cubicBezTo>
                <a:cubicBezTo>
                  <a:pt x="1211" y="2568"/>
                  <a:pt x="1210" y="2568"/>
                  <a:pt x="1210" y="2568"/>
                </a:cubicBezTo>
                <a:cubicBezTo>
                  <a:pt x="1209" y="2567"/>
                  <a:pt x="1209" y="2566"/>
                  <a:pt x="1211" y="2565"/>
                </a:cubicBezTo>
                <a:cubicBezTo>
                  <a:pt x="1212" y="2565"/>
                  <a:pt x="1213" y="2566"/>
                  <a:pt x="1214" y="2566"/>
                </a:cubicBezTo>
                <a:cubicBezTo>
                  <a:pt x="1214" y="2566"/>
                  <a:pt x="1214" y="2567"/>
                  <a:pt x="1214" y="2567"/>
                </a:cubicBezTo>
                <a:close/>
                <a:moveTo>
                  <a:pt x="1217" y="2586"/>
                </a:moveTo>
                <a:cubicBezTo>
                  <a:pt x="1217" y="2586"/>
                  <a:pt x="1217" y="2586"/>
                  <a:pt x="1216" y="2586"/>
                </a:cubicBezTo>
                <a:cubicBezTo>
                  <a:pt x="1217" y="2585"/>
                  <a:pt x="1217" y="2585"/>
                  <a:pt x="1218" y="2585"/>
                </a:cubicBezTo>
                <a:cubicBezTo>
                  <a:pt x="1218" y="2586"/>
                  <a:pt x="1218" y="2586"/>
                  <a:pt x="1218" y="2586"/>
                </a:cubicBezTo>
                <a:cubicBezTo>
                  <a:pt x="1218" y="2586"/>
                  <a:pt x="1217" y="2586"/>
                  <a:pt x="1217" y="2586"/>
                </a:cubicBezTo>
                <a:close/>
                <a:moveTo>
                  <a:pt x="1225" y="2574"/>
                </a:moveTo>
                <a:cubicBezTo>
                  <a:pt x="1225" y="2574"/>
                  <a:pt x="1225" y="2574"/>
                  <a:pt x="1225" y="2574"/>
                </a:cubicBezTo>
                <a:cubicBezTo>
                  <a:pt x="1224" y="2574"/>
                  <a:pt x="1224" y="2574"/>
                  <a:pt x="1224" y="2575"/>
                </a:cubicBezTo>
                <a:cubicBezTo>
                  <a:pt x="1223" y="2576"/>
                  <a:pt x="1223" y="2576"/>
                  <a:pt x="1222" y="2577"/>
                </a:cubicBezTo>
                <a:cubicBezTo>
                  <a:pt x="1222" y="2577"/>
                  <a:pt x="1221" y="2577"/>
                  <a:pt x="1221" y="2577"/>
                </a:cubicBezTo>
                <a:cubicBezTo>
                  <a:pt x="1221" y="2578"/>
                  <a:pt x="1221" y="2578"/>
                  <a:pt x="1221" y="2578"/>
                </a:cubicBezTo>
                <a:cubicBezTo>
                  <a:pt x="1221" y="2577"/>
                  <a:pt x="1221" y="2577"/>
                  <a:pt x="1221" y="2577"/>
                </a:cubicBezTo>
                <a:cubicBezTo>
                  <a:pt x="1221" y="2577"/>
                  <a:pt x="1221" y="2577"/>
                  <a:pt x="1222" y="2577"/>
                </a:cubicBezTo>
                <a:cubicBezTo>
                  <a:pt x="1222" y="2576"/>
                  <a:pt x="1223" y="2575"/>
                  <a:pt x="1224" y="2575"/>
                </a:cubicBezTo>
                <a:cubicBezTo>
                  <a:pt x="1224" y="2574"/>
                  <a:pt x="1224" y="2574"/>
                  <a:pt x="1224" y="2574"/>
                </a:cubicBezTo>
                <a:cubicBezTo>
                  <a:pt x="1225" y="2574"/>
                  <a:pt x="1225" y="2574"/>
                  <a:pt x="1225" y="2574"/>
                </a:cubicBezTo>
                <a:cubicBezTo>
                  <a:pt x="1225" y="2573"/>
                  <a:pt x="1225" y="2573"/>
                  <a:pt x="1225" y="2573"/>
                </a:cubicBezTo>
                <a:cubicBezTo>
                  <a:pt x="1226" y="2573"/>
                  <a:pt x="1226" y="2574"/>
                  <a:pt x="1225" y="2574"/>
                </a:cubicBezTo>
                <a:close/>
                <a:moveTo>
                  <a:pt x="1249" y="2582"/>
                </a:moveTo>
                <a:cubicBezTo>
                  <a:pt x="1250" y="2581"/>
                  <a:pt x="1251" y="2582"/>
                  <a:pt x="1251" y="2583"/>
                </a:cubicBezTo>
                <a:cubicBezTo>
                  <a:pt x="1251" y="2583"/>
                  <a:pt x="1251" y="2584"/>
                  <a:pt x="1251" y="2584"/>
                </a:cubicBezTo>
                <a:cubicBezTo>
                  <a:pt x="1250" y="2585"/>
                  <a:pt x="1249" y="2585"/>
                  <a:pt x="1248" y="2586"/>
                </a:cubicBezTo>
                <a:cubicBezTo>
                  <a:pt x="1248" y="2586"/>
                  <a:pt x="1247" y="2586"/>
                  <a:pt x="1247" y="2586"/>
                </a:cubicBezTo>
                <a:cubicBezTo>
                  <a:pt x="1246" y="2585"/>
                  <a:pt x="1247" y="2583"/>
                  <a:pt x="1249" y="2582"/>
                </a:cubicBezTo>
                <a:close/>
                <a:moveTo>
                  <a:pt x="1238" y="2594"/>
                </a:moveTo>
                <a:cubicBezTo>
                  <a:pt x="1238" y="2594"/>
                  <a:pt x="1238" y="2594"/>
                  <a:pt x="1238" y="2595"/>
                </a:cubicBezTo>
                <a:cubicBezTo>
                  <a:pt x="1240" y="2596"/>
                  <a:pt x="1242" y="2597"/>
                  <a:pt x="1244" y="2598"/>
                </a:cubicBezTo>
                <a:cubicBezTo>
                  <a:pt x="1244" y="2598"/>
                  <a:pt x="1244" y="2598"/>
                  <a:pt x="1245" y="2598"/>
                </a:cubicBezTo>
                <a:cubicBezTo>
                  <a:pt x="1245" y="2598"/>
                  <a:pt x="1245" y="2598"/>
                  <a:pt x="1245" y="2598"/>
                </a:cubicBezTo>
                <a:cubicBezTo>
                  <a:pt x="1245" y="2597"/>
                  <a:pt x="1245" y="2596"/>
                  <a:pt x="1245" y="2595"/>
                </a:cubicBezTo>
                <a:cubicBezTo>
                  <a:pt x="1245" y="2594"/>
                  <a:pt x="1246" y="2593"/>
                  <a:pt x="1247" y="2594"/>
                </a:cubicBezTo>
                <a:cubicBezTo>
                  <a:pt x="1247" y="2594"/>
                  <a:pt x="1248" y="2594"/>
                  <a:pt x="1248" y="2595"/>
                </a:cubicBezTo>
                <a:cubicBezTo>
                  <a:pt x="1249" y="2595"/>
                  <a:pt x="1249" y="2596"/>
                  <a:pt x="1247" y="2597"/>
                </a:cubicBezTo>
                <a:cubicBezTo>
                  <a:pt x="1247" y="2597"/>
                  <a:pt x="1246" y="2597"/>
                  <a:pt x="1245" y="2598"/>
                </a:cubicBezTo>
                <a:cubicBezTo>
                  <a:pt x="1245" y="2598"/>
                  <a:pt x="1245" y="2598"/>
                  <a:pt x="1245" y="2598"/>
                </a:cubicBezTo>
                <a:cubicBezTo>
                  <a:pt x="1245" y="2598"/>
                  <a:pt x="1244" y="2598"/>
                  <a:pt x="1244" y="2598"/>
                </a:cubicBezTo>
                <a:cubicBezTo>
                  <a:pt x="1243" y="2598"/>
                  <a:pt x="1243" y="2599"/>
                  <a:pt x="1242" y="2599"/>
                </a:cubicBezTo>
                <a:cubicBezTo>
                  <a:pt x="1240" y="2599"/>
                  <a:pt x="1239" y="2598"/>
                  <a:pt x="1239" y="2597"/>
                </a:cubicBezTo>
                <a:cubicBezTo>
                  <a:pt x="1238" y="2596"/>
                  <a:pt x="1238" y="2595"/>
                  <a:pt x="1238" y="2595"/>
                </a:cubicBezTo>
                <a:cubicBezTo>
                  <a:pt x="1238" y="2595"/>
                  <a:pt x="1238" y="2594"/>
                  <a:pt x="1238" y="2594"/>
                </a:cubicBezTo>
                <a:cubicBezTo>
                  <a:pt x="1237" y="2594"/>
                  <a:pt x="1237" y="2594"/>
                  <a:pt x="1237" y="2594"/>
                </a:cubicBezTo>
                <a:cubicBezTo>
                  <a:pt x="1236" y="2594"/>
                  <a:pt x="1235" y="2594"/>
                  <a:pt x="1235" y="2592"/>
                </a:cubicBezTo>
                <a:cubicBezTo>
                  <a:pt x="1235" y="2592"/>
                  <a:pt x="1236" y="2592"/>
                  <a:pt x="1236" y="2592"/>
                </a:cubicBezTo>
                <a:cubicBezTo>
                  <a:pt x="1236" y="2592"/>
                  <a:pt x="1237" y="2593"/>
                  <a:pt x="1237" y="2594"/>
                </a:cubicBezTo>
                <a:cubicBezTo>
                  <a:pt x="1237" y="2594"/>
                  <a:pt x="1238" y="2594"/>
                  <a:pt x="1238" y="2594"/>
                </a:cubicBezTo>
                <a:close/>
                <a:moveTo>
                  <a:pt x="1252" y="1636"/>
                </a:moveTo>
                <a:cubicBezTo>
                  <a:pt x="1253" y="1635"/>
                  <a:pt x="1253" y="1635"/>
                  <a:pt x="1253" y="1635"/>
                </a:cubicBezTo>
                <a:cubicBezTo>
                  <a:pt x="1253" y="1636"/>
                  <a:pt x="1253" y="1636"/>
                  <a:pt x="1253" y="1636"/>
                </a:cubicBezTo>
                <a:lnTo>
                  <a:pt x="1252" y="1636"/>
                </a:lnTo>
                <a:close/>
                <a:moveTo>
                  <a:pt x="1277" y="2177"/>
                </a:moveTo>
                <a:cubicBezTo>
                  <a:pt x="1276" y="2176"/>
                  <a:pt x="1275" y="2176"/>
                  <a:pt x="1274" y="2176"/>
                </a:cubicBezTo>
                <a:cubicBezTo>
                  <a:pt x="1275" y="2175"/>
                  <a:pt x="1275" y="2175"/>
                  <a:pt x="1276" y="2175"/>
                </a:cubicBezTo>
                <a:cubicBezTo>
                  <a:pt x="1276" y="2175"/>
                  <a:pt x="1277" y="2175"/>
                  <a:pt x="1277" y="2175"/>
                </a:cubicBezTo>
                <a:cubicBezTo>
                  <a:pt x="1277" y="2175"/>
                  <a:pt x="1278" y="2175"/>
                  <a:pt x="1278" y="2176"/>
                </a:cubicBezTo>
                <a:cubicBezTo>
                  <a:pt x="1278" y="2176"/>
                  <a:pt x="1277" y="2176"/>
                  <a:pt x="1277" y="2177"/>
                </a:cubicBezTo>
                <a:close/>
                <a:moveTo>
                  <a:pt x="1353" y="1667"/>
                </a:moveTo>
                <a:cubicBezTo>
                  <a:pt x="1353" y="1666"/>
                  <a:pt x="1353" y="1666"/>
                  <a:pt x="1353" y="1666"/>
                </a:cubicBezTo>
                <a:cubicBezTo>
                  <a:pt x="1353" y="1665"/>
                  <a:pt x="1354" y="1665"/>
                  <a:pt x="1355" y="1665"/>
                </a:cubicBezTo>
                <a:cubicBezTo>
                  <a:pt x="1355" y="1665"/>
                  <a:pt x="1355" y="1665"/>
                  <a:pt x="1355" y="1666"/>
                </a:cubicBezTo>
                <a:cubicBezTo>
                  <a:pt x="1355" y="1667"/>
                  <a:pt x="1354" y="1667"/>
                  <a:pt x="1353" y="1667"/>
                </a:cubicBezTo>
                <a:close/>
                <a:moveTo>
                  <a:pt x="1417" y="1744"/>
                </a:moveTo>
                <a:cubicBezTo>
                  <a:pt x="1416" y="1746"/>
                  <a:pt x="1413" y="1746"/>
                  <a:pt x="1412" y="1745"/>
                </a:cubicBezTo>
                <a:cubicBezTo>
                  <a:pt x="1410" y="1744"/>
                  <a:pt x="1410" y="1743"/>
                  <a:pt x="1411" y="1741"/>
                </a:cubicBezTo>
                <a:cubicBezTo>
                  <a:pt x="1411" y="1740"/>
                  <a:pt x="1412" y="1739"/>
                  <a:pt x="1413" y="1738"/>
                </a:cubicBezTo>
                <a:cubicBezTo>
                  <a:pt x="1413" y="1739"/>
                  <a:pt x="1413" y="1739"/>
                  <a:pt x="1413" y="1740"/>
                </a:cubicBezTo>
                <a:cubicBezTo>
                  <a:pt x="1414" y="1742"/>
                  <a:pt x="1415" y="1743"/>
                  <a:pt x="1417" y="1742"/>
                </a:cubicBezTo>
                <a:cubicBezTo>
                  <a:pt x="1418" y="1742"/>
                  <a:pt x="1418" y="1742"/>
                  <a:pt x="1419" y="1741"/>
                </a:cubicBezTo>
                <a:cubicBezTo>
                  <a:pt x="1418" y="1742"/>
                  <a:pt x="1418" y="1743"/>
                  <a:pt x="1417" y="1744"/>
                </a:cubicBezTo>
                <a:close/>
                <a:moveTo>
                  <a:pt x="1434" y="1762"/>
                </a:moveTo>
                <a:cubicBezTo>
                  <a:pt x="1434" y="1762"/>
                  <a:pt x="1434" y="1761"/>
                  <a:pt x="1434" y="1761"/>
                </a:cubicBezTo>
                <a:cubicBezTo>
                  <a:pt x="1435" y="1761"/>
                  <a:pt x="1436" y="1760"/>
                  <a:pt x="1437" y="1760"/>
                </a:cubicBezTo>
                <a:cubicBezTo>
                  <a:pt x="1437" y="1760"/>
                  <a:pt x="1437" y="1761"/>
                  <a:pt x="1437" y="1761"/>
                </a:cubicBezTo>
                <a:cubicBezTo>
                  <a:pt x="1437" y="1762"/>
                  <a:pt x="1437" y="1762"/>
                  <a:pt x="1437" y="1762"/>
                </a:cubicBezTo>
                <a:cubicBezTo>
                  <a:pt x="1436" y="1762"/>
                  <a:pt x="1435" y="1762"/>
                  <a:pt x="1434" y="1762"/>
                </a:cubicBezTo>
                <a:close/>
                <a:moveTo>
                  <a:pt x="1438" y="1799"/>
                </a:moveTo>
                <a:cubicBezTo>
                  <a:pt x="1438" y="1799"/>
                  <a:pt x="1437" y="1799"/>
                  <a:pt x="1437" y="1799"/>
                </a:cubicBezTo>
                <a:cubicBezTo>
                  <a:pt x="1436" y="1798"/>
                  <a:pt x="1435" y="1797"/>
                  <a:pt x="1435" y="1795"/>
                </a:cubicBezTo>
                <a:cubicBezTo>
                  <a:pt x="1434" y="1794"/>
                  <a:pt x="1434" y="1793"/>
                  <a:pt x="1435" y="1793"/>
                </a:cubicBezTo>
                <a:cubicBezTo>
                  <a:pt x="1436" y="1793"/>
                  <a:pt x="1436" y="1793"/>
                  <a:pt x="1437" y="1794"/>
                </a:cubicBezTo>
                <a:cubicBezTo>
                  <a:pt x="1437" y="1795"/>
                  <a:pt x="1438" y="1796"/>
                  <a:pt x="1438" y="1798"/>
                </a:cubicBezTo>
                <a:cubicBezTo>
                  <a:pt x="1438" y="1798"/>
                  <a:pt x="1438" y="1799"/>
                  <a:pt x="1438" y="1799"/>
                </a:cubicBezTo>
                <a:close/>
                <a:moveTo>
                  <a:pt x="1449" y="1991"/>
                </a:moveTo>
                <a:cubicBezTo>
                  <a:pt x="1448" y="1990"/>
                  <a:pt x="1448" y="1990"/>
                  <a:pt x="1448" y="1990"/>
                </a:cubicBezTo>
                <a:cubicBezTo>
                  <a:pt x="1449" y="1990"/>
                  <a:pt x="1449" y="1990"/>
                  <a:pt x="1449" y="1990"/>
                </a:cubicBezTo>
                <a:lnTo>
                  <a:pt x="1449" y="1991"/>
                </a:lnTo>
                <a:close/>
                <a:moveTo>
                  <a:pt x="537" y="910"/>
                </a:moveTo>
                <a:cubicBezTo>
                  <a:pt x="536" y="910"/>
                  <a:pt x="536" y="910"/>
                  <a:pt x="536" y="910"/>
                </a:cubicBezTo>
                <a:cubicBezTo>
                  <a:pt x="536" y="910"/>
                  <a:pt x="536" y="911"/>
                  <a:pt x="536" y="911"/>
                </a:cubicBezTo>
                <a:cubicBezTo>
                  <a:pt x="536" y="911"/>
                  <a:pt x="536" y="911"/>
                  <a:pt x="537" y="911"/>
                </a:cubicBezTo>
                <a:cubicBezTo>
                  <a:pt x="537" y="911"/>
                  <a:pt x="537" y="910"/>
                  <a:pt x="537" y="910"/>
                </a:cubicBezTo>
                <a:close/>
                <a:moveTo>
                  <a:pt x="1525" y="563"/>
                </a:moveTo>
                <a:cubicBezTo>
                  <a:pt x="1525" y="563"/>
                  <a:pt x="1526" y="563"/>
                  <a:pt x="1526" y="563"/>
                </a:cubicBezTo>
                <a:cubicBezTo>
                  <a:pt x="1526" y="563"/>
                  <a:pt x="1526" y="563"/>
                  <a:pt x="1526" y="563"/>
                </a:cubicBezTo>
                <a:lnTo>
                  <a:pt x="1525" y="563"/>
                </a:lnTo>
                <a:close/>
                <a:moveTo>
                  <a:pt x="1859" y="552"/>
                </a:moveTo>
                <a:cubicBezTo>
                  <a:pt x="1860" y="551"/>
                  <a:pt x="1859" y="550"/>
                  <a:pt x="1859" y="549"/>
                </a:cubicBezTo>
                <a:cubicBezTo>
                  <a:pt x="1859" y="549"/>
                  <a:pt x="1859" y="548"/>
                  <a:pt x="1858" y="548"/>
                </a:cubicBezTo>
                <a:cubicBezTo>
                  <a:pt x="1852" y="546"/>
                  <a:pt x="1845" y="547"/>
                  <a:pt x="1839" y="543"/>
                </a:cubicBezTo>
                <a:cubicBezTo>
                  <a:pt x="1834" y="540"/>
                  <a:pt x="1830" y="541"/>
                  <a:pt x="1825" y="543"/>
                </a:cubicBezTo>
                <a:cubicBezTo>
                  <a:pt x="1824" y="543"/>
                  <a:pt x="1823" y="542"/>
                  <a:pt x="1822" y="542"/>
                </a:cubicBezTo>
                <a:cubicBezTo>
                  <a:pt x="1821" y="542"/>
                  <a:pt x="1821" y="541"/>
                  <a:pt x="1821" y="541"/>
                </a:cubicBezTo>
                <a:cubicBezTo>
                  <a:pt x="1820" y="540"/>
                  <a:pt x="1820" y="539"/>
                  <a:pt x="1821" y="538"/>
                </a:cubicBezTo>
                <a:cubicBezTo>
                  <a:pt x="1823" y="537"/>
                  <a:pt x="1826" y="537"/>
                  <a:pt x="1829" y="536"/>
                </a:cubicBezTo>
                <a:cubicBezTo>
                  <a:pt x="1832" y="534"/>
                  <a:pt x="1834" y="531"/>
                  <a:pt x="1833" y="528"/>
                </a:cubicBezTo>
                <a:cubicBezTo>
                  <a:pt x="1833" y="525"/>
                  <a:pt x="1832" y="521"/>
                  <a:pt x="1832" y="518"/>
                </a:cubicBezTo>
                <a:cubicBezTo>
                  <a:pt x="1832" y="517"/>
                  <a:pt x="1834" y="515"/>
                  <a:pt x="1835" y="515"/>
                </a:cubicBezTo>
                <a:cubicBezTo>
                  <a:pt x="1836" y="515"/>
                  <a:pt x="1837" y="516"/>
                  <a:pt x="1838" y="517"/>
                </a:cubicBezTo>
                <a:cubicBezTo>
                  <a:pt x="1840" y="523"/>
                  <a:pt x="1842" y="529"/>
                  <a:pt x="1846" y="535"/>
                </a:cubicBezTo>
                <a:cubicBezTo>
                  <a:pt x="1849" y="538"/>
                  <a:pt x="1852" y="541"/>
                  <a:pt x="1857" y="540"/>
                </a:cubicBezTo>
                <a:cubicBezTo>
                  <a:pt x="1859" y="540"/>
                  <a:pt x="1861" y="540"/>
                  <a:pt x="1863" y="540"/>
                </a:cubicBezTo>
                <a:cubicBezTo>
                  <a:pt x="1869" y="540"/>
                  <a:pt x="1870" y="540"/>
                  <a:pt x="1871" y="534"/>
                </a:cubicBezTo>
                <a:cubicBezTo>
                  <a:pt x="1871" y="530"/>
                  <a:pt x="1870" y="525"/>
                  <a:pt x="1871" y="520"/>
                </a:cubicBezTo>
                <a:cubicBezTo>
                  <a:pt x="1872" y="515"/>
                  <a:pt x="1866" y="511"/>
                  <a:pt x="1868" y="506"/>
                </a:cubicBezTo>
                <a:cubicBezTo>
                  <a:pt x="1869" y="504"/>
                  <a:pt x="1867" y="503"/>
                  <a:pt x="1866" y="501"/>
                </a:cubicBezTo>
                <a:cubicBezTo>
                  <a:pt x="1863" y="495"/>
                  <a:pt x="1859" y="490"/>
                  <a:pt x="1853" y="487"/>
                </a:cubicBezTo>
                <a:cubicBezTo>
                  <a:pt x="1851" y="485"/>
                  <a:pt x="1849" y="483"/>
                  <a:pt x="1847" y="481"/>
                </a:cubicBezTo>
                <a:cubicBezTo>
                  <a:pt x="1846" y="480"/>
                  <a:pt x="1845" y="479"/>
                  <a:pt x="1844" y="477"/>
                </a:cubicBezTo>
                <a:cubicBezTo>
                  <a:pt x="1843" y="474"/>
                  <a:pt x="1843" y="470"/>
                  <a:pt x="1842" y="466"/>
                </a:cubicBezTo>
                <a:cubicBezTo>
                  <a:pt x="1842" y="465"/>
                  <a:pt x="1843" y="464"/>
                  <a:pt x="1844" y="463"/>
                </a:cubicBezTo>
                <a:cubicBezTo>
                  <a:pt x="1845" y="463"/>
                  <a:pt x="1846" y="463"/>
                  <a:pt x="1847" y="464"/>
                </a:cubicBezTo>
                <a:cubicBezTo>
                  <a:pt x="1847" y="465"/>
                  <a:pt x="1848" y="467"/>
                  <a:pt x="1848" y="468"/>
                </a:cubicBezTo>
                <a:cubicBezTo>
                  <a:pt x="1848" y="474"/>
                  <a:pt x="1850" y="479"/>
                  <a:pt x="1855" y="482"/>
                </a:cubicBezTo>
                <a:cubicBezTo>
                  <a:pt x="1859" y="484"/>
                  <a:pt x="1861" y="487"/>
                  <a:pt x="1865" y="488"/>
                </a:cubicBezTo>
                <a:cubicBezTo>
                  <a:pt x="1867" y="489"/>
                  <a:pt x="1869" y="488"/>
                  <a:pt x="1869" y="487"/>
                </a:cubicBezTo>
                <a:cubicBezTo>
                  <a:pt x="1869" y="484"/>
                  <a:pt x="1869" y="481"/>
                  <a:pt x="1871" y="479"/>
                </a:cubicBezTo>
                <a:cubicBezTo>
                  <a:pt x="1870" y="476"/>
                  <a:pt x="1872" y="474"/>
                  <a:pt x="1873" y="472"/>
                </a:cubicBezTo>
                <a:cubicBezTo>
                  <a:pt x="1875" y="470"/>
                  <a:pt x="1874" y="467"/>
                  <a:pt x="1872" y="466"/>
                </a:cubicBezTo>
                <a:cubicBezTo>
                  <a:pt x="1869" y="463"/>
                  <a:pt x="1865" y="461"/>
                  <a:pt x="1861" y="458"/>
                </a:cubicBezTo>
                <a:cubicBezTo>
                  <a:pt x="1861" y="457"/>
                  <a:pt x="1860" y="456"/>
                  <a:pt x="1860" y="454"/>
                </a:cubicBezTo>
                <a:cubicBezTo>
                  <a:pt x="1860" y="454"/>
                  <a:pt x="1860" y="454"/>
                  <a:pt x="1859" y="454"/>
                </a:cubicBezTo>
                <a:cubicBezTo>
                  <a:pt x="1859" y="454"/>
                  <a:pt x="1859" y="454"/>
                  <a:pt x="1859" y="454"/>
                </a:cubicBezTo>
                <a:cubicBezTo>
                  <a:pt x="1855" y="453"/>
                  <a:pt x="1852" y="451"/>
                  <a:pt x="1850" y="449"/>
                </a:cubicBezTo>
                <a:cubicBezTo>
                  <a:pt x="1849" y="449"/>
                  <a:pt x="1849" y="449"/>
                  <a:pt x="1850" y="448"/>
                </a:cubicBezTo>
                <a:cubicBezTo>
                  <a:pt x="1850" y="448"/>
                  <a:pt x="1851" y="448"/>
                  <a:pt x="1851" y="448"/>
                </a:cubicBezTo>
                <a:cubicBezTo>
                  <a:pt x="1852" y="448"/>
                  <a:pt x="1854" y="447"/>
                  <a:pt x="1854" y="448"/>
                </a:cubicBezTo>
                <a:cubicBezTo>
                  <a:pt x="1856" y="450"/>
                  <a:pt x="1857" y="452"/>
                  <a:pt x="1859" y="454"/>
                </a:cubicBezTo>
                <a:cubicBezTo>
                  <a:pt x="1859" y="454"/>
                  <a:pt x="1860" y="454"/>
                  <a:pt x="1860" y="454"/>
                </a:cubicBezTo>
                <a:cubicBezTo>
                  <a:pt x="1860" y="454"/>
                  <a:pt x="1860" y="454"/>
                  <a:pt x="1860" y="454"/>
                </a:cubicBezTo>
                <a:cubicBezTo>
                  <a:pt x="1861" y="455"/>
                  <a:pt x="1863" y="456"/>
                  <a:pt x="1864" y="456"/>
                </a:cubicBezTo>
                <a:cubicBezTo>
                  <a:pt x="1868" y="458"/>
                  <a:pt x="1871" y="459"/>
                  <a:pt x="1875" y="456"/>
                </a:cubicBezTo>
                <a:cubicBezTo>
                  <a:pt x="1878" y="454"/>
                  <a:pt x="1883" y="453"/>
                  <a:pt x="1887" y="452"/>
                </a:cubicBezTo>
                <a:cubicBezTo>
                  <a:pt x="1888" y="452"/>
                  <a:pt x="1890" y="450"/>
                  <a:pt x="1891" y="449"/>
                </a:cubicBezTo>
                <a:cubicBezTo>
                  <a:pt x="1892" y="447"/>
                  <a:pt x="1892" y="445"/>
                  <a:pt x="1892" y="443"/>
                </a:cubicBezTo>
                <a:cubicBezTo>
                  <a:pt x="1893" y="440"/>
                  <a:pt x="1892" y="438"/>
                  <a:pt x="1890" y="438"/>
                </a:cubicBezTo>
                <a:cubicBezTo>
                  <a:pt x="1885" y="437"/>
                  <a:pt x="1882" y="435"/>
                  <a:pt x="1878" y="432"/>
                </a:cubicBezTo>
                <a:cubicBezTo>
                  <a:pt x="1878" y="432"/>
                  <a:pt x="1877" y="431"/>
                  <a:pt x="1877" y="431"/>
                </a:cubicBezTo>
                <a:cubicBezTo>
                  <a:pt x="1878" y="429"/>
                  <a:pt x="1879" y="429"/>
                  <a:pt x="1880" y="430"/>
                </a:cubicBezTo>
                <a:cubicBezTo>
                  <a:pt x="1885" y="432"/>
                  <a:pt x="1890" y="434"/>
                  <a:pt x="1895" y="429"/>
                </a:cubicBezTo>
                <a:cubicBezTo>
                  <a:pt x="1896" y="429"/>
                  <a:pt x="1898" y="429"/>
                  <a:pt x="1900" y="429"/>
                </a:cubicBezTo>
                <a:cubicBezTo>
                  <a:pt x="1906" y="428"/>
                  <a:pt x="1908" y="419"/>
                  <a:pt x="1904" y="416"/>
                </a:cubicBezTo>
                <a:cubicBezTo>
                  <a:pt x="1902" y="414"/>
                  <a:pt x="1900" y="412"/>
                  <a:pt x="1900" y="408"/>
                </a:cubicBezTo>
                <a:cubicBezTo>
                  <a:pt x="1900" y="407"/>
                  <a:pt x="1898" y="405"/>
                  <a:pt x="1897" y="404"/>
                </a:cubicBezTo>
                <a:cubicBezTo>
                  <a:pt x="1896" y="403"/>
                  <a:pt x="1895" y="403"/>
                  <a:pt x="1896" y="401"/>
                </a:cubicBezTo>
                <a:cubicBezTo>
                  <a:pt x="1896" y="400"/>
                  <a:pt x="1897" y="400"/>
                  <a:pt x="1898" y="400"/>
                </a:cubicBezTo>
                <a:cubicBezTo>
                  <a:pt x="1900" y="401"/>
                  <a:pt x="1902" y="401"/>
                  <a:pt x="1903" y="400"/>
                </a:cubicBezTo>
                <a:cubicBezTo>
                  <a:pt x="1905" y="399"/>
                  <a:pt x="1906" y="397"/>
                  <a:pt x="1906" y="395"/>
                </a:cubicBezTo>
                <a:cubicBezTo>
                  <a:pt x="1907" y="391"/>
                  <a:pt x="1907" y="387"/>
                  <a:pt x="1907" y="383"/>
                </a:cubicBezTo>
                <a:cubicBezTo>
                  <a:pt x="1907" y="381"/>
                  <a:pt x="1906" y="378"/>
                  <a:pt x="1904" y="376"/>
                </a:cubicBezTo>
                <a:cubicBezTo>
                  <a:pt x="1901" y="373"/>
                  <a:pt x="1903" y="372"/>
                  <a:pt x="1905" y="370"/>
                </a:cubicBezTo>
                <a:cubicBezTo>
                  <a:pt x="1906" y="369"/>
                  <a:pt x="1905" y="366"/>
                  <a:pt x="1904" y="366"/>
                </a:cubicBezTo>
                <a:cubicBezTo>
                  <a:pt x="1902" y="364"/>
                  <a:pt x="1898" y="365"/>
                  <a:pt x="1896" y="362"/>
                </a:cubicBezTo>
                <a:cubicBezTo>
                  <a:pt x="1895" y="361"/>
                  <a:pt x="1894" y="361"/>
                  <a:pt x="1893" y="361"/>
                </a:cubicBezTo>
                <a:cubicBezTo>
                  <a:pt x="1891" y="360"/>
                  <a:pt x="1890" y="359"/>
                  <a:pt x="1890" y="356"/>
                </a:cubicBezTo>
                <a:cubicBezTo>
                  <a:pt x="1890" y="354"/>
                  <a:pt x="1891" y="353"/>
                  <a:pt x="1892" y="352"/>
                </a:cubicBezTo>
                <a:cubicBezTo>
                  <a:pt x="1893" y="353"/>
                  <a:pt x="1895" y="354"/>
                  <a:pt x="1896" y="355"/>
                </a:cubicBezTo>
                <a:cubicBezTo>
                  <a:pt x="1896" y="355"/>
                  <a:pt x="1896" y="355"/>
                  <a:pt x="1896" y="355"/>
                </a:cubicBezTo>
                <a:cubicBezTo>
                  <a:pt x="1896" y="355"/>
                  <a:pt x="1896" y="355"/>
                  <a:pt x="1896" y="355"/>
                </a:cubicBezTo>
                <a:cubicBezTo>
                  <a:pt x="1895" y="353"/>
                  <a:pt x="1894" y="352"/>
                  <a:pt x="1893" y="351"/>
                </a:cubicBezTo>
                <a:cubicBezTo>
                  <a:pt x="1892" y="351"/>
                  <a:pt x="1892" y="351"/>
                  <a:pt x="1892" y="351"/>
                </a:cubicBezTo>
                <a:cubicBezTo>
                  <a:pt x="1895" y="349"/>
                  <a:pt x="1897" y="346"/>
                  <a:pt x="1900" y="343"/>
                </a:cubicBezTo>
                <a:cubicBezTo>
                  <a:pt x="1901" y="342"/>
                  <a:pt x="1905" y="342"/>
                  <a:pt x="1906" y="343"/>
                </a:cubicBezTo>
                <a:cubicBezTo>
                  <a:pt x="1907" y="343"/>
                  <a:pt x="1907" y="343"/>
                  <a:pt x="1908" y="344"/>
                </a:cubicBezTo>
                <a:cubicBezTo>
                  <a:pt x="1911" y="347"/>
                  <a:pt x="1915" y="350"/>
                  <a:pt x="1915" y="356"/>
                </a:cubicBezTo>
                <a:cubicBezTo>
                  <a:pt x="1914" y="361"/>
                  <a:pt x="1915" y="366"/>
                  <a:pt x="1917" y="370"/>
                </a:cubicBezTo>
                <a:cubicBezTo>
                  <a:pt x="1917" y="371"/>
                  <a:pt x="1918" y="371"/>
                  <a:pt x="1918" y="371"/>
                </a:cubicBezTo>
                <a:cubicBezTo>
                  <a:pt x="1918" y="369"/>
                  <a:pt x="1919" y="367"/>
                  <a:pt x="1919" y="366"/>
                </a:cubicBezTo>
                <a:cubicBezTo>
                  <a:pt x="1918" y="360"/>
                  <a:pt x="1919" y="354"/>
                  <a:pt x="1922" y="349"/>
                </a:cubicBezTo>
                <a:cubicBezTo>
                  <a:pt x="1925" y="344"/>
                  <a:pt x="1926" y="339"/>
                  <a:pt x="1926" y="334"/>
                </a:cubicBezTo>
                <a:cubicBezTo>
                  <a:pt x="1926" y="332"/>
                  <a:pt x="1923" y="329"/>
                  <a:pt x="1921" y="328"/>
                </a:cubicBezTo>
                <a:cubicBezTo>
                  <a:pt x="1919" y="327"/>
                  <a:pt x="1917" y="328"/>
                  <a:pt x="1915" y="327"/>
                </a:cubicBezTo>
                <a:cubicBezTo>
                  <a:pt x="1913" y="326"/>
                  <a:pt x="1912" y="325"/>
                  <a:pt x="1911" y="324"/>
                </a:cubicBezTo>
                <a:cubicBezTo>
                  <a:pt x="1910" y="324"/>
                  <a:pt x="1910" y="323"/>
                  <a:pt x="1910" y="323"/>
                </a:cubicBezTo>
                <a:cubicBezTo>
                  <a:pt x="1911" y="322"/>
                  <a:pt x="1911" y="321"/>
                  <a:pt x="1912" y="321"/>
                </a:cubicBezTo>
                <a:cubicBezTo>
                  <a:pt x="1918" y="319"/>
                  <a:pt x="1919" y="319"/>
                  <a:pt x="1916" y="314"/>
                </a:cubicBezTo>
                <a:cubicBezTo>
                  <a:pt x="1915" y="312"/>
                  <a:pt x="1914" y="309"/>
                  <a:pt x="1911" y="308"/>
                </a:cubicBezTo>
                <a:cubicBezTo>
                  <a:pt x="1910" y="306"/>
                  <a:pt x="1908" y="305"/>
                  <a:pt x="1907" y="303"/>
                </a:cubicBezTo>
                <a:cubicBezTo>
                  <a:pt x="1907" y="303"/>
                  <a:pt x="1907" y="302"/>
                  <a:pt x="1907" y="302"/>
                </a:cubicBezTo>
                <a:cubicBezTo>
                  <a:pt x="1908" y="301"/>
                  <a:pt x="1908" y="301"/>
                  <a:pt x="1909" y="301"/>
                </a:cubicBezTo>
                <a:cubicBezTo>
                  <a:pt x="1913" y="303"/>
                  <a:pt x="1916" y="301"/>
                  <a:pt x="1917" y="297"/>
                </a:cubicBezTo>
                <a:cubicBezTo>
                  <a:pt x="1919" y="291"/>
                  <a:pt x="1922" y="286"/>
                  <a:pt x="1922" y="279"/>
                </a:cubicBezTo>
                <a:cubicBezTo>
                  <a:pt x="1923" y="264"/>
                  <a:pt x="1928" y="252"/>
                  <a:pt x="1938" y="240"/>
                </a:cubicBezTo>
                <a:cubicBezTo>
                  <a:pt x="1941" y="237"/>
                  <a:pt x="1943" y="233"/>
                  <a:pt x="1946" y="230"/>
                </a:cubicBezTo>
                <a:cubicBezTo>
                  <a:pt x="1947" y="228"/>
                  <a:pt x="1947" y="227"/>
                  <a:pt x="1946" y="225"/>
                </a:cubicBezTo>
                <a:cubicBezTo>
                  <a:pt x="1945" y="221"/>
                  <a:pt x="1945" y="221"/>
                  <a:pt x="1949" y="220"/>
                </a:cubicBezTo>
                <a:cubicBezTo>
                  <a:pt x="1954" y="219"/>
                  <a:pt x="1957" y="216"/>
                  <a:pt x="1959" y="213"/>
                </a:cubicBezTo>
                <a:cubicBezTo>
                  <a:pt x="1960" y="211"/>
                  <a:pt x="1959" y="207"/>
                  <a:pt x="1958" y="207"/>
                </a:cubicBezTo>
                <a:cubicBezTo>
                  <a:pt x="1956" y="206"/>
                  <a:pt x="1955" y="205"/>
                  <a:pt x="1953" y="205"/>
                </a:cubicBezTo>
                <a:cubicBezTo>
                  <a:pt x="1951" y="205"/>
                  <a:pt x="1949" y="205"/>
                  <a:pt x="1946" y="204"/>
                </a:cubicBezTo>
                <a:cubicBezTo>
                  <a:pt x="1946" y="204"/>
                  <a:pt x="1946" y="204"/>
                  <a:pt x="1946" y="203"/>
                </a:cubicBezTo>
                <a:cubicBezTo>
                  <a:pt x="1946" y="203"/>
                  <a:pt x="1947" y="201"/>
                  <a:pt x="1947" y="201"/>
                </a:cubicBezTo>
                <a:cubicBezTo>
                  <a:pt x="1950" y="200"/>
                  <a:pt x="1953" y="201"/>
                  <a:pt x="1955" y="202"/>
                </a:cubicBezTo>
                <a:cubicBezTo>
                  <a:pt x="1960" y="204"/>
                  <a:pt x="1964" y="203"/>
                  <a:pt x="1968" y="201"/>
                </a:cubicBezTo>
                <a:cubicBezTo>
                  <a:pt x="1970" y="200"/>
                  <a:pt x="1971" y="199"/>
                  <a:pt x="1972" y="198"/>
                </a:cubicBezTo>
                <a:cubicBezTo>
                  <a:pt x="1974" y="197"/>
                  <a:pt x="1974" y="196"/>
                  <a:pt x="1974" y="194"/>
                </a:cubicBezTo>
                <a:cubicBezTo>
                  <a:pt x="1974" y="193"/>
                  <a:pt x="1974" y="192"/>
                  <a:pt x="1973" y="191"/>
                </a:cubicBezTo>
                <a:cubicBezTo>
                  <a:pt x="1973" y="189"/>
                  <a:pt x="1974" y="187"/>
                  <a:pt x="1976" y="187"/>
                </a:cubicBezTo>
                <a:cubicBezTo>
                  <a:pt x="1980" y="188"/>
                  <a:pt x="1984" y="188"/>
                  <a:pt x="1987" y="184"/>
                </a:cubicBezTo>
                <a:cubicBezTo>
                  <a:pt x="1988" y="182"/>
                  <a:pt x="1990" y="181"/>
                  <a:pt x="1992" y="180"/>
                </a:cubicBezTo>
                <a:cubicBezTo>
                  <a:pt x="2000" y="174"/>
                  <a:pt x="2000" y="170"/>
                  <a:pt x="1993" y="162"/>
                </a:cubicBezTo>
                <a:cubicBezTo>
                  <a:pt x="1993" y="161"/>
                  <a:pt x="1992" y="161"/>
                  <a:pt x="1991" y="160"/>
                </a:cubicBezTo>
                <a:cubicBezTo>
                  <a:pt x="1985" y="152"/>
                  <a:pt x="1976" y="149"/>
                  <a:pt x="1966" y="149"/>
                </a:cubicBezTo>
                <a:cubicBezTo>
                  <a:pt x="1961" y="149"/>
                  <a:pt x="1955" y="151"/>
                  <a:pt x="1950" y="152"/>
                </a:cubicBezTo>
                <a:cubicBezTo>
                  <a:pt x="1949" y="152"/>
                  <a:pt x="1949" y="154"/>
                  <a:pt x="1948" y="155"/>
                </a:cubicBezTo>
                <a:cubicBezTo>
                  <a:pt x="1947" y="156"/>
                  <a:pt x="1947" y="158"/>
                  <a:pt x="1947" y="159"/>
                </a:cubicBezTo>
                <a:cubicBezTo>
                  <a:pt x="1946" y="161"/>
                  <a:pt x="1944" y="162"/>
                  <a:pt x="1941" y="161"/>
                </a:cubicBezTo>
                <a:cubicBezTo>
                  <a:pt x="1939" y="161"/>
                  <a:pt x="1937" y="160"/>
                  <a:pt x="1935" y="159"/>
                </a:cubicBezTo>
                <a:cubicBezTo>
                  <a:pt x="1934" y="157"/>
                  <a:pt x="1932" y="158"/>
                  <a:pt x="1931" y="159"/>
                </a:cubicBezTo>
                <a:cubicBezTo>
                  <a:pt x="1926" y="169"/>
                  <a:pt x="1917" y="173"/>
                  <a:pt x="1908" y="176"/>
                </a:cubicBezTo>
                <a:cubicBezTo>
                  <a:pt x="1903" y="178"/>
                  <a:pt x="1898" y="179"/>
                  <a:pt x="1893" y="182"/>
                </a:cubicBezTo>
                <a:cubicBezTo>
                  <a:pt x="1893" y="183"/>
                  <a:pt x="1893" y="183"/>
                  <a:pt x="1893" y="183"/>
                </a:cubicBezTo>
                <a:cubicBezTo>
                  <a:pt x="1892" y="184"/>
                  <a:pt x="1891" y="185"/>
                  <a:pt x="1890" y="186"/>
                </a:cubicBezTo>
                <a:cubicBezTo>
                  <a:pt x="1889" y="187"/>
                  <a:pt x="1887" y="188"/>
                  <a:pt x="1886" y="189"/>
                </a:cubicBezTo>
                <a:cubicBezTo>
                  <a:pt x="1885" y="190"/>
                  <a:pt x="1885" y="190"/>
                  <a:pt x="1885" y="190"/>
                </a:cubicBezTo>
                <a:cubicBezTo>
                  <a:pt x="1886" y="189"/>
                  <a:pt x="1886" y="189"/>
                  <a:pt x="1886" y="189"/>
                </a:cubicBezTo>
                <a:cubicBezTo>
                  <a:pt x="1887" y="188"/>
                  <a:pt x="1888" y="187"/>
                  <a:pt x="1889" y="186"/>
                </a:cubicBezTo>
                <a:cubicBezTo>
                  <a:pt x="1890" y="185"/>
                  <a:pt x="1892" y="184"/>
                  <a:pt x="1893" y="183"/>
                </a:cubicBezTo>
                <a:cubicBezTo>
                  <a:pt x="1893" y="183"/>
                  <a:pt x="1893" y="182"/>
                  <a:pt x="1893" y="182"/>
                </a:cubicBezTo>
                <a:cubicBezTo>
                  <a:pt x="1894" y="181"/>
                  <a:pt x="1894" y="179"/>
                  <a:pt x="1894" y="178"/>
                </a:cubicBezTo>
                <a:cubicBezTo>
                  <a:pt x="1898" y="174"/>
                  <a:pt x="1901" y="170"/>
                  <a:pt x="1907" y="168"/>
                </a:cubicBezTo>
                <a:cubicBezTo>
                  <a:pt x="1913" y="166"/>
                  <a:pt x="1917" y="162"/>
                  <a:pt x="1919" y="156"/>
                </a:cubicBezTo>
                <a:cubicBezTo>
                  <a:pt x="1920" y="154"/>
                  <a:pt x="1921" y="153"/>
                  <a:pt x="1921" y="151"/>
                </a:cubicBezTo>
                <a:cubicBezTo>
                  <a:pt x="1926" y="138"/>
                  <a:pt x="1920" y="136"/>
                  <a:pt x="1910" y="137"/>
                </a:cubicBezTo>
                <a:cubicBezTo>
                  <a:pt x="1910" y="137"/>
                  <a:pt x="1909" y="137"/>
                  <a:pt x="1909" y="137"/>
                </a:cubicBezTo>
                <a:cubicBezTo>
                  <a:pt x="1908" y="137"/>
                  <a:pt x="1906" y="138"/>
                  <a:pt x="1906" y="139"/>
                </a:cubicBezTo>
                <a:cubicBezTo>
                  <a:pt x="1905" y="141"/>
                  <a:pt x="1904" y="144"/>
                  <a:pt x="1903" y="147"/>
                </a:cubicBezTo>
                <a:cubicBezTo>
                  <a:pt x="1902" y="150"/>
                  <a:pt x="1899" y="152"/>
                  <a:pt x="1896" y="152"/>
                </a:cubicBezTo>
                <a:cubicBezTo>
                  <a:pt x="1895" y="152"/>
                  <a:pt x="1894" y="152"/>
                  <a:pt x="1894" y="152"/>
                </a:cubicBezTo>
                <a:cubicBezTo>
                  <a:pt x="1888" y="149"/>
                  <a:pt x="1882" y="151"/>
                  <a:pt x="1876" y="151"/>
                </a:cubicBezTo>
                <a:cubicBezTo>
                  <a:pt x="1876" y="151"/>
                  <a:pt x="1875" y="151"/>
                  <a:pt x="1875" y="150"/>
                </a:cubicBezTo>
                <a:cubicBezTo>
                  <a:pt x="1875" y="150"/>
                  <a:pt x="1876" y="149"/>
                  <a:pt x="1876" y="149"/>
                </a:cubicBezTo>
                <a:cubicBezTo>
                  <a:pt x="1879" y="148"/>
                  <a:pt x="1882" y="147"/>
                  <a:pt x="1885" y="145"/>
                </a:cubicBezTo>
                <a:cubicBezTo>
                  <a:pt x="1888" y="144"/>
                  <a:pt x="1889" y="142"/>
                  <a:pt x="1890" y="139"/>
                </a:cubicBezTo>
                <a:cubicBezTo>
                  <a:pt x="1891" y="138"/>
                  <a:pt x="1890" y="134"/>
                  <a:pt x="1888" y="134"/>
                </a:cubicBezTo>
                <a:cubicBezTo>
                  <a:pt x="1884" y="133"/>
                  <a:pt x="1880" y="132"/>
                  <a:pt x="1877" y="131"/>
                </a:cubicBezTo>
                <a:cubicBezTo>
                  <a:pt x="1860" y="128"/>
                  <a:pt x="1854" y="129"/>
                  <a:pt x="1838" y="135"/>
                </a:cubicBezTo>
                <a:cubicBezTo>
                  <a:pt x="1836" y="136"/>
                  <a:pt x="1834" y="137"/>
                  <a:pt x="1832" y="138"/>
                </a:cubicBezTo>
                <a:cubicBezTo>
                  <a:pt x="1829" y="139"/>
                  <a:pt x="1826" y="140"/>
                  <a:pt x="1823" y="141"/>
                </a:cubicBezTo>
                <a:cubicBezTo>
                  <a:pt x="1822" y="141"/>
                  <a:pt x="1821" y="140"/>
                  <a:pt x="1821" y="139"/>
                </a:cubicBezTo>
                <a:cubicBezTo>
                  <a:pt x="1821" y="139"/>
                  <a:pt x="1821" y="138"/>
                  <a:pt x="1821" y="137"/>
                </a:cubicBezTo>
                <a:cubicBezTo>
                  <a:pt x="1823" y="136"/>
                  <a:pt x="1825" y="135"/>
                  <a:pt x="1827" y="134"/>
                </a:cubicBezTo>
                <a:cubicBezTo>
                  <a:pt x="1833" y="132"/>
                  <a:pt x="1838" y="130"/>
                  <a:pt x="1844" y="128"/>
                </a:cubicBezTo>
                <a:cubicBezTo>
                  <a:pt x="1854" y="123"/>
                  <a:pt x="1864" y="122"/>
                  <a:pt x="1874" y="125"/>
                </a:cubicBezTo>
                <a:cubicBezTo>
                  <a:pt x="1881" y="128"/>
                  <a:pt x="1889" y="128"/>
                  <a:pt x="1896" y="127"/>
                </a:cubicBezTo>
                <a:cubicBezTo>
                  <a:pt x="1902" y="126"/>
                  <a:pt x="1909" y="125"/>
                  <a:pt x="1915" y="124"/>
                </a:cubicBezTo>
                <a:cubicBezTo>
                  <a:pt x="1923" y="124"/>
                  <a:pt x="1928" y="119"/>
                  <a:pt x="1934" y="115"/>
                </a:cubicBezTo>
                <a:cubicBezTo>
                  <a:pt x="1937" y="113"/>
                  <a:pt x="1937" y="107"/>
                  <a:pt x="1935" y="105"/>
                </a:cubicBezTo>
                <a:cubicBezTo>
                  <a:pt x="1931" y="102"/>
                  <a:pt x="1927" y="99"/>
                  <a:pt x="1923" y="96"/>
                </a:cubicBezTo>
                <a:cubicBezTo>
                  <a:pt x="1916" y="91"/>
                  <a:pt x="1909" y="89"/>
                  <a:pt x="1901" y="93"/>
                </a:cubicBezTo>
                <a:cubicBezTo>
                  <a:pt x="1900" y="93"/>
                  <a:pt x="1899" y="93"/>
                  <a:pt x="1898" y="93"/>
                </a:cubicBezTo>
                <a:cubicBezTo>
                  <a:pt x="1897" y="93"/>
                  <a:pt x="1897" y="93"/>
                  <a:pt x="1897" y="92"/>
                </a:cubicBezTo>
                <a:cubicBezTo>
                  <a:pt x="1897" y="92"/>
                  <a:pt x="1897" y="91"/>
                  <a:pt x="1897" y="91"/>
                </a:cubicBezTo>
                <a:cubicBezTo>
                  <a:pt x="1899" y="90"/>
                  <a:pt x="1900" y="90"/>
                  <a:pt x="1902" y="89"/>
                </a:cubicBezTo>
                <a:cubicBezTo>
                  <a:pt x="1906" y="87"/>
                  <a:pt x="1907" y="82"/>
                  <a:pt x="1904" y="78"/>
                </a:cubicBezTo>
                <a:cubicBezTo>
                  <a:pt x="1903" y="76"/>
                  <a:pt x="1900" y="74"/>
                  <a:pt x="1899" y="75"/>
                </a:cubicBezTo>
                <a:cubicBezTo>
                  <a:pt x="1889" y="78"/>
                  <a:pt x="1879" y="78"/>
                  <a:pt x="1868" y="74"/>
                </a:cubicBezTo>
                <a:cubicBezTo>
                  <a:pt x="1865" y="73"/>
                  <a:pt x="1862" y="73"/>
                  <a:pt x="1859" y="73"/>
                </a:cubicBezTo>
                <a:cubicBezTo>
                  <a:pt x="1855" y="73"/>
                  <a:pt x="1851" y="74"/>
                  <a:pt x="1847" y="75"/>
                </a:cubicBezTo>
                <a:cubicBezTo>
                  <a:pt x="1842" y="76"/>
                  <a:pt x="1837" y="77"/>
                  <a:pt x="1831" y="76"/>
                </a:cubicBezTo>
                <a:cubicBezTo>
                  <a:pt x="1827" y="75"/>
                  <a:pt x="1824" y="76"/>
                  <a:pt x="1820" y="79"/>
                </a:cubicBezTo>
                <a:cubicBezTo>
                  <a:pt x="1819" y="79"/>
                  <a:pt x="1817" y="79"/>
                  <a:pt x="1815" y="80"/>
                </a:cubicBezTo>
                <a:cubicBezTo>
                  <a:pt x="1815" y="80"/>
                  <a:pt x="1814" y="79"/>
                  <a:pt x="1814" y="79"/>
                </a:cubicBezTo>
                <a:cubicBezTo>
                  <a:pt x="1814" y="78"/>
                  <a:pt x="1814" y="78"/>
                  <a:pt x="1814" y="78"/>
                </a:cubicBezTo>
                <a:cubicBezTo>
                  <a:pt x="1816" y="76"/>
                  <a:pt x="1818" y="75"/>
                  <a:pt x="1820" y="75"/>
                </a:cubicBezTo>
                <a:cubicBezTo>
                  <a:pt x="1824" y="74"/>
                  <a:pt x="1829" y="75"/>
                  <a:pt x="1833" y="74"/>
                </a:cubicBezTo>
                <a:cubicBezTo>
                  <a:pt x="1841" y="71"/>
                  <a:pt x="1849" y="71"/>
                  <a:pt x="1858" y="70"/>
                </a:cubicBezTo>
                <a:cubicBezTo>
                  <a:pt x="1864" y="70"/>
                  <a:pt x="1871" y="70"/>
                  <a:pt x="1877" y="72"/>
                </a:cubicBezTo>
                <a:cubicBezTo>
                  <a:pt x="1883" y="74"/>
                  <a:pt x="1889" y="72"/>
                  <a:pt x="1894" y="69"/>
                </a:cubicBezTo>
                <a:cubicBezTo>
                  <a:pt x="1895" y="68"/>
                  <a:pt x="1895" y="66"/>
                  <a:pt x="1895" y="66"/>
                </a:cubicBezTo>
                <a:cubicBezTo>
                  <a:pt x="1891" y="60"/>
                  <a:pt x="1886" y="56"/>
                  <a:pt x="1879" y="54"/>
                </a:cubicBezTo>
                <a:cubicBezTo>
                  <a:pt x="1868" y="51"/>
                  <a:pt x="1856" y="47"/>
                  <a:pt x="1845" y="43"/>
                </a:cubicBezTo>
                <a:cubicBezTo>
                  <a:pt x="1840" y="42"/>
                  <a:pt x="1834" y="41"/>
                  <a:pt x="1829" y="40"/>
                </a:cubicBezTo>
                <a:cubicBezTo>
                  <a:pt x="1823" y="39"/>
                  <a:pt x="1817" y="43"/>
                  <a:pt x="1811" y="42"/>
                </a:cubicBezTo>
                <a:cubicBezTo>
                  <a:pt x="1806" y="44"/>
                  <a:pt x="1804" y="49"/>
                  <a:pt x="1801" y="53"/>
                </a:cubicBezTo>
                <a:cubicBezTo>
                  <a:pt x="1801" y="53"/>
                  <a:pt x="1800" y="53"/>
                  <a:pt x="1800" y="54"/>
                </a:cubicBezTo>
                <a:cubicBezTo>
                  <a:pt x="1800" y="54"/>
                  <a:pt x="1800" y="54"/>
                  <a:pt x="1800" y="54"/>
                </a:cubicBezTo>
                <a:cubicBezTo>
                  <a:pt x="1800" y="54"/>
                  <a:pt x="1800" y="54"/>
                  <a:pt x="1800" y="54"/>
                </a:cubicBezTo>
                <a:cubicBezTo>
                  <a:pt x="1800" y="54"/>
                  <a:pt x="1800" y="54"/>
                  <a:pt x="1800" y="54"/>
                </a:cubicBezTo>
                <a:cubicBezTo>
                  <a:pt x="1800" y="55"/>
                  <a:pt x="1800" y="56"/>
                  <a:pt x="1800" y="57"/>
                </a:cubicBezTo>
                <a:cubicBezTo>
                  <a:pt x="1800" y="57"/>
                  <a:pt x="1800" y="57"/>
                  <a:pt x="1800" y="57"/>
                </a:cubicBezTo>
                <a:cubicBezTo>
                  <a:pt x="1801" y="58"/>
                  <a:pt x="1801" y="58"/>
                  <a:pt x="1801" y="58"/>
                </a:cubicBezTo>
                <a:cubicBezTo>
                  <a:pt x="1800" y="57"/>
                  <a:pt x="1800" y="57"/>
                  <a:pt x="1800" y="57"/>
                </a:cubicBezTo>
                <a:cubicBezTo>
                  <a:pt x="1800" y="57"/>
                  <a:pt x="1800" y="57"/>
                  <a:pt x="1800" y="57"/>
                </a:cubicBezTo>
                <a:cubicBezTo>
                  <a:pt x="1796" y="57"/>
                  <a:pt x="1793" y="55"/>
                  <a:pt x="1790" y="53"/>
                </a:cubicBezTo>
                <a:cubicBezTo>
                  <a:pt x="1789" y="52"/>
                  <a:pt x="1788" y="52"/>
                  <a:pt x="1787" y="53"/>
                </a:cubicBezTo>
                <a:cubicBezTo>
                  <a:pt x="1787" y="54"/>
                  <a:pt x="1786" y="54"/>
                  <a:pt x="1786" y="55"/>
                </a:cubicBezTo>
                <a:cubicBezTo>
                  <a:pt x="1787" y="56"/>
                  <a:pt x="1787" y="58"/>
                  <a:pt x="1788" y="60"/>
                </a:cubicBezTo>
                <a:cubicBezTo>
                  <a:pt x="1788" y="61"/>
                  <a:pt x="1788" y="62"/>
                  <a:pt x="1787" y="62"/>
                </a:cubicBezTo>
                <a:cubicBezTo>
                  <a:pt x="1786" y="63"/>
                  <a:pt x="1785" y="63"/>
                  <a:pt x="1784" y="63"/>
                </a:cubicBezTo>
                <a:cubicBezTo>
                  <a:pt x="1779" y="61"/>
                  <a:pt x="1775" y="59"/>
                  <a:pt x="1771" y="56"/>
                </a:cubicBezTo>
                <a:cubicBezTo>
                  <a:pt x="1768" y="54"/>
                  <a:pt x="1765" y="54"/>
                  <a:pt x="1762" y="56"/>
                </a:cubicBezTo>
                <a:cubicBezTo>
                  <a:pt x="1759" y="58"/>
                  <a:pt x="1756" y="60"/>
                  <a:pt x="1753" y="60"/>
                </a:cubicBezTo>
                <a:cubicBezTo>
                  <a:pt x="1751" y="59"/>
                  <a:pt x="1750" y="61"/>
                  <a:pt x="1750" y="63"/>
                </a:cubicBezTo>
                <a:cubicBezTo>
                  <a:pt x="1749" y="66"/>
                  <a:pt x="1749" y="70"/>
                  <a:pt x="1749" y="74"/>
                </a:cubicBezTo>
                <a:cubicBezTo>
                  <a:pt x="1749" y="76"/>
                  <a:pt x="1748" y="78"/>
                  <a:pt x="1746" y="79"/>
                </a:cubicBezTo>
                <a:cubicBezTo>
                  <a:pt x="1744" y="81"/>
                  <a:pt x="1743" y="83"/>
                  <a:pt x="1741" y="84"/>
                </a:cubicBezTo>
                <a:cubicBezTo>
                  <a:pt x="1741" y="85"/>
                  <a:pt x="1739" y="85"/>
                  <a:pt x="1739" y="85"/>
                </a:cubicBezTo>
                <a:cubicBezTo>
                  <a:pt x="1735" y="83"/>
                  <a:pt x="1732" y="81"/>
                  <a:pt x="1728" y="81"/>
                </a:cubicBezTo>
                <a:cubicBezTo>
                  <a:pt x="1727" y="81"/>
                  <a:pt x="1724" y="83"/>
                  <a:pt x="1724" y="84"/>
                </a:cubicBezTo>
                <a:cubicBezTo>
                  <a:pt x="1724" y="85"/>
                  <a:pt x="1724" y="87"/>
                  <a:pt x="1724" y="89"/>
                </a:cubicBezTo>
                <a:cubicBezTo>
                  <a:pt x="1725" y="95"/>
                  <a:pt x="1726" y="101"/>
                  <a:pt x="1727" y="106"/>
                </a:cubicBezTo>
                <a:cubicBezTo>
                  <a:pt x="1729" y="114"/>
                  <a:pt x="1729" y="122"/>
                  <a:pt x="1733" y="129"/>
                </a:cubicBezTo>
                <a:cubicBezTo>
                  <a:pt x="1734" y="130"/>
                  <a:pt x="1732" y="132"/>
                  <a:pt x="1730" y="131"/>
                </a:cubicBezTo>
                <a:cubicBezTo>
                  <a:pt x="1728" y="131"/>
                  <a:pt x="1725" y="132"/>
                  <a:pt x="1724" y="128"/>
                </a:cubicBezTo>
                <a:cubicBezTo>
                  <a:pt x="1723" y="125"/>
                  <a:pt x="1721" y="123"/>
                  <a:pt x="1718" y="122"/>
                </a:cubicBezTo>
                <a:cubicBezTo>
                  <a:pt x="1717" y="122"/>
                  <a:pt x="1718" y="122"/>
                  <a:pt x="1719" y="121"/>
                </a:cubicBezTo>
                <a:cubicBezTo>
                  <a:pt x="1722" y="118"/>
                  <a:pt x="1722" y="116"/>
                  <a:pt x="1720" y="114"/>
                </a:cubicBezTo>
                <a:cubicBezTo>
                  <a:pt x="1717" y="112"/>
                  <a:pt x="1715" y="111"/>
                  <a:pt x="1714" y="107"/>
                </a:cubicBezTo>
                <a:cubicBezTo>
                  <a:pt x="1712" y="102"/>
                  <a:pt x="1710" y="97"/>
                  <a:pt x="1707" y="92"/>
                </a:cubicBezTo>
                <a:cubicBezTo>
                  <a:pt x="1706" y="89"/>
                  <a:pt x="1703" y="87"/>
                  <a:pt x="1700" y="85"/>
                </a:cubicBezTo>
                <a:cubicBezTo>
                  <a:pt x="1698" y="84"/>
                  <a:pt x="1694" y="85"/>
                  <a:pt x="1693" y="87"/>
                </a:cubicBezTo>
                <a:cubicBezTo>
                  <a:pt x="1693" y="88"/>
                  <a:pt x="1693" y="89"/>
                  <a:pt x="1692" y="90"/>
                </a:cubicBezTo>
                <a:cubicBezTo>
                  <a:pt x="1690" y="97"/>
                  <a:pt x="1690" y="103"/>
                  <a:pt x="1690" y="110"/>
                </a:cubicBezTo>
                <a:cubicBezTo>
                  <a:pt x="1691" y="112"/>
                  <a:pt x="1690" y="115"/>
                  <a:pt x="1689" y="118"/>
                </a:cubicBezTo>
                <a:cubicBezTo>
                  <a:pt x="1687" y="120"/>
                  <a:pt x="1684" y="119"/>
                  <a:pt x="1681" y="119"/>
                </a:cubicBezTo>
                <a:cubicBezTo>
                  <a:pt x="1681" y="118"/>
                  <a:pt x="1680" y="118"/>
                  <a:pt x="1680" y="119"/>
                </a:cubicBezTo>
                <a:cubicBezTo>
                  <a:pt x="1679" y="119"/>
                  <a:pt x="1678" y="120"/>
                  <a:pt x="1677" y="120"/>
                </a:cubicBezTo>
                <a:cubicBezTo>
                  <a:pt x="1676" y="121"/>
                  <a:pt x="1675" y="120"/>
                  <a:pt x="1674" y="118"/>
                </a:cubicBezTo>
                <a:cubicBezTo>
                  <a:pt x="1673" y="115"/>
                  <a:pt x="1677" y="113"/>
                  <a:pt x="1676" y="111"/>
                </a:cubicBezTo>
                <a:cubicBezTo>
                  <a:pt x="1674" y="105"/>
                  <a:pt x="1675" y="100"/>
                  <a:pt x="1675" y="94"/>
                </a:cubicBezTo>
                <a:cubicBezTo>
                  <a:pt x="1675" y="93"/>
                  <a:pt x="1674" y="91"/>
                  <a:pt x="1673" y="90"/>
                </a:cubicBezTo>
                <a:cubicBezTo>
                  <a:pt x="1673" y="89"/>
                  <a:pt x="1672" y="89"/>
                  <a:pt x="1672" y="89"/>
                </a:cubicBezTo>
                <a:cubicBezTo>
                  <a:pt x="1671" y="89"/>
                  <a:pt x="1670" y="89"/>
                  <a:pt x="1669" y="90"/>
                </a:cubicBezTo>
                <a:cubicBezTo>
                  <a:pt x="1667" y="92"/>
                  <a:pt x="1668" y="95"/>
                  <a:pt x="1667" y="98"/>
                </a:cubicBezTo>
                <a:cubicBezTo>
                  <a:pt x="1667" y="100"/>
                  <a:pt x="1668" y="103"/>
                  <a:pt x="1667" y="106"/>
                </a:cubicBezTo>
                <a:cubicBezTo>
                  <a:pt x="1666" y="108"/>
                  <a:pt x="1664" y="110"/>
                  <a:pt x="1662" y="112"/>
                </a:cubicBezTo>
                <a:cubicBezTo>
                  <a:pt x="1662" y="112"/>
                  <a:pt x="1662" y="113"/>
                  <a:pt x="1661" y="113"/>
                </a:cubicBezTo>
                <a:cubicBezTo>
                  <a:pt x="1661" y="113"/>
                  <a:pt x="1662" y="113"/>
                  <a:pt x="1662" y="114"/>
                </a:cubicBezTo>
                <a:cubicBezTo>
                  <a:pt x="1660" y="115"/>
                  <a:pt x="1659" y="116"/>
                  <a:pt x="1658" y="116"/>
                </a:cubicBezTo>
                <a:cubicBezTo>
                  <a:pt x="1657" y="118"/>
                  <a:pt x="1655" y="119"/>
                  <a:pt x="1654" y="120"/>
                </a:cubicBezTo>
                <a:cubicBezTo>
                  <a:pt x="1654" y="120"/>
                  <a:pt x="1654" y="121"/>
                  <a:pt x="1654" y="121"/>
                </a:cubicBezTo>
                <a:cubicBezTo>
                  <a:pt x="1654" y="121"/>
                  <a:pt x="1653" y="122"/>
                  <a:pt x="1653" y="122"/>
                </a:cubicBezTo>
                <a:cubicBezTo>
                  <a:pt x="1653" y="122"/>
                  <a:pt x="1653" y="121"/>
                  <a:pt x="1654" y="121"/>
                </a:cubicBezTo>
                <a:cubicBezTo>
                  <a:pt x="1654" y="120"/>
                  <a:pt x="1654" y="120"/>
                  <a:pt x="1654" y="120"/>
                </a:cubicBezTo>
                <a:cubicBezTo>
                  <a:pt x="1655" y="119"/>
                  <a:pt x="1656" y="117"/>
                  <a:pt x="1658" y="116"/>
                </a:cubicBezTo>
                <a:cubicBezTo>
                  <a:pt x="1659" y="115"/>
                  <a:pt x="1660" y="114"/>
                  <a:pt x="1661" y="113"/>
                </a:cubicBezTo>
                <a:cubicBezTo>
                  <a:pt x="1661" y="113"/>
                  <a:pt x="1661" y="113"/>
                  <a:pt x="1661" y="113"/>
                </a:cubicBezTo>
                <a:cubicBezTo>
                  <a:pt x="1660" y="111"/>
                  <a:pt x="1660" y="109"/>
                  <a:pt x="1660" y="107"/>
                </a:cubicBezTo>
                <a:cubicBezTo>
                  <a:pt x="1662" y="104"/>
                  <a:pt x="1663" y="100"/>
                  <a:pt x="1664" y="97"/>
                </a:cubicBezTo>
                <a:cubicBezTo>
                  <a:pt x="1665" y="93"/>
                  <a:pt x="1666" y="89"/>
                  <a:pt x="1665" y="85"/>
                </a:cubicBezTo>
                <a:cubicBezTo>
                  <a:pt x="1664" y="83"/>
                  <a:pt x="1662" y="81"/>
                  <a:pt x="1660" y="82"/>
                </a:cubicBezTo>
                <a:cubicBezTo>
                  <a:pt x="1657" y="82"/>
                  <a:pt x="1654" y="82"/>
                  <a:pt x="1652" y="84"/>
                </a:cubicBezTo>
                <a:cubicBezTo>
                  <a:pt x="1647" y="86"/>
                  <a:pt x="1642" y="86"/>
                  <a:pt x="1636" y="87"/>
                </a:cubicBezTo>
                <a:cubicBezTo>
                  <a:pt x="1628" y="89"/>
                  <a:pt x="1621" y="89"/>
                  <a:pt x="1613" y="90"/>
                </a:cubicBezTo>
                <a:cubicBezTo>
                  <a:pt x="1610" y="90"/>
                  <a:pt x="1608" y="92"/>
                  <a:pt x="1608" y="95"/>
                </a:cubicBezTo>
                <a:cubicBezTo>
                  <a:pt x="1608" y="97"/>
                  <a:pt x="1609" y="98"/>
                  <a:pt x="1608" y="100"/>
                </a:cubicBezTo>
                <a:cubicBezTo>
                  <a:pt x="1608" y="100"/>
                  <a:pt x="1608" y="101"/>
                  <a:pt x="1608" y="101"/>
                </a:cubicBezTo>
                <a:cubicBezTo>
                  <a:pt x="1607" y="101"/>
                  <a:pt x="1606" y="101"/>
                  <a:pt x="1606" y="101"/>
                </a:cubicBezTo>
                <a:cubicBezTo>
                  <a:pt x="1605" y="99"/>
                  <a:pt x="1604" y="97"/>
                  <a:pt x="1602" y="96"/>
                </a:cubicBezTo>
                <a:cubicBezTo>
                  <a:pt x="1599" y="94"/>
                  <a:pt x="1597" y="96"/>
                  <a:pt x="1594" y="97"/>
                </a:cubicBezTo>
                <a:cubicBezTo>
                  <a:pt x="1592" y="98"/>
                  <a:pt x="1590" y="100"/>
                  <a:pt x="1589" y="103"/>
                </a:cubicBezTo>
                <a:cubicBezTo>
                  <a:pt x="1589" y="104"/>
                  <a:pt x="1588" y="106"/>
                  <a:pt x="1588" y="108"/>
                </a:cubicBezTo>
                <a:cubicBezTo>
                  <a:pt x="1587" y="111"/>
                  <a:pt x="1588" y="114"/>
                  <a:pt x="1586" y="117"/>
                </a:cubicBezTo>
                <a:cubicBezTo>
                  <a:pt x="1585" y="120"/>
                  <a:pt x="1582" y="122"/>
                  <a:pt x="1580" y="124"/>
                </a:cubicBezTo>
                <a:cubicBezTo>
                  <a:pt x="1579" y="125"/>
                  <a:pt x="1579" y="126"/>
                  <a:pt x="1578" y="127"/>
                </a:cubicBezTo>
                <a:cubicBezTo>
                  <a:pt x="1577" y="129"/>
                  <a:pt x="1574" y="129"/>
                  <a:pt x="1572" y="128"/>
                </a:cubicBezTo>
                <a:cubicBezTo>
                  <a:pt x="1569" y="124"/>
                  <a:pt x="1565" y="124"/>
                  <a:pt x="1560" y="125"/>
                </a:cubicBezTo>
                <a:cubicBezTo>
                  <a:pt x="1555" y="126"/>
                  <a:pt x="1550" y="128"/>
                  <a:pt x="1546" y="133"/>
                </a:cubicBezTo>
                <a:cubicBezTo>
                  <a:pt x="1543" y="137"/>
                  <a:pt x="1538" y="139"/>
                  <a:pt x="1532" y="140"/>
                </a:cubicBezTo>
                <a:cubicBezTo>
                  <a:pt x="1531" y="141"/>
                  <a:pt x="1530" y="142"/>
                  <a:pt x="1529" y="143"/>
                </a:cubicBezTo>
                <a:cubicBezTo>
                  <a:pt x="1523" y="146"/>
                  <a:pt x="1520" y="152"/>
                  <a:pt x="1517" y="157"/>
                </a:cubicBezTo>
                <a:cubicBezTo>
                  <a:pt x="1514" y="161"/>
                  <a:pt x="1516" y="165"/>
                  <a:pt x="1520" y="166"/>
                </a:cubicBezTo>
                <a:cubicBezTo>
                  <a:pt x="1524" y="168"/>
                  <a:pt x="1528" y="169"/>
                  <a:pt x="1532" y="170"/>
                </a:cubicBezTo>
                <a:cubicBezTo>
                  <a:pt x="1532" y="170"/>
                  <a:pt x="1532" y="170"/>
                  <a:pt x="1532" y="170"/>
                </a:cubicBezTo>
                <a:cubicBezTo>
                  <a:pt x="1533" y="169"/>
                  <a:pt x="1533" y="169"/>
                  <a:pt x="1533" y="169"/>
                </a:cubicBezTo>
                <a:cubicBezTo>
                  <a:pt x="1532" y="170"/>
                  <a:pt x="1532" y="170"/>
                  <a:pt x="1532" y="170"/>
                </a:cubicBezTo>
                <a:cubicBezTo>
                  <a:pt x="1532" y="170"/>
                  <a:pt x="1532" y="170"/>
                  <a:pt x="1532" y="170"/>
                </a:cubicBezTo>
                <a:cubicBezTo>
                  <a:pt x="1532" y="171"/>
                  <a:pt x="1532" y="172"/>
                  <a:pt x="1533" y="173"/>
                </a:cubicBezTo>
                <a:cubicBezTo>
                  <a:pt x="1534" y="175"/>
                  <a:pt x="1533" y="176"/>
                  <a:pt x="1532" y="177"/>
                </a:cubicBezTo>
                <a:cubicBezTo>
                  <a:pt x="1529" y="179"/>
                  <a:pt x="1527" y="180"/>
                  <a:pt x="1527" y="183"/>
                </a:cubicBezTo>
                <a:cubicBezTo>
                  <a:pt x="1527" y="185"/>
                  <a:pt x="1525" y="187"/>
                  <a:pt x="1524" y="189"/>
                </a:cubicBezTo>
                <a:cubicBezTo>
                  <a:pt x="1521" y="193"/>
                  <a:pt x="1517" y="196"/>
                  <a:pt x="1514" y="200"/>
                </a:cubicBezTo>
                <a:cubicBezTo>
                  <a:pt x="1512" y="202"/>
                  <a:pt x="1510" y="202"/>
                  <a:pt x="1508" y="201"/>
                </a:cubicBezTo>
                <a:cubicBezTo>
                  <a:pt x="1501" y="198"/>
                  <a:pt x="1494" y="199"/>
                  <a:pt x="1487" y="199"/>
                </a:cubicBezTo>
                <a:cubicBezTo>
                  <a:pt x="1484" y="199"/>
                  <a:pt x="1482" y="200"/>
                  <a:pt x="1479" y="201"/>
                </a:cubicBezTo>
                <a:cubicBezTo>
                  <a:pt x="1476" y="204"/>
                  <a:pt x="1473" y="205"/>
                  <a:pt x="1469" y="206"/>
                </a:cubicBezTo>
                <a:cubicBezTo>
                  <a:pt x="1461" y="207"/>
                  <a:pt x="1454" y="209"/>
                  <a:pt x="1446" y="210"/>
                </a:cubicBezTo>
                <a:cubicBezTo>
                  <a:pt x="1440" y="211"/>
                  <a:pt x="1436" y="215"/>
                  <a:pt x="1433" y="220"/>
                </a:cubicBezTo>
                <a:cubicBezTo>
                  <a:pt x="1431" y="224"/>
                  <a:pt x="1430" y="227"/>
                  <a:pt x="1433" y="231"/>
                </a:cubicBezTo>
                <a:cubicBezTo>
                  <a:pt x="1437" y="235"/>
                  <a:pt x="1438" y="241"/>
                  <a:pt x="1442" y="245"/>
                </a:cubicBezTo>
                <a:cubicBezTo>
                  <a:pt x="1443" y="245"/>
                  <a:pt x="1443" y="245"/>
                  <a:pt x="1443" y="245"/>
                </a:cubicBezTo>
                <a:cubicBezTo>
                  <a:pt x="1444" y="245"/>
                  <a:pt x="1444" y="244"/>
                  <a:pt x="1445" y="244"/>
                </a:cubicBezTo>
                <a:cubicBezTo>
                  <a:pt x="1445" y="245"/>
                  <a:pt x="1444" y="245"/>
                  <a:pt x="1443" y="245"/>
                </a:cubicBezTo>
                <a:cubicBezTo>
                  <a:pt x="1443" y="245"/>
                  <a:pt x="1443" y="246"/>
                  <a:pt x="1443" y="246"/>
                </a:cubicBezTo>
                <a:cubicBezTo>
                  <a:pt x="1442" y="246"/>
                  <a:pt x="1442" y="246"/>
                  <a:pt x="1442" y="245"/>
                </a:cubicBezTo>
                <a:cubicBezTo>
                  <a:pt x="1442" y="245"/>
                  <a:pt x="1442" y="245"/>
                  <a:pt x="1442" y="245"/>
                </a:cubicBezTo>
                <a:cubicBezTo>
                  <a:pt x="1444" y="248"/>
                  <a:pt x="1445" y="252"/>
                  <a:pt x="1446" y="254"/>
                </a:cubicBezTo>
                <a:cubicBezTo>
                  <a:pt x="1448" y="257"/>
                  <a:pt x="1451" y="259"/>
                  <a:pt x="1455" y="259"/>
                </a:cubicBezTo>
                <a:cubicBezTo>
                  <a:pt x="1457" y="258"/>
                  <a:pt x="1460" y="256"/>
                  <a:pt x="1463" y="258"/>
                </a:cubicBezTo>
                <a:cubicBezTo>
                  <a:pt x="1466" y="259"/>
                  <a:pt x="1469" y="258"/>
                  <a:pt x="1472" y="258"/>
                </a:cubicBezTo>
                <a:cubicBezTo>
                  <a:pt x="1473" y="258"/>
                  <a:pt x="1475" y="258"/>
                  <a:pt x="1475" y="259"/>
                </a:cubicBezTo>
                <a:cubicBezTo>
                  <a:pt x="1476" y="259"/>
                  <a:pt x="1477" y="261"/>
                  <a:pt x="1477" y="261"/>
                </a:cubicBezTo>
                <a:cubicBezTo>
                  <a:pt x="1477" y="262"/>
                  <a:pt x="1476" y="264"/>
                  <a:pt x="1475" y="264"/>
                </a:cubicBezTo>
                <a:cubicBezTo>
                  <a:pt x="1473" y="264"/>
                  <a:pt x="1472" y="264"/>
                  <a:pt x="1470" y="264"/>
                </a:cubicBezTo>
                <a:cubicBezTo>
                  <a:pt x="1464" y="261"/>
                  <a:pt x="1457" y="261"/>
                  <a:pt x="1451" y="264"/>
                </a:cubicBezTo>
                <a:cubicBezTo>
                  <a:pt x="1448" y="266"/>
                  <a:pt x="1446" y="265"/>
                  <a:pt x="1443" y="265"/>
                </a:cubicBezTo>
                <a:cubicBezTo>
                  <a:pt x="1440" y="264"/>
                  <a:pt x="1436" y="265"/>
                  <a:pt x="1433" y="267"/>
                </a:cubicBezTo>
                <a:cubicBezTo>
                  <a:pt x="1429" y="269"/>
                  <a:pt x="1427" y="276"/>
                  <a:pt x="1430" y="279"/>
                </a:cubicBezTo>
                <a:cubicBezTo>
                  <a:pt x="1434" y="282"/>
                  <a:pt x="1436" y="287"/>
                  <a:pt x="1441" y="289"/>
                </a:cubicBezTo>
                <a:cubicBezTo>
                  <a:pt x="1443" y="290"/>
                  <a:pt x="1443" y="291"/>
                  <a:pt x="1441" y="292"/>
                </a:cubicBezTo>
                <a:cubicBezTo>
                  <a:pt x="1439" y="293"/>
                  <a:pt x="1437" y="294"/>
                  <a:pt x="1435" y="295"/>
                </a:cubicBezTo>
                <a:cubicBezTo>
                  <a:pt x="1434" y="296"/>
                  <a:pt x="1433" y="299"/>
                  <a:pt x="1434" y="300"/>
                </a:cubicBezTo>
                <a:cubicBezTo>
                  <a:pt x="1436" y="307"/>
                  <a:pt x="1441" y="312"/>
                  <a:pt x="1447" y="316"/>
                </a:cubicBezTo>
                <a:cubicBezTo>
                  <a:pt x="1451" y="319"/>
                  <a:pt x="1453" y="319"/>
                  <a:pt x="1456" y="314"/>
                </a:cubicBezTo>
                <a:cubicBezTo>
                  <a:pt x="1457" y="311"/>
                  <a:pt x="1458" y="311"/>
                  <a:pt x="1461" y="312"/>
                </a:cubicBezTo>
                <a:cubicBezTo>
                  <a:pt x="1463" y="313"/>
                  <a:pt x="1465" y="314"/>
                  <a:pt x="1466" y="316"/>
                </a:cubicBezTo>
                <a:cubicBezTo>
                  <a:pt x="1466" y="317"/>
                  <a:pt x="1468" y="317"/>
                  <a:pt x="1469" y="317"/>
                </a:cubicBezTo>
                <a:cubicBezTo>
                  <a:pt x="1475" y="314"/>
                  <a:pt x="1483" y="319"/>
                  <a:pt x="1489" y="315"/>
                </a:cubicBezTo>
                <a:cubicBezTo>
                  <a:pt x="1490" y="314"/>
                  <a:pt x="1491" y="314"/>
                  <a:pt x="1491" y="315"/>
                </a:cubicBezTo>
                <a:cubicBezTo>
                  <a:pt x="1498" y="317"/>
                  <a:pt x="1504" y="320"/>
                  <a:pt x="1510" y="324"/>
                </a:cubicBezTo>
                <a:cubicBezTo>
                  <a:pt x="1515" y="328"/>
                  <a:pt x="1520" y="332"/>
                  <a:pt x="1524" y="335"/>
                </a:cubicBezTo>
                <a:cubicBezTo>
                  <a:pt x="1526" y="337"/>
                  <a:pt x="1528" y="339"/>
                  <a:pt x="1529" y="340"/>
                </a:cubicBezTo>
                <a:cubicBezTo>
                  <a:pt x="1529" y="342"/>
                  <a:pt x="1530" y="343"/>
                  <a:pt x="1530" y="345"/>
                </a:cubicBezTo>
                <a:cubicBezTo>
                  <a:pt x="1529" y="348"/>
                  <a:pt x="1529" y="350"/>
                  <a:pt x="1527" y="353"/>
                </a:cubicBezTo>
                <a:cubicBezTo>
                  <a:pt x="1524" y="357"/>
                  <a:pt x="1526" y="361"/>
                  <a:pt x="1529" y="365"/>
                </a:cubicBezTo>
                <a:cubicBezTo>
                  <a:pt x="1530" y="366"/>
                  <a:pt x="1531" y="369"/>
                  <a:pt x="1531" y="371"/>
                </a:cubicBezTo>
                <a:cubicBezTo>
                  <a:pt x="1532" y="373"/>
                  <a:pt x="1532" y="376"/>
                  <a:pt x="1529" y="378"/>
                </a:cubicBezTo>
                <a:cubicBezTo>
                  <a:pt x="1528" y="379"/>
                  <a:pt x="1527" y="380"/>
                  <a:pt x="1529" y="381"/>
                </a:cubicBezTo>
                <a:cubicBezTo>
                  <a:pt x="1530" y="381"/>
                  <a:pt x="1532" y="382"/>
                  <a:pt x="1533" y="382"/>
                </a:cubicBezTo>
                <a:cubicBezTo>
                  <a:pt x="1535" y="383"/>
                  <a:pt x="1536" y="385"/>
                  <a:pt x="1535" y="386"/>
                </a:cubicBezTo>
                <a:cubicBezTo>
                  <a:pt x="1535" y="387"/>
                  <a:pt x="1534" y="388"/>
                  <a:pt x="1533" y="389"/>
                </a:cubicBezTo>
                <a:cubicBezTo>
                  <a:pt x="1531" y="391"/>
                  <a:pt x="1531" y="393"/>
                  <a:pt x="1533" y="396"/>
                </a:cubicBezTo>
                <a:cubicBezTo>
                  <a:pt x="1534" y="396"/>
                  <a:pt x="1534" y="398"/>
                  <a:pt x="1534" y="399"/>
                </a:cubicBezTo>
                <a:cubicBezTo>
                  <a:pt x="1534" y="400"/>
                  <a:pt x="1532" y="402"/>
                  <a:pt x="1532" y="403"/>
                </a:cubicBezTo>
                <a:cubicBezTo>
                  <a:pt x="1532" y="405"/>
                  <a:pt x="1534" y="407"/>
                  <a:pt x="1534" y="409"/>
                </a:cubicBezTo>
                <a:cubicBezTo>
                  <a:pt x="1535" y="412"/>
                  <a:pt x="1535" y="416"/>
                  <a:pt x="1536" y="419"/>
                </a:cubicBezTo>
                <a:cubicBezTo>
                  <a:pt x="1537" y="422"/>
                  <a:pt x="1536" y="425"/>
                  <a:pt x="1534" y="428"/>
                </a:cubicBezTo>
                <a:cubicBezTo>
                  <a:pt x="1534" y="429"/>
                  <a:pt x="1534" y="430"/>
                  <a:pt x="1534" y="431"/>
                </a:cubicBezTo>
                <a:cubicBezTo>
                  <a:pt x="1535" y="432"/>
                  <a:pt x="1536" y="432"/>
                  <a:pt x="1537" y="433"/>
                </a:cubicBezTo>
                <a:cubicBezTo>
                  <a:pt x="1539" y="436"/>
                  <a:pt x="1538" y="438"/>
                  <a:pt x="1534" y="439"/>
                </a:cubicBezTo>
                <a:cubicBezTo>
                  <a:pt x="1532" y="439"/>
                  <a:pt x="1530" y="439"/>
                  <a:pt x="1529" y="441"/>
                </a:cubicBezTo>
                <a:cubicBezTo>
                  <a:pt x="1528" y="442"/>
                  <a:pt x="1528" y="443"/>
                  <a:pt x="1529" y="444"/>
                </a:cubicBezTo>
                <a:cubicBezTo>
                  <a:pt x="1530" y="445"/>
                  <a:pt x="1534" y="445"/>
                  <a:pt x="1530" y="447"/>
                </a:cubicBezTo>
                <a:cubicBezTo>
                  <a:pt x="1526" y="449"/>
                  <a:pt x="1526" y="453"/>
                  <a:pt x="1526" y="457"/>
                </a:cubicBezTo>
                <a:cubicBezTo>
                  <a:pt x="1527" y="457"/>
                  <a:pt x="1528" y="458"/>
                  <a:pt x="1529" y="458"/>
                </a:cubicBezTo>
                <a:cubicBezTo>
                  <a:pt x="1529" y="458"/>
                  <a:pt x="1529" y="458"/>
                  <a:pt x="1529" y="458"/>
                </a:cubicBezTo>
                <a:cubicBezTo>
                  <a:pt x="1530" y="457"/>
                  <a:pt x="1530" y="457"/>
                  <a:pt x="1530" y="457"/>
                </a:cubicBezTo>
                <a:cubicBezTo>
                  <a:pt x="1529" y="458"/>
                  <a:pt x="1529" y="458"/>
                  <a:pt x="1529" y="458"/>
                </a:cubicBezTo>
                <a:cubicBezTo>
                  <a:pt x="1529" y="458"/>
                  <a:pt x="1529" y="458"/>
                  <a:pt x="1529" y="458"/>
                </a:cubicBezTo>
                <a:cubicBezTo>
                  <a:pt x="1528" y="459"/>
                  <a:pt x="1527" y="460"/>
                  <a:pt x="1526" y="461"/>
                </a:cubicBezTo>
                <a:cubicBezTo>
                  <a:pt x="1525" y="461"/>
                  <a:pt x="1525" y="460"/>
                  <a:pt x="1525" y="460"/>
                </a:cubicBezTo>
                <a:cubicBezTo>
                  <a:pt x="1525" y="461"/>
                  <a:pt x="1525" y="461"/>
                  <a:pt x="1525" y="461"/>
                </a:cubicBezTo>
                <a:cubicBezTo>
                  <a:pt x="1526" y="461"/>
                  <a:pt x="1526" y="461"/>
                  <a:pt x="1526" y="461"/>
                </a:cubicBezTo>
                <a:cubicBezTo>
                  <a:pt x="1525" y="465"/>
                  <a:pt x="1523" y="469"/>
                  <a:pt x="1520" y="472"/>
                </a:cubicBezTo>
                <a:cubicBezTo>
                  <a:pt x="1518" y="474"/>
                  <a:pt x="1519" y="477"/>
                  <a:pt x="1521" y="479"/>
                </a:cubicBezTo>
                <a:cubicBezTo>
                  <a:pt x="1526" y="486"/>
                  <a:pt x="1532" y="486"/>
                  <a:pt x="1537" y="480"/>
                </a:cubicBezTo>
                <a:cubicBezTo>
                  <a:pt x="1538" y="479"/>
                  <a:pt x="1539" y="478"/>
                  <a:pt x="1540" y="476"/>
                </a:cubicBezTo>
                <a:cubicBezTo>
                  <a:pt x="1542" y="475"/>
                  <a:pt x="1544" y="475"/>
                  <a:pt x="1546" y="476"/>
                </a:cubicBezTo>
                <a:cubicBezTo>
                  <a:pt x="1547" y="476"/>
                  <a:pt x="1548" y="476"/>
                  <a:pt x="1548" y="477"/>
                </a:cubicBezTo>
                <a:cubicBezTo>
                  <a:pt x="1548" y="477"/>
                  <a:pt x="1548" y="477"/>
                  <a:pt x="1548" y="477"/>
                </a:cubicBezTo>
                <a:cubicBezTo>
                  <a:pt x="1548" y="477"/>
                  <a:pt x="1549" y="477"/>
                  <a:pt x="1549" y="477"/>
                </a:cubicBezTo>
                <a:cubicBezTo>
                  <a:pt x="1548" y="477"/>
                  <a:pt x="1548" y="477"/>
                  <a:pt x="1548" y="477"/>
                </a:cubicBezTo>
                <a:cubicBezTo>
                  <a:pt x="1549" y="477"/>
                  <a:pt x="1551" y="478"/>
                  <a:pt x="1551" y="478"/>
                </a:cubicBezTo>
                <a:cubicBezTo>
                  <a:pt x="1552" y="480"/>
                  <a:pt x="1550" y="480"/>
                  <a:pt x="1549" y="481"/>
                </a:cubicBezTo>
                <a:cubicBezTo>
                  <a:pt x="1547" y="483"/>
                  <a:pt x="1545" y="486"/>
                  <a:pt x="1543" y="488"/>
                </a:cubicBezTo>
                <a:cubicBezTo>
                  <a:pt x="1542" y="490"/>
                  <a:pt x="1543" y="491"/>
                  <a:pt x="1544" y="492"/>
                </a:cubicBezTo>
                <a:cubicBezTo>
                  <a:pt x="1546" y="493"/>
                  <a:pt x="1547" y="493"/>
                  <a:pt x="1548" y="494"/>
                </a:cubicBezTo>
                <a:cubicBezTo>
                  <a:pt x="1551" y="495"/>
                  <a:pt x="1551" y="497"/>
                  <a:pt x="1550" y="500"/>
                </a:cubicBezTo>
                <a:cubicBezTo>
                  <a:pt x="1550" y="501"/>
                  <a:pt x="1549" y="502"/>
                  <a:pt x="1548" y="503"/>
                </a:cubicBezTo>
                <a:cubicBezTo>
                  <a:pt x="1548" y="503"/>
                  <a:pt x="1548" y="503"/>
                  <a:pt x="1548" y="503"/>
                </a:cubicBezTo>
                <a:cubicBezTo>
                  <a:pt x="1549" y="504"/>
                  <a:pt x="1549" y="504"/>
                  <a:pt x="1549" y="504"/>
                </a:cubicBezTo>
                <a:cubicBezTo>
                  <a:pt x="1553" y="504"/>
                  <a:pt x="1555" y="506"/>
                  <a:pt x="1556" y="510"/>
                </a:cubicBezTo>
                <a:cubicBezTo>
                  <a:pt x="1556" y="511"/>
                  <a:pt x="1555" y="511"/>
                  <a:pt x="1555" y="512"/>
                </a:cubicBezTo>
                <a:cubicBezTo>
                  <a:pt x="1554" y="512"/>
                  <a:pt x="1553" y="512"/>
                  <a:pt x="1553" y="512"/>
                </a:cubicBezTo>
                <a:cubicBezTo>
                  <a:pt x="1552" y="509"/>
                  <a:pt x="1550" y="507"/>
                  <a:pt x="1549" y="504"/>
                </a:cubicBezTo>
                <a:cubicBezTo>
                  <a:pt x="1549" y="504"/>
                  <a:pt x="1548" y="504"/>
                  <a:pt x="1548" y="504"/>
                </a:cubicBezTo>
                <a:cubicBezTo>
                  <a:pt x="1548" y="504"/>
                  <a:pt x="1548" y="504"/>
                  <a:pt x="1548" y="503"/>
                </a:cubicBezTo>
                <a:cubicBezTo>
                  <a:pt x="1544" y="503"/>
                  <a:pt x="1540" y="502"/>
                  <a:pt x="1536" y="501"/>
                </a:cubicBezTo>
                <a:cubicBezTo>
                  <a:pt x="1533" y="500"/>
                  <a:pt x="1531" y="499"/>
                  <a:pt x="1528" y="499"/>
                </a:cubicBezTo>
                <a:cubicBezTo>
                  <a:pt x="1525" y="498"/>
                  <a:pt x="1522" y="501"/>
                  <a:pt x="1522" y="505"/>
                </a:cubicBezTo>
                <a:cubicBezTo>
                  <a:pt x="1522" y="505"/>
                  <a:pt x="1522" y="506"/>
                  <a:pt x="1522" y="506"/>
                </a:cubicBezTo>
                <a:cubicBezTo>
                  <a:pt x="1523" y="508"/>
                  <a:pt x="1524" y="510"/>
                  <a:pt x="1523" y="511"/>
                </a:cubicBezTo>
                <a:cubicBezTo>
                  <a:pt x="1522" y="512"/>
                  <a:pt x="1520" y="513"/>
                  <a:pt x="1519" y="513"/>
                </a:cubicBezTo>
                <a:cubicBezTo>
                  <a:pt x="1517" y="514"/>
                  <a:pt x="1515" y="516"/>
                  <a:pt x="1515" y="518"/>
                </a:cubicBezTo>
                <a:cubicBezTo>
                  <a:pt x="1514" y="521"/>
                  <a:pt x="1513" y="524"/>
                  <a:pt x="1513" y="528"/>
                </a:cubicBezTo>
                <a:cubicBezTo>
                  <a:pt x="1513" y="534"/>
                  <a:pt x="1516" y="539"/>
                  <a:pt x="1521" y="543"/>
                </a:cubicBezTo>
                <a:cubicBezTo>
                  <a:pt x="1522" y="543"/>
                  <a:pt x="1522" y="543"/>
                  <a:pt x="1523" y="543"/>
                </a:cubicBezTo>
                <a:cubicBezTo>
                  <a:pt x="1529" y="544"/>
                  <a:pt x="1535" y="544"/>
                  <a:pt x="1540" y="541"/>
                </a:cubicBezTo>
                <a:cubicBezTo>
                  <a:pt x="1543" y="540"/>
                  <a:pt x="1544" y="535"/>
                  <a:pt x="1542" y="532"/>
                </a:cubicBezTo>
                <a:cubicBezTo>
                  <a:pt x="1542" y="531"/>
                  <a:pt x="1540" y="530"/>
                  <a:pt x="1539" y="529"/>
                </a:cubicBezTo>
                <a:cubicBezTo>
                  <a:pt x="1536" y="527"/>
                  <a:pt x="1536" y="524"/>
                  <a:pt x="1536" y="521"/>
                </a:cubicBezTo>
                <a:cubicBezTo>
                  <a:pt x="1535" y="521"/>
                  <a:pt x="1535" y="521"/>
                  <a:pt x="1535" y="521"/>
                </a:cubicBezTo>
                <a:cubicBezTo>
                  <a:pt x="1535" y="520"/>
                  <a:pt x="1535" y="520"/>
                  <a:pt x="1535" y="520"/>
                </a:cubicBezTo>
                <a:cubicBezTo>
                  <a:pt x="1535" y="520"/>
                  <a:pt x="1535" y="520"/>
                  <a:pt x="1535" y="520"/>
                </a:cubicBezTo>
                <a:cubicBezTo>
                  <a:pt x="1535" y="520"/>
                  <a:pt x="1535" y="521"/>
                  <a:pt x="1536" y="521"/>
                </a:cubicBezTo>
                <a:cubicBezTo>
                  <a:pt x="1543" y="524"/>
                  <a:pt x="1549" y="529"/>
                  <a:pt x="1558" y="529"/>
                </a:cubicBezTo>
                <a:cubicBezTo>
                  <a:pt x="1559" y="529"/>
                  <a:pt x="1560" y="531"/>
                  <a:pt x="1559" y="532"/>
                </a:cubicBezTo>
                <a:cubicBezTo>
                  <a:pt x="1558" y="534"/>
                  <a:pt x="1557" y="535"/>
                  <a:pt x="1555" y="537"/>
                </a:cubicBezTo>
                <a:cubicBezTo>
                  <a:pt x="1555" y="537"/>
                  <a:pt x="1555" y="536"/>
                  <a:pt x="1555" y="536"/>
                </a:cubicBezTo>
                <a:cubicBezTo>
                  <a:pt x="1555" y="537"/>
                  <a:pt x="1555" y="537"/>
                  <a:pt x="1555" y="537"/>
                </a:cubicBezTo>
                <a:cubicBezTo>
                  <a:pt x="1555" y="537"/>
                  <a:pt x="1555" y="537"/>
                  <a:pt x="1555" y="537"/>
                </a:cubicBezTo>
                <a:cubicBezTo>
                  <a:pt x="1554" y="539"/>
                  <a:pt x="1554" y="541"/>
                  <a:pt x="1553" y="543"/>
                </a:cubicBezTo>
                <a:cubicBezTo>
                  <a:pt x="1552" y="544"/>
                  <a:pt x="1552" y="546"/>
                  <a:pt x="1552" y="547"/>
                </a:cubicBezTo>
                <a:cubicBezTo>
                  <a:pt x="1553" y="550"/>
                  <a:pt x="1553" y="551"/>
                  <a:pt x="1550" y="551"/>
                </a:cubicBezTo>
                <a:cubicBezTo>
                  <a:pt x="1548" y="551"/>
                  <a:pt x="1546" y="551"/>
                  <a:pt x="1546" y="553"/>
                </a:cubicBezTo>
                <a:cubicBezTo>
                  <a:pt x="1545" y="560"/>
                  <a:pt x="1541" y="564"/>
                  <a:pt x="1533" y="562"/>
                </a:cubicBezTo>
                <a:cubicBezTo>
                  <a:pt x="1531" y="562"/>
                  <a:pt x="1528" y="563"/>
                  <a:pt x="1526" y="563"/>
                </a:cubicBezTo>
                <a:cubicBezTo>
                  <a:pt x="1526" y="567"/>
                  <a:pt x="1527" y="570"/>
                  <a:pt x="1528" y="573"/>
                </a:cubicBezTo>
                <a:cubicBezTo>
                  <a:pt x="1528" y="573"/>
                  <a:pt x="1528" y="573"/>
                  <a:pt x="1529" y="573"/>
                </a:cubicBezTo>
                <a:cubicBezTo>
                  <a:pt x="1529" y="573"/>
                  <a:pt x="1529" y="573"/>
                  <a:pt x="1529" y="573"/>
                </a:cubicBezTo>
                <a:cubicBezTo>
                  <a:pt x="1528" y="573"/>
                  <a:pt x="1528" y="573"/>
                  <a:pt x="1528" y="573"/>
                </a:cubicBezTo>
                <a:cubicBezTo>
                  <a:pt x="1528" y="573"/>
                  <a:pt x="1528" y="573"/>
                  <a:pt x="1528" y="573"/>
                </a:cubicBezTo>
                <a:cubicBezTo>
                  <a:pt x="1527" y="572"/>
                  <a:pt x="1525" y="572"/>
                  <a:pt x="1524" y="572"/>
                </a:cubicBezTo>
                <a:cubicBezTo>
                  <a:pt x="1521" y="572"/>
                  <a:pt x="1521" y="572"/>
                  <a:pt x="1519" y="574"/>
                </a:cubicBezTo>
                <a:cubicBezTo>
                  <a:pt x="1518" y="576"/>
                  <a:pt x="1518" y="578"/>
                  <a:pt x="1517" y="579"/>
                </a:cubicBezTo>
                <a:cubicBezTo>
                  <a:pt x="1515" y="581"/>
                  <a:pt x="1512" y="583"/>
                  <a:pt x="1511" y="586"/>
                </a:cubicBezTo>
                <a:cubicBezTo>
                  <a:pt x="1510" y="589"/>
                  <a:pt x="1509" y="592"/>
                  <a:pt x="1508" y="595"/>
                </a:cubicBezTo>
                <a:cubicBezTo>
                  <a:pt x="1506" y="596"/>
                  <a:pt x="1506" y="599"/>
                  <a:pt x="1506" y="601"/>
                </a:cubicBezTo>
                <a:cubicBezTo>
                  <a:pt x="1506" y="603"/>
                  <a:pt x="1506" y="605"/>
                  <a:pt x="1508" y="607"/>
                </a:cubicBezTo>
                <a:cubicBezTo>
                  <a:pt x="1509" y="608"/>
                  <a:pt x="1510" y="608"/>
                  <a:pt x="1512" y="609"/>
                </a:cubicBezTo>
                <a:cubicBezTo>
                  <a:pt x="1512" y="609"/>
                  <a:pt x="1512" y="609"/>
                  <a:pt x="1512" y="609"/>
                </a:cubicBezTo>
                <a:cubicBezTo>
                  <a:pt x="1512" y="609"/>
                  <a:pt x="1513" y="609"/>
                  <a:pt x="1513" y="609"/>
                </a:cubicBezTo>
                <a:cubicBezTo>
                  <a:pt x="1513" y="608"/>
                  <a:pt x="1514" y="608"/>
                  <a:pt x="1514" y="608"/>
                </a:cubicBezTo>
                <a:cubicBezTo>
                  <a:pt x="1514" y="608"/>
                  <a:pt x="1515" y="608"/>
                  <a:pt x="1515" y="608"/>
                </a:cubicBezTo>
                <a:cubicBezTo>
                  <a:pt x="1514" y="608"/>
                  <a:pt x="1514" y="609"/>
                  <a:pt x="1513" y="609"/>
                </a:cubicBezTo>
                <a:cubicBezTo>
                  <a:pt x="1513" y="609"/>
                  <a:pt x="1512" y="609"/>
                  <a:pt x="1512" y="610"/>
                </a:cubicBezTo>
                <a:cubicBezTo>
                  <a:pt x="1512" y="610"/>
                  <a:pt x="1512" y="609"/>
                  <a:pt x="1512" y="609"/>
                </a:cubicBezTo>
                <a:cubicBezTo>
                  <a:pt x="1509" y="612"/>
                  <a:pt x="1507" y="614"/>
                  <a:pt x="1505" y="616"/>
                </a:cubicBezTo>
                <a:cubicBezTo>
                  <a:pt x="1502" y="619"/>
                  <a:pt x="1501" y="623"/>
                  <a:pt x="1504" y="627"/>
                </a:cubicBezTo>
                <a:cubicBezTo>
                  <a:pt x="1506" y="629"/>
                  <a:pt x="1507" y="631"/>
                  <a:pt x="1507" y="634"/>
                </a:cubicBezTo>
                <a:cubicBezTo>
                  <a:pt x="1506" y="636"/>
                  <a:pt x="1507" y="638"/>
                  <a:pt x="1508" y="640"/>
                </a:cubicBezTo>
                <a:cubicBezTo>
                  <a:pt x="1510" y="648"/>
                  <a:pt x="1511" y="655"/>
                  <a:pt x="1511" y="663"/>
                </a:cubicBezTo>
                <a:cubicBezTo>
                  <a:pt x="1511" y="664"/>
                  <a:pt x="1511" y="665"/>
                  <a:pt x="1511" y="666"/>
                </a:cubicBezTo>
                <a:cubicBezTo>
                  <a:pt x="1511" y="668"/>
                  <a:pt x="1513" y="670"/>
                  <a:pt x="1514" y="669"/>
                </a:cubicBezTo>
                <a:cubicBezTo>
                  <a:pt x="1518" y="668"/>
                  <a:pt x="1521" y="667"/>
                  <a:pt x="1524" y="666"/>
                </a:cubicBezTo>
                <a:cubicBezTo>
                  <a:pt x="1525" y="666"/>
                  <a:pt x="1525" y="666"/>
                  <a:pt x="1525" y="665"/>
                </a:cubicBezTo>
                <a:cubicBezTo>
                  <a:pt x="1525" y="665"/>
                  <a:pt x="1525" y="665"/>
                  <a:pt x="1526" y="665"/>
                </a:cubicBezTo>
                <a:cubicBezTo>
                  <a:pt x="1526" y="665"/>
                  <a:pt x="1527" y="664"/>
                  <a:pt x="1527" y="664"/>
                </a:cubicBezTo>
                <a:cubicBezTo>
                  <a:pt x="1527" y="665"/>
                  <a:pt x="1527" y="665"/>
                  <a:pt x="1526" y="665"/>
                </a:cubicBezTo>
                <a:cubicBezTo>
                  <a:pt x="1526" y="665"/>
                  <a:pt x="1525" y="666"/>
                  <a:pt x="1525" y="666"/>
                </a:cubicBezTo>
                <a:cubicBezTo>
                  <a:pt x="1525" y="666"/>
                  <a:pt x="1525" y="666"/>
                  <a:pt x="1524" y="666"/>
                </a:cubicBezTo>
                <a:cubicBezTo>
                  <a:pt x="1523" y="669"/>
                  <a:pt x="1520" y="671"/>
                  <a:pt x="1517" y="673"/>
                </a:cubicBezTo>
                <a:cubicBezTo>
                  <a:pt x="1513" y="676"/>
                  <a:pt x="1513" y="680"/>
                  <a:pt x="1514" y="683"/>
                </a:cubicBezTo>
                <a:cubicBezTo>
                  <a:pt x="1515" y="688"/>
                  <a:pt x="1515" y="694"/>
                  <a:pt x="1519" y="699"/>
                </a:cubicBezTo>
                <a:cubicBezTo>
                  <a:pt x="1519" y="699"/>
                  <a:pt x="1519" y="699"/>
                  <a:pt x="1519" y="699"/>
                </a:cubicBezTo>
                <a:cubicBezTo>
                  <a:pt x="1519" y="699"/>
                  <a:pt x="1519" y="699"/>
                  <a:pt x="1519" y="699"/>
                </a:cubicBezTo>
                <a:cubicBezTo>
                  <a:pt x="1519" y="699"/>
                  <a:pt x="1519" y="699"/>
                  <a:pt x="1519" y="699"/>
                </a:cubicBezTo>
                <a:cubicBezTo>
                  <a:pt x="1519" y="699"/>
                  <a:pt x="1519" y="699"/>
                  <a:pt x="1519" y="699"/>
                </a:cubicBezTo>
                <a:cubicBezTo>
                  <a:pt x="1520" y="700"/>
                  <a:pt x="1520" y="702"/>
                  <a:pt x="1522" y="703"/>
                </a:cubicBezTo>
                <a:cubicBezTo>
                  <a:pt x="1524" y="705"/>
                  <a:pt x="1525" y="707"/>
                  <a:pt x="1524" y="710"/>
                </a:cubicBezTo>
                <a:cubicBezTo>
                  <a:pt x="1523" y="711"/>
                  <a:pt x="1522" y="713"/>
                  <a:pt x="1524" y="715"/>
                </a:cubicBezTo>
                <a:cubicBezTo>
                  <a:pt x="1527" y="718"/>
                  <a:pt x="1527" y="723"/>
                  <a:pt x="1528" y="727"/>
                </a:cubicBezTo>
                <a:cubicBezTo>
                  <a:pt x="1530" y="729"/>
                  <a:pt x="1529" y="732"/>
                  <a:pt x="1528" y="734"/>
                </a:cubicBezTo>
                <a:cubicBezTo>
                  <a:pt x="1528" y="735"/>
                  <a:pt x="1528" y="737"/>
                  <a:pt x="1528" y="737"/>
                </a:cubicBezTo>
                <a:cubicBezTo>
                  <a:pt x="1530" y="740"/>
                  <a:pt x="1532" y="742"/>
                  <a:pt x="1535" y="745"/>
                </a:cubicBezTo>
                <a:cubicBezTo>
                  <a:pt x="1540" y="745"/>
                  <a:pt x="1542" y="748"/>
                  <a:pt x="1542" y="754"/>
                </a:cubicBezTo>
                <a:cubicBezTo>
                  <a:pt x="1542" y="754"/>
                  <a:pt x="1544" y="755"/>
                  <a:pt x="1544" y="755"/>
                </a:cubicBezTo>
                <a:cubicBezTo>
                  <a:pt x="1548" y="754"/>
                  <a:pt x="1551" y="754"/>
                  <a:pt x="1554" y="753"/>
                </a:cubicBezTo>
                <a:cubicBezTo>
                  <a:pt x="1556" y="752"/>
                  <a:pt x="1557" y="752"/>
                  <a:pt x="1559" y="751"/>
                </a:cubicBezTo>
                <a:cubicBezTo>
                  <a:pt x="1562" y="750"/>
                  <a:pt x="1565" y="752"/>
                  <a:pt x="1565" y="754"/>
                </a:cubicBezTo>
                <a:cubicBezTo>
                  <a:pt x="1565" y="759"/>
                  <a:pt x="1566" y="763"/>
                  <a:pt x="1570" y="766"/>
                </a:cubicBezTo>
                <a:cubicBezTo>
                  <a:pt x="1571" y="767"/>
                  <a:pt x="1571" y="769"/>
                  <a:pt x="1573" y="770"/>
                </a:cubicBezTo>
                <a:cubicBezTo>
                  <a:pt x="1574" y="771"/>
                  <a:pt x="1575" y="773"/>
                  <a:pt x="1576" y="772"/>
                </a:cubicBezTo>
                <a:cubicBezTo>
                  <a:pt x="1580" y="772"/>
                  <a:pt x="1584" y="774"/>
                  <a:pt x="1588" y="774"/>
                </a:cubicBezTo>
                <a:cubicBezTo>
                  <a:pt x="1590" y="775"/>
                  <a:pt x="1593" y="773"/>
                  <a:pt x="1594" y="771"/>
                </a:cubicBezTo>
                <a:cubicBezTo>
                  <a:pt x="1598" y="765"/>
                  <a:pt x="1598" y="757"/>
                  <a:pt x="1602" y="751"/>
                </a:cubicBezTo>
                <a:cubicBezTo>
                  <a:pt x="1602" y="746"/>
                  <a:pt x="1605" y="742"/>
                  <a:pt x="1608" y="738"/>
                </a:cubicBezTo>
                <a:cubicBezTo>
                  <a:pt x="1610" y="735"/>
                  <a:pt x="1612" y="732"/>
                  <a:pt x="1612" y="728"/>
                </a:cubicBezTo>
                <a:cubicBezTo>
                  <a:pt x="1613" y="725"/>
                  <a:pt x="1614" y="722"/>
                  <a:pt x="1615" y="719"/>
                </a:cubicBezTo>
                <a:cubicBezTo>
                  <a:pt x="1615" y="719"/>
                  <a:pt x="1615" y="719"/>
                  <a:pt x="1615" y="719"/>
                </a:cubicBezTo>
                <a:cubicBezTo>
                  <a:pt x="1615" y="719"/>
                  <a:pt x="1614" y="718"/>
                  <a:pt x="1614" y="718"/>
                </a:cubicBezTo>
                <a:cubicBezTo>
                  <a:pt x="1614" y="718"/>
                  <a:pt x="1613" y="718"/>
                  <a:pt x="1612" y="717"/>
                </a:cubicBezTo>
                <a:cubicBezTo>
                  <a:pt x="1612" y="717"/>
                  <a:pt x="1612" y="717"/>
                  <a:pt x="1612" y="716"/>
                </a:cubicBezTo>
                <a:cubicBezTo>
                  <a:pt x="1612" y="715"/>
                  <a:pt x="1613" y="715"/>
                  <a:pt x="1613" y="716"/>
                </a:cubicBezTo>
                <a:cubicBezTo>
                  <a:pt x="1614" y="717"/>
                  <a:pt x="1614" y="717"/>
                  <a:pt x="1614" y="718"/>
                </a:cubicBezTo>
                <a:cubicBezTo>
                  <a:pt x="1615" y="718"/>
                  <a:pt x="1615" y="718"/>
                  <a:pt x="1615" y="718"/>
                </a:cubicBezTo>
                <a:cubicBezTo>
                  <a:pt x="1615" y="719"/>
                  <a:pt x="1615" y="719"/>
                  <a:pt x="1615" y="719"/>
                </a:cubicBezTo>
                <a:cubicBezTo>
                  <a:pt x="1618" y="717"/>
                  <a:pt x="1621" y="715"/>
                  <a:pt x="1622" y="712"/>
                </a:cubicBezTo>
                <a:cubicBezTo>
                  <a:pt x="1624" y="706"/>
                  <a:pt x="1627" y="702"/>
                  <a:pt x="1632" y="698"/>
                </a:cubicBezTo>
                <a:cubicBezTo>
                  <a:pt x="1637" y="694"/>
                  <a:pt x="1639" y="688"/>
                  <a:pt x="1637" y="682"/>
                </a:cubicBezTo>
                <a:cubicBezTo>
                  <a:pt x="1635" y="679"/>
                  <a:pt x="1637" y="678"/>
                  <a:pt x="1639" y="677"/>
                </a:cubicBezTo>
                <a:cubicBezTo>
                  <a:pt x="1640" y="676"/>
                  <a:pt x="1641" y="675"/>
                  <a:pt x="1642" y="675"/>
                </a:cubicBezTo>
                <a:cubicBezTo>
                  <a:pt x="1643" y="674"/>
                  <a:pt x="1643" y="672"/>
                  <a:pt x="1643" y="670"/>
                </a:cubicBezTo>
                <a:cubicBezTo>
                  <a:pt x="1643" y="669"/>
                  <a:pt x="1642" y="668"/>
                  <a:pt x="1642" y="667"/>
                </a:cubicBezTo>
                <a:cubicBezTo>
                  <a:pt x="1640" y="663"/>
                  <a:pt x="1640" y="663"/>
                  <a:pt x="1644" y="663"/>
                </a:cubicBezTo>
                <a:cubicBezTo>
                  <a:pt x="1647" y="662"/>
                  <a:pt x="1650" y="662"/>
                  <a:pt x="1651" y="659"/>
                </a:cubicBezTo>
                <a:cubicBezTo>
                  <a:pt x="1652" y="655"/>
                  <a:pt x="1655" y="652"/>
                  <a:pt x="1660" y="653"/>
                </a:cubicBezTo>
                <a:cubicBezTo>
                  <a:pt x="1666" y="654"/>
                  <a:pt x="1671" y="650"/>
                  <a:pt x="1677" y="652"/>
                </a:cubicBezTo>
                <a:cubicBezTo>
                  <a:pt x="1679" y="652"/>
                  <a:pt x="1680" y="651"/>
                  <a:pt x="1682" y="650"/>
                </a:cubicBezTo>
                <a:cubicBezTo>
                  <a:pt x="1683" y="649"/>
                  <a:pt x="1684" y="647"/>
                  <a:pt x="1686" y="647"/>
                </a:cubicBezTo>
                <a:cubicBezTo>
                  <a:pt x="1694" y="646"/>
                  <a:pt x="1701" y="644"/>
                  <a:pt x="1708" y="638"/>
                </a:cubicBezTo>
                <a:cubicBezTo>
                  <a:pt x="1708" y="637"/>
                  <a:pt x="1710" y="637"/>
                  <a:pt x="1711" y="637"/>
                </a:cubicBezTo>
                <a:cubicBezTo>
                  <a:pt x="1716" y="635"/>
                  <a:pt x="1720" y="632"/>
                  <a:pt x="1722" y="628"/>
                </a:cubicBezTo>
                <a:cubicBezTo>
                  <a:pt x="1725" y="621"/>
                  <a:pt x="1732" y="617"/>
                  <a:pt x="1735" y="611"/>
                </a:cubicBezTo>
                <a:cubicBezTo>
                  <a:pt x="1739" y="604"/>
                  <a:pt x="1747" y="603"/>
                  <a:pt x="1751" y="597"/>
                </a:cubicBezTo>
                <a:cubicBezTo>
                  <a:pt x="1755" y="595"/>
                  <a:pt x="1759" y="597"/>
                  <a:pt x="1762" y="596"/>
                </a:cubicBezTo>
                <a:cubicBezTo>
                  <a:pt x="1765" y="596"/>
                  <a:pt x="1767" y="595"/>
                  <a:pt x="1769" y="594"/>
                </a:cubicBezTo>
                <a:cubicBezTo>
                  <a:pt x="1770" y="594"/>
                  <a:pt x="1772" y="593"/>
                  <a:pt x="1773" y="593"/>
                </a:cubicBezTo>
                <a:cubicBezTo>
                  <a:pt x="1777" y="594"/>
                  <a:pt x="1780" y="593"/>
                  <a:pt x="1783" y="592"/>
                </a:cubicBezTo>
                <a:cubicBezTo>
                  <a:pt x="1788" y="589"/>
                  <a:pt x="1794" y="588"/>
                  <a:pt x="1800" y="587"/>
                </a:cubicBezTo>
                <a:cubicBezTo>
                  <a:pt x="1810" y="585"/>
                  <a:pt x="1819" y="582"/>
                  <a:pt x="1827" y="575"/>
                </a:cubicBezTo>
                <a:cubicBezTo>
                  <a:pt x="1838" y="567"/>
                  <a:pt x="1849" y="560"/>
                  <a:pt x="1859" y="552"/>
                </a:cubicBezTo>
                <a:close/>
                <a:moveTo>
                  <a:pt x="1934" y="219"/>
                </a:moveTo>
                <a:cubicBezTo>
                  <a:pt x="1934" y="219"/>
                  <a:pt x="1935" y="219"/>
                  <a:pt x="1935" y="219"/>
                </a:cubicBezTo>
                <a:cubicBezTo>
                  <a:pt x="1935" y="219"/>
                  <a:pt x="1936" y="219"/>
                  <a:pt x="1936" y="220"/>
                </a:cubicBezTo>
                <a:cubicBezTo>
                  <a:pt x="1937" y="221"/>
                  <a:pt x="1936" y="221"/>
                  <a:pt x="1935" y="221"/>
                </a:cubicBezTo>
                <a:cubicBezTo>
                  <a:pt x="1934" y="221"/>
                  <a:pt x="1934" y="221"/>
                  <a:pt x="1934" y="221"/>
                </a:cubicBezTo>
                <a:cubicBezTo>
                  <a:pt x="1933" y="220"/>
                  <a:pt x="1934" y="219"/>
                  <a:pt x="1934" y="219"/>
                </a:cubicBezTo>
                <a:close/>
                <a:moveTo>
                  <a:pt x="1922" y="224"/>
                </a:moveTo>
                <a:cubicBezTo>
                  <a:pt x="1922" y="223"/>
                  <a:pt x="1923" y="223"/>
                  <a:pt x="1924" y="222"/>
                </a:cubicBezTo>
                <a:cubicBezTo>
                  <a:pt x="1925" y="222"/>
                  <a:pt x="1925" y="223"/>
                  <a:pt x="1926" y="223"/>
                </a:cubicBezTo>
                <a:cubicBezTo>
                  <a:pt x="1927" y="224"/>
                  <a:pt x="1927" y="225"/>
                  <a:pt x="1926" y="226"/>
                </a:cubicBezTo>
                <a:cubicBezTo>
                  <a:pt x="1925" y="227"/>
                  <a:pt x="1924" y="227"/>
                  <a:pt x="1923" y="228"/>
                </a:cubicBezTo>
                <a:cubicBezTo>
                  <a:pt x="1922" y="228"/>
                  <a:pt x="1921" y="226"/>
                  <a:pt x="1922" y="224"/>
                </a:cubicBezTo>
                <a:close/>
                <a:moveTo>
                  <a:pt x="1674" y="645"/>
                </a:moveTo>
                <a:cubicBezTo>
                  <a:pt x="1674" y="645"/>
                  <a:pt x="1674" y="644"/>
                  <a:pt x="1673" y="644"/>
                </a:cubicBezTo>
                <a:cubicBezTo>
                  <a:pt x="1674" y="644"/>
                  <a:pt x="1674" y="644"/>
                  <a:pt x="1675" y="644"/>
                </a:cubicBezTo>
                <a:cubicBezTo>
                  <a:pt x="1675" y="644"/>
                  <a:pt x="1675" y="644"/>
                  <a:pt x="1676" y="644"/>
                </a:cubicBezTo>
                <a:cubicBezTo>
                  <a:pt x="1675" y="645"/>
                  <a:pt x="1675" y="645"/>
                  <a:pt x="1674" y="645"/>
                </a:cubicBezTo>
                <a:close/>
                <a:moveTo>
                  <a:pt x="1759" y="81"/>
                </a:moveTo>
                <a:cubicBezTo>
                  <a:pt x="1760" y="80"/>
                  <a:pt x="1759" y="79"/>
                  <a:pt x="1760" y="80"/>
                </a:cubicBezTo>
                <a:cubicBezTo>
                  <a:pt x="1760" y="81"/>
                  <a:pt x="1761" y="81"/>
                  <a:pt x="1761" y="81"/>
                </a:cubicBezTo>
                <a:cubicBezTo>
                  <a:pt x="1761" y="81"/>
                  <a:pt x="1760" y="81"/>
                  <a:pt x="1759" y="81"/>
                </a:cubicBezTo>
                <a:close/>
                <a:moveTo>
                  <a:pt x="1765" y="87"/>
                </a:moveTo>
                <a:cubicBezTo>
                  <a:pt x="1764" y="86"/>
                  <a:pt x="1764" y="85"/>
                  <a:pt x="1764" y="84"/>
                </a:cubicBezTo>
                <a:cubicBezTo>
                  <a:pt x="1764" y="84"/>
                  <a:pt x="1763" y="84"/>
                  <a:pt x="1763" y="84"/>
                </a:cubicBezTo>
                <a:cubicBezTo>
                  <a:pt x="1763" y="83"/>
                  <a:pt x="1763" y="83"/>
                  <a:pt x="1762" y="82"/>
                </a:cubicBezTo>
                <a:cubicBezTo>
                  <a:pt x="1763" y="83"/>
                  <a:pt x="1763" y="83"/>
                  <a:pt x="1764" y="84"/>
                </a:cubicBezTo>
                <a:cubicBezTo>
                  <a:pt x="1764" y="84"/>
                  <a:pt x="1764" y="84"/>
                  <a:pt x="1764" y="84"/>
                </a:cubicBezTo>
                <a:cubicBezTo>
                  <a:pt x="1764" y="85"/>
                  <a:pt x="1765" y="85"/>
                  <a:pt x="1765" y="86"/>
                </a:cubicBezTo>
                <a:cubicBezTo>
                  <a:pt x="1765" y="86"/>
                  <a:pt x="1765" y="87"/>
                  <a:pt x="1765" y="87"/>
                </a:cubicBezTo>
                <a:close/>
                <a:moveTo>
                  <a:pt x="1808" y="527"/>
                </a:moveTo>
                <a:cubicBezTo>
                  <a:pt x="1808" y="526"/>
                  <a:pt x="1808" y="526"/>
                  <a:pt x="1808" y="526"/>
                </a:cubicBezTo>
                <a:cubicBezTo>
                  <a:pt x="1808" y="526"/>
                  <a:pt x="1808" y="526"/>
                  <a:pt x="1808" y="526"/>
                </a:cubicBezTo>
                <a:lnTo>
                  <a:pt x="1808" y="527"/>
                </a:lnTo>
                <a:close/>
                <a:moveTo>
                  <a:pt x="1813" y="500"/>
                </a:moveTo>
                <a:cubicBezTo>
                  <a:pt x="1812" y="499"/>
                  <a:pt x="1812" y="499"/>
                  <a:pt x="1812" y="499"/>
                </a:cubicBezTo>
                <a:cubicBezTo>
                  <a:pt x="1813" y="500"/>
                  <a:pt x="1813" y="500"/>
                  <a:pt x="1813" y="500"/>
                </a:cubicBezTo>
                <a:cubicBezTo>
                  <a:pt x="1814" y="501"/>
                  <a:pt x="1814" y="501"/>
                  <a:pt x="1814" y="501"/>
                </a:cubicBezTo>
                <a:lnTo>
                  <a:pt x="1813" y="500"/>
                </a:lnTo>
                <a:close/>
                <a:moveTo>
                  <a:pt x="1526" y="457"/>
                </a:moveTo>
                <a:cubicBezTo>
                  <a:pt x="1525" y="457"/>
                  <a:pt x="1525" y="457"/>
                  <a:pt x="1525" y="457"/>
                </a:cubicBezTo>
                <a:cubicBezTo>
                  <a:pt x="1525" y="457"/>
                  <a:pt x="1525" y="457"/>
                  <a:pt x="1525" y="458"/>
                </a:cubicBezTo>
                <a:cubicBezTo>
                  <a:pt x="1525" y="458"/>
                  <a:pt x="1525" y="457"/>
                  <a:pt x="1526" y="457"/>
                </a:cubicBezTo>
                <a:cubicBezTo>
                  <a:pt x="1526" y="457"/>
                  <a:pt x="1526" y="457"/>
                  <a:pt x="1526" y="457"/>
                </a:cubicBezTo>
                <a:close/>
                <a:moveTo>
                  <a:pt x="1896" y="362"/>
                </a:moveTo>
                <a:cubicBezTo>
                  <a:pt x="1896" y="362"/>
                  <a:pt x="1896" y="362"/>
                  <a:pt x="1896" y="362"/>
                </a:cubicBezTo>
                <a:cubicBezTo>
                  <a:pt x="1896" y="361"/>
                  <a:pt x="1896" y="361"/>
                  <a:pt x="1896" y="361"/>
                </a:cubicBezTo>
                <a:cubicBezTo>
                  <a:pt x="1896" y="361"/>
                  <a:pt x="1896" y="361"/>
                  <a:pt x="1896" y="361"/>
                </a:cubicBezTo>
                <a:cubicBezTo>
                  <a:pt x="1896" y="361"/>
                  <a:pt x="1896" y="362"/>
                  <a:pt x="1896" y="362"/>
                </a:cubicBezTo>
                <a:close/>
                <a:moveTo>
                  <a:pt x="4168" y="2116"/>
                </a:moveTo>
                <a:cubicBezTo>
                  <a:pt x="4163" y="2120"/>
                  <a:pt x="4163" y="2120"/>
                  <a:pt x="4160" y="2115"/>
                </a:cubicBezTo>
                <a:cubicBezTo>
                  <a:pt x="4159" y="2114"/>
                  <a:pt x="4159" y="2113"/>
                  <a:pt x="4158" y="2112"/>
                </a:cubicBezTo>
                <a:cubicBezTo>
                  <a:pt x="4155" y="2108"/>
                  <a:pt x="4154" y="2102"/>
                  <a:pt x="4149" y="2099"/>
                </a:cubicBezTo>
                <a:cubicBezTo>
                  <a:pt x="4147" y="2093"/>
                  <a:pt x="4140" y="2088"/>
                  <a:pt x="4142" y="2080"/>
                </a:cubicBezTo>
                <a:cubicBezTo>
                  <a:pt x="4143" y="2076"/>
                  <a:pt x="4140" y="2074"/>
                  <a:pt x="4137" y="2073"/>
                </a:cubicBezTo>
                <a:cubicBezTo>
                  <a:pt x="4134" y="2071"/>
                  <a:pt x="4131" y="2070"/>
                  <a:pt x="4128" y="2069"/>
                </a:cubicBezTo>
                <a:cubicBezTo>
                  <a:pt x="4127" y="2068"/>
                  <a:pt x="4126" y="2067"/>
                  <a:pt x="4126" y="2066"/>
                </a:cubicBezTo>
                <a:cubicBezTo>
                  <a:pt x="4126" y="2061"/>
                  <a:pt x="4125" y="2056"/>
                  <a:pt x="4123" y="2052"/>
                </a:cubicBezTo>
                <a:cubicBezTo>
                  <a:pt x="4121" y="2048"/>
                  <a:pt x="4119" y="2044"/>
                  <a:pt x="4119" y="2040"/>
                </a:cubicBezTo>
                <a:cubicBezTo>
                  <a:pt x="4119" y="2038"/>
                  <a:pt x="4117" y="2036"/>
                  <a:pt x="4116" y="2036"/>
                </a:cubicBezTo>
                <a:cubicBezTo>
                  <a:pt x="4108" y="2031"/>
                  <a:pt x="4102" y="2023"/>
                  <a:pt x="4093" y="2020"/>
                </a:cubicBezTo>
                <a:cubicBezTo>
                  <a:pt x="4091" y="2019"/>
                  <a:pt x="4090" y="2017"/>
                  <a:pt x="4089" y="2015"/>
                </a:cubicBezTo>
                <a:cubicBezTo>
                  <a:pt x="4089" y="2010"/>
                  <a:pt x="4087" y="2006"/>
                  <a:pt x="4088" y="2002"/>
                </a:cubicBezTo>
                <a:cubicBezTo>
                  <a:pt x="4088" y="1995"/>
                  <a:pt x="4087" y="1990"/>
                  <a:pt x="4084" y="1984"/>
                </a:cubicBezTo>
                <a:cubicBezTo>
                  <a:pt x="4081" y="1980"/>
                  <a:pt x="4080" y="1976"/>
                  <a:pt x="4080" y="1970"/>
                </a:cubicBezTo>
                <a:cubicBezTo>
                  <a:pt x="4080" y="1967"/>
                  <a:pt x="4080" y="1963"/>
                  <a:pt x="4080" y="1959"/>
                </a:cubicBezTo>
                <a:cubicBezTo>
                  <a:pt x="4080" y="1954"/>
                  <a:pt x="4078" y="1949"/>
                  <a:pt x="4074" y="1946"/>
                </a:cubicBezTo>
                <a:cubicBezTo>
                  <a:pt x="4071" y="1943"/>
                  <a:pt x="4069" y="1942"/>
                  <a:pt x="4065" y="1943"/>
                </a:cubicBezTo>
                <a:cubicBezTo>
                  <a:pt x="4063" y="1944"/>
                  <a:pt x="4061" y="1942"/>
                  <a:pt x="4060" y="1940"/>
                </a:cubicBezTo>
                <a:cubicBezTo>
                  <a:pt x="4060" y="1938"/>
                  <a:pt x="4059" y="1937"/>
                  <a:pt x="4060" y="1935"/>
                </a:cubicBezTo>
                <a:cubicBezTo>
                  <a:pt x="4060" y="1929"/>
                  <a:pt x="4058" y="1924"/>
                  <a:pt x="4057" y="1919"/>
                </a:cubicBezTo>
                <a:cubicBezTo>
                  <a:pt x="4055" y="1911"/>
                  <a:pt x="4051" y="1905"/>
                  <a:pt x="4049" y="1897"/>
                </a:cubicBezTo>
                <a:cubicBezTo>
                  <a:pt x="4049" y="1896"/>
                  <a:pt x="4047" y="1895"/>
                  <a:pt x="4046" y="1894"/>
                </a:cubicBezTo>
                <a:cubicBezTo>
                  <a:pt x="4045" y="1894"/>
                  <a:pt x="4044" y="1894"/>
                  <a:pt x="4043" y="1895"/>
                </a:cubicBezTo>
                <a:cubicBezTo>
                  <a:pt x="4042" y="1895"/>
                  <a:pt x="4041" y="1896"/>
                  <a:pt x="4041" y="1897"/>
                </a:cubicBezTo>
                <a:cubicBezTo>
                  <a:pt x="4039" y="1902"/>
                  <a:pt x="4038" y="1907"/>
                  <a:pt x="4036" y="1911"/>
                </a:cubicBezTo>
                <a:cubicBezTo>
                  <a:pt x="4034" y="1916"/>
                  <a:pt x="4034" y="1921"/>
                  <a:pt x="4032" y="1925"/>
                </a:cubicBezTo>
                <a:cubicBezTo>
                  <a:pt x="4030" y="1933"/>
                  <a:pt x="4028" y="1941"/>
                  <a:pt x="4029" y="1950"/>
                </a:cubicBezTo>
                <a:cubicBezTo>
                  <a:pt x="4029" y="1952"/>
                  <a:pt x="4029" y="1955"/>
                  <a:pt x="4028" y="1958"/>
                </a:cubicBezTo>
                <a:cubicBezTo>
                  <a:pt x="4026" y="1964"/>
                  <a:pt x="4024" y="1970"/>
                  <a:pt x="4022" y="1977"/>
                </a:cubicBezTo>
                <a:cubicBezTo>
                  <a:pt x="4021" y="1981"/>
                  <a:pt x="4020" y="1985"/>
                  <a:pt x="4018" y="1989"/>
                </a:cubicBezTo>
                <a:cubicBezTo>
                  <a:pt x="4017" y="1992"/>
                  <a:pt x="4014" y="1994"/>
                  <a:pt x="4010" y="1995"/>
                </a:cubicBezTo>
                <a:cubicBezTo>
                  <a:pt x="4005" y="1996"/>
                  <a:pt x="4000" y="1995"/>
                  <a:pt x="3997" y="1991"/>
                </a:cubicBezTo>
                <a:cubicBezTo>
                  <a:pt x="3995" y="1988"/>
                  <a:pt x="3993" y="1985"/>
                  <a:pt x="3992" y="1982"/>
                </a:cubicBezTo>
                <a:cubicBezTo>
                  <a:pt x="3991" y="1982"/>
                  <a:pt x="3990" y="1982"/>
                  <a:pt x="3989" y="1982"/>
                </a:cubicBezTo>
                <a:cubicBezTo>
                  <a:pt x="3985" y="1982"/>
                  <a:pt x="3981" y="1981"/>
                  <a:pt x="3978" y="1977"/>
                </a:cubicBezTo>
                <a:cubicBezTo>
                  <a:pt x="3974" y="1972"/>
                  <a:pt x="3969" y="1970"/>
                  <a:pt x="3964" y="1968"/>
                </a:cubicBezTo>
                <a:cubicBezTo>
                  <a:pt x="3961" y="1966"/>
                  <a:pt x="3959" y="1964"/>
                  <a:pt x="3957" y="1962"/>
                </a:cubicBezTo>
                <a:cubicBezTo>
                  <a:pt x="3955" y="1960"/>
                  <a:pt x="3953" y="1958"/>
                  <a:pt x="3951" y="1956"/>
                </a:cubicBezTo>
                <a:cubicBezTo>
                  <a:pt x="3949" y="1954"/>
                  <a:pt x="3948" y="1951"/>
                  <a:pt x="3949" y="1948"/>
                </a:cubicBezTo>
                <a:cubicBezTo>
                  <a:pt x="3951" y="1943"/>
                  <a:pt x="3954" y="1939"/>
                  <a:pt x="3954" y="1933"/>
                </a:cubicBezTo>
                <a:cubicBezTo>
                  <a:pt x="3954" y="1932"/>
                  <a:pt x="3956" y="1930"/>
                  <a:pt x="3957" y="1930"/>
                </a:cubicBezTo>
                <a:cubicBezTo>
                  <a:pt x="3959" y="1929"/>
                  <a:pt x="3961" y="1928"/>
                  <a:pt x="3962" y="1927"/>
                </a:cubicBezTo>
                <a:cubicBezTo>
                  <a:pt x="3964" y="1923"/>
                  <a:pt x="3966" y="1919"/>
                  <a:pt x="3969" y="1914"/>
                </a:cubicBezTo>
                <a:cubicBezTo>
                  <a:pt x="3969" y="1914"/>
                  <a:pt x="3968" y="1912"/>
                  <a:pt x="3967" y="1911"/>
                </a:cubicBezTo>
                <a:cubicBezTo>
                  <a:pt x="3965" y="1910"/>
                  <a:pt x="3962" y="1908"/>
                  <a:pt x="3960" y="1910"/>
                </a:cubicBezTo>
                <a:cubicBezTo>
                  <a:pt x="3957" y="1911"/>
                  <a:pt x="3955" y="1911"/>
                  <a:pt x="3952" y="1909"/>
                </a:cubicBezTo>
                <a:cubicBezTo>
                  <a:pt x="3951" y="1908"/>
                  <a:pt x="3949" y="1909"/>
                  <a:pt x="3947" y="1910"/>
                </a:cubicBezTo>
                <a:cubicBezTo>
                  <a:pt x="3946" y="1910"/>
                  <a:pt x="3944" y="1911"/>
                  <a:pt x="3943" y="1911"/>
                </a:cubicBezTo>
                <a:cubicBezTo>
                  <a:pt x="3935" y="1908"/>
                  <a:pt x="3926" y="1907"/>
                  <a:pt x="3918" y="1902"/>
                </a:cubicBezTo>
                <a:cubicBezTo>
                  <a:pt x="3914" y="1900"/>
                  <a:pt x="3910" y="1898"/>
                  <a:pt x="3906" y="1897"/>
                </a:cubicBezTo>
                <a:cubicBezTo>
                  <a:pt x="3905" y="1897"/>
                  <a:pt x="3904" y="1897"/>
                  <a:pt x="3903" y="1897"/>
                </a:cubicBezTo>
                <a:cubicBezTo>
                  <a:pt x="3902" y="1897"/>
                  <a:pt x="3902" y="1898"/>
                  <a:pt x="3902" y="1898"/>
                </a:cubicBezTo>
                <a:cubicBezTo>
                  <a:pt x="3901" y="1899"/>
                  <a:pt x="3901" y="1900"/>
                  <a:pt x="3902" y="1900"/>
                </a:cubicBezTo>
                <a:cubicBezTo>
                  <a:pt x="3903" y="1901"/>
                  <a:pt x="3905" y="1903"/>
                  <a:pt x="3906" y="1904"/>
                </a:cubicBezTo>
                <a:cubicBezTo>
                  <a:pt x="3908" y="1906"/>
                  <a:pt x="3908" y="1909"/>
                  <a:pt x="3905" y="1910"/>
                </a:cubicBezTo>
                <a:cubicBezTo>
                  <a:pt x="3902" y="1912"/>
                  <a:pt x="3898" y="1912"/>
                  <a:pt x="3894" y="1912"/>
                </a:cubicBezTo>
                <a:cubicBezTo>
                  <a:pt x="3892" y="1912"/>
                  <a:pt x="3890" y="1912"/>
                  <a:pt x="3888" y="1913"/>
                </a:cubicBezTo>
                <a:cubicBezTo>
                  <a:pt x="3883" y="1915"/>
                  <a:pt x="3879" y="1917"/>
                  <a:pt x="3876" y="1921"/>
                </a:cubicBezTo>
                <a:cubicBezTo>
                  <a:pt x="3872" y="1927"/>
                  <a:pt x="3868" y="1933"/>
                  <a:pt x="3863" y="1939"/>
                </a:cubicBezTo>
                <a:cubicBezTo>
                  <a:pt x="3861" y="1941"/>
                  <a:pt x="3861" y="1944"/>
                  <a:pt x="3862" y="1948"/>
                </a:cubicBezTo>
                <a:cubicBezTo>
                  <a:pt x="3863" y="1950"/>
                  <a:pt x="3861" y="1952"/>
                  <a:pt x="3858" y="1952"/>
                </a:cubicBezTo>
                <a:cubicBezTo>
                  <a:pt x="3855" y="1951"/>
                  <a:pt x="3852" y="1949"/>
                  <a:pt x="3849" y="1950"/>
                </a:cubicBezTo>
                <a:cubicBezTo>
                  <a:pt x="3846" y="1951"/>
                  <a:pt x="3844" y="1950"/>
                  <a:pt x="3843" y="1948"/>
                </a:cubicBezTo>
                <a:cubicBezTo>
                  <a:pt x="3841" y="1945"/>
                  <a:pt x="3838" y="1942"/>
                  <a:pt x="3836" y="1939"/>
                </a:cubicBezTo>
                <a:cubicBezTo>
                  <a:pt x="3834" y="1937"/>
                  <a:pt x="3831" y="1935"/>
                  <a:pt x="3827" y="1937"/>
                </a:cubicBezTo>
                <a:cubicBezTo>
                  <a:pt x="3824" y="1938"/>
                  <a:pt x="3820" y="1939"/>
                  <a:pt x="3817" y="1941"/>
                </a:cubicBezTo>
                <a:cubicBezTo>
                  <a:pt x="3814" y="1943"/>
                  <a:pt x="3811" y="1944"/>
                  <a:pt x="3808" y="1945"/>
                </a:cubicBezTo>
                <a:cubicBezTo>
                  <a:pt x="3803" y="1946"/>
                  <a:pt x="3804" y="1951"/>
                  <a:pt x="3801" y="1954"/>
                </a:cubicBezTo>
                <a:cubicBezTo>
                  <a:pt x="3800" y="1955"/>
                  <a:pt x="3799" y="1956"/>
                  <a:pt x="3797" y="1957"/>
                </a:cubicBezTo>
                <a:cubicBezTo>
                  <a:pt x="3792" y="1958"/>
                  <a:pt x="3791" y="1962"/>
                  <a:pt x="3791" y="1967"/>
                </a:cubicBezTo>
                <a:cubicBezTo>
                  <a:pt x="3791" y="1968"/>
                  <a:pt x="3791" y="1969"/>
                  <a:pt x="3791" y="1970"/>
                </a:cubicBezTo>
                <a:cubicBezTo>
                  <a:pt x="3791" y="1972"/>
                  <a:pt x="3789" y="1973"/>
                  <a:pt x="3788" y="1973"/>
                </a:cubicBezTo>
                <a:cubicBezTo>
                  <a:pt x="3786" y="1973"/>
                  <a:pt x="3784" y="1973"/>
                  <a:pt x="3783" y="1973"/>
                </a:cubicBezTo>
                <a:cubicBezTo>
                  <a:pt x="3781" y="1973"/>
                  <a:pt x="3779" y="1975"/>
                  <a:pt x="3779" y="1977"/>
                </a:cubicBezTo>
                <a:cubicBezTo>
                  <a:pt x="3779" y="1979"/>
                  <a:pt x="3780" y="1982"/>
                  <a:pt x="3780" y="1984"/>
                </a:cubicBezTo>
                <a:cubicBezTo>
                  <a:pt x="3780" y="1984"/>
                  <a:pt x="3780" y="1985"/>
                  <a:pt x="3780" y="1985"/>
                </a:cubicBezTo>
                <a:cubicBezTo>
                  <a:pt x="3779" y="1986"/>
                  <a:pt x="3778" y="1986"/>
                  <a:pt x="3777" y="1985"/>
                </a:cubicBezTo>
                <a:cubicBezTo>
                  <a:pt x="3775" y="1983"/>
                  <a:pt x="3774" y="1980"/>
                  <a:pt x="3772" y="1978"/>
                </a:cubicBezTo>
                <a:cubicBezTo>
                  <a:pt x="3771" y="1977"/>
                  <a:pt x="3769" y="1976"/>
                  <a:pt x="3768" y="1977"/>
                </a:cubicBezTo>
                <a:cubicBezTo>
                  <a:pt x="3765" y="1979"/>
                  <a:pt x="3763" y="1981"/>
                  <a:pt x="3760" y="1984"/>
                </a:cubicBezTo>
                <a:cubicBezTo>
                  <a:pt x="3759" y="1985"/>
                  <a:pt x="3758" y="1987"/>
                  <a:pt x="3758" y="1989"/>
                </a:cubicBezTo>
                <a:cubicBezTo>
                  <a:pt x="3758" y="1997"/>
                  <a:pt x="3756" y="2003"/>
                  <a:pt x="3750" y="2008"/>
                </a:cubicBezTo>
                <a:cubicBezTo>
                  <a:pt x="3748" y="2010"/>
                  <a:pt x="3748" y="2012"/>
                  <a:pt x="3746" y="2014"/>
                </a:cubicBezTo>
                <a:cubicBezTo>
                  <a:pt x="3742" y="2020"/>
                  <a:pt x="3736" y="2024"/>
                  <a:pt x="3729" y="2025"/>
                </a:cubicBezTo>
                <a:cubicBezTo>
                  <a:pt x="3724" y="2025"/>
                  <a:pt x="3719" y="2026"/>
                  <a:pt x="3714" y="2027"/>
                </a:cubicBezTo>
                <a:cubicBezTo>
                  <a:pt x="3707" y="2032"/>
                  <a:pt x="3698" y="2030"/>
                  <a:pt x="3691" y="2036"/>
                </a:cubicBezTo>
                <a:cubicBezTo>
                  <a:pt x="3690" y="2037"/>
                  <a:pt x="3688" y="2037"/>
                  <a:pt x="3687" y="2037"/>
                </a:cubicBezTo>
                <a:cubicBezTo>
                  <a:pt x="3681" y="2035"/>
                  <a:pt x="3676" y="2038"/>
                  <a:pt x="3671" y="2040"/>
                </a:cubicBezTo>
                <a:cubicBezTo>
                  <a:pt x="3665" y="2044"/>
                  <a:pt x="3659" y="2048"/>
                  <a:pt x="3652" y="2050"/>
                </a:cubicBezTo>
                <a:cubicBezTo>
                  <a:pt x="3649" y="2051"/>
                  <a:pt x="3647" y="2054"/>
                  <a:pt x="3645" y="2057"/>
                </a:cubicBezTo>
                <a:cubicBezTo>
                  <a:pt x="3643" y="2060"/>
                  <a:pt x="3643" y="2056"/>
                  <a:pt x="3642" y="2056"/>
                </a:cubicBezTo>
                <a:cubicBezTo>
                  <a:pt x="3641" y="2056"/>
                  <a:pt x="3639" y="2056"/>
                  <a:pt x="3639" y="2057"/>
                </a:cubicBezTo>
                <a:cubicBezTo>
                  <a:pt x="3637" y="2059"/>
                  <a:pt x="3636" y="2060"/>
                  <a:pt x="3636" y="2063"/>
                </a:cubicBezTo>
                <a:cubicBezTo>
                  <a:pt x="3635" y="2065"/>
                  <a:pt x="3635" y="2068"/>
                  <a:pt x="3635" y="2071"/>
                </a:cubicBezTo>
                <a:cubicBezTo>
                  <a:pt x="3635" y="2075"/>
                  <a:pt x="3634" y="2079"/>
                  <a:pt x="3631" y="2083"/>
                </a:cubicBezTo>
                <a:cubicBezTo>
                  <a:pt x="3629" y="2087"/>
                  <a:pt x="3628" y="2091"/>
                  <a:pt x="3628" y="2096"/>
                </a:cubicBezTo>
                <a:cubicBezTo>
                  <a:pt x="3628" y="2102"/>
                  <a:pt x="3628" y="2108"/>
                  <a:pt x="3631" y="2113"/>
                </a:cubicBezTo>
                <a:cubicBezTo>
                  <a:pt x="3632" y="2115"/>
                  <a:pt x="3633" y="2116"/>
                  <a:pt x="3633" y="2118"/>
                </a:cubicBezTo>
                <a:cubicBezTo>
                  <a:pt x="3633" y="2120"/>
                  <a:pt x="3633" y="2121"/>
                  <a:pt x="3631" y="2122"/>
                </a:cubicBezTo>
                <a:cubicBezTo>
                  <a:pt x="3631" y="2123"/>
                  <a:pt x="3630" y="2124"/>
                  <a:pt x="3629" y="2124"/>
                </a:cubicBezTo>
                <a:cubicBezTo>
                  <a:pt x="3629" y="2124"/>
                  <a:pt x="3629" y="2124"/>
                  <a:pt x="3629" y="2124"/>
                </a:cubicBezTo>
                <a:cubicBezTo>
                  <a:pt x="3629" y="2124"/>
                  <a:pt x="3629" y="2124"/>
                  <a:pt x="3629" y="2124"/>
                </a:cubicBezTo>
                <a:cubicBezTo>
                  <a:pt x="3629" y="2124"/>
                  <a:pt x="3629" y="2124"/>
                  <a:pt x="3629" y="2124"/>
                </a:cubicBezTo>
                <a:cubicBezTo>
                  <a:pt x="3628" y="2126"/>
                  <a:pt x="3627" y="2129"/>
                  <a:pt x="3626" y="2131"/>
                </a:cubicBezTo>
                <a:cubicBezTo>
                  <a:pt x="3626" y="2131"/>
                  <a:pt x="3626" y="2131"/>
                  <a:pt x="3626" y="2131"/>
                </a:cubicBezTo>
                <a:cubicBezTo>
                  <a:pt x="3626" y="2131"/>
                  <a:pt x="3626" y="2131"/>
                  <a:pt x="3626" y="2131"/>
                </a:cubicBezTo>
                <a:cubicBezTo>
                  <a:pt x="3626" y="2131"/>
                  <a:pt x="3626" y="2131"/>
                  <a:pt x="3626" y="2131"/>
                </a:cubicBezTo>
                <a:cubicBezTo>
                  <a:pt x="3626" y="2133"/>
                  <a:pt x="3626" y="2134"/>
                  <a:pt x="3626" y="2136"/>
                </a:cubicBezTo>
                <a:cubicBezTo>
                  <a:pt x="3628" y="2139"/>
                  <a:pt x="3629" y="2143"/>
                  <a:pt x="3629" y="2147"/>
                </a:cubicBezTo>
                <a:cubicBezTo>
                  <a:pt x="3628" y="2154"/>
                  <a:pt x="3630" y="2160"/>
                  <a:pt x="3632" y="2166"/>
                </a:cubicBezTo>
                <a:cubicBezTo>
                  <a:pt x="3634" y="2173"/>
                  <a:pt x="3635" y="2180"/>
                  <a:pt x="3635" y="2187"/>
                </a:cubicBezTo>
                <a:cubicBezTo>
                  <a:pt x="3635" y="2196"/>
                  <a:pt x="3635" y="2204"/>
                  <a:pt x="3637" y="2212"/>
                </a:cubicBezTo>
                <a:cubicBezTo>
                  <a:pt x="3638" y="2214"/>
                  <a:pt x="3638" y="2216"/>
                  <a:pt x="3638" y="2218"/>
                </a:cubicBezTo>
                <a:cubicBezTo>
                  <a:pt x="3637" y="2223"/>
                  <a:pt x="3636" y="2227"/>
                  <a:pt x="3635" y="2231"/>
                </a:cubicBezTo>
                <a:cubicBezTo>
                  <a:pt x="3634" y="2237"/>
                  <a:pt x="3631" y="2242"/>
                  <a:pt x="3626" y="2246"/>
                </a:cubicBezTo>
                <a:cubicBezTo>
                  <a:pt x="3621" y="2249"/>
                  <a:pt x="3621" y="2256"/>
                  <a:pt x="3625" y="2260"/>
                </a:cubicBezTo>
                <a:cubicBezTo>
                  <a:pt x="3627" y="2262"/>
                  <a:pt x="3630" y="2264"/>
                  <a:pt x="3632" y="2267"/>
                </a:cubicBezTo>
                <a:cubicBezTo>
                  <a:pt x="3635" y="2271"/>
                  <a:pt x="3639" y="2273"/>
                  <a:pt x="3644" y="2273"/>
                </a:cubicBezTo>
                <a:cubicBezTo>
                  <a:pt x="3648" y="2274"/>
                  <a:pt x="3652" y="2274"/>
                  <a:pt x="3656" y="2274"/>
                </a:cubicBezTo>
                <a:cubicBezTo>
                  <a:pt x="3658" y="2274"/>
                  <a:pt x="3661" y="2273"/>
                  <a:pt x="3662" y="2272"/>
                </a:cubicBezTo>
                <a:cubicBezTo>
                  <a:pt x="3670" y="2267"/>
                  <a:pt x="3680" y="2266"/>
                  <a:pt x="3686" y="2259"/>
                </a:cubicBezTo>
                <a:cubicBezTo>
                  <a:pt x="3687" y="2258"/>
                  <a:pt x="3688" y="2258"/>
                  <a:pt x="3689" y="2258"/>
                </a:cubicBezTo>
                <a:cubicBezTo>
                  <a:pt x="3697" y="2257"/>
                  <a:pt x="3704" y="2254"/>
                  <a:pt x="3712" y="2256"/>
                </a:cubicBezTo>
                <a:cubicBezTo>
                  <a:pt x="3719" y="2258"/>
                  <a:pt x="3725" y="2257"/>
                  <a:pt x="3732" y="2257"/>
                </a:cubicBezTo>
                <a:cubicBezTo>
                  <a:pt x="3735" y="2257"/>
                  <a:pt x="3738" y="2256"/>
                  <a:pt x="3741" y="2253"/>
                </a:cubicBezTo>
                <a:cubicBezTo>
                  <a:pt x="3748" y="2246"/>
                  <a:pt x="3753" y="2243"/>
                  <a:pt x="3763" y="2238"/>
                </a:cubicBezTo>
                <a:cubicBezTo>
                  <a:pt x="3765" y="2237"/>
                  <a:pt x="3768" y="2235"/>
                  <a:pt x="3770" y="2233"/>
                </a:cubicBezTo>
                <a:cubicBezTo>
                  <a:pt x="3773" y="2231"/>
                  <a:pt x="3777" y="2230"/>
                  <a:pt x="3781" y="2230"/>
                </a:cubicBezTo>
                <a:cubicBezTo>
                  <a:pt x="3791" y="2232"/>
                  <a:pt x="3801" y="2230"/>
                  <a:pt x="3810" y="2225"/>
                </a:cubicBezTo>
                <a:cubicBezTo>
                  <a:pt x="3817" y="2222"/>
                  <a:pt x="3824" y="2221"/>
                  <a:pt x="3832" y="2221"/>
                </a:cubicBezTo>
                <a:cubicBezTo>
                  <a:pt x="3837" y="2221"/>
                  <a:pt x="3843" y="2221"/>
                  <a:pt x="3848" y="2221"/>
                </a:cubicBezTo>
                <a:cubicBezTo>
                  <a:pt x="3851" y="2221"/>
                  <a:pt x="3854" y="2222"/>
                  <a:pt x="3856" y="2225"/>
                </a:cubicBezTo>
                <a:cubicBezTo>
                  <a:pt x="3859" y="2228"/>
                  <a:pt x="3862" y="2230"/>
                  <a:pt x="3867" y="2230"/>
                </a:cubicBezTo>
                <a:cubicBezTo>
                  <a:pt x="3872" y="2231"/>
                  <a:pt x="3876" y="2233"/>
                  <a:pt x="3881" y="2236"/>
                </a:cubicBezTo>
                <a:cubicBezTo>
                  <a:pt x="3883" y="2237"/>
                  <a:pt x="3885" y="2239"/>
                  <a:pt x="3885" y="2242"/>
                </a:cubicBezTo>
                <a:cubicBezTo>
                  <a:pt x="3885" y="2246"/>
                  <a:pt x="3886" y="2249"/>
                  <a:pt x="3888" y="2251"/>
                </a:cubicBezTo>
                <a:cubicBezTo>
                  <a:pt x="3891" y="2254"/>
                  <a:pt x="3892" y="2257"/>
                  <a:pt x="3893" y="2261"/>
                </a:cubicBezTo>
                <a:cubicBezTo>
                  <a:pt x="3893" y="2265"/>
                  <a:pt x="3894" y="2269"/>
                  <a:pt x="3894" y="2273"/>
                </a:cubicBezTo>
                <a:cubicBezTo>
                  <a:pt x="3894" y="2275"/>
                  <a:pt x="3894" y="2276"/>
                  <a:pt x="3894" y="2278"/>
                </a:cubicBezTo>
                <a:cubicBezTo>
                  <a:pt x="3894" y="2278"/>
                  <a:pt x="3894" y="2279"/>
                  <a:pt x="3894" y="2279"/>
                </a:cubicBezTo>
                <a:cubicBezTo>
                  <a:pt x="3895" y="2280"/>
                  <a:pt x="3897" y="2282"/>
                  <a:pt x="3898" y="2282"/>
                </a:cubicBezTo>
                <a:cubicBezTo>
                  <a:pt x="3899" y="2283"/>
                  <a:pt x="3900" y="2282"/>
                  <a:pt x="3901" y="2282"/>
                </a:cubicBezTo>
                <a:cubicBezTo>
                  <a:pt x="3906" y="2277"/>
                  <a:pt x="3910" y="2272"/>
                  <a:pt x="3914" y="2267"/>
                </a:cubicBezTo>
                <a:cubicBezTo>
                  <a:pt x="3917" y="2265"/>
                  <a:pt x="3920" y="2264"/>
                  <a:pt x="3922" y="2261"/>
                </a:cubicBezTo>
                <a:cubicBezTo>
                  <a:pt x="3925" y="2259"/>
                  <a:pt x="3927" y="2256"/>
                  <a:pt x="3930" y="2253"/>
                </a:cubicBezTo>
                <a:cubicBezTo>
                  <a:pt x="3930" y="2253"/>
                  <a:pt x="3931" y="2252"/>
                  <a:pt x="3932" y="2253"/>
                </a:cubicBezTo>
                <a:cubicBezTo>
                  <a:pt x="3932" y="2253"/>
                  <a:pt x="3932" y="2253"/>
                  <a:pt x="3932" y="2254"/>
                </a:cubicBezTo>
                <a:cubicBezTo>
                  <a:pt x="3933" y="2256"/>
                  <a:pt x="3933" y="2259"/>
                  <a:pt x="3931" y="2260"/>
                </a:cubicBezTo>
                <a:cubicBezTo>
                  <a:pt x="3927" y="2264"/>
                  <a:pt x="3925" y="2269"/>
                  <a:pt x="3923" y="2274"/>
                </a:cubicBezTo>
                <a:cubicBezTo>
                  <a:pt x="3922" y="2280"/>
                  <a:pt x="3919" y="2283"/>
                  <a:pt x="3914" y="2286"/>
                </a:cubicBezTo>
                <a:cubicBezTo>
                  <a:pt x="3914" y="2286"/>
                  <a:pt x="3913" y="2287"/>
                  <a:pt x="3913" y="2288"/>
                </a:cubicBezTo>
                <a:cubicBezTo>
                  <a:pt x="3913" y="2289"/>
                  <a:pt x="3913" y="2291"/>
                  <a:pt x="3914" y="2291"/>
                </a:cubicBezTo>
                <a:cubicBezTo>
                  <a:pt x="3915" y="2291"/>
                  <a:pt x="3917" y="2291"/>
                  <a:pt x="3919" y="2291"/>
                </a:cubicBezTo>
                <a:cubicBezTo>
                  <a:pt x="3924" y="2291"/>
                  <a:pt x="3927" y="2289"/>
                  <a:pt x="3929" y="2284"/>
                </a:cubicBezTo>
                <a:cubicBezTo>
                  <a:pt x="3929" y="2283"/>
                  <a:pt x="3930" y="2282"/>
                  <a:pt x="3930" y="2281"/>
                </a:cubicBezTo>
                <a:cubicBezTo>
                  <a:pt x="3931" y="2281"/>
                  <a:pt x="3931" y="2281"/>
                  <a:pt x="3932" y="2280"/>
                </a:cubicBezTo>
                <a:cubicBezTo>
                  <a:pt x="3932" y="2281"/>
                  <a:pt x="3933" y="2282"/>
                  <a:pt x="3933" y="2282"/>
                </a:cubicBezTo>
                <a:cubicBezTo>
                  <a:pt x="3934" y="2287"/>
                  <a:pt x="3934" y="2292"/>
                  <a:pt x="3930" y="2296"/>
                </a:cubicBezTo>
                <a:cubicBezTo>
                  <a:pt x="3929" y="2298"/>
                  <a:pt x="3930" y="2300"/>
                  <a:pt x="3932" y="2300"/>
                </a:cubicBezTo>
                <a:cubicBezTo>
                  <a:pt x="3935" y="2300"/>
                  <a:pt x="3937" y="2300"/>
                  <a:pt x="3940" y="2300"/>
                </a:cubicBezTo>
                <a:cubicBezTo>
                  <a:pt x="3940" y="2300"/>
                  <a:pt x="3940" y="2300"/>
                  <a:pt x="3940" y="2300"/>
                </a:cubicBezTo>
                <a:cubicBezTo>
                  <a:pt x="3940" y="2299"/>
                  <a:pt x="3940" y="2299"/>
                  <a:pt x="3940" y="2299"/>
                </a:cubicBezTo>
                <a:cubicBezTo>
                  <a:pt x="3940" y="2300"/>
                  <a:pt x="3940" y="2300"/>
                  <a:pt x="3940" y="2300"/>
                </a:cubicBezTo>
                <a:cubicBezTo>
                  <a:pt x="3940" y="2300"/>
                  <a:pt x="3940" y="2300"/>
                  <a:pt x="3940" y="2300"/>
                </a:cubicBezTo>
                <a:cubicBezTo>
                  <a:pt x="3940" y="2301"/>
                  <a:pt x="3940" y="2301"/>
                  <a:pt x="3940" y="2301"/>
                </a:cubicBezTo>
                <a:cubicBezTo>
                  <a:pt x="3943" y="2310"/>
                  <a:pt x="3945" y="2319"/>
                  <a:pt x="3941" y="2329"/>
                </a:cubicBezTo>
                <a:cubicBezTo>
                  <a:pt x="3940" y="2330"/>
                  <a:pt x="3941" y="2333"/>
                  <a:pt x="3942" y="2335"/>
                </a:cubicBezTo>
                <a:cubicBezTo>
                  <a:pt x="3943" y="2338"/>
                  <a:pt x="3944" y="2340"/>
                  <a:pt x="3945" y="2343"/>
                </a:cubicBezTo>
                <a:cubicBezTo>
                  <a:pt x="3949" y="2350"/>
                  <a:pt x="3955" y="2355"/>
                  <a:pt x="3962" y="2357"/>
                </a:cubicBezTo>
                <a:cubicBezTo>
                  <a:pt x="3967" y="2358"/>
                  <a:pt x="3971" y="2360"/>
                  <a:pt x="3974" y="2363"/>
                </a:cubicBezTo>
                <a:cubicBezTo>
                  <a:pt x="3976" y="2364"/>
                  <a:pt x="3978" y="2367"/>
                  <a:pt x="3980" y="2368"/>
                </a:cubicBezTo>
                <a:cubicBezTo>
                  <a:pt x="3982" y="2370"/>
                  <a:pt x="3984" y="2370"/>
                  <a:pt x="3986" y="2369"/>
                </a:cubicBezTo>
                <a:cubicBezTo>
                  <a:pt x="3993" y="2366"/>
                  <a:pt x="4000" y="2363"/>
                  <a:pt x="4004" y="2355"/>
                </a:cubicBezTo>
                <a:cubicBezTo>
                  <a:pt x="4005" y="2354"/>
                  <a:pt x="4006" y="2354"/>
                  <a:pt x="4007" y="2355"/>
                </a:cubicBezTo>
                <a:cubicBezTo>
                  <a:pt x="4007" y="2356"/>
                  <a:pt x="4008" y="2356"/>
                  <a:pt x="4008" y="2357"/>
                </a:cubicBezTo>
                <a:cubicBezTo>
                  <a:pt x="4007" y="2358"/>
                  <a:pt x="4006" y="2361"/>
                  <a:pt x="4007" y="2361"/>
                </a:cubicBezTo>
                <a:cubicBezTo>
                  <a:pt x="4010" y="2366"/>
                  <a:pt x="4012" y="2372"/>
                  <a:pt x="4017" y="2376"/>
                </a:cubicBezTo>
                <a:cubicBezTo>
                  <a:pt x="4018" y="2377"/>
                  <a:pt x="4020" y="2378"/>
                  <a:pt x="4021" y="2377"/>
                </a:cubicBezTo>
                <a:cubicBezTo>
                  <a:pt x="4027" y="2372"/>
                  <a:pt x="4034" y="2368"/>
                  <a:pt x="4040" y="2363"/>
                </a:cubicBezTo>
                <a:cubicBezTo>
                  <a:pt x="4046" y="2358"/>
                  <a:pt x="4052" y="2356"/>
                  <a:pt x="4060" y="2356"/>
                </a:cubicBezTo>
                <a:cubicBezTo>
                  <a:pt x="4062" y="2356"/>
                  <a:pt x="4065" y="2356"/>
                  <a:pt x="4068" y="2356"/>
                </a:cubicBezTo>
                <a:cubicBezTo>
                  <a:pt x="4072" y="2355"/>
                  <a:pt x="4079" y="2350"/>
                  <a:pt x="4079" y="2345"/>
                </a:cubicBezTo>
                <a:cubicBezTo>
                  <a:pt x="4079" y="2338"/>
                  <a:pt x="4083" y="2332"/>
                  <a:pt x="4085" y="2325"/>
                </a:cubicBezTo>
                <a:cubicBezTo>
                  <a:pt x="4086" y="2317"/>
                  <a:pt x="4090" y="2310"/>
                  <a:pt x="4096" y="2305"/>
                </a:cubicBezTo>
                <a:cubicBezTo>
                  <a:pt x="4099" y="2301"/>
                  <a:pt x="4102" y="2297"/>
                  <a:pt x="4104" y="2292"/>
                </a:cubicBezTo>
                <a:cubicBezTo>
                  <a:pt x="4107" y="2287"/>
                  <a:pt x="4110" y="2282"/>
                  <a:pt x="4112" y="2276"/>
                </a:cubicBezTo>
                <a:cubicBezTo>
                  <a:pt x="4117" y="2267"/>
                  <a:pt x="4123" y="2259"/>
                  <a:pt x="4132" y="2254"/>
                </a:cubicBezTo>
                <a:cubicBezTo>
                  <a:pt x="4133" y="2253"/>
                  <a:pt x="4135" y="2251"/>
                  <a:pt x="4136" y="2249"/>
                </a:cubicBezTo>
                <a:cubicBezTo>
                  <a:pt x="4137" y="2242"/>
                  <a:pt x="4145" y="2238"/>
                  <a:pt x="4147" y="2231"/>
                </a:cubicBezTo>
                <a:cubicBezTo>
                  <a:pt x="4149" y="2224"/>
                  <a:pt x="4149" y="2217"/>
                  <a:pt x="4152" y="2210"/>
                </a:cubicBezTo>
                <a:cubicBezTo>
                  <a:pt x="4156" y="2203"/>
                  <a:pt x="4158" y="2194"/>
                  <a:pt x="4163" y="2186"/>
                </a:cubicBezTo>
                <a:cubicBezTo>
                  <a:pt x="4164" y="2184"/>
                  <a:pt x="4165" y="2181"/>
                  <a:pt x="4165" y="2178"/>
                </a:cubicBezTo>
                <a:cubicBezTo>
                  <a:pt x="4166" y="2173"/>
                  <a:pt x="4165" y="2167"/>
                  <a:pt x="4164" y="2162"/>
                </a:cubicBezTo>
                <a:cubicBezTo>
                  <a:pt x="4162" y="2158"/>
                  <a:pt x="4162" y="2155"/>
                  <a:pt x="4163" y="2151"/>
                </a:cubicBezTo>
                <a:cubicBezTo>
                  <a:pt x="4164" y="2148"/>
                  <a:pt x="4165" y="2146"/>
                  <a:pt x="4165" y="2143"/>
                </a:cubicBezTo>
                <a:cubicBezTo>
                  <a:pt x="4165" y="2135"/>
                  <a:pt x="4167" y="2128"/>
                  <a:pt x="4170" y="2120"/>
                </a:cubicBezTo>
                <a:cubicBezTo>
                  <a:pt x="4170" y="2119"/>
                  <a:pt x="4171" y="2118"/>
                  <a:pt x="4171" y="2117"/>
                </a:cubicBezTo>
                <a:cubicBezTo>
                  <a:pt x="4171" y="2116"/>
                  <a:pt x="4170" y="2116"/>
                  <a:pt x="4169" y="2115"/>
                </a:cubicBezTo>
                <a:cubicBezTo>
                  <a:pt x="4169" y="2115"/>
                  <a:pt x="4168" y="2115"/>
                  <a:pt x="4168" y="2116"/>
                </a:cubicBezTo>
                <a:close/>
                <a:moveTo>
                  <a:pt x="1330" y="170"/>
                </a:moveTo>
                <a:cubicBezTo>
                  <a:pt x="1330" y="170"/>
                  <a:pt x="1330" y="170"/>
                  <a:pt x="1331" y="169"/>
                </a:cubicBezTo>
                <a:cubicBezTo>
                  <a:pt x="1330" y="169"/>
                  <a:pt x="1330" y="169"/>
                  <a:pt x="1330" y="169"/>
                </a:cubicBezTo>
                <a:cubicBezTo>
                  <a:pt x="1330" y="169"/>
                  <a:pt x="1330" y="170"/>
                  <a:pt x="1330" y="170"/>
                </a:cubicBezTo>
                <a:cubicBezTo>
                  <a:pt x="1330" y="170"/>
                  <a:pt x="1330" y="170"/>
                  <a:pt x="1330" y="170"/>
                </a:cubicBezTo>
                <a:close/>
                <a:moveTo>
                  <a:pt x="1347" y="120"/>
                </a:moveTo>
                <a:cubicBezTo>
                  <a:pt x="1347" y="120"/>
                  <a:pt x="1347" y="120"/>
                  <a:pt x="1347" y="120"/>
                </a:cubicBezTo>
                <a:cubicBezTo>
                  <a:pt x="1347" y="120"/>
                  <a:pt x="1347" y="120"/>
                  <a:pt x="1346" y="120"/>
                </a:cubicBezTo>
                <a:cubicBezTo>
                  <a:pt x="1346" y="120"/>
                  <a:pt x="1346" y="120"/>
                  <a:pt x="1346" y="120"/>
                </a:cubicBezTo>
                <a:cubicBezTo>
                  <a:pt x="1347" y="120"/>
                  <a:pt x="1347" y="120"/>
                  <a:pt x="1347" y="120"/>
                </a:cubicBezTo>
                <a:close/>
                <a:moveTo>
                  <a:pt x="1348" y="126"/>
                </a:moveTo>
                <a:cubicBezTo>
                  <a:pt x="1346" y="129"/>
                  <a:pt x="1346" y="132"/>
                  <a:pt x="1347" y="135"/>
                </a:cubicBezTo>
                <a:cubicBezTo>
                  <a:pt x="1349" y="139"/>
                  <a:pt x="1349" y="143"/>
                  <a:pt x="1348" y="148"/>
                </a:cubicBezTo>
                <a:cubicBezTo>
                  <a:pt x="1347" y="151"/>
                  <a:pt x="1346" y="155"/>
                  <a:pt x="1345" y="159"/>
                </a:cubicBezTo>
                <a:cubicBezTo>
                  <a:pt x="1345" y="160"/>
                  <a:pt x="1344" y="161"/>
                  <a:pt x="1343" y="161"/>
                </a:cubicBezTo>
                <a:cubicBezTo>
                  <a:pt x="1339" y="163"/>
                  <a:pt x="1340" y="166"/>
                  <a:pt x="1340" y="169"/>
                </a:cubicBezTo>
                <a:cubicBezTo>
                  <a:pt x="1340" y="169"/>
                  <a:pt x="1340" y="169"/>
                  <a:pt x="1340" y="169"/>
                </a:cubicBezTo>
                <a:cubicBezTo>
                  <a:pt x="1341" y="170"/>
                  <a:pt x="1343" y="172"/>
                  <a:pt x="1344" y="173"/>
                </a:cubicBezTo>
                <a:cubicBezTo>
                  <a:pt x="1344" y="173"/>
                  <a:pt x="1345" y="174"/>
                  <a:pt x="1345" y="174"/>
                </a:cubicBezTo>
                <a:cubicBezTo>
                  <a:pt x="1346" y="174"/>
                  <a:pt x="1348" y="175"/>
                  <a:pt x="1349" y="176"/>
                </a:cubicBezTo>
                <a:cubicBezTo>
                  <a:pt x="1350" y="176"/>
                  <a:pt x="1350" y="176"/>
                  <a:pt x="1351" y="176"/>
                </a:cubicBezTo>
                <a:cubicBezTo>
                  <a:pt x="1351" y="176"/>
                  <a:pt x="1351" y="176"/>
                  <a:pt x="1351" y="176"/>
                </a:cubicBezTo>
                <a:cubicBezTo>
                  <a:pt x="1352" y="177"/>
                  <a:pt x="1352" y="177"/>
                  <a:pt x="1353" y="177"/>
                </a:cubicBezTo>
                <a:cubicBezTo>
                  <a:pt x="1354" y="177"/>
                  <a:pt x="1354" y="178"/>
                  <a:pt x="1354" y="178"/>
                </a:cubicBezTo>
                <a:cubicBezTo>
                  <a:pt x="1354" y="179"/>
                  <a:pt x="1353" y="179"/>
                  <a:pt x="1353" y="180"/>
                </a:cubicBezTo>
                <a:cubicBezTo>
                  <a:pt x="1352" y="180"/>
                  <a:pt x="1351" y="180"/>
                  <a:pt x="1351" y="179"/>
                </a:cubicBezTo>
                <a:cubicBezTo>
                  <a:pt x="1351" y="178"/>
                  <a:pt x="1351" y="177"/>
                  <a:pt x="1351" y="176"/>
                </a:cubicBezTo>
                <a:cubicBezTo>
                  <a:pt x="1351" y="176"/>
                  <a:pt x="1350" y="176"/>
                  <a:pt x="1350" y="176"/>
                </a:cubicBezTo>
                <a:cubicBezTo>
                  <a:pt x="1350" y="176"/>
                  <a:pt x="1350" y="176"/>
                  <a:pt x="1349" y="176"/>
                </a:cubicBezTo>
                <a:cubicBezTo>
                  <a:pt x="1348" y="175"/>
                  <a:pt x="1346" y="175"/>
                  <a:pt x="1345" y="174"/>
                </a:cubicBezTo>
                <a:cubicBezTo>
                  <a:pt x="1345" y="174"/>
                  <a:pt x="1344" y="173"/>
                  <a:pt x="1344" y="173"/>
                </a:cubicBezTo>
                <a:cubicBezTo>
                  <a:pt x="1342" y="172"/>
                  <a:pt x="1341" y="171"/>
                  <a:pt x="1340" y="169"/>
                </a:cubicBezTo>
                <a:cubicBezTo>
                  <a:pt x="1340" y="169"/>
                  <a:pt x="1340" y="169"/>
                  <a:pt x="1340" y="169"/>
                </a:cubicBezTo>
                <a:cubicBezTo>
                  <a:pt x="1337" y="169"/>
                  <a:pt x="1333" y="170"/>
                  <a:pt x="1330" y="170"/>
                </a:cubicBezTo>
                <a:cubicBezTo>
                  <a:pt x="1329" y="171"/>
                  <a:pt x="1327" y="172"/>
                  <a:pt x="1325" y="172"/>
                </a:cubicBezTo>
                <a:cubicBezTo>
                  <a:pt x="1321" y="172"/>
                  <a:pt x="1317" y="173"/>
                  <a:pt x="1314" y="173"/>
                </a:cubicBezTo>
                <a:cubicBezTo>
                  <a:pt x="1312" y="179"/>
                  <a:pt x="1309" y="183"/>
                  <a:pt x="1304" y="187"/>
                </a:cubicBezTo>
                <a:cubicBezTo>
                  <a:pt x="1300" y="189"/>
                  <a:pt x="1299" y="193"/>
                  <a:pt x="1298" y="196"/>
                </a:cubicBezTo>
                <a:cubicBezTo>
                  <a:pt x="1298" y="198"/>
                  <a:pt x="1300" y="201"/>
                  <a:pt x="1302" y="201"/>
                </a:cubicBezTo>
                <a:cubicBezTo>
                  <a:pt x="1303" y="202"/>
                  <a:pt x="1304" y="202"/>
                  <a:pt x="1305" y="202"/>
                </a:cubicBezTo>
                <a:cubicBezTo>
                  <a:pt x="1310" y="202"/>
                  <a:pt x="1312" y="204"/>
                  <a:pt x="1312" y="209"/>
                </a:cubicBezTo>
                <a:cubicBezTo>
                  <a:pt x="1312" y="211"/>
                  <a:pt x="1312" y="213"/>
                  <a:pt x="1312" y="215"/>
                </a:cubicBezTo>
                <a:cubicBezTo>
                  <a:pt x="1311" y="218"/>
                  <a:pt x="1311" y="220"/>
                  <a:pt x="1308" y="222"/>
                </a:cubicBezTo>
                <a:cubicBezTo>
                  <a:pt x="1308" y="223"/>
                  <a:pt x="1307" y="223"/>
                  <a:pt x="1307" y="223"/>
                </a:cubicBezTo>
                <a:cubicBezTo>
                  <a:pt x="1307" y="223"/>
                  <a:pt x="1306" y="222"/>
                  <a:pt x="1306" y="222"/>
                </a:cubicBezTo>
                <a:cubicBezTo>
                  <a:pt x="1305" y="219"/>
                  <a:pt x="1305" y="215"/>
                  <a:pt x="1303" y="211"/>
                </a:cubicBezTo>
                <a:cubicBezTo>
                  <a:pt x="1303" y="209"/>
                  <a:pt x="1301" y="207"/>
                  <a:pt x="1299" y="207"/>
                </a:cubicBezTo>
                <a:cubicBezTo>
                  <a:pt x="1296" y="205"/>
                  <a:pt x="1292" y="205"/>
                  <a:pt x="1288" y="206"/>
                </a:cubicBezTo>
                <a:cubicBezTo>
                  <a:pt x="1287" y="207"/>
                  <a:pt x="1286" y="208"/>
                  <a:pt x="1286" y="209"/>
                </a:cubicBezTo>
                <a:cubicBezTo>
                  <a:pt x="1285" y="210"/>
                  <a:pt x="1285" y="212"/>
                  <a:pt x="1285" y="213"/>
                </a:cubicBezTo>
                <a:cubicBezTo>
                  <a:pt x="1284" y="220"/>
                  <a:pt x="1286" y="226"/>
                  <a:pt x="1287" y="232"/>
                </a:cubicBezTo>
                <a:cubicBezTo>
                  <a:pt x="1287" y="232"/>
                  <a:pt x="1287" y="232"/>
                  <a:pt x="1287" y="232"/>
                </a:cubicBezTo>
                <a:cubicBezTo>
                  <a:pt x="1287" y="232"/>
                  <a:pt x="1287" y="232"/>
                  <a:pt x="1287" y="232"/>
                </a:cubicBezTo>
                <a:cubicBezTo>
                  <a:pt x="1287" y="232"/>
                  <a:pt x="1287" y="232"/>
                  <a:pt x="1287" y="232"/>
                </a:cubicBezTo>
                <a:cubicBezTo>
                  <a:pt x="1285" y="232"/>
                  <a:pt x="1284" y="233"/>
                  <a:pt x="1282" y="232"/>
                </a:cubicBezTo>
                <a:cubicBezTo>
                  <a:pt x="1273" y="230"/>
                  <a:pt x="1264" y="234"/>
                  <a:pt x="1256" y="238"/>
                </a:cubicBezTo>
                <a:cubicBezTo>
                  <a:pt x="1255" y="239"/>
                  <a:pt x="1255" y="239"/>
                  <a:pt x="1254" y="239"/>
                </a:cubicBezTo>
                <a:cubicBezTo>
                  <a:pt x="1253" y="240"/>
                  <a:pt x="1252" y="241"/>
                  <a:pt x="1251" y="242"/>
                </a:cubicBezTo>
                <a:cubicBezTo>
                  <a:pt x="1249" y="244"/>
                  <a:pt x="1248" y="242"/>
                  <a:pt x="1247" y="241"/>
                </a:cubicBezTo>
                <a:cubicBezTo>
                  <a:pt x="1244" y="239"/>
                  <a:pt x="1242" y="239"/>
                  <a:pt x="1241" y="241"/>
                </a:cubicBezTo>
                <a:cubicBezTo>
                  <a:pt x="1239" y="244"/>
                  <a:pt x="1240" y="250"/>
                  <a:pt x="1242" y="251"/>
                </a:cubicBezTo>
                <a:cubicBezTo>
                  <a:pt x="1247" y="255"/>
                  <a:pt x="1252" y="260"/>
                  <a:pt x="1259" y="262"/>
                </a:cubicBezTo>
                <a:cubicBezTo>
                  <a:pt x="1265" y="264"/>
                  <a:pt x="1271" y="268"/>
                  <a:pt x="1278" y="271"/>
                </a:cubicBezTo>
                <a:cubicBezTo>
                  <a:pt x="1279" y="272"/>
                  <a:pt x="1281" y="273"/>
                  <a:pt x="1282" y="273"/>
                </a:cubicBezTo>
                <a:cubicBezTo>
                  <a:pt x="1285" y="274"/>
                  <a:pt x="1287" y="274"/>
                  <a:pt x="1289" y="271"/>
                </a:cubicBezTo>
                <a:cubicBezTo>
                  <a:pt x="1290" y="270"/>
                  <a:pt x="1290" y="270"/>
                  <a:pt x="1291" y="269"/>
                </a:cubicBezTo>
                <a:cubicBezTo>
                  <a:pt x="1291" y="269"/>
                  <a:pt x="1291" y="269"/>
                  <a:pt x="1291" y="269"/>
                </a:cubicBezTo>
                <a:cubicBezTo>
                  <a:pt x="1290" y="268"/>
                  <a:pt x="1290" y="268"/>
                  <a:pt x="1290" y="268"/>
                </a:cubicBezTo>
                <a:cubicBezTo>
                  <a:pt x="1291" y="269"/>
                  <a:pt x="1291" y="269"/>
                  <a:pt x="1291" y="269"/>
                </a:cubicBezTo>
                <a:cubicBezTo>
                  <a:pt x="1291" y="269"/>
                  <a:pt x="1291" y="269"/>
                  <a:pt x="1291" y="269"/>
                </a:cubicBezTo>
                <a:cubicBezTo>
                  <a:pt x="1293" y="268"/>
                  <a:pt x="1296" y="267"/>
                  <a:pt x="1299" y="269"/>
                </a:cubicBezTo>
                <a:cubicBezTo>
                  <a:pt x="1304" y="273"/>
                  <a:pt x="1310" y="276"/>
                  <a:pt x="1317" y="274"/>
                </a:cubicBezTo>
                <a:cubicBezTo>
                  <a:pt x="1318" y="274"/>
                  <a:pt x="1319" y="275"/>
                  <a:pt x="1320" y="275"/>
                </a:cubicBezTo>
                <a:cubicBezTo>
                  <a:pt x="1323" y="275"/>
                  <a:pt x="1324" y="277"/>
                  <a:pt x="1324" y="281"/>
                </a:cubicBezTo>
                <a:cubicBezTo>
                  <a:pt x="1324" y="281"/>
                  <a:pt x="1324" y="282"/>
                  <a:pt x="1324" y="282"/>
                </a:cubicBezTo>
                <a:cubicBezTo>
                  <a:pt x="1324" y="285"/>
                  <a:pt x="1326" y="286"/>
                  <a:pt x="1328" y="286"/>
                </a:cubicBezTo>
                <a:cubicBezTo>
                  <a:pt x="1332" y="285"/>
                  <a:pt x="1336" y="284"/>
                  <a:pt x="1339" y="283"/>
                </a:cubicBezTo>
                <a:cubicBezTo>
                  <a:pt x="1342" y="282"/>
                  <a:pt x="1344" y="280"/>
                  <a:pt x="1347" y="281"/>
                </a:cubicBezTo>
                <a:cubicBezTo>
                  <a:pt x="1353" y="281"/>
                  <a:pt x="1357" y="277"/>
                  <a:pt x="1361" y="273"/>
                </a:cubicBezTo>
                <a:cubicBezTo>
                  <a:pt x="1361" y="273"/>
                  <a:pt x="1361" y="272"/>
                  <a:pt x="1361" y="272"/>
                </a:cubicBezTo>
                <a:cubicBezTo>
                  <a:pt x="1364" y="267"/>
                  <a:pt x="1363" y="264"/>
                  <a:pt x="1358" y="261"/>
                </a:cubicBezTo>
                <a:cubicBezTo>
                  <a:pt x="1356" y="260"/>
                  <a:pt x="1355" y="260"/>
                  <a:pt x="1354" y="258"/>
                </a:cubicBezTo>
                <a:cubicBezTo>
                  <a:pt x="1354" y="256"/>
                  <a:pt x="1355" y="254"/>
                  <a:pt x="1356" y="252"/>
                </a:cubicBezTo>
                <a:cubicBezTo>
                  <a:pt x="1357" y="251"/>
                  <a:pt x="1359" y="250"/>
                  <a:pt x="1360" y="249"/>
                </a:cubicBezTo>
                <a:cubicBezTo>
                  <a:pt x="1364" y="248"/>
                  <a:pt x="1367" y="246"/>
                  <a:pt x="1371" y="244"/>
                </a:cubicBezTo>
                <a:cubicBezTo>
                  <a:pt x="1374" y="242"/>
                  <a:pt x="1378" y="239"/>
                  <a:pt x="1379" y="235"/>
                </a:cubicBezTo>
                <a:cubicBezTo>
                  <a:pt x="1379" y="234"/>
                  <a:pt x="1380" y="233"/>
                  <a:pt x="1380" y="231"/>
                </a:cubicBezTo>
                <a:cubicBezTo>
                  <a:pt x="1380" y="231"/>
                  <a:pt x="1380" y="230"/>
                  <a:pt x="1381" y="230"/>
                </a:cubicBezTo>
                <a:cubicBezTo>
                  <a:pt x="1382" y="228"/>
                  <a:pt x="1384" y="226"/>
                  <a:pt x="1386" y="227"/>
                </a:cubicBezTo>
                <a:cubicBezTo>
                  <a:pt x="1391" y="229"/>
                  <a:pt x="1397" y="228"/>
                  <a:pt x="1402" y="228"/>
                </a:cubicBezTo>
                <a:cubicBezTo>
                  <a:pt x="1404" y="228"/>
                  <a:pt x="1406" y="225"/>
                  <a:pt x="1405" y="222"/>
                </a:cubicBezTo>
                <a:cubicBezTo>
                  <a:pt x="1404" y="221"/>
                  <a:pt x="1404" y="220"/>
                  <a:pt x="1404" y="219"/>
                </a:cubicBezTo>
                <a:cubicBezTo>
                  <a:pt x="1404" y="219"/>
                  <a:pt x="1403" y="219"/>
                  <a:pt x="1403" y="219"/>
                </a:cubicBezTo>
                <a:cubicBezTo>
                  <a:pt x="1403" y="219"/>
                  <a:pt x="1403" y="219"/>
                  <a:pt x="1402" y="219"/>
                </a:cubicBezTo>
                <a:cubicBezTo>
                  <a:pt x="1402" y="219"/>
                  <a:pt x="1401" y="218"/>
                  <a:pt x="1401" y="218"/>
                </a:cubicBezTo>
                <a:cubicBezTo>
                  <a:pt x="1402" y="217"/>
                  <a:pt x="1402" y="218"/>
                  <a:pt x="1402" y="219"/>
                </a:cubicBezTo>
                <a:cubicBezTo>
                  <a:pt x="1403" y="219"/>
                  <a:pt x="1403" y="219"/>
                  <a:pt x="1404" y="219"/>
                </a:cubicBezTo>
                <a:cubicBezTo>
                  <a:pt x="1404" y="219"/>
                  <a:pt x="1404" y="219"/>
                  <a:pt x="1404" y="219"/>
                </a:cubicBezTo>
                <a:cubicBezTo>
                  <a:pt x="1409" y="220"/>
                  <a:pt x="1413" y="219"/>
                  <a:pt x="1416" y="214"/>
                </a:cubicBezTo>
                <a:cubicBezTo>
                  <a:pt x="1417" y="212"/>
                  <a:pt x="1419" y="210"/>
                  <a:pt x="1421" y="208"/>
                </a:cubicBezTo>
                <a:cubicBezTo>
                  <a:pt x="1423" y="206"/>
                  <a:pt x="1424" y="204"/>
                  <a:pt x="1426" y="202"/>
                </a:cubicBezTo>
                <a:cubicBezTo>
                  <a:pt x="1428" y="199"/>
                  <a:pt x="1428" y="196"/>
                  <a:pt x="1426" y="193"/>
                </a:cubicBezTo>
                <a:cubicBezTo>
                  <a:pt x="1424" y="191"/>
                  <a:pt x="1423" y="189"/>
                  <a:pt x="1423" y="186"/>
                </a:cubicBezTo>
                <a:cubicBezTo>
                  <a:pt x="1423" y="186"/>
                  <a:pt x="1423" y="186"/>
                  <a:pt x="1423" y="186"/>
                </a:cubicBezTo>
                <a:cubicBezTo>
                  <a:pt x="1423" y="186"/>
                  <a:pt x="1422" y="186"/>
                  <a:pt x="1422" y="186"/>
                </a:cubicBezTo>
                <a:cubicBezTo>
                  <a:pt x="1422" y="186"/>
                  <a:pt x="1423" y="186"/>
                  <a:pt x="1423" y="186"/>
                </a:cubicBezTo>
                <a:cubicBezTo>
                  <a:pt x="1423" y="186"/>
                  <a:pt x="1423" y="186"/>
                  <a:pt x="1423" y="186"/>
                </a:cubicBezTo>
                <a:cubicBezTo>
                  <a:pt x="1426" y="187"/>
                  <a:pt x="1428" y="188"/>
                  <a:pt x="1431" y="189"/>
                </a:cubicBezTo>
                <a:cubicBezTo>
                  <a:pt x="1434" y="190"/>
                  <a:pt x="1436" y="188"/>
                  <a:pt x="1436" y="185"/>
                </a:cubicBezTo>
                <a:cubicBezTo>
                  <a:pt x="1437" y="182"/>
                  <a:pt x="1436" y="180"/>
                  <a:pt x="1433" y="178"/>
                </a:cubicBezTo>
                <a:cubicBezTo>
                  <a:pt x="1432" y="177"/>
                  <a:pt x="1429" y="177"/>
                  <a:pt x="1427" y="176"/>
                </a:cubicBezTo>
                <a:cubicBezTo>
                  <a:pt x="1427" y="176"/>
                  <a:pt x="1426" y="175"/>
                  <a:pt x="1426" y="175"/>
                </a:cubicBezTo>
                <a:cubicBezTo>
                  <a:pt x="1427" y="174"/>
                  <a:pt x="1427" y="173"/>
                  <a:pt x="1428" y="173"/>
                </a:cubicBezTo>
                <a:cubicBezTo>
                  <a:pt x="1430" y="172"/>
                  <a:pt x="1431" y="171"/>
                  <a:pt x="1433" y="171"/>
                </a:cubicBezTo>
                <a:cubicBezTo>
                  <a:pt x="1438" y="173"/>
                  <a:pt x="1442" y="172"/>
                  <a:pt x="1447" y="172"/>
                </a:cubicBezTo>
                <a:cubicBezTo>
                  <a:pt x="1450" y="172"/>
                  <a:pt x="1452" y="170"/>
                  <a:pt x="1453" y="167"/>
                </a:cubicBezTo>
                <a:cubicBezTo>
                  <a:pt x="1453" y="166"/>
                  <a:pt x="1454" y="165"/>
                  <a:pt x="1454" y="164"/>
                </a:cubicBezTo>
                <a:cubicBezTo>
                  <a:pt x="1455" y="165"/>
                  <a:pt x="1456" y="165"/>
                  <a:pt x="1456" y="166"/>
                </a:cubicBezTo>
                <a:cubicBezTo>
                  <a:pt x="1457" y="166"/>
                  <a:pt x="1458" y="167"/>
                  <a:pt x="1459" y="168"/>
                </a:cubicBezTo>
                <a:cubicBezTo>
                  <a:pt x="1466" y="171"/>
                  <a:pt x="1471" y="170"/>
                  <a:pt x="1476" y="164"/>
                </a:cubicBezTo>
                <a:cubicBezTo>
                  <a:pt x="1482" y="157"/>
                  <a:pt x="1488" y="151"/>
                  <a:pt x="1495" y="147"/>
                </a:cubicBezTo>
                <a:cubicBezTo>
                  <a:pt x="1499" y="145"/>
                  <a:pt x="1503" y="143"/>
                  <a:pt x="1506" y="140"/>
                </a:cubicBezTo>
                <a:cubicBezTo>
                  <a:pt x="1508" y="137"/>
                  <a:pt x="1510" y="136"/>
                  <a:pt x="1513" y="136"/>
                </a:cubicBezTo>
                <a:cubicBezTo>
                  <a:pt x="1521" y="133"/>
                  <a:pt x="1529" y="127"/>
                  <a:pt x="1537" y="126"/>
                </a:cubicBezTo>
                <a:cubicBezTo>
                  <a:pt x="1545" y="122"/>
                  <a:pt x="1553" y="118"/>
                  <a:pt x="1560" y="113"/>
                </a:cubicBezTo>
                <a:cubicBezTo>
                  <a:pt x="1561" y="112"/>
                  <a:pt x="1561" y="110"/>
                  <a:pt x="1562" y="109"/>
                </a:cubicBezTo>
                <a:cubicBezTo>
                  <a:pt x="1562" y="107"/>
                  <a:pt x="1561" y="106"/>
                  <a:pt x="1558" y="105"/>
                </a:cubicBezTo>
                <a:cubicBezTo>
                  <a:pt x="1556" y="104"/>
                  <a:pt x="1554" y="103"/>
                  <a:pt x="1552" y="103"/>
                </a:cubicBezTo>
                <a:cubicBezTo>
                  <a:pt x="1552" y="103"/>
                  <a:pt x="1552" y="103"/>
                  <a:pt x="1552" y="103"/>
                </a:cubicBezTo>
                <a:cubicBezTo>
                  <a:pt x="1551" y="104"/>
                  <a:pt x="1551" y="104"/>
                  <a:pt x="1551" y="104"/>
                </a:cubicBezTo>
                <a:cubicBezTo>
                  <a:pt x="1552" y="103"/>
                  <a:pt x="1552" y="103"/>
                  <a:pt x="1552" y="103"/>
                </a:cubicBezTo>
                <a:cubicBezTo>
                  <a:pt x="1552" y="103"/>
                  <a:pt x="1552" y="103"/>
                  <a:pt x="1552" y="103"/>
                </a:cubicBezTo>
                <a:cubicBezTo>
                  <a:pt x="1553" y="101"/>
                  <a:pt x="1553" y="99"/>
                  <a:pt x="1556" y="99"/>
                </a:cubicBezTo>
                <a:cubicBezTo>
                  <a:pt x="1564" y="99"/>
                  <a:pt x="1572" y="98"/>
                  <a:pt x="1580" y="97"/>
                </a:cubicBezTo>
                <a:cubicBezTo>
                  <a:pt x="1588" y="93"/>
                  <a:pt x="1596" y="89"/>
                  <a:pt x="1604" y="85"/>
                </a:cubicBezTo>
                <a:cubicBezTo>
                  <a:pt x="1605" y="85"/>
                  <a:pt x="1606" y="84"/>
                  <a:pt x="1606" y="83"/>
                </a:cubicBezTo>
                <a:cubicBezTo>
                  <a:pt x="1608" y="81"/>
                  <a:pt x="1610" y="80"/>
                  <a:pt x="1611" y="77"/>
                </a:cubicBezTo>
                <a:cubicBezTo>
                  <a:pt x="1612" y="74"/>
                  <a:pt x="1613" y="71"/>
                  <a:pt x="1613" y="68"/>
                </a:cubicBezTo>
                <a:cubicBezTo>
                  <a:pt x="1613" y="64"/>
                  <a:pt x="1611" y="61"/>
                  <a:pt x="1608" y="60"/>
                </a:cubicBezTo>
                <a:cubicBezTo>
                  <a:pt x="1605" y="59"/>
                  <a:pt x="1604" y="58"/>
                  <a:pt x="1604" y="55"/>
                </a:cubicBezTo>
                <a:cubicBezTo>
                  <a:pt x="1605" y="51"/>
                  <a:pt x="1605" y="48"/>
                  <a:pt x="1605" y="44"/>
                </a:cubicBezTo>
                <a:cubicBezTo>
                  <a:pt x="1605" y="43"/>
                  <a:pt x="1604" y="42"/>
                  <a:pt x="1603" y="41"/>
                </a:cubicBezTo>
                <a:cubicBezTo>
                  <a:pt x="1600" y="40"/>
                  <a:pt x="1596" y="39"/>
                  <a:pt x="1592" y="38"/>
                </a:cubicBezTo>
                <a:cubicBezTo>
                  <a:pt x="1589" y="37"/>
                  <a:pt x="1586" y="37"/>
                  <a:pt x="1583" y="39"/>
                </a:cubicBezTo>
                <a:cubicBezTo>
                  <a:pt x="1582" y="40"/>
                  <a:pt x="1581" y="40"/>
                  <a:pt x="1579" y="40"/>
                </a:cubicBezTo>
                <a:cubicBezTo>
                  <a:pt x="1579" y="40"/>
                  <a:pt x="1579" y="41"/>
                  <a:pt x="1579" y="41"/>
                </a:cubicBezTo>
                <a:cubicBezTo>
                  <a:pt x="1578" y="41"/>
                  <a:pt x="1578" y="41"/>
                  <a:pt x="1578" y="41"/>
                </a:cubicBezTo>
                <a:cubicBezTo>
                  <a:pt x="1577" y="41"/>
                  <a:pt x="1577" y="42"/>
                  <a:pt x="1576" y="42"/>
                </a:cubicBezTo>
                <a:cubicBezTo>
                  <a:pt x="1576" y="43"/>
                  <a:pt x="1576" y="42"/>
                  <a:pt x="1575" y="42"/>
                </a:cubicBezTo>
                <a:cubicBezTo>
                  <a:pt x="1576" y="41"/>
                  <a:pt x="1577" y="41"/>
                  <a:pt x="1578" y="41"/>
                </a:cubicBezTo>
                <a:cubicBezTo>
                  <a:pt x="1578" y="41"/>
                  <a:pt x="1578" y="41"/>
                  <a:pt x="1578" y="40"/>
                </a:cubicBezTo>
                <a:cubicBezTo>
                  <a:pt x="1579" y="40"/>
                  <a:pt x="1579" y="40"/>
                  <a:pt x="1579" y="40"/>
                </a:cubicBezTo>
                <a:cubicBezTo>
                  <a:pt x="1581" y="38"/>
                  <a:pt x="1583" y="37"/>
                  <a:pt x="1584" y="35"/>
                </a:cubicBezTo>
                <a:cubicBezTo>
                  <a:pt x="1587" y="33"/>
                  <a:pt x="1587" y="32"/>
                  <a:pt x="1584" y="30"/>
                </a:cubicBezTo>
                <a:cubicBezTo>
                  <a:pt x="1583" y="29"/>
                  <a:pt x="1582" y="28"/>
                  <a:pt x="1582" y="28"/>
                </a:cubicBezTo>
                <a:cubicBezTo>
                  <a:pt x="1581" y="27"/>
                  <a:pt x="1581" y="27"/>
                  <a:pt x="1580" y="27"/>
                </a:cubicBezTo>
                <a:cubicBezTo>
                  <a:pt x="1576" y="27"/>
                  <a:pt x="1572" y="23"/>
                  <a:pt x="1568" y="22"/>
                </a:cubicBezTo>
                <a:cubicBezTo>
                  <a:pt x="1565" y="22"/>
                  <a:pt x="1563" y="20"/>
                  <a:pt x="1562" y="17"/>
                </a:cubicBezTo>
                <a:cubicBezTo>
                  <a:pt x="1562" y="15"/>
                  <a:pt x="1560" y="14"/>
                  <a:pt x="1558" y="13"/>
                </a:cubicBezTo>
                <a:cubicBezTo>
                  <a:pt x="1553" y="12"/>
                  <a:pt x="1549" y="12"/>
                  <a:pt x="1545" y="11"/>
                </a:cubicBezTo>
                <a:cubicBezTo>
                  <a:pt x="1540" y="9"/>
                  <a:pt x="1537" y="9"/>
                  <a:pt x="1533" y="12"/>
                </a:cubicBezTo>
                <a:cubicBezTo>
                  <a:pt x="1530" y="14"/>
                  <a:pt x="1528" y="12"/>
                  <a:pt x="1528" y="8"/>
                </a:cubicBezTo>
                <a:cubicBezTo>
                  <a:pt x="1528" y="7"/>
                  <a:pt x="1528" y="6"/>
                  <a:pt x="1527" y="5"/>
                </a:cubicBezTo>
                <a:cubicBezTo>
                  <a:pt x="1521" y="4"/>
                  <a:pt x="1515" y="2"/>
                  <a:pt x="1510" y="1"/>
                </a:cubicBezTo>
                <a:cubicBezTo>
                  <a:pt x="1507" y="1"/>
                  <a:pt x="1505" y="1"/>
                  <a:pt x="1503" y="1"/>
                </a:cubicBezTo>
                <a:cubicBezTo>
                  <a:pt x="1501" y="1"/>
                  <a:pt x="1499" y="4"/>
                  <a:pt x="1499" y="6"/>
                </a:cubicBezTo>
                <a:cubicBezTo>
                  <a:pt x="1498" y="9"/>
                  <a:pt x="1498" y="13"/>
                  <a:pt x="1497" y="17"/>
                </a:cubicBezTo>
                <a:cubicBezTo>
                  <a:pt x="1497" y="17"/>
                  <a:pt x="1497" y="18"/>
                  <a:pt x="1496" y="18"/>
                </a:cubicBezTo>
                <a:cubicBezTo>
                  <a:pt x="1495" y="18"/>
                  <a:pt x="1494" y="18"/>
                  <a:pt x="1494" y="17"/>
                </a:cubicBezTo>
                <a:cubicBezTo>
                  <a:pt x="1494" y="15"/>
                  <a:pt x="1494" y="13"/>
                  <a:pt x="1494" y="12"/>
                </a:cubicBezTo>
                <a:cubicBezTo>
                  <a:pt x="1494" y="11"/>
                  <a:pt x="1494" y="10"/>
                  <a:pt x="1493" y="10"/>
                </a:cubicBezTo>
                <a:cubicBezTo>
                  <a:pt x="1493" y="9"/>
                  <a:pt x="1492" y="8"/>
                  <a:pt x="1491" y="8"/>
                </a:cubicBezTo>
                <a:cubicBezTo>
                  <a:pt x="1486" y="9"/>
                  <a:pt x="1484" y="6"/>
                  <a:pt x="1482" y="3"/>
                </a:cubicBezTo>
                <a:cubicBezTo>
                  <a:pt x="1480" y="1"/>
                  <a:pt x="1477" y="0"/>
                  <a:pt x="1474" y="1"/>
                </a:cubicBezTo>
                <a:cubicBezTo>
                  <a:pt x="1471" y="3"/>
                  <a:pt x="1470" y="5"/>
                  <a:pt x="1470" y="8"/>
                </a:cubicBezTo>
                <a:cubicBezTo>
                  <a:pt x="1470" y="10"/>
                  <a:pt x="1470" y="12"/>
                  <a:pt x="1471" y="14"/>
                </a:cubicBezTo>
                <a:cubicBezTo>
                  <a:pt x="1471" y="15"/>
                  <a:pt x="1470" y="15"/>
                  <a:pt x="1470" y="16"/>
                </a:cubicBezTo>
                <a:cubicBezTo>
                  <a:pt x="1469" y="16"/>
                  <a:pt x="1468" y="16"/>
                  <a:pt x="1468" y="15"/>
                </a:cubicBezTo>
                <a:cubicBezTo>
                  <a:pt x="1467" y="12"/>
                  <a:pt x="1465" y="9"/>
                  <a:pt x="1464" y="7"/>
                </a:cubicBezTo>
                <a:cubicBezTo>
                  <a:pt x="1462" y="4"/>
                  <a:pt x="1458" y="4"/>
                  <a:pt x="1456" y="7"/>
                </a:cubicBezTo>
                <a:cubicBezTo>
                  <a:pt x="1454" y="11"/>
                  <a:pt x="1454" y="11"/>
                  <a:pt x="1452" y="10"/>
                </a:cubicBezTo>
                <a:cubicBezTo>
                  <a:pt x="1451" y="10"/>
                  <a:pt x="1451" y="10"/>
                  <a:pt x="1450" y="10"/>
                </a:cubicBezTo>
                <a:cubicBezTo>
                  <a:pt x="1447" y="9"/>
                  <a:pt x="1444" y="10"/>
                  <a:pt x="1445" y="13"/>
                </a:cubicBezTo>
                <a:cubicBezTo>
                  <a:pt x="1446" y="18"/>
                  <a:pt x="1444" y="20"/>
                  <a:pt x="1441" y="22"/>
                </a:cubicBezTo>
                <a:cubicBezTo>
                  <a:pt x="1439" y="24"/>
                  <a:pt x="1439" y="26"/>
                  <a:pt x="1438" y="28"/>
                </a:cubicBezTo>
                <a:cubicBezTo>
                  <a:pt x="1437" y="30"/>
                  <a:pt x="1432" y="30"/>
                  <a:pt x="1431" y="28"/>
                </a:cubicBezTo>
                <a:cubicBezTo>
                  <a:pt x="1429" y="23"/>
                  <a:pt x="1427" y="19"/>
                  <a:pt x="1424" y="14"/>
                </a:cubicBezTo>
                <a:cubicBezTo>
                  <a:pt x="1424" y="13"/>
                  <a:pt x="1421" y="12"/>
                  <a:pt x="1419" y="12"/>
                </a:cubicBezTo>
                <a:cubicBezTo>
                  <a:pt x="1417" y="12"/>
                  <a:pt x="1415" y="13"/>
                  <a:pt x="1414" y="16"/>
                </a:cubicBezTo>
                <a:cubicBezTo>
                  <a:pt x="1414" y="19"/>
                  <a:pt x="1412" y="21"/>
                  <a:pt x="1409" y="21"/>
                </a:cubicBezTo>
                <a:cubicBezTo>
                  <a:pt x="1408" y="21"/>
                  <a:pt x="1407" y="22"/>
                  <a:pt x="1406" y="22"/>
                </a:cubicBezTo>
                <a:cubicBezTo>
                  <a:pt x="1405" y="23"/>
                  <a:pt x="1404" y="24"/>
                  <a:pt x="1405" y="25"/>
                </a:cubicBezTo>
                <a:cubicBezTo>
                  <a:pt x="1406" y="29"/>
                  <a:pt x="1408" y="33"/>
                  <a:pt x="1409" y="37"/>
                </a:cubicBezTo>
                <a:cubicBezTo>
                  <a:pt x="1409" y="37"/>
                  <a:pt x="1410" y="37"/>
                  <a:pt x="1410" y="37"/>
                </a:cubicBezTo>
                <a:cubicBezTo>
                  <a:pt x="1410" y="38"/>
                  <a:pt x="1410" y="38"/>
                  <a:pt x="1410" y="38"/>
                </a:cubicBezTo>
                <a:cubicBezTo>
                  <a:pt x="1409" y="37"/>
                  <a:pt x="1409" y="37"/>
                  <a:pt x="1409" y="37"/>
                </a:cubicBezTo>
                <a:cubicBezTo>
                  <a:pt x="1409" y="37"/>
                  <a:pt x="1409" y="37"/>
                  <a:pt x="1409" y="37"/>
                </a:cubicBezTo>
                <a:cubicBezTo>
                  <a:pt x="1407" y="37"/>
                  <a:pt x="1404" y="36"/>
                  <a:pt x="1403" y="34"/>
                </a:cubicBezTo>
                <a:cubicBezTo>
                  <a:pt x="1401" y="32"/>
                  <a:pt x="1399" y="31"/>
                  <a:pt x="1397" y="32"/>
                </a:cubicBezTo>
                <a:cubicBezTo>
                  <a:pt x="1395" y="32"/>
                  <a:pt x="1394" y="32"/>
                  <a:pt x="1393" y="31"/>
                </a:cubicBezTo>
                <a:cubicBezTo>
                  <a:pt x="1392" y="29"/>
                  <a:pt x="1391" y="28"/>
                  <a:pt x="1390" y="27"/>
                </a:cubicBezTo>
                <a:cubicBezTo>
                  <a:pt x="1388" y="24"/>
                  <a:pt x="1386" y="24"/>
                  <a:pt x="1384" y="26"/>
                </a:cubicBezTo>
                <a:cubicBezTo>
                  <a:pt x="1383" y="27"/>
                  <a:pt x="1381" y="29"/>
                  <a:pt x="1380" y="30"/>
                </a:cubicBezTo>
                <a:cubicBezTo>
                  <a:pt x="1379" y="31"/>
                  <a:pt x="1378" y="31"/>
                  <a:pt x="1377" y="30"/>
                </a:cubicBezTo>
                <a:cubicBezTo>
                  <a:pt x="1375" y="28"/>
                  <a:pt x="1372" y="27"/>
                  <a:pt x="1369" y="28"/>
                </a:cubicBezTo>
                <a:cubicBezTo>
                  <a:pt x="1363" y="29"/>
                  <a:pt x="1357" y="31"/>
                  <a:pt x="1352" y="35"/>
                </a:cubicBezTo>
                <a:cubicBezTo>
                  <a:pt x="1351" y="35"/>
                  <a:pt x="1350" y="37"/>
                  <a:pt x="1349" y="38"/>
                </a:cubicBezTo>
                <a:cubicBezTo>
                  <a:pt x="1347" y="40"/>
                  <a:pt x="1347" y="44"/>
                  <a:pt x="1350" y="46"/>
                </a:cubicBezTo>
                <a:cubicBezTo>
                  <a:pt x="1351" y="47"/>
                  <a:pt x="1352" y="47"/>
                  <a:pt x="1353" y="47"/>
                </a:cubicBezTo>
                <a:cubicBezTo>
                  <a:pt x="1353" y="47"/>
                  <a:pt x="1353" y="47"/>
                  <a:pt x="1353" y="47"/>
                </a:cubicBezTo>
                <a:cubicBezTo>
                  <a:pt x="1353" y="47"/>
                  <a:pt x="1353" y="47"/>
                  <a:pt x="1354" y="47"/>
                </a:cubicBezTo>
                <a:cubicBezTo>
                  <a:pt x="1354" y="46"/>
                  <a:pt x="1355" y="45"/>
                  <a:pt x="1356" y="44"/>
                </a:cubicBezTo>
                <a:cubicBezTo>
                  <a:pt x="1356" y="44"/>
                  <a:pt x="1357" y="43"/>
                  <a:pt x="1357" y="44"/>
                </a:cubicBezTo>
                <a:cubicBezTo>
                  <a:pt x="1358" y="44"/>
                  <a:pt x="1358" y="45"/>
                  <a:pt x="1357" y="46"/>
                </a:cubicBezTo>
                <a:cubicBezTo>
                  <a:pt x="1356" y="46"/>
                  <a:pt x="1355" y="46"/>
                  <a:pt x="1354" y="47"/>
                </a:cubicBezTo>
                <a:cubicBezTo>
                  <a:pt x="1354" y="47"/>
                  <a:pt x="1353" y="47"/>
                  <a:pt x="1353" y="47"/>
                </a:cubicBezTo>
                <a:cubicBezTo>
                  <a:pt x="1353" y="47"/>
                  <a:pt x="1353" y="47"/>
                  <a:pt x="1353" y="47"/>
                </a:cubicBezTo>
                <a:cubicBezTo>
                  <a:pt x="1353" y="49"/>
                  <a:pt x="1353" y="51"/>
                  <a:pt x="1354" y="53"/>
                </a:cubicBezTo>
                <a:cubicBezTo>
                  <a:pt x="1355" y="57"/>
                  <a:pt x="1355" y="57"/>
                  <a:pt x="1354" y="58"/>
                </a:cubicBezTo>
                <a:cubicBezTo>
                  <a:pt x="1353" y="59"/>
                  <a:pt x="1352" y="60"/>
                  <a:pt x="1351" y="62"/>
                </a:cubicBezTo>
                <a:cubicBezTo>
                  <a:pt x="1348" y="65"/>
                  <a:pt x="1349" y="69"/>
                  <a:pt x="1354" y="71"/>
                </a:cubicBezTo>
                <a:cubicBezTo>
                  <a:pt x="1354" y="71"/>
                  <a:pt x="1355" y="72"/>
                  <a:pt x="1356" y="72"/>
                </a:cubicBezTo>
                <a:cubicBezTo>
                  <a:pt x="1355" y="72"/>
                  <a:pt x="1355" y="73"/>
                  <a:pt x="1354" y="73"/>
                </a:cubicBezTo>
                <a:cubicBezTo>
                  <a:pt x="1353" y="73"/>
                  <a:pt x="1352" y="73"/>
                  <a:pt x="1351" y="73"/>
                </a:cubicBezTo>
                <a:cubicBezTo>
                  <a:pt x="1348" y="74"/>
                  <a:pt x="1347" y="76"/>
                  <a:pt x="1347" y="79"/>
                </a:cubicBezTo>
                <a:cubicBezTo>
                  <a:pt x="1348" y="83"/>
                  <a:pt x="1350" y="87"/>
                  <a:pt x="1353" y="90"/>
                </a:cubicBezTo>
                <a:cubicBezTo>
                  <a:pt x="1356" y="93"/>
                  <a:pt x="1359" y="94"/>
                  <a:pt x="1363" y="94"/>
                </a:cubicBezTo>
                <a:cubicBezTo>
                  <a:pt x="1363" y="94"/>
                  <a:pt x="1363" y="93"/>
                  <a:pt x="1363" y="93"/>
                </a:cubicBezTo>
                <a:cubicBezTo>
                  <a:pt x="1363" y="93"/>
                  <a:pt x="1364" y="93"/>
                  <a:pt x="1364" y="93"/>
                </a:cubicBezTo>
                <a:cubicBezTo>
                  <a:pt x="1364" y="93"/>
                  <a:pt x="1363" y="93"/>
                  <a:pt x="1363" y="94"/>
                </a:cubicBezTo>
                <a:cubicBezTo>
                  <a:pt x="1363" y="94"/>
                  <a:pt x="1363" y="94"/>
                  <a:pt x="1363" y="94"/>
                </a:cubicBezTo>
                <a:cubicBezTo>
                  <a:pt x="1364" y="96"/>
                  <a:pt x="1364" y="98"/>
                  <a:pt x="1366" y="99"/>
                </a:cubicBezTo>
                <a:cubicBezTo>
                  <a:pt x="1370" y="104"/>
                  <a:pt x="1375" y="106"/>
                  <a:pt x="1381" y="107"/>
                </a:cubicBezTo>
                <a:cubicBezTo>
                  <a:pt x="1385" y="108"/>
                  <a:pt x="1389" y="106"/>
                  <a:pt x="1393" y="104"/>
                </a:cubicBezTo>
                <a:cubicBezTo>
                  <a:pt x="1393" y="104"/>
                  <a:pt x="1393" y="103"/>
                  <a:pt x="1393" y="103"/>
                </a:cubicBezTo>
                <a:cubicBezTo>
                  <a:pt x="1393" y="103"/>
                  <a:pt x="1394" y="103"/>
                  <a:pt x="1393" y="104"/>
                </a:cubicBezTo>
                <a:cubicBezTo>
                  <a:pt x="1393" y="104"/>
                  <a:pt x="1393" y="104"/>
                  <a:pt x="1393" y="104"/>
                </a:cubicBezTo>
                <a:cubicBezTo>
                  <a:pt x="1393" y="106"/>
                  <a:pt x="1393" y="108"/>
                  <a:pt x="1395" y="109"/>
                </a:cubicBezTo>
                <a:cubicBezTo>
                  <a:pt x="1401" y="113"/>
                  <a:pt x="1408" y="115"/>
                  <a:pt x="1415" y="113"/>
                </a:cubicBezTo>
                <a:cubicBezTo>
                  <a:pt x="1422" y="112"/>
                  <a:pt x="1430" y="111"/>
                  <a:pt x="1434" y="103"/>
                </a:cubicBezTo>
                <a:cubicBezTo>
                  <a:pt x="1435" y="102"/>
                  <a:pt x="1437" y="101"/>
                  <a:pt x="1439" y="101"/>
                </a:cubicBezTo>
                <a:cubicBezTo>
                  <a:pt x="1439" y="100"/>
                  <a:pt x="1439" y="100"/>
                  <a:pt x="1439" y="100"/>
                </a:cubicBezTo>
                <a:cubicBezTo>
                  <a:pt x="1439" y="100"/>
                  <a:pt x="1439" y="100"/>
                  <a:pt x="1439" y="100"/>
                </a:cubicBezTo>
                <a:cubicBezTo>
                  <a:pt x="1439" y="100"/>
                  <a:pt x="1439" y="101"/>
                  <a:pt x="1439" y="101"/>
                </a:cubicBezTo>
                <a:cubicBezTo>
                  <a:pt x="1438" y="101"/>
                  <a:pt x="1438" y="102"/>
                  <a:pt x="1438" y="103"/>
                </a:cubicBezTo>
                <a:cubicBezTo>
                  <a:pt x="1438" y="103"/>
                  <a:pt x="1437" y="104"/>
                  <a:pt x="1437" y="104"/>
                </a:cubicBezTo>
                <a:cubicBezTo>
                  <a:pt x="1436" y="106"/>
                  <a:pt x="1437" y="109"/>
                  <a:pt x="1439" y="109"/>
                </a:cubicBezTo>
                <a:cubicBezTo>
                  <a:pt x="1442" y="111"/>
                  <a:pt x="1446" y="110"/>
                  <a:pt x="1449" y="113"/>
                </a:cubicBezTo>
                <a:cubicBezTo>
                  <a:pt x="1449" y="113"/>
                  <a:pt x="1449" y="113"/>
                  <a:pt x="1449" y="113"/>
                </a:cubicBezTo>
                <a:cubicBezTo>
                  <a:pt x="1450" y="114"/>
                  <a:pt x="1450" y="114"/>
                  <a:pt x="1450" y="114"/>
                </a:cubicBezTo>
                <a:cubicBezTo>
                  <a:pt x="1449" y="113"/>
                  <a:pt x="1449" y="113"/>
                  <a:pt x="1449" y="113"/>
                </a:cubicBezTo>
                <a:cubicBezTo>
                  <a:pt x="1449" y="113"/>
                  <a:pt x="1449" y="113"/>
                  <a:pt x="1449" y="113"/>
                </a:cubicBezTo>
                <a:cubicBezTo>
                  <a:pt x="1437" y="112"/>
                  <a:pt x="1426" y="112"/>
                  <a:pt x="1416" y="117"/>
                </a:cubicBezTo>
                <a:cubicBezTo>
                  <a:pt x="1411" y="120"/>
                  <a:pt x="1406" y="119"/>
                  <a:pt x="1401" y="118"/>
                </a:cubicBezTo>
                <a:cubicBezTo>
                  <a:pt x="1398" y="117"/>
                  <a:pt x="1395" y="117"/>
                  <a:pt x="1391" y="116"/>
                </a:cubicBezTo>
                <a:cubicBezTo>
                  <a:pt x="1390" y="116"/>
                  <a:pt x="1387" y="118"/>
                  <a:pt x="1387" y="120"/>
                </a:cubicBezTo>
                <a:cubicBezTo>
                  <a:pt x="1386" y="124"/>
                  <a:pt x="1386" y="129"/>
                  <a:pt x="1386" y="133"/>
                </a:cubicBezTo>
                <a:cubicBezTo>
                  <a:pt x="1386" y="135"/>
                  <a:pt x="1385" y="135"/>
                  <a:pt x="1384" y="135"/>
                </a:cubicBezTo>
                <a:cubicBezTo>
                  <a:pt x="1384" y="135"/>
                  <a:pt x="1384" y="134"/>
                  <a:pt x="1383" y="134"/>
                </a:cubicBezTo>
                <a:cubicBezTo>
                  <a:pt x="1382" y="122"/>
                  <a:pt x="1376" y="115"/>
                  <a:pt x="1366" y="110"/>
                </a:cubicBezTo>
                <a:cubicBezTo>
                  <a:pt x="1365" y="109"/>
                  <a:pt x="1365" y="109"/>
                  <a:pt x="1364" y="109"/>
                </a:cubicBezTo>
                <a:cubicBezTo>
                  <a:pt x="1362" y="107"/>
                  <a:pt x="1359" y="108"/>
                  <a:pt x="1357" y="110"/>
                </a:cubicBezTo>
                <a:cubicBezTo>
                  <a:pt x="1353" y="113"/>
                  <a:pt x="1350" y="116"/>
                  <a:pt x="1347" y="120"/>
                </a:cubicBezTo>
                <a:cubicBezTo>
                  <a:pt x="1348" y="122"/>
                  <a:pt x="1349" y="124"/>
                  <a:pt x="1348" y="126"/>
                </a:cubicBezTo>
                <a:close/>
                <a:moveTo>
                  <a:pt x="1313" y="229"/>
                </a:moveTo>
                <a:cubicBezTo>
                  <a:pt x="1313" y="229"/>
                  <a:pt x="1313" y="229"/>
                  <a:pt x="1313" y="228"/>
                </a:cubicBezTo>
                <a:cubicBezTo>
                  <a:pt x="1313" y="229"/>
                  <a:pt x="1313" y="229"/>
                  <a:pt x="1314" y="229"/>
                </a:cubicBezTo>
                <a:cubicBezTo>
                  <a:pt x="1314" y="229"/>
                  <a:pt x="1314" y="229"/>
                  <a:pt x="1314" y="229"/>
                </a:cubicBezTo>
                <a:lnTo>
                  <a:pt x="1313" y="229"/>
                </a:lnTo>
                <a:close/>
                <a:moveTo>
                  <a:pt x="1321" y="203"/>
                </a:moveTo>
                <a:cubicBezTo>
                  <a:pt x="1320" y="203"/>
                  <a:pt x="1320" y="203"/>
                  <a:pt x="1320" y="203"/>
                </a:cubicBezTo>
                <a:cubicBezTo>
                  <a:pt x="1320" y="202"/>
                  <a:pt x="1320" y="202"/>
                  <a:pt x="1320" y="202"/>
                </a:cubicBezTo>
                <a:cubicBezTo>
                  <a:pt x="1321" y="202"/>
                  <a:pt x="1321" y="202"/>
                  <a:pt x="1321" y="202"/>
                </a:cubicBezTo>
                <a:lnTo>
                  <a:pt x="1321" y="203"/>
                </a:lnTo>
                <a:close/>
                <a:moveTo>
                  <a:pt x="1338" y="241"/>
                </a:moveTo>
                <a:cubicBezTo>
                  <a:pt x="1338" y="241"/>
                  <a:pt x="1338" y="241"/>
                  <a:pt x="1338" y="241"/>
                </a:cubicBezTo>
                <a:cubicBezTo>
                  <a:pt x="1338" y="242"/>
                  <a:pt x="1337" y="242"/>
                  <a:pt x="1337" y="242"/>
                </a:cubicBezTo>
                <a:cubicBezTo>
                  <a:pt x="1337" y="243"/>
                  <a:pt x="1337" y="243"/>
                  <a:pt x="1336" y="243"/>
                </a:cubicBezTo>
                <a:cubicBezTo>
                  <a:pt x="1336" y="243"/>
                  <a:pt x="1335" y="244"/>
                  <a:pt x="1335" y="244"/>
                </a:cubicBezTo>
                <a:cubicBezTo>
                  <a:pt x="1336" y="243"/>
                  <a:pt x="1336" y="243"/>
                  <a:pt x="1337" y="242"/>
                </a:cubicBezTo>
                <a:cubicBezTo>
                  <a:pt x="1337" y="242"/>
                  <a:pt x="1338" y="241"/>
                  <a:pt x="1338" y="241"/>
                </a:cubicBezTo>
                <a:cubicBezTo>
                  <a:pt x="1338" y="241"/>
                  <a:pt x="1338" y="240"/>
                  <a:pt x="1338" y="240"/>
                </a:cubicBezTo>
                <a:cubicBezTo>
                  <a:pt x="1338" y="240"/>
                  <a:pt x="1338" y="240"/>
                  <a:pt x="1338" y="241"/>
                </a:cubicBezTo>
                <a:close/>
                <a:moveTo>
                  <a:pt x="1542" y="108"/>
                </a:moveTo>
                <a:cubicBezTo>
                  <a:pt x="1542" y="108"/>
                  <a:pt x="1543" y="108"/>
                  <a:pt x="1543" y="108"/>
                </a:cubicBezTo>
                <a:cubicBezTo>
                  <a:pt x="1543" y="108"/>
                  <a:pt x="1543" y="109"/>
                  <a:pt x="1543" y="109"/>
                </a:cubicBezTo>
                <a:cubicBezTo>
                  <a:pt x="1542" y="109"/>
                  <a:pt x="1542" y="109"/>
                  <a:pt x="1541" y="109"/>
                </a:cubicBezTo>
                <a:cubicBezTo>
                  <a:pt x="1541" y="108"/>
                  <a:pt x="1542" y="108"/>
                  <a:pt x="1542" y="108"/>
                </a:cubicBezTo>
                <a:close/>
                <a:moveTo>
                  <a:pt x="1367" y="90"/>
                </a:moveTo>
                <a:cubicBezTo>
                  <a:pt x="1367" y="90"/>
                  <a:pt x="1366" y="91"/>
                  <a:pt x="1366" y="91"/>
                </a:cubicBezTo>
                <a:cubicBezTo>
                  <a:pt x="1366" y="90"/>
                  <a:pt x="1366" y="90"/>
                  <a:pt x="1367" y="90"/>
                </a:cubicBezTo>
                <a:cubicBezTo>
                  <a:pt x="1367" y="90"/>
                  <a:pt x="1367" y="90"/>
                  <a:pt x="1367" y="90"/>
                </a:cubicBezTo>
                <a:close/>
                <a:moveTo>
                  <a:pt x="1417" y="171"/>
                </a:moveTo>
                <a:cubicBezTo>
                  <a:pt x="1417" y="172"/>
                  <a:pt x="1417" y="172"/>
                  <a:pt x="1417" y="172"/>
                </a:cubicBezTo>
                <a:cubicBezTo>
                  <a:pt x="1416" y="171"/>
                  <a:pt x="1416" y="171"/>
                  <a:pt x="1416" y="171"/>
                </a:cubicBezTo>
                <a:lnTo>
                  <a:pt x="1417" y="171"/>
                </a:lnTo>
                <a:close/>
                <a:moveTo>
                  <a:pt x="1209" y="480"/>
                </a:moveTo>
                <a:cubicBezTo>
                  <a:pt x="1216" y="480"/>
                  <a:pt x="1221" y="486"/>
                  <a:pt x="1228" y="485"/>
                </a:cubicBezTo>
                <a:cubicBezTo>
                  <a:pt x="1228" y="485"/>
                  <a:pt x="1229" y="485"/>
                  <a:pt x="1229" y="485"/>
                </a:cubicBezTo>
                <a:cubicBezTo>
                  <a:pt x="1230" y="486"/>
                  <a:pt x="1231" y="486"/>
                  <a:pt x="1232" y="487"/>
                </a:cubicBezTo>
                <a:cubicBezTo>
                  <a:pt x="1234" y="489"/>
                  <a:pt x="1237" y="491"/>
                  <a:pt x="1240" y="493"/>
                </a:cubicBezTo>
                <a:cubicBezTo>
                  <a:pt x="1241" y="494"/>
                  <a:pt x="1243" y="494"/>
                  <a:pt x="1244" y="494"/>
                </a:cubicBezTo>
                <a:cubicBezTo>
                  <a:pt x="1245" y="493"/>
                  <a:pt x="1246" y="492"/>
                  <a:pt x="1247" y="491"/>
                </a:cubicBezTo>
                <a:cubicBezTo>
                  <a:pt x="1246" y="490"/>
                  <a:pt x="1245" y="488"/>
                  <a:pt x="1244" y="487"/>
                </a:cubicBezTo>
                <a:cubicBezTo>
                  <a:pt x="1244" y="487"/>
                  <a:pt x="1244" y="487"/>
                  <a:pt x="1244" y="487"/>
                </a:cubicBezTo>
                <a:cubicBezTo>
                  <a:pt x="1241" y="487"/>
                  <a:pt x="1239" y="487"/>
                  <a:pt x="1238" y="484"/>
                </a:cubicBezTo>
                <a:cubicBezTo>
                  <a:pt x="1238" y="484"/>
                  <a:pt x="1238" y="484"/>
                  <a:pt x="1238" y="484"/>
                </a:cubicBezTo>
                <a:cubicBezTo>
                  <a:pt x="1237" y="483"/>
                  <a:pt x="1237" y="483"/>
                  <a:pt x="1237" y="483"/>
                </a:cubicBezTo>
                <a:cubicBezTo>
                  <a:pt x="1238" y="484"/>
                  <a:pt x="1238" y="484"/>
                  <a:pt x="1238" y="484"/>
                </a:cubicBezTo>
                <a:cubicBezTo>
                  <a:pt x="1238" y="484"/>
                  <a:pt x="1238" y="484"/>
                  <a:pt x="1238" y="484"/>
                </a:cubicBezTo>
                <a:cubicBezTo>
                  <a:pt x="1240" y="484"/>
                  <a:pt x="1243" y="484"/>
                  <a:pt x="1244" y="487"/>
                </a:cubicBezTo>
                <a:cubicBezTo>
                  <a:pt x="1244" y="487"/>
                  <a:pt x="1244" y="487"/>
                  <a:pt x="1244" y="487"/>
                </a:cubicBezTo>
                <a:cubicBezTo>
                  <a:pt x="1245" y="488"/>
                  <a:pt x="1246" y="489"/>
                  <a:pt x="1248" y="491"/>
                </a:cubicBezTo>
                <a:cubicBezTo>
                  <a:pt x="1247" y="491"/>
                  <a:pt x="1247" y="491"/>
                  <a:pt x="1247" y="491"/>
                </a:cubicBezTo>
                <a:cubicBezTo>
                  <a:pt x="1250" y="491"/>
                  <a:pt x="1252" y="490"/>
                  <a:pt x="1255" y="490"/>
                </a:cubicBezTo>
                <a:cubicBezTo>
                  <a:pt x="1259" y="488"/>
                  <a:pt x="1261" y="485"/>
                  <a:pt x="1261" y="480"/>
                </a:cubicBezTo>
                <a:cubicBezTo>
                  <a:pt x="1261" y="478"/>
                  <a:pt x="1261" y="476"/>
                  <a:pt x="1261" y="475"/>
                </a:cubicBezTo>
                <a:cubicBezTo>
                  <a:pt x="1261" y="475"/>
                  <a:pt x="1260" y="474"/>
                  <a:pt x="1260" y="474"/>
                </a:cubicBezTo>
                <a:cubicBezTo>
                  <a:pt x="1260" y="474"/>
                  <a:pt x="1260" y="474"/>
                  <a:pt x="1260" y="474"/>
                </a:cubicBezTo>
                <a:cubicBezTo>
                  <a:pt x="1258" y="471"/>
                  <a:pt x="1258" y="471"/>
                  <a:pt x="1261" y="468"/>
                </a:cubicBezTo>
                <a:cubicBezTo>
                  <a:pt x="1261" y="468"/>
                  <a:pt x="1261" y="468"/>
                  <a:pt x="1261" y="467"/>
                </a:cubicBezTo>
                <a:cubicBezTo>
                  <a:pt x="1261" y="466"/>
                  <a:pt x="1261" y="466"/>
                  <a:pt x="1262" y="467"/>
                </a:cubicBezTo>
                <a:cubicBezTo>
                  <a:pt x="1262" y="467"/>
                  <a:pt x="1261" y="468"/>
                  <a:pt x="1261" y="468"/>
                </a:cubicBezTo>
                <a:cubicBezTo>
                  <a:pt x="1261" y="468"/>
                  <a:pt x="1261" y="468"/>
                  <a:pt x="1261" y="468"/>
                </a:cubicBezTo>
                <a:cubicBezTo>
                  <a:pt x="1261" y="470"/>
                  <a:pt x="1260" y="472"/>
                  <a:pt x="1260" y="474"/>
                </a:cubicBezTo>
                <a:cubicBezTo>
                  <a:pt x="1260" y="474"/>
                  <a:pt x="1260" y="474"/>
                  <a:pt x="1261" y="474"/>
                </a:cubicBezTo>
                <a:cubicBezTo>
                  <a:pt x="1261" y="474"/>
                  <a:pt x="1261" y="474"/>
                  <a:pt x="1261" y="475"/>
                </a:cubicBezTo>
                <a:cubicBezTo>
                  <a:pt x="1264" y="476"/>
                  <a:pt x="1267" y="477"/>
                  <a:pt x="1271" y="479"/>
                </a:cubicBezTo>
                <a:cubicBezTo>
                  <a:pt x="1271" y="479"/>
                  <a:pt x="1272" y="481"/>
                  <a:pt x="1272" y="482"/>
                </a:cubicBezTo>
                <a:cubicBezTo>
                  <a:pt x="1272" y="482"/>
                  <a:pt x="1272" y="483"/>
                  <a:pt x="1272" y="483"/>
                </a:cubicBezTo>
                <a:cubicBezTo>
                  <a:pt x="1271" y="486"/>
                  <a:pt x="1269" y="489"/>
                  <a:pt x="1269" y="491"/>
                </a:cubicBezTo>
                <a:cubicBezTo>
                  <a:pt x="1270" y="493"/>
                  <a:pt x="1272" y="496"/>
                  <a:pt x="1273" y="498"/>
                </a:cubicBezTo>
                <a:cubicBezTo>
                  <a:pt x="1274" y="503"/>
                  <a:pt x="1277" y="508"/>
                  <a:pt x="1280" y="512"/>
                </a:cubicBezTo>
                <a:cubicBezTo>
                  <a:pt x="1282" y="514"/>
                  <a:pt x="1281" y="516"/>
                  <a:pt x="1279" y="516"/>
                </a:cubicBezTo>
                <a:cubicBezTo>
                  <a:pt x="1278" y="517"/>
                  <a:pt x="1276" y="517"/>
                  <a:pt x="1275" y="518"/>
                </a:cubicBezTo>
                <a:cubicBezTo>
                  <a:pt x="1274" y="519"/>
                  <a:pt x="1273" y="521"/>
                  <a:pt x="1272" y="522"/>
                </a:cubicBezTo>
                <a:cubicBezTo>
                  <a:pt x="1272" y="523"/>
                  <a:pt x="1273" y="524"/>
                  <a:pt x="1274" y="525"/>
                </a:cubicBezTo>
                <a:cubicBezTo>
                  <a:pt x="1278" y="526"/>
                  <a:pt x="1283" y="522"/>
                  <a:pt x="1287" y="525"/>
                </a:cubicBezTo>
                <a:cubicBezTo>
                  <a:pt x="1287" y="525"/>
                  <a:pt x="1288" y="525"/>
                  <a:pt x="1288" y="526"/>
                </a:cubicBezTo>
                <a:cubicBezTo>
                  <a:pt x="1289" y="527"/>
                  <a:pt x="1289" y="528"/>
                  <a:pt x="1288" y="528"/>
                </a:cubicBezTo>
                <a:cubicBezTo>
                  <a:pt x="1286" y="529"/>
                  <a:pt x="1285" y="529"/>
                  <a:pt x="1283" y="530"/>
                </a:cubicBezTo>
                <a:cubicBezTo>
                  <a:pt x="1282" y="531"/>
                  <a:pt x="1282" y="534"/>
                  <a:pt x="1283" y="535"/>
                </a:cubicBezTo>
                <a:cubicBezTo>
                  <a:pt x="1283" y="535"/>
                  <a:pt x="1285" y="536"/>
                  <a:pt x="1286" y="536"/>
                </a:cubicBezTo>
                <a:cubicBezTo>
                  <a:pt x="1287" y="536"/>
                  <a:pt x="1288" y="536"/>
                  <a:pt x="1289" y="535"/>
                </a:cubicBezTo>
                <a:cubicBezTo>
                  <a:pt x="1293" y="534"/>
                  <a:pt x="1296" y="535"/>
                  <a:pt x="1298" y="540"/>
                </a:cubicBezTo>
                <a:cubicBezTo>
                  <a:pt x="1298" y="541"/>
                  <a:pt x="1298" y="542"/>
                  <a:pt x="1299" y="543"/>
                </a:cubicBezTo>
                <a:cubicBezTo>
                  <a:pt x="1305" y="545"/>
                  <a:pt x="1305" y="549"/>
                  <a:pt x="1304" y="554"/>
                </a:cubicBezTo>
                <a:cubicBezTo>
                  <a:pt x="1303" y="559"/>
                  <a:pt x="1303" y="565"/>
                  <a:pt x="1303" y="570"/>
                </a:cubicBezTo>
                <a:cubicBezTo>
                  <a:pt x="1302" y="572"/>
                  <a:pt x="1302" y="574"/>
                  <a:pt x="1299" y="575"/>
                </a:cubicBezTo>
                <a:cubicBezTo>
                  <a:pt x="1296" y="576"/>
                  <a:pt x="1293" y="577"/>
                  <a:pt x="1291" y="580"/>
                </a:cubicBezTo>
                <a:cubicBezTo>
                  <a:pt x="1288" y="585"/>
                  <a:pt x="1283" y="588"/>
                  <a:pt x="1279" y="591"/>
                </a:cubicBezTo>
                <a:cubicBezTo>
                  <a:pt x="1270" y="597"/>
                  <a:pt x="1267" y="598"/>
                  <a:pt x="1272" y="611"/>
                </a:cubicBezTo>
                <a:cubicBezTo>
                  <a:pt x="1273" y="612"/>
                  <a:pt x="1272" y="614"/>
                  <a:pt x="1271" y="614"/>
                </a:cubicBezTo>
                <a:cubicBezTo>
                  <a:pt x="1266" y="614"/>
                  <a:pt x="1260" y="615"/>
                  <a:pt x="1255" y="617"/>
                </a:cubicBezTo>
                <a:cubicBezTo>
                  <a:pt x="1250" y="619"/>
                  <a:pt x="1245" y="619"/>
                  <a:pt x="1240" y="616"/>
                </a:cubicBezTo>
                <a:cubicBezTo>
                  <a:pt x="1237" y="614"/>
                  <a:pt x="1234" y="613"/>
                  <a:pt x="1231" y="611"/>
                </a:cubicBezTo>
                <a:cubicBezTo>
                  <a:pt x="1230" y="611"/>
                  <a:pt x="1228" y="611"/>
                  <a:pt x="1228" y="612"/>
                </a:cubicBezTo>
                <a:cubicBezTo>
                  <a:pt x="1225" y="616"/>
                  <a:pt x="1222" y="618"/>
                  <a:pt x="1219" y="621"/>
                </a:cubicBezTo>
                <a:cubicBezTo>
                  <a:pt x="1217" y="622"/>
                  <a:pt x="1216" y="625"/>
                  <a:pt x="1215" y="626"/>
                </a:cubicBezTo>
                <a:cubicBezTo>
                  <a:pt x="1213" y="629"/>
                  <a:pt x="1214" y="633"/>
                  <a:pt x="1216" y="636"/>
                </a:cubicBezTo>
                <a:cubicBezTo>
                  <a:pt x="1221" y="641"/>
                  <a:pt x="1227" y="645"/>
                  <a:pt x="1235" y="641"/>
                </a:cubicBezTo>
                <a:cubicBezTo>
                  <a:pt x="1237" y="640"/>
                  <a:pt x="1239" y="639"/>
                  <a:pt x="1241" y="639"/>
                </a:cubicBezTo>
                <a:cubicBezTo>
                  <a:pt x="1242" y="639"/>
                  <a:pt x="1244" y="638"/>
                  <a:pt x="1244" y="639"/>
                </a:cubicBezTo>
                <a:cubicBezTo>
                  <a:pt x="1250" y="642"/>
                  <a:pt x="1256" y="640"/>
                  <a:pt x="1262" y="641"/>
                </a:cubicBezTo>
                <a:cubicBezTo>
                  <a:pt x="1265" y="642"/>
                  <a:pt x="1267" y="643"/>
                  <a:pt x="1268" y="646"/>
                </a:cubicBezTo>
                <a:cubicBezTo>
                  <a:pt x="1271" y="650"/>
                  <a:pt x="1273" y="656"/>
                  <a:pt x="1276" y="660"/>
                </a:cubicBezTo>
                <a:cubicBezTo>
                  <a:pt x="1278" y="663"/>
                  <a:pt x="1280" y="665"/>
                  <a:pt x="1278" y="669"/>
                </a:cubicBezTo>
                <a:cubicBezTo>
                  <a:pt x="1277" y="671"/>
                  <a:pt x="1277" y="673"/>
                  <a:pt x="1279" y="675"/>
                </a:cubicBezTo>
                <a:cubicBezTo>
                  <a:pt x="1282" y="679"/>
                  <a:pt x="1285" y="683"/>
                  <a:pt x="1290" y="686"/>
                </a:cubicBezTo>
                <a:cubicBezTo>
                  <a:pt x="1290" y="686"/>
                  <a:pt x="1290" y="686"/>
                  <a:pt x="1290" y="686"/>
                </a:cubicBezTo>
                <a:cubicBezTo>
                  <a:pt x="1290" y="686"/>
                  <a:pt x="1291" y="686"/>
                  <a:pt x="1291" y="686"/>
                </a:cubicBezTo>
                <a:cubicBezTo>
                  <a:pt x="1290" y="685"/>
                  <a:pt x="1290" y="685"/>
                  <a:pt x="1290" y="685"/>
                </a:cubicBezTo>
                <a:cubicBezTo>
                  <a:pt x="1294" y="687"/>
                  <a:pt x="1297" y="690"/>
                  <a:pt x="1299" y="692"/>
                </a:cubicBezTo>
                <a:cubicBezTo>
                  <a:pt x="1304" y="697"/>
                  <a:pt x="1308" y="702"/>
                  <a:pt x="1315" y="703"/>
                </a:cubicBezTo>
                <a:cubicBezTo>
                  <a:pt x="1318" y="704"/>
                  <a:pt x="1321" y="707"/>
                  <a:pt x="1324" y="708"/>
                </a:cubicBezTo>
                <a:cubicBezTo>
                  <a:pt x="1327" y="709"/>
                  <a:pt x="1330" y="710"/>
                  <a:pt x="1333" y="711"/>
                </a:cubicBezTo>
                <a:cubicBezTo>
                  <a:pt x="1334" y="711"/>
                  <a:pt x="1335" y="711"/>
                  <a:pt x="1335" y="710"/>
                </a:cubicBezTo>
                <a:cubicBezTo>
                  <a:pt x="1337" y="707"/>
                  <a:pt x="1337" y="704"/>
                  <a:pt x="1336" y="700"/>
                </a:cubicBezTo>
                <a:cubicBezTo>
                  <a:pt x="1332" y="692"/>
                  <a:pt x="1327" y="684"/>
                  <a:pt x="1320" y="678"/>
                </a:cubicBezTo>
                <a:cubicBezTo>
                  <a:pt x="1318" y="676"/>
                  <a:pt x="1317" y="673"/>
                  <a:pt x="1317" y="669"/>
                </a:cubicBezTo>
                <a:cubicBezTo>
                  <a:pt x="1317" y="669"/>
                  <a:pt x="1317" y="669"/>
                  <a:pt x="1317" y="669"/>
                </a:cubicBezTo>
                <a:cubicBezTo>
                  <a:pt x="1317" y="669"/>
                  <a:pt x="1317" y="669"/>
                  <a:pt x="1317" y="668"/>
                </a:cubicBezTo>
                <a:cubicBezTo>
                  <a:pt x="1316" y="668"/>
                  <a:pt x="1316" y="668"/>
                  <a:pt x="1316" y="668"/>
                </a:cubicBezTo>
                <a:cubicBezTo>
                  <a:pt x="1316" y="668"/>
                  <a:pt x="1316" y="668"/>
                  <a:pt x="1317" y="668"/>
                </a:cubicBezTo>
                <a:cubicBezTo>
                  <a:pt x="1317" y="668"/>
                  <a:pt x="1317" y="668"/>
                  <a:pt x="1317" y="668"/>
                </a:cubicBezTo>
                <a:cubicBezTo>
                  <a:pt x="1317" y="668"/>
                  <a:pt x="1317" y="669"/>
                  <a:pt x="1317" y="669"/>
                </a:cubicBezTo>
                <a:cubicBezTo>
                  <a:pt x="1317" y="669"/>
                  <a:pt x="1317" y="669"/>
                  <a:pt x="1317" y="669"/>
                </a:cubicBezTo>
                <a:cubicBezTo>
                  <a:pt x="1322" y="671"/>
                  <a:pt x="1327" y="674"/>
                  <a:pt x="1330" y="678"/>
                </a:cubicBezTo>
                <a:cubicBezTo>
                  <a:pt x="1333" y="682"/>
                  <a:pt x="1337" y="684"/>
                  <a:pt x="1341" y="686"/>
                </a:cubicBezTo>
                <a:cubicBezTo>
                  <a:pt x="1344" y="687"/>
                  <a:pt x="1346" y="690"/>
                  <a:pt x="1347" y="693"/>
                </a:cubicBezTo>
                <a:cubicBezTo>
                  <a:pt x="1349" y="696"/>
                  <a:pt x="1350" y="699"/>
                  <a:pt x="1352" y="701"/>
                </a:cubicBezTo>
                <a:cubicBezTo>
                  <a:pt x="1353" y="702"/>
                  <a:pt x="1354" y="703"/>
                  <a:pt x="1355" y="703"/>
                </a:cubicBezTo>
                <a:cubicBezTo>
                  <a:pt x="1356" y="703"/>
                  <a:pt x="1357" y="701"/>
                  <a:pt x="1356" y="700"/>
                </a:cubicBezTo>
                <a:cubicBezTo>
                  <a:pt x="1353" y="696"/>
                  <a:pt x="1354" y="692"/>
                  <a:pt x="1357" y="688"/>
                </a:cubicBezTo>
                <a:cubicBezTo>
                  <a:pt x="1358" y="685"/>
                  <a:pt x="1360" y="682"/>
                  <a:pt x="1363" y="680"/>
                </a:cubicBezTo>
                <a:cubicBezTo>
                  <a:pt x="1365" y="679"/>
                  <a:pt x="1366" y="676"/>
                  <a:pt x="1365" y="673"/>
                </a:cubicBezTo>
                <a:cubicBezTo>
                  <a:pt x="1365" y="671"/>
                  <a:pt x="1364" y="670"/>
                  <a:pt x="1364" y="668"/>
                </a:cubicBezTo>
                <a:cubicBezTo>
                  <a:pt x="1361" y="663"/>
                  <a:pt x="1360" y="657"/>
                  <a:pt x="1361" y="651"/>
                </a:cubicBezTo>
                <a:cubicBezTo>
                  <a:pt x="1361" y="647"/>
                  <a:pt x="1359" y="645"/>
                  <a:pt x="1356" y="643"/>
                </a:cubicBezTo>
                <a:cubicBezTo>
                  <a:pt x="1353" y="640"/>
                  <a:pt x="1350" y="638"/>
                  <a:pt x="1348" y="635"/>
                </a:cubicBezTo>
                <a:cubicBezTo>
                  <a:pt x="1346" y="634"/>
                  <a:pt x="1345" y="632"/>
                  <a:pt x="1345" y="629"/>
                </a:cubicBezTo>
                <a:cubicBezTo>
                  <a:pt x="1346" y="624"/>
                  <a:pt x="1345" y="620"/>
                  <a:pt x="1341" y="616"/>
                </a:cubicBezTo>
                <a:cubicBezTo>
                  <a:pt x="1341" y="615"/>
                  <a:pt x="1341" y="614"/>
                  <a:pt x="1341" y="613"/>
                </a:cubicBezTo>
                <a:cubicBezTo>
                  <a:pt x="1341" y="613"/>
                  <a:pt x="1340" y="613"/>
                  <a:pt x="1340" y="613"/>
                </a:cubicBezTo>
                <a:cubicBezTo>
                  <a:pt x="1340" y="612"/>
                  <a:pt x="1340" y="612"/>
                  <a:pt x="1340" y="612"/>
                </a:cubicBezTo>
                <a:cubicBezTo>
                  <a:pt x="1341" y="613"/>
                  <a:pt x="1341" y="613"/>
                  <a:pt x="1341" y="613"/>
                </a:cubicBezTo>
                <a:cubicBezTo>
                  <a:pt x="1341" y="613"/>
                  <a:pt x="1341" y="613"/>
                  <a:pt x="1341" y="613"/>
                </a:cubicBezTo>
                <a:cubicBezTo>
                  <a:pt x="1342" y="613"/>
                  <a:pt x="1343" y="613"/>
                  <a:pt x="1344" y="613"/>
                </a:cubicBezTo>
                <a:cubicBezTo>
                  <a:pt x="1348" y="613"/>
                  <a:pt x="1349" y="613"/>
                  <a:pt x="1350" y="608"/>
                </a:cubicBezTo>
                <a:cubicBezTo>
                  <a:pt x="1351" y="607"/>
                  <a:pt x="1351" y="605"/>
                  <a:pt x="1352" y="604"/>
                </a:cubicBezTo>
                <a:cubicBezTo>
                  <a:pt x="1353" y="602"/>
                  <a:pt x="1355" y="602"/>
                  <a:pt x="1356" y="603"/>
                </a:cubicBezTo>
                <a:cubicBezTo>
                  <a:pt x="1358" y="606"/>
                  <a:pt x="1360" y="610"/>
                  <a:pt x="1363" y="613"/>
                </a:cubicBezTo>
                <a:cubicBezTo>
                  <a:pt x="1366" y="617"/>
                  <a:pt x="1368" y="621"/>
                  <a:pt x="1369" y="626"/>
                </a:cubicBezTo>
                <a:cubicBezTo>
                  <a:pt x="1369" y="628"/>
                  <a:pt x="1369" y="630"/>
                  <a:pt x="1370" y="632"/>
                </a:cubicBezTo>
                <a:cubicBezTo>
                  <a:pt x="1370" y="634"/>
                  <a:pt x="1371" y="635"/>
                  <a:pt x="1371" y="635"/>
                </a:cubicBezTo>
                <a:cubicBezTo>
                  <a:pt x="1375" y="638"/>
                  <a:pt x="1378" y="641"/>
                  <a:pt x="1382" y="642"/>
                </a:cubicBezTo>
                <a:cubicBezTo>
                  <a:pt x="1383" y="642"/>
                  <a:pt x="1385" y="642"/>
                  <a:pt x="1385" y="641"/>
                </a:cubicBezTo>
                <a:cubicBezTo>
                  <a:pt x="1386" y="638"/>
                  <a:pt x="1387" y="635"/>
                  <a:pt x="1388" y="631"/>
                </a:cubicBezTo>
                <a:cubicBezTo>
                  <a:pt x="1388" y="629"/>
                  <a:pt x="1389" y="628"/>
                  <a:pt x="1392" y="627"/>
                </a:cubicBezTo>
                <a:cubicBezTo>
                  <a:pt x="1393" y="626"/>
                  <a:pt x="1395" y="626"/>
                  <a:pt x="1396" y="626"/>
                </a:cubicBezTo>
                <a:cubicBezTo>
                  <a:pt x="1404" y="623"/>
                  <a:pt x="1407" y="615"/>
                  <a:pt x="1414" y="611"/>
                </a:cubicBezTo>
                <a:cubicBezTo>
                  <a:pt x="1416" y="610"/>
                  <a:pt x="1418" y="607"/>
                  <a:pt x="1419" y="605"/>
                </a:cubicBezTo>
                <a:cubicBezTo>
                  <a:pt x="1420" y="604"/>
                  <a:pt x="1420" y="602"/>
                  <a:pt x="1419" y="600"/>
                </a:cubicBezTo>
                <a:cubicBezTo>
                  <a:pt x="1418" y="596"/>
                  <a:pt x="1416" y="593"/>
                  <a:pt x="1412" y="592"/>
                </a:cubicBezTo>
                <a:cubicBezTo>
                  <a:pt x="1410" y="592"/>
                  <a:pt x="1407" y="592"/>
                  <a:pt x="1406" y="590"/>
                </a:cubicBezTo>
                <a:cubicBezTo>
                  <a:pt x="1406" y="590"/>
                  <a:pt x="1406" y="590"/>
                  <a:pt x="1406" y="590"/>
                </a:cubicBezTo>
                <a:cubicBezTo>
                  <a:pt x="1406" y="589"/>
                  <a:pt x="1406" y="589"/>
                  <a:pt x="1406" y="589"/>
                </a:cubicBezTo>
                <a:cubicBezTo>
                  <a:pt x="1406" y="589"/>
                  <a:pt x="1406" y="589"/>
                  <a:pt x="1406" y="590"/>
                </a:cubicBezTo>
                <a:cubicBezTo>
                  <a:pt x="1405" y="589"/>
                  <a:pt x="1405" y="587"/>
                  <a:pt x="1406" y="586"/>
                </a:cubicBezTo>
                <a:cubicBezTo>
                  <a:pt x="1406" y="586"/>
                  <a:pt x="1406" y="587"/>
                  <a:pt x="1406" y="587"/>
                </a:cubicBezTo>
                <a:cubicBezTo>
                  <a:pt x="1406" y="586"/>
                  <a:pt x="1406" y="586"/>
                  <a:pt x="1406" y="586"/>
                </a:cubicBezTo>
                <a:cubicBezTo>
                  <a:pt x="1406" y="586"/>
                  <a:pt x="1406" y="586"/>
                  <a:pt x="1406" y="586"/>
                </a:cubicBezTo>
                <a:cubicBezTo>
                  <a:pt x="1405" y="586"/>
                  <a:pt x="1405" y="584"/>
                  <a:pt x="1404" y="584"/>
                </a:cubicBezTo>
                <a:cubicBezTo>
                  <a:pt x="1403" y="584"/>
                  <a:pt x="1402" y="584"/>
                  <a:pt x="1401" y="584"/>
                </a:cubicBezTo>
                <a:cubicBezTo>
                  <a:pt x="1399" y="584"/>
                  <a:pt x="1398" y="584"/>
                  <a:pt x="1397" y="584"/>
                </a:cubicBezTo>
                <a:cubicBezTo>
                  <a:pt x="1395" y="583"/>
                  <a:pt x="1394" y="581"/>
                  <a:pt x="1395" y="579"/>
                </a:cubicBezTo>
                <a:cubicBezTo>
                  <a:pt x="1396" y="574"/>
                  <a:pt x="1397" y="573"/>
                  <a:pt x="1394" y="571"/>
                </a:cubicBezTo>
                <a:cubicBezTo>
                  <a:pt x="1391" y="570"/>
                  <a:pt x="1388" y="568"/>
                  <a:pt x="1388" y="564"/>
                </a:cubicBezTo>
                <a:cubicBezTo>
                  <a:pt x="1385" y="563"/>
                  <a:pt x="1382" y="562"/>
                  <a:pt x="1379" y="561"/>
                </a:cubicBezTo>
                <a:cubicBezTo>
                  <a:pt x="1377" y="560"/>
                  <a:pt x="1375" y="557"/>
                  <a:pt x="1374" y="555"/>
                </a:cubicBezTo>
                <a:cubicBezTo>
                  <a:pt x="1373" y="549"/>
                  <a:pt x="1370" y="546"/>
                  <a:pt x="1364" y="545"/>
                </a:cubicBezTo>
                <a:cubicBezTo>
                  <a:pt x="1362" y="545"/>
                  <a:pt x="1362" y="543"/>
                  <a:pt x="1363" y="541"/>
                </a:cubicBezTo>
                <a:cubicBezTo>
                  <a:pt x="1366" y="538"/>
                  <a:pt x="1370" y="534"/>
                  <a:pt x="1369" y="528"/>
                </a:cubicBezTo>
                <a:cubicBezTo>
                  <a:pt x="1368" y="527"/>
                  <a:pt x="1369" y="527"/>
                  <a:pt x="1371" y="527"/>
                </a:cubicBezTo>
                <a:cubicBezTo>
                  <a:pt x="1373" y="528"/>
                  <a:pt x="1376" y="529"/>
                  <a:pt x="1379" y="529"/>
                </a:cubicBezTo>
                <a:cubicBezTo>
                  <a:pt x="1380" y="530"/>
                  <a:pt x="1382" y="529"/>
                  <a:pt x="1383" y="528"/>
                </a:cubicBezTo>
                <a:cubicBezTo>
                  <a:pt x="1383" y="526"/>
                  <a:pt x="1383" y="525"/>
                  <a:pt x="1383" y="523"/>
                </a:cubicBezTo>
                <a:cubicBezTo>
                  <a:pt x="1383" y="522"/>
                  <a:pt x="1382" y="522"/>
                  <a:pt x="1382" y="522"/>
                </a:cubicBezTo>
                <a:cubicBezTo>
                  <a:pt x="1379" y="519"/>
                  <a:pt x="1378" y="516"/>
                  <a:pt x="1381" y="513"/>
                </a:cubicBezTo>
                <a:cubicBezTo>
                  <a:pt x="1383" y="511"/>
                  <a:pt x="1384" y="507"/>
                  <a:pt x="1382" y="504"/>
                </a:cubicBezTo>
                <a:cubicBezTo>
                  <a:pt x="1381" y="500"/>
                  <a:pt x="1378" y="495"/>
                  <a:pt x="1377" y="490"/>
                </a:cubicBezTo>
                <a:cubicBezTo>
                  <a:pt x="1376" y="483"/>
                  <a:pt x="1371" y="478"/>
                  <a:pt x="1364" y="476"/>
                </a:cubicBezTo>
                <a:cubicBezTo>
                  <a:pt x="1360" y="475"/>
                  <a:pt x="1358" y="474"/>
                  <a:pt x="1357" y="470"/>
                </a:cubicBezTo>
                <a:cubicBezTo>
                  <a:pt x="1357" y="469"/>
                  <a:pt x="1355" y="468"/>
                  <a:pt x="1354" y="467"/>
                </a:cubicBezTo>
                <a:cubicBezTo>
                  <a:pt x="1354" y="467"/>
                  <a:pt x="1354" y="467"/>
                  <a:pt x="1354" y="467"/>
                </a:cubicBezTo>
                <a:cubicBezTo>
                  <a:pt x="1353" y="468"/>
                  <a:pt x="1353" y="468"/>
                  <a:pt x="1353" y="468"/>
                </a:cubicBezTo>
                <a:cubicBezTo>
                  <a:pt x="1353" y="467"/>
                  <a:pt x="1353" y="467"/>
                  <a:pt x="1353" y="467"/>
                </a:cubicBezTo>
                <a:cubicBezTo>
                  <a:pt x="1353" y="467"/>
                  <a:pt x="1354" y="467"/>
                  <a:pt x="1354" y="467"/>
                </a:cubicBezTo>
                <a:cubicBezTo>
                  <a:pt x="1355" y="463"/>
                  <a:pt x="1355" y="459"/>
                  <a:pt x="1353" y="456"/>
                </a:cubicBezTo>
                <a:cubicBezTo>
                  <a:pt x="1352" y="454"/>
                  <a:pt x="1350" y="451"/>
                  <a:pt x="1348" y="449"/>
                </a:cubicBezTo>
                <a:cubicBezTo>
                  <a:pt x="1346" y="447"/>
                  <a:pt x="1343" y="446"/>
                  <a:pt x="1340" y="448"/>
                </a:cubicBezTo>
                <a:cubicBezTo>
                  <a:pt x="1337" y="449"/>
                  <a:pt x="1335" y="449"/>
                  <a:pt x="1334" y="447"/>
                </a:cubicBezTo>
                <a:cubicBezTo>
                  <a:pt x="1333" y="442"/>
                  <a:pt x="1330" y="443"/>
                  <a:pt x="1326" y="444"/>
                </a:cubicBezTo>
                <a:cubicBezTo>
                  <a:pt x="1326" y="444"/>
                  <a:pt x="1325" y="444"/>
                  <a:pt x="1325" y="443"/>
                </a:cubicBezTo>
                <a:cubicBezTo>
                  <a:pt x="1324" y="442"/>
                  <a:pt x="1324" y="442"/>
                  <a:pt x="1325" y="441"/>
                </a:cubicBezTo>
                <a:cubicBezTo>
                  <a:pt x="1327" y="439"/>
                  <a:pt x="1328" y="437"/>
                  <a:pt x="1329" y="435"/>
                </a:cubicBezTo>
                <a:cubicBezTo>
                  <a:pt x="1329" y="435"/>
                  <a:pt x="1329" y="433"/>
                  <a:pt x="1329" y="432"/>
                </a:cubicBezTo>
                <a:cubicBezTo>
                  <a:pt x="1328" y="431"/>
                  <a:pt x="1326" y="430"/>
                  <a:pt x="1325" y="429"/>
                </a:cubicBezTo>
                <a:cubicBezTo>
                  <a:pt x="1324" y="427"/>
                  <a:pt x="1326" y="425"/>
                  <a:pt x="1326" y="423"/>
                </a:cubicBezTo>
                <a:cubicBezTo>
                  <a:pt x="1326" y="420"/>
                  <a:pt x="1325" y="418"/>
                  <a:pt x="1323" y="416"/>
                </a:cubicBezTo>
                <a:cubicBezTo>
                  <a:pt x="1318" y="412"/>
                  <a:pt x="1312" y="408"/>
                  <a:pt x="1307" y="404"/>
                </a:cubicBezTo>
                <a:cubicBezTo>
                  <a:pt x="1307" y="404"/>
                  <a:pt x="1307" y="404"/>
                  <a:pt x="1307" y="404"/>
                </a:cubicBezTo>
                <a:cubicBezTo>
                  <a:pt x="1307" y="404"/>
                  <a:pt x="1307" y="404"/>
                  <a:pt x="1307" y="404"/>
                </a:cubicBezTo>
                <a:cubicBezTo>
                  <a:pt x="1307" y="405"/>
                  <a:pt x="1307" y="405"/>
                  <a:pt x="1307" y="405"/>
                </a:cubicBezTo>
                <a:cubicBezTo>
                  <a:pt x="1302" y="404"/>
                  <a:pt x="1298" y="406"/>
                  <a:pt x="1293" y="409"/>
                </a:cubicBezTo>
                <a:cubicBezTo>
                  <a:pt x="1289" y="411"/>
                  <a:pt x="1285" y="411"/>
                  <a:pt x="1281" y="409"/>
                </a:cubicBezTo>
                <a:cubicBezTo>
                  <a:pt x="1277" y="407"/>
                  <a:pt x="1274" y="408"/>
                  <a:pt x="1271" y="410"/>
                </a:cubicBezTo>
                <a:cubicBezTo>
                  <a:pt x="1271" y="411"/>
                  <a:pt x="1271" y="411"/>
                  <a:pt x="1271" y="411"/>
                </a:cubicBezTo>
                <a:cubicBezTo>
                  <a:pt x="1270" y="411"/>
                  <a:pt x="1270" y="412"/>
                  <a:pt x="1269" y="412"/>
                </a:cubicBezTo>
                <a:cubicBezTo>
                  <a:pt x="1270" y="412"/>
                  <a:pt x="1270" y="411"/>
                  <a:pt x="1271" y="411"/>
                </a:cubicBezTo>
                <a:cubicBezTo>
                  <a:pt x="1271" y="410"/>
                  <a:pt x="1271" y="410"/>
                  <a:pt x="1271" y="410"/>
                </a:cubicBezTo>
                <a:cubicBezTo>
                  <a:pt x="1272" y="407"/>
                  <a:pt x="1272" y="405"/>
                  <a:pt x="1273" y="402"/>
                </a:cubicBezTo>
                <a:cubicBezTo>
                  <a:pt x="1275" y="395"/>
                  <a:pt x="1278" y="388"/>
                  <a:pt x="1278" y="380"/>
                </a:cubicBezTo>
                <a:cubicBezTo>
                  <a:pt x="1278" y="378"/>
                  <a:pt x="1279" y="376"/>
                  <a:pt x="1280" y="375"/>
                </a:cubicBezTo>
                <a:cubicBezTo>
                  <a:pt x="1280" y="374"/>
                  <a:pt x="1280" y="373"/>
                  <a:pt x="1280" y="372"/>
                </a:cubicBezTo>
                <a:cubicBezTo>
                  <a:pt x="1280" y="365"/>
                  <a:pt x="1278" y="364"/>
                  <a:pt x="1273" y="363"/>
                </a:cubicBezTo>
                <a:cubicBezTo>
                  <a:pt x="1270" y="362"/>
                  <a:pt x="1267" y="362"/>
                  <a:pt x="1265" y="363"/>
                </a:cubicBezTo>
                <a:cubicBezTo>
                  <a:pt x="1258" y="364"/>
                  <a:pt x="1252" y="368"/>
                  <a:pt x="1246" y="368"/>
                </a:cubicBezTo>
                <a:cubicBezTo>
                  <a:pt x="1240" y="368"/>
                  <a:pt x="1235" y="370"/>
                  <a:pt x="1231" y="375"/>
                </a:cubicBezTo>
                <a:cubicBezTo>
                  <a:pt x="1230" y="377"/>
                  <a:pt x="1227" y="378"/>
                  <a:pt x="1225" y="380"/>
                </a:cubicBezTo>
                <a:cubicBezTo>
                  <a:pt x="1220" y="386"/>
                  <a:pt x="1218" y="392"/>
                  <a:pt x="1221" y="400"/>
                </a:cubicBezTo>
                <a:cubicBezTo>
                  <a:pt x="1221" y="401"/>
                  <a:pt x="1222" y="403"/>
                  <a:pt x="1219" y="403"/>
                </a:cubicBezTo>
                <a:cubicBezTo>
                  <a:pt x="1216" y="404"/>
                  <a:pt x="1215" y="406"/>
                  <a:pt x="1212" y="407"/>
                </a:cubicBezTo>
                <a:cubicBezTo>
                  <a:pt x="1210" y="409"/>
                  <a:pt x="1208" y="411"/>
                  <a:pt x="1209" y="414"/>
                </a:cubicBezTo>
                <a:cubicBezTo>
                  <a:pt x="1210" y="418"/>
                  <a:pt x="1211" y="421"/>
                  <a:pt x="1212" y="424"/>
                </a:cubicBezTo>
                <a:cubicBezTo>
                  <a:pt x="1213" y="425"/>
                  <a:pt x="1213" y="426"/>
                  <a:pt x="1213" y="427"/>
                </a:cubicBezTo>
                <a:cubicBezTo>
                  <a:pt x="1213" y="427"/>
                  <a:pt x="1212" y="428"/>
                  <a:pt x="1212" y="428"/>
                </a:cubicBezTo>
                <a:cubicBezTo>
                  <a:pt x="1211" y="429"/>
                  <a:pt x="1210" y="429"/>
                  <a:pt x="1209" y="429"/>
                </a:cubicBezTo>
                <a:cubicBezTo>
                  <a:pt x="1205" y="425"/>
                  <a:pt x="1202" y="414"/>
                  <a:pt x="1204" y="409"/>
                </a:cubicBezTo>
                <a:cubicBezTo>
                  <a:pt x="1204" y="409"/>
                  <a:pt x="1204" y="408"/>
                  <a:pt x="1205" y="408"/>
                </a:cubicBezTo>
                <a:cubicBezTo>
                  <a:pt x="1206" y="406"/>
                  <a:pt x="1206" y="404"/>
                  <a:pt x="1208" y="402"/>
                </a:cubicBezTo>
                <a:cubicBezTo>
                  <a:pt x="1211" y="398"/>
                  <a:pt x="1211" y="394"/>
                  <a:pt x="1211" y="390"/>
                </a:cubicBezTo>
                <a:cubicBezTo>
                  <a:pt x="1211" y="387"/>
                  <a:pt x="1212" y="384"/>
                  <a:pt x="1214" y="382"/>
                </a:cubicBezTo>
                <a:cubicBezTo>
                  <a:pt x="1216" y="381"/>
                  <a:pt x="1217" y="379"/>
                  <a:pt x="1219" y="378"/>
                </a:cubicBezTo>
                <a:cubicBezTo>
                  <a:pt x="1225" y="370"/>
                  <a:pt x="1232" y="365"/>
                  <a:pt x="1241" y="361"/>
                </a:cubicBezTo>
                <a:cubicBezTo>
                  <a:pt x="1242" y="360"/>
                  <a:pt x="1243" y="359"/>
                  <a:pt x="1243" y="358"/>
                </a:cubicBezTo>
                <a:cubicBezTo>
                  <a:pt x="1243" y="358"/>
                  <a:pt x="1244" y="356"/>
                  <a:pt x="1243" y="356"/>
                </a:cubicBezTo>
                <a:cubicBezTo>
                  <a:pt x="1242" y="354"/>
                  <a:pt x="1240" y="352"/>
                  <a:pt x="1238" y="351"/>
                </a:cubicBezTo>
                <a:cubicBezTo>
                  <a:pt x="1227" y="347"/>
                  <a:pt x="1217" y="349"/>
                  <a:pt x="1207" y="355"/>
                </a:cubicBezTo>
                <a:cubicBezTo>
                  <a:pt x="1202" y="357"/>
                  <a:pt x="1198" y="361"/>
                  <a:pt x="1194" y="365"/>
                </a:cubicBezTo>
                <a:cubicBezTo>
                  <a:pt x="1187" y="370"/>
                  <a:pt x="1184" y="378"/>
                  <a:pt x="1177" y="383"/>
                </a:cubicBezTo>
                <a:cubicBezTo>
                  <a:pt x="1176" y="383"/>
                  <a:pt x="1175" y="384"/>
                  <a:pt x="1175" y="385"/>
                </a:cubicBezTo>
                <a:cubicBezTo>
                  <a:pt x="1174" y="387"/>
                  <a:pt x="1172" y="389"/>
                  <a:pt x="1171" y="391"/>
                </a:cubicBezTo>
                <a:cubicBezTo>
                  <a:pt x="1170" y="393"/>
                  <a:pt x="1170" y="395"/>
                  <a:pt x="1168" y="396"/>
                </a:cubicBezTo>
                <a:cubicBezTo>
                  <a:pt x="1162" y="402"/>
                  <a:pt x="1160" y="410"/>
                  <a:pt x="1156" y="418"/>
                </a:cubicBezTo>
                <a:cubicBezTo>
                  <a:pt x="1154" y="421"/>
                  <a:pt x="1156" y="425"/>
                  <a:pt x="1160" y="427"/>
                </a:cubicBezTo>
                <a:cubicBezTo>
                  <a:pt x="1164" y="429"/>
                  <a:pt x="1169" y="430"/>
                  <a:pt x="1173" y="432"/>
                </a:cubicBezTo>
                <a:cubicBezTo>
                  <a:pt x="1174" y="433"/>
                  <a:pt x="1175" y="434"/>
                  <a:pt x="1176" y="436"/>
                </a:cubicBezTo>
                <a:cubicBezTo>
                  <a:pt x="1176" y="436"/>
                  <a:pt x="1176" y="438"/>
                  <a:pt x="1176" y="438"/>
                </a:cubicBezTo>
                <a:cubicBezTo>
                  <a:pt x="1175" y="439"/>
                  <a:pt x="1174" y="440"/>
                  <a:pt x="1173" y="439"/>
                </a:cubicBezTo>
                <a:cubicBezTo>
                  <a:pt x="1170" y="438"/>
                  <a:pt x="1167" y="436"/>
                  <a:pt x="1164" y="434"/>
                </a:cubicBezTo>
                <a:cubicBezTo>
                  <a:pt x="1160" y="432"/>
                  <a:pt x="1155" y="435"/>
                  <a:pt x="1155" y="440"/>
                </a:cubicBezTo>
                <a:cubicBezTo>
                  <a:pt x="1155" y="443"/>
                  <a:pt x="1155" y="446"/>
                  <a:pt x="1155" y="448"/>
                </a:cubicBezTo>
                <a:cubicBezTo>
                  <a:pt x="1155" y="452"/>
                  <a:pt x="1158" y="455"/>
                  <a:pt x="1161" y="458"/>
                </a:cubicBezTo>
                <a:cubicBezTo>
                  <a:pt x="1163" y="461"/>
                  <a:pt x="1166" y="461"/>
                  <a:pt x="1168" y="461"/>
                </a:cubicBezTo>
                <a:cubicBezTo>
                  <a:pt x="1170" y="461"/>
                  <a:pt x="1171" y="461"/>
                  <a:pt x="1173" y="462"/>
                </a:cubicBezTo>
                <a:cubicBezTo>
                  <a:pt x="1176" y="462"/>
                  <a:pt x="1177" y="465"/>
                  <a:pt x="1178" y="467"/>
                </a:cubicBezTo>
                <a:cubicBezTo>
                  <a:pt x="1181" y="470"/>
                  <a:pt x="1184" y="473"/>
                  <a:pt x="1189" y="472"/>
                </a:cubicBezTo>
                <a:cubicBezTo>
                  <a:pt x="1192" y="471"/>
                  <a:pt x="1194" y="474"/>
                  <a:pt x="1195" y="477"/>
                </a:cubicBezTo>
                <a:cubicBezTo>
                  <a:pt x="1198" y="478"/>
                  <a:pt x="1202" y="478"/>
                  <a:pt x="1204" y="480"/>
                </a:cubicBezTo>
                <a:cubicBezTo>
                  <a:pt x="1206" y="480"/>
                  <a:pt x="1208" y="479"/>
                  <a:pt x="1209" y="480"/>
                </a:cubicBezTo>
                <a:close/>
                <a:moveTo>
                  <a:pt x="1293" y="639"/>
                </a:moveTo>
                <a:cubicBezTo>
                  <a:pt x="1293" y="639"/>
                  <a:pt x="1291" y="638"/>
                  <a:pt x="1290" y="638"/>
                </a:cubicBezTo>
                <a:cubicBezTo>
                  <a:pt x="1290" y="638"/>
                  <a:pt x="1290" y="637"/>
                  <a:pt x="1290" y="636"/>
                </a:cubicBezTo>
                <a:cubicBezTo>
                  <a:pt x="1292" y="633"/>
                  <a:pt x="1293" y="631"/>
                  <a:pt x="1295" y="628"/>
                </a:cubicBezTo>
                <a:cubicBezTo>
                  <a:pt x="1295" y="626"/>
                  <a:pt x="1296" y="626"/>
                  <a:pt x="1297" y="627"/>
                </a:cubicBezTo>
                <a:cubicBezTo>
                  <a:pt x="1298" y="627"/>
                  <a:pt x="1298" y="627"/>
                  <a:pt x="1298" y="628"/>
                </a:cubicBezTo>
                <a:cubicBezTo>
                  <a:pt x="1299" y="629"/>
                  <a:pt x="1299" y="631"/>
                  <a:pt x="1300" y="632"/>
                </a:cubicBezTo>
                <a:cubicBezTo>
                  <a:pt x="1300" y="635"/>
                  <a:pt x="1297" y="638"/>
                  <a:pt x="1293" y="639"/>
                </a:cubicBezTo>
                <a:close/>
                <a:moveTo>
                  <a:pt x="1370" y="495"/>
                </a:moveTo>
                <a:cubicBezTo>
                  <a:pt x="1371" y="495"/>
                  <a:pt x="1372" y="495"/>
                  <a:pt x="1372" y="496"/>
                </a:cubicBezTo>
                <a:cubicBezTo>
                  <a:pt x="1372" y="498"/>
                  <a:pt x="1372" y="499"/>
                  <a:pt x="1370" y="500"/>
                </a:cubicBezTo>
                <a:cubicBezTo>
                  <a:pt x="1370" y="500"/>
                  <a:pt x="1370" y="500"/>
                  <a:pt x="1370" y="500"/>
                </a:cubicBezTo>
                <a:cubicBezTo>
                  <a:pt x="1369" y="501"/>
                  <a:pt x="1369" y="501"/>
                  <a:pt x="1369" y="501"/>
                </a:cubicBezTo>
                <a:cubicBezTo>
                  <a:pt x="1370" y="500"/>
                  <a:pt x="1370" y="500"/>
                  <a:pt x="1370" y="500"/>
                </a:cubicBezTo>
                <a:cubicBezTo>
                  <a:pt x="1370" y="500"/>
                  <a:pt x="1370" y="500"/>
                  <a:pt x="1370" y="500"/>
                </a:cubicBezTo>
                <a:cubicBezTo>
                  <a:pt x="1370" y="498"/>
                  <a:pt x="1369" y="497"/>
                  <a:pt x="1369" y="496"/>
                </a:cubicBezTo>
                <a:cubicBezTo>
                  <a:pt x="1369" y="496"/>
                  <a:pt x="1370" y="495"/>
                  <a:pt x="1370" y="495"/>
                </a:cubicBezTo>
                <a:close/>
                <a:moveTo>
                  <a:pt x="1267" y="414"/>
                </a:moveTo>
                <a:cubicBezTo>
                  <a:pt x="1268" y="414"/>
                  <a:pt x="1268" y="413"/>
                  <a:pt x="1269" y="413"/>
                </a:cubicBezTo>
                <a:cubicBezTo>
                  <a:pt x="1268" y="413"/>
                  <a:pt x="1268" y="414"/>
                  <a:pt x="1268" y="414"/>
                </a:cubicBezTo>
                <a:cubicBezTo>
                  <a:pt x="1268" y="414"/>
                  <a:pt x="1266" y="416"/>
                  <a:pt x="1267" y="414"/>
                </a:cubicBezTo>
                <a:close/>
                <a:moveTo>
                  <a:pt x="1207" y="435"/>
                </a:moveTo>
                <a:cubicBezTo>
                  <a:pt x="1208" y="436"/>
                  <a:pt x="1208" y="436"/>
                  <a:pt x="1208" y="436"/>
                </a:cubicBezTo>
                <a:cubicBezTo>
                  <a:pt x="1207" y="436"/>
                  <a:pt x="1207" y="436"/>
                  <a:pt x="1207" y="436"/>
                </a:cubicBezTo>
                <a:lnTo>
                  <a:pt x="1207" y="435"/>
                </a:lnTo>
                <a:close/>
                <a:moveTo>
                  <a:pt x="923" y="295"/>
                </a:moveTo>
                <a:cubicBezTo>
                  <a:pt x="923" y="295"/>
                  <a:pt x="924" y="295"/>
                  <a:pt x="924" y="295"/>
                </a:cubicBezTo>
                <a:cubicBezTo>
                  <a:pt x="923" y="295"/>
                  <a:pt x="923" y="295"/>
                  <a:pt x="923" y="295"/>
                </a:cubicBezTo>
                <a:cubicBezTo>
                  <a:pt x="923" y="295"/>
                  <a:pt x="923" y="295"/>
                  <a:pt x="923" y="295"/>
                </a:cubicBezTo>
                <a:cubicBezTo>
                  <a:pt x="923" y="295"/>
                  <a:pt x="923" y="295"/>
                  <a:pt x="923" y="295"/>
                </a:cubicBezTo>
                <a:close/>
                <a:moveTo>
                  <a:pt x="923" y="295"/>
                </a:moveTo>
                <a:cubicBezTo>
                  <a:pt x="921" y="297"/>
                  <a:pt x="919" y="298"/>
                  <a:pt x="916" y="298"/>
                </a:cubicBezTo>
                <a:cubicBezTo>
                  <a:pt x="913" y="298"/>
                  <a:pt x="910" y="298"/>
                  <a:pt x="907" y="299"/>
                </a:cubicBezTo>
                <a:cubicBezTo>
                  <a:pt x="906" y="299"/>
                  <a:pt x="906" y="300"/>
                  <a:pt x="905" y="301"/>
                </a:cubicBezTo>
                <a:cubicBezTo>
                  <a:pt x="898" y="305"/>
                  <a:pt x="890" y="308"/>
                  <a:pt x="882" y="311"/>
                </a:cubicBezTo>
                <a:cubicBezTo>
                  <a:pt x="879" y="312"/>
                  <a:pt x="875" y="314"/>
                  <a:pt x="875" y="319"/>
                </a:cubicBezTo>
                <a:cubicBezTo>
                  <a:pt x="875" y="321"/>
                  <a:pt x="873" y="321"/>
                  <a:pt x="872" y="322"/>
                </a:cubicBezTo>
                <a:cubicBezTo>
                  <a:pt x="869" y="324"/>
                  <a:pt x="867" y="325"/>
                  <a:pt x="865" y="326"/>
                </a:cubicBezTo>
                <a:cubicBezTo>
                  <a:pt x="862" y="329"/>
                  <a:pt x="858" y="331"/>
                  <a:pt x="858" y="335"/>
                </a:cubicBezTo>
                <a:cubicBezTo>
                  <a:pt x="858" y="338"/>
                  <a:pt x="860" y="340"/>
                  <a:pt x="861" y="343"/>
                </a:cubicBezTo>
                <a:cubicBezTo>
                  <a:pt x="861" y="343"/>
                  <a:pt x="861" y="344"/>
                  <a:pt x="861" y="344"/>
                </a:cubicBezTo>
                <a:cubicBezTo>
                  <a:pt x="862" y="347"/>
                  <a:pt x="863" y="348"/>
                  <a:pt x="866" y="348"/>
                </a:cubicBezTo>
                <a:cubicBezTo>
                  <a:pt x="871" y="349"/>
                  <a:pt x="876" y="349"/>
                  <a:pt x="880" y="350"/>
                </a:cubicBezTo>
                <a:cubicBezTo>
                  <a:pt x="881" y="350"/>
                  <a:pt x="881" y="351"/>
                  <a:pt x="881" y="351"/>
                </a:cubicBezTo>
                <a:cubicBezTo>
                  <a:pt x="882" y="352"/>
                  <a:pt x="881" y="353"/>
                  <a:pt x="880" y="353"/>
                </a:cubicBezTo>
                <a:cubicBezTo>
                  <a:pt x="874" y="354"/>
                  <a:pt x="869" y="354"/>
                  <a:pt x="863" y="355"/>
                </a:cubicBezTo>
                <a:cubicBezTo>
                  <a:pt x="860" y="355"/>
                  <a:pt x="857" y="356"/>
                  <a:pt x="854" y="358"/>
                </a:cubicBezTo>
                <a:cubicBezTo>
                  <a:pt x="853" y="359"/>
                  <a:pt x="852" y="361"/>
                  <a:pt x="852" y="362"/>
                </a:cubicBezTo>
                <a:cubicBezTo>
                  <a:pt x="851" y="364"/>
                  <a:pt x="852" y="366"/>
                  <a:pt x="852" y="369"/>
                </a:cubicBezTo>
                <a:cubicBezTo>
                  <a:pt x="853" y="374"/>
                  <a:pt x="853" y="376"/>
                  <a:pt x="861" y="378"/>
                </a:cubicBezTo>
                <a:cubicBezTo>
                  <a:pt x="870" y="380"/>
                  <a:pt x="879" y="383"/>
                  <a:pt x="889" y="382"/>
                </a:cubicBezTo>
                <a:cubicBezTo>
                  <a:pt x="890" y="382"/>
                  <a:pt x="892" y="382"/>
                  <a:pt x="893" y="383"/>
                </a:cubicBezTo>
                <a:cubicBezTo>
                  <a:pt x="900" y="388"/>
                  <a:pt x="906" y="392"/>
                  <a:pt x="909" y="399"/>
                </a:cubicBezTo>
                <a:cubicBezTo>
                  <a:pt x="910" y="401"/>
                  <a:pt x="910" y="402"/>
                  <a:pt x="909" y="402"/>
                </a:cubicBezTo>
                <a:cubicBezTo>
                  <a:pt x="909" y="402"/>
                  <a:pt x="908" y="402"/>
                  <a:pt x="908" y="402"/>
                </a:cubicBezTo>
                <a:cubicBezTo>
                  <a:pt x="900" y="401"/>
                  <a:pt x="892" y="399"/>
                  <a:pt x="884" y="395"/>
                </a:cubicBezTo>
                <a:cubicBezTo>
                  <a:pt x="881" y="394"/>
                  <a:pt x="878" y="392"/>
                  <a:pt x="875" y="392"/>
                </a:cubicBezTo>
                <a:cubicBezTo>
                  <a:pt x="868" y="391"/>
                  <a:pt x="860" y="391"/>
                  <a:pt x="852" y="391"/>
                </a:cubicBezTo>
                <a:cubicBezTo>
                  <a:pt x="849" y="391"/>
                  <a:pt x="846" y="394"/>
                  <a:pt x="845" y="397"/>
                </a:cubicBezTo>
                <a:cubicBezTo>
                  <a:pt x="843" y="401"/>
                  <a:pt x="843" y="405"/>
                  <a:pt x="843" y="410"/>
                </a:cubicBezTo>
                <a:cubicBezTo>
                  <a:pt x="844" y="418"/>
                  <a:pt x="848" y="423"/>
                  <a:pt x="856" y="426"/>
                </a:cubicBezTo>
                <a:cubicBezTo>
                  <a:pt x="859" y="427"/>
                  <a:pt x="863" y="428"/>
                  <a:pt x="866" y="429"/>
                </a:cubicBezTo>
                <a:cubicBezTo>
                  <a:pt x="867" y="430"/>
                  <a:pt x="869" y="432"/>
                  <a:pt x="868" y="433"/>
                </a:cubicBezTo>
                <a:cubicBezTo>
                  <a:pt x="868" y="436"/>
                  <a:pt x="866" y="438"/>
                  <a:pt x="865" y="441"/>
                </a:cubicBezTo>
                <a:cubicBezTo>
                  <a:pt x="864" y="442"/>
                  <a:pt x="864" y="444"/>
                  <a:pt x="864" y="445"/>
                </a:cubicBezTo>
                <a:cubicBezTo>
                  <a:pt x="864" y="449"/>
                  <a:pt x="865" y="452"/>
                  <a:pt x="866" y="455"/>
                </a:cubicBezTo>
                <a:cubicBezTo>
                  <a:pt x="866" y="456"/>
                  <a:pt x="868" y="457"/>
                  <a:pt x="869" y="457"/>
                </a:cubicBezTo>
                <a:cubicBezTo>
                  <a:pt x="870" y="457"/>
                  <a:pt x="872" y="457"/>
                  <a:pt x="873" y="457"/>
                </a:cubicBezTo>
                <a:cubicBezTo>
                  <a:pt x="881" y="458"/>
                  <a:pt x="889" y="457"/>
                  <a:pt x="896" y="459"/>
                </a:cubicBezTo>
                <a:cubicBezTo>
                  <a:pt x="901" y="461"/>
                  <a:pt x="905" y="460"/>
                  <a:pt x="909" y="458"/>
                </a:cubicBezTo>
                <a:cubicBezTo>
                  <a:pt x="911" y="457"/>
                  <a:pt x="914" y="456"/>
                  <a:pt x="916" y="454"/>
                </a:cubicBezTo>
                <a:cubicBezTo>
                  <a:pt x="920" y="452"/>
                  <a:pt x="924" y="451"/>
                  <a:pt x="927" y="452"/>
                </a:cubicBezTo>
                <a:cubicBezTo>
                  <a:pt x="932" y="453"/>
                  <a:pt x="936" y="452"/>
                  <a:pt x="940" y="449"/>
                </a:cubicBezTo>
                <a:cubicBezTo>
                  <a:pt x="942" y="448"/>
                  <a:pt x="944" y="447"/>
                  <a:pt x="946" y="446"/>
                </a:cubicBezTo>
                <a:cubicBezTo>
                  <a:pt x="947" y="445"/>
                  <a:pt x="948" y="445"/>
                  <a:pt x="948" y="447"/>
                </a:cubicBezTo>
                <a:cubicBezTo>
                  <a:pt x="949" y="447"/>
                  <a:pt x="949" y="447"/>
                  <a:pt x="949" y="448"/>
                </a:cubicBezTo>
                <a:cubicBezTo>
                  <a:pt x="950" y="451"/>
                  <a:pt x="952" y="452"/>
                  <a:pt x="955" y="453"/>
                </a:cubicBezTo>
                <a:cubicBezTo>
                  <a:pt x="958" y="455"/>
                  <a:pt x="957" y="460"/>
                  <a:pt x="959" y="462"/>
                </a:cubicBezTo>
                <a:cubicBezTo>
                  <a:pt x="960" y="462"/>
                  <a:pt x="960" y="463"/>
                  <a:pt x="960" y="463"/>
                </a:cubicBezTo>
                <a:cubicBezTo>
                  <a:pt x="966" y="465"/>
                  <a:pt x="971" y="467"/>
                  <a:pt x="976" y="468"/>
                </a:cubicBezTo>
                <a:cubicBezTo>
                  <a:pt x="982" y="469"/>
                  <a:pt x="987" y="469"/>
                  <a:pt x="993" y="467"/>
                </a:cubicBezTo>
                <a:cubicBezTo>
                  <a:pt x="995" y="467"/>
                  <a:pt x="998" y="465"/>
                  <a:pt x="999" y="462"/>
                </a:cubicBezTo>
                <a:cubicBezTo>
                  <a:pt x="1000" y="457"/>
                  <a:pt x="1000" y="452"/>
                  <a:pt x="996" y="448"/>
                </a:cubicBezTo>
                <a:cubicBezTo>
                  <a:pt x="996" y="448"/>
                  <a:pt x="996" y="448"/>
                  <a:pt x="996" y="448"/>
                </a:cubicBezTo>
                <a:cubicBezTo>
                  <a:pt x="995" y="449"/>
                  <a:pt x="994" y="450"/>
                  <a:pt x="992" y="450"/>
                </a:cubicBezTo>
                <a:cubicBezTo>
                  <a:pt x="992" y="450"/>
                  <a:pt x="991" y="450"/>
                  <a:pt x="991" y="450"/>
                </a:cubicBezTo>
                <a:cubicBezTo>
                  <a:pt x="990" y="449"/>
                  <a:pt x="990" y="448"/>
                  <a:pt x="992" y="448"/>
                </a:cubicBezTo>
                <a:cubicBezTo>
                  <a:pt x="993" y="448"/>
                  <a:pt x="994" y="448"/>
                  <a:pt x="996" y="448"/>
                </a:cubicBezTo>
                <a:cubicBezTo>
                  <a:pt x="996" y="447"/>
                  <a:pt x="996" y="447"/>
                  <a:pt x="996" y="447"/>
                </a:cubicBezTo>
                <a:cubicBezTo>
                  <a:pt x="996" y="447"/>
                  <a:pt x="996" y="447"/>
                  <a:pt x="996" y="448"/>
                </a:cubicBezTo>
                <a:cubicBezTo>
                  <a:pt x="996" y="448"/>
                  <a:pt x="996" y="448"/>
                  <a:pt x="997" y="448"/>
                </a:cubicBezTo>
                <a:cubicBezTo>
                  <a:pt x="997" y="446"/>
                  <a:pt x="998" y="445"/>
                  <a:pt x="999" y="444"/>
                </a:cubicBezTo>
                <a:cubicBezTo>
                  <a:pt x="1001" y="443"/>
                  <a:pt x="1003" y="442"/>
                  <a:pt x="1004" y="443"/>
                </a:cubicBezTo>
                <a:cubicBezTo>
                  <a:pt x="1006" y="446"/>
                  <a:pt x="1010" y="447"/>
                  <a:pt x="1012" y="450"/>
                </a:cubicBezTo>
                <a:cubicBezTo>
                  <a:pt x="1017" y="449"/>
                  <a:pt x="1020" y="447"/>
                  <a:pt x="1022" y="442"/>
                </a:cubicBezTo>
                <a:cubicBezTo>
                  <a:pt x="1023" y="439"/>
                  <a:pt x="1023" y="436"/>
                  <a:pt x="1021" y="433"/>
                </a:cubicBezTo>
                <a:cubicBezTo>
                  <a:pt x="1020" y="431"/>
                  <a:pt x="1019" y="429"/>
                  <a:pt x="1017" y="427"/>
                </a:cubicBezTo>
                <a:cubicBezTo>
                  <a:pt x="1014" y="425"/>
                  <a:pt x="1013" y="422"/>
                  <a:pt x="1013" y="419"/>
                </a:cubicBezTo>
                <a:cubicBezTo>
                  <a:pt x="1012" y="415"/>
                  <a:pt x="1010" y="412"/>
                  <a:pt x="1007" y="409"/>
                </a:cubicBezTo>
                <a:cubicBezTo>
                  <a:pt x="1003" y="407"/>
                  <a:pt x="1003" y="402"/>
                  <a:pt x="1001" y="398"/>
                </a:cubicBezTo>
                <a:cubicBezTo>
                  <a:pt x="1000" y="395"/>
                  <a:pt x="1000" y="392"/>
                  <a:pt x="1003" y="390"/>
                </a:cubicBezTo>
                <a:cubicBezTo>
                  <a:pt x="1008" y="385"/>
                  <a:pt x="1010" y="379"/>
                  <a:pt x="1010" y="372"/>
                </a:cubicBezTo>
                <a:cubicBezTo>
                  <a:pt x="1010" y="370"/>
                  <a:pt x="1010" y="367"/>
                  <a:pt x="1011" y="364"/>
                </a:cubicBezTo>
                <a:cubicBezTo>
                  <a:pt x="1014" y="357"/>
                  <a:pt x="1017" y="349"/>
                  <a:pt x="1020" y="341"/>
                </a:cubicBezTo>
                <a:cubicBezTo>
                  <a:pt x="1021" y="339"/>
                  <a:pt x="1023" y="336"/>
                  <a:pt x="1025" y="335"/>
                </a:cubicBezTo>
                <a:cubicBezTo>
                  <a:pt x="1032" y="331"/>
                  <a:pt x="1038" y="326"/>
                  <a:pt x="1043" y="321"/>
                </a:cubicBezTo>
                <a:cubicBezTo>
                  <a:pt x="1045" y="320"/>
                  <a:pt x="1046" y="317"/>
                  <a:pt x="1046" y="315"/>
                </a:cubicBezTo>
                <a:cubicBezTo>
                  <a:pt x="1047" y="309"/>
                  <a:pt x="1044" y="306"/>
                  <a:pt x="1039" y="304"/>
                </a:cubicBezTo>
                <a:cubicBezTo>
                  <a:pt x="1035" y="303"/>
                  <a:pt x="1032" y="302"/>
                  <a:pt x="1029" y="302"/>
                </a:cubicBezTo>
                <a:cubicBezTo>
                  <a:pt x="1025" y="301"/>
                  <a:pt x="1022" y="303"/>
                  <a:pt x="1019" y="306"/>
                </a:cubicBezTo>
                <a:cubicBezTo>
                  <a:pt x="1016" y="308"/>
                  <a:pt x="1017" y="311"/>
                  <a:pt x="1018" y="314"/>
                </a:cubicBezTo>
                <a:cubicBezTo>
                  <a:pt x="1019" y="317"/>
                  <a:pt x="1019" y="321"/>
                  <a:pt x="1019" y="324"/>
                </a:cubicBezTo>
                <a:cubicBezTo>
                  <a:pt x="1019" y="324"/>
                  <a:pt x="1019" y="325"/>
                  <a:pt x="1019" y="325"/>
                </a:cubicBezTo>
                <a:cubicBezTo>
                  <a:pt x="1020" y="325"/>
                  <a:pt x="1020" y="325"/>
                  <a:pt x="1020" y="325"/>
                </a:cubicBezTo>
                <a:cubicBezTo>
                  <a:pt x="1019" y="325"/>
                  <a:pt x="1019" y="325"/>
                  <a:pt x="1019" y="325"/>
                </a:cubicBezTo>
                <a:cubicBezTo>
                  <a:pt x="1019" y="325"/>
                  <a:pt x="1019" y="324"/>
                  <a:pt x="1019" y="324"/>
                </a:cubicBezTo>
                <a:cubicBezTo>
                  <a:pt x="1018" y="323"/>
                  <a:pt x="1018" y="323"/>
                  <a:pt x="1018" y="322"/>
                </a:cubicBezTo>
                <a:cubicBezTo>
                  <a:pt x="1017" y="319"/>
                  <a:pt x="1015" y="317"/>
                  <a:pt x="1012" y="316"/>
                </a:cubicBezTo>
                <a:cubicBezTo>
                  <a:pt x="1011" y="316"/>
                  <a:pt x="1009" y="315"/>
                  <a:pt x="1007" y="314"/>
                </a:cubicBezTo>
                <a:cubicBezTo>
                  <a:pt x="1003" y="312"/>
                  <a:pt x="1000" y="314"/>
                  <a:pt x="998" y="317"/>
                </a:cubicBezTo>
                <a:cubicBezTo>
                  <a:pt x="996" y="320"/>
                  <a:pt x="995" y="322"/>
                  <a:pt x="994" y="325"/>
                </a:cubicBezTo>
                <a:cubicBezTo>
                  <a:pt x="991" y="331"/>
                  <a:pt x="990" y="339"/>
                  <a:pt x="987" y="345"/>
                </a:cubicBezTo>
                <a:cubicBezTo>
                  <a:pt x="983" y="351"/>
                  <a:pt x="983" y="358"/>
                  <a:pt x="980" y="365"/>
                </a:cubicBezTo>
                <a:cubicBezTo>
                  <a:pt x="980" y="365"/>
                  <a:pt x="980" y="366"/>
                  <a:pt x="979" y="366"/>
                </a:cubicBezTo>
                <a:cubicBezTo>
                  <a:pt x="979" y="367"/>
                  <a:pt x="979" y="367"/>
                  <a:pt x="979" y="368"/>
                </a:cubicBezTo>
                <a:cubicBezTo>
                  <a:pt x="978" y="369"/>
                  <a:pt x="976" y="370"/>
                  <a:pt x="975" y="370"/>
                </a:cubicBezTo>
                <a:cubicBezTo>
                  <a:pt x="973" y="369"/>
                  <a:pt x="972" y="367"/>
                  <a:pt x="972" y="366"/>
                </a:cubicBezTo>
                <a:cubicBezTo>
                  <a:pt x="974" y="360"/>
                  <a:pt x="975" y="354"/>
                  <a:pt x="977" y="349"/>
                </a:cubicBezTo>
                <a:cubicBezTo>
                  <a:pt x="981" y="341"/>
                  <a:pt x="981" y="333"/>
                  <a:pt x="978" y="325"/>
                </a:cubicBezTo>
                <a:cubicBezTo>
                  <a:pt x="978" y="323"/>
                  <a:pt x="977" y="322"/>
                  <a:pt x="976" y="321"/>
                </a:cubicBezTo>
                <a:cubicBezTo>
                  <a:pt x="974" y="319"/>
                  <a:pt x="971" y="320"/>
                  <a:pt x="970" y="322"/>
                </a:cubicBezTo>
                <a:cubicBezTo>
                  <a:pt x="969" y="325"/>
                  <a:pt x="969" y="329"/>
                  <a:pt x="968" y="333"/>
                </a:cubicBezTo>
                <a:cubicBezTo>
                  <a:pt x="968" y="335"/>
                  <a:pt x="966" y="336"/>
                  <a:pt x="965" y="336"/>
                </a:cubicBezTo>
                <a:cubicBezTo>
                  <a:pt x="960" y="334"/>
                  <a:pt x="955" y="334"/>
                  <a:pt x="950" y="334"/>
                </a:cubicBezTo>
                <a:cubicBezTo>
                  <a:pt x="948" y="334"/>
                  <a:pt x="948" y="334"/>
                  <a:pt x="948" y="333"/>
                </a:cubicBezTo>
                <a:cubicBezTo>
                  <a:pt x="949" y="333"/>
                  <a:pt x="949" y="333"/>
                  <a:pt x="950" y="332"/>
                </a:cubicBezTo>
                <a:cubicBezTo>
                  <a:pt x="952" y="331"/>
                  <a:pt x="955" y="330"/>
                  <a:pt x="957" y="328"/>
                </a:cubicBezTo>
                <a:cubicBezTo>
                  <a:pt x="959" y="327"/>
                  <a:pt x="959" y="324"/>
                  <a:pt x="958" y="323"/>
                </a:cubicBezTo>
                <a:cubicBezTo>
                  <a:pt x="956" y="318"/>
                  <a:pt x="953" y="315"/>
                  <a:pt x="950" y="312"/>
                </a:cubicBezTo>
                <a:cubicBezTo>
                  <a:pt x="947" y="309"/>
                  <a:pt x="943" y="309"/>
                  <a:pt x="940" y="311"/>
                </a:cubicBezTo>
                <a:cubicBezTo>
                  <a:pt x="938" y="313"/>
                  <a:pt x="937" y="314"/>
                  <a:pt x="935" y="316"/>
                </a:cubicBezTo>
                <a:cubicBezTo>
                  <a:pt x="934" y="317"/>
                  <a:pt x="932" y="318"/>
                  <a:pt x="931" y="317"/>
                </a:cubicBezTo>
                <a:cubicBezTo>
                  <a:pt x="929" y="317"/>
                  <a:pt x="929" y="316"/>
                  <a:pt x="931" y="313"/>
                </a:cubicBezTo>
                <a:cubicBezTo>
                  <a:pt x="934" y="310"/>
                  <a:pt x="936" y="306"/>
                  <a:pt x="938" y="303"/>
                </a:cubicBezTo>
                <a:cubicBezTo>
                  <a:pt x="940" y="300"/>
                  <a:pt x="939" y="296"/>
                  <a:pt x="936" y="294"/>
                </a:cubicBezTo>
                <a:cubicBezTo>
                  <a:pt x="935" y="293"/>
                  <a:pt x="934" y="293"/>
                  <a:pt x="933" y="292"/>
                </a:cubicBezTo>
                <a:cubicBezTo>
                  <a:pt x="934" y="292"/>
                  <a:pt x="934" y="292"/>
                  <a:pt x="934" y="292"/>
                </a:cubicBezTo>
                <a:cubicBezTo>
                  <a:pt x="934" y="292"/>
                  <a:pt x="933" y="292"/>
                  <a:pt x="933" y="292"/>
                </a:cubicBezTo>
                <a:cubicBezTo>
                  <a:pt x="933" y="292"/>
                  <a:pt x="933" y="292"/>
                  <a:pt x="933" y="292"/>
                </a:cubicBezTo>
                <a:cubicBezTo>
                  <a:pt x="930" y="295"/>
                  <a:pt x="927" y="294"/>
                  <a:pt x="923" y="295"/>
                </a:cubicBezTo>
                <a:close/>
                <a:moveTo>
                  <a:pt x="4141" y="1869"/>
                </a:moveTo>
                <a:cubicBezTo>
                  <a:pt x="4141" y="1868"/>
                  <a:pt x="4141" y="1868"/>
                  <a:pt x="4140" y="1867"/>
                </a:cubicBezTo>
                <a:cubicBezTo>
                  <a:pt x="4138" y="1865"/>
                  <a:pt x="4135" y="1864"/>
                  <a:pt x="4133" y="1861"/>
                </a:cubicBezTo>
                <a:cubicBezTo>
                  <a:pt x="4130" y="1859"/>
                  <a:pt x="4129" y="1856"/>
                  <a:pt x="4127" y="1853"/>
                </a:cubicBezTo>
                <a:cubicBezTo>
                  <a:pt x="4125" y="1851"/>
                  <a:pt x="4123" y="1850"/>
                  <a:pt x="4121" y="1848"/>
                </a:cubicBezTo>
                <a:cubicBezTo>
                  <a:pt x="4119" y="1845"/>
                  <a:pt x="4117" y="1843"/>
                  <a:pt x="4115" y="1840"/>
                </a:cubicBezTo>
                <a:cubicBezTo>
                  <a:pt x="4114" y="1838"/>
                  <a:pt x="4114" y="1836"/>
                  <a:pt x="4116" y="1834"/>
                </a:cubicBezTo>
                <a:cubicBezTo>
                  <a:pt x="4118" y="1833"/>
                  <a:pt x="4119" y="1833"/>
                  <a:pt x="4121" y="1832"/>
                </a:cubicBezTo>
                <a:cubicBezTo>
                  <a:pt x="4123" y="1830"/>
                  <a:pt x="4122" y="1825"/>
                  <a:pt x="4120" y="1823"/>
                </a:cubicBezTo>
                <a:cubicBezTo>
                  <a:pt x="4118" y="1822"/>
                  <a:pt x="4117" y="1821"/>
                  <a:pt x="4115" y="1821"/>
                </a:cubicBezTo>
                <a:cubicBezTo>
                  <a:pt x="4112" y="1819"/>
                  <a:pt x="4108" y="1818"/>
                  <a:pt x="4105" y="1817"/>
                </a:cubicBezTo>
                <a:cubicBezTo>
                  <a:pt x="4099" y="1815"/>
                  <a:pt x="4096" y="1812"/>
                  <a:pt x="4096" y="1806"/>
                </a:cubicBezTo>
                <a:cubicBezTo>
                  <a:pt x="4095" y="1805"/>
                  <a:pt x="4093" y="1803"/>
                  <a:pt x="4092" y="1801"/>
                </a:cubicBezTo>
                <a:cubicBezTo>
                  <a:pt x="4082" y="1793"/>
                  <a:pt x="4070" y="1787"/>
                  <a:pt x="4057" y="1783"/>
                </a:cubicBezTo>
                <a:cubicBezTo>
                  <a:pt x="4051" y="1782"/>
                  <a:pt x="4045" y="1780"/>
                  <a:pt x="4040" y="1777"/>
                </a:cubicBezTo>
                <a:cubicBezTo>
                  <a:pt x="4034" y="1775"/>
                  <a:pt x="4028" y="1772"/>
                  <a:pt x="4021" y="1770"/>
                </a:cubicBezTo>
                <a:cubicBezTo>
                  <a:pt x="4012" y="1768"/>
                  <a:pt x="4003" y="1765"/>
                  <a:pt x="3995" y="1761"/>
                </a:cubicBezTo>
                <a:cubicBezTo>
                  <a:pt x="3987" y="1758"/>
                  <a:pt x="3980" y="1756"/>
                  <a:pt x="3975" y="1765"/>
                </a:cubicBezTo>
                <a:cubicBezTo>
                  <a:pt x="3975" y="1766"/>
                  <a:pt x="3975" y="1766"/>
                  <a:pt x="3974" y="1766"/>
                </a:cubicBezTo>
                <a:cubicBezTo>
                  <a:pt x="3966" y="1770"/>
                  <a:pt x="3960" y="1775"/>
                  <a:pt x="3955" y="1782"/>
                </a:cubicBezTo>
                <a:cubicBezTo>
                  <a:pt x="3954" y="1783"/>
                  <a:pt x="3951" y="1784"/>
                  <a:pt x="3949" y="1782"/>
                </a:cubicBezTo>
                <a:cubicBezTo>
                  <a:pt x="3946" y="1779"/>
                  <a:pt x="3943" y="1776"/>
                  <a:pt x="3940" y="1773"/>
                </a:cubicBezTo>
                <a:cubicBezTo>
                  <a:pt x="3938" y="1772"/>
                  <a:pt x="3938" y="1769"/>
                  <a:pt x="3938" y="1767"/>
                </a:cubicBezTo>
                <a:cubicBezTo>
                  <a:pt x="3938" y="1765"/>
                  <a:pt x="3938" y="1763"/>
                  <a:pt x="3938" y="1761"/>
                </a:cubicBezTo>
                <a:cubicBezTo>
                  <a:pt x="3939" y="1757"/>
                  <a:pt x="3937" y="1753"/>
                  <a:pt x="3936" y="1750"/>
                </a:cubicBezTo>
                <a:cubicBezTo>
                  <a:pt x="3934" y="1747"/>
                  <a:pt x="3931" y="1747"/>
                  <a:pt x="3928" y="1747"/>
                </a:cubicBezTo>
                <a:cubicBezTo>
                  <a:pt x="3925" y="1746"/>
                  <a:pt x="3922" y="1744"/>
                  <a:pt x="3919" y="1743"/>
                </a:cubicBezTo>
                <a:cubicBezTo>
                  <a:pt x="3916" y="1742"/>
                  <a:pt x="3913" y="1742"/>
                  <a:pt x="3910" y="1744"/>
                </a:cubicBezTo>
                <a:cubicBezTo>
                  <a:pt x="3904" y="1747"/>
                  <a:pt x="3898" y="1750"/>
                  <a:pt x="3892" y="1752"/>
                </a:cubicBezTo>
                <a:cubicBezTo>
                  <a:pt x="3891" y="1752"/>
                  <a:pt x="3891" y="1754"/>
                  <a:pt x="3891" y="1755"/>
                </a:cubicBezTo>
                <a:cubicBezTo>
                  <a:pt x="3891" y="1755"/>
                  <a:pt x="3891" y="1757"/>
                  <a:pt x="3892" y="1757"/>
                </a:cubicBezTo>
                <a:cubicBezTo>
                  <a:pt x="3894" y="1758"/>
                  <a:pt x="3896" y="1759"/>
                  <a:pt x="3898" y="1760"/>
                </a:cubicBezTo>
                <a:cubicBezTo>
                  <a:pt x="3901" y="1761"/>
                  <a:pt x="3903" y="1762"/>
                  <a:pt x="3905" y="1764"/>
                </a:cubicBezTo>
                <a:cubicBezTo>
                  <a:pt x="3907" y="1769"/>
                  <a:pt x="3911" y="1771"/>
                  <a:pt x="3917" y="1771"/>
                </a:cubicBezTo>
                <a:cubicBezTo>
                  <a:pt x="3920" y="1771"/>
                  <a:pt x="3923" y="1771"/>
                  <a:pt x="3927" y="1771"/>
                </a:cubicBezTo>
                <a:cubicBezTo>
                  <a:pt x="3927" y="1771"/>
                  <a:pt x="3928" y="1772"/>
                  <a:pt x="3929" y="1772"/>
                </a:cubicBezTo>
                <a:cubicBezTo>
                  <a:pt x="3928" y="1772"/>
                  <a:pt x="3928" y="1773"/>
                  <a:pt x="3928" y="1773"/>
                </a:cubicBezTo>
                <a:cubicBezTo>
                  <a:pt x="3922" y="1773"/>
                  <a:pt x="3916" y="1777"/>
                  <a:pt x="3910" y="1777"/>
                </a:cubicBezTo>
                <a:cubicBezTo>
                  <a:pt x="3909" y="1777"/>
                  <a:pt x="3908" y="1778"/>
                  <a:pt x="3909" y="1779"/>
                </a:cubicBezTo>
                <a:cubicBezTo>
                  <a:pt x="3913" y="1784"/>
                  <a:pt x="3916" y="1788"/>
                  <a:pt x="3917" y="1794"/>
                </a:cubicBezTo>
                <a:cubicBezTo>
                  <a:pt x="3918" y="1796"/>
                  <a:pt x="3922" y="1797"/>
                  <a:pt x="3924" y="1795"/>
                </a:cubicBezTo>
                <a:cubicBezTo>
                  <a:pt x="3925" y="1794"/>
                  <a:pt x="3926" y="1793"/>
                  <a:pt x="3927" y="1791"/>
                </a:cubicBezTo>
                <a:cubicBezTo>
                  <a:pt x="3928" y="1790"/>
                  <a:pt x="3929" y="1789"/>
                  <a:pt x="3931" y="1790"/>
                </a:cubicBezTo>
                <a:cubicBezTo>
                  <a:pt x="3935" y="1792"/>
                  <a:pt x="3940" y="1794"/>
                  <a:pt x="3944" y="1797"/>
                </a:cubicBezTo>
                <a:cubicBezTo>
                  <a:pt x="3947" y="1799"/>
                  <a:pt x="3949" y="1801"/>
                  <a:pt x="3953" y="1802"/>
                </a:cubicBezTo>
                <a:cubicBezTo>
                  <a:pt x="3958" y="1803"/>
                  <a:pt x="3963" y="1805"/>
                  <a:pt x="3968" y="1806"/>
                </a:cubicBezTo>
                <a:cubicBezTo>
                  <a:pt x="3972" y="1807"/>
                  <a:pt x="3975" y="1808"/>
                  <a:pt x="3978" y="1810"/>
                </a:cubicBezTo>
                <a:cubicBezTo>
                  <a:pt x="3984" y="1813"/>
                  <a:pt x="3989" y="1816"/>
                  <a:pt x="3991" y="1824"/>
                </a:cubicBezTo>
                <a:cubicBezTo>
                  <a:pt x="3991" y="1826"/>
                  <a:pt x="3993" y="1828"/>
                  <a:pt x="3994" y="1831"/>
                </a:cubicBezTo>
                <a:cubicBezTo>
                  <a:pt x="3995" y="1833"/>
                  <a:pt x="3996" y="1835"/>
                  <a:pt x="3997" y="1837"/>
                </a:cubicBezTo>
                <a:cubicBezTo>
                  <a:pt x="3998" y="1839"/>
                  <a:pt x="3997" y="1841"/>
                  <a:pt x="3996" y="1841"/>
                </a:cubicBezTo>
                <a:cubicBezTo>
                  <a:pt x="3990" y="1842"/>
                  <a:pt x="3987" y="1846"/>
                  <a:pt x="3985" y="1850"/>
                </a:cubicBezTo>
                <a:cubicBezTo>
                  <a:pt x="3983" y="1853"/>
                  <a:pt x="3985" y="1856"/>
                  <a:pt x="3988" y="1856"/>
                </a:cubicBezTo>
                <a:cubicBezTo>
                  <a:pt x="3993" y="1857"/>
                  <a:pt x="3998" y="1855"/>
                  <a:pt x="4002" y="1854"/>
                </a:cubicBezTo>
                <a:cubicBezTo>
                  <a:pt x="4008" y="1853"/>
                  <a:pt x="4013" y="1854"/>
                  <a:pt x="4017" y="1859"/>
                </a:cubicBezTo>
                <a:cubicBezTo>
                  <a:pt x="4018" y="1860"/>
                  <a:pt x="4019" y="1862"/>
                  <a:pt x="4020" y="1863"/>
                </a:cubicBezTo>
                <a:cubicBezTo>
                  <a:pt x="4022" y="1866"/>
                  <a:pt x="4025" y="1867"/>
                  <a:pt x="4029" y="1867"/>
                </a:cubicBezTo>
                <a:cubicBezTo>
                  <a:pt x="4035" y="1868"/>
                  <a:pt x="4042" y="1868"/>
                  <a:pt x="4048" y="1870"/>
                </a:cubicBezTo>
                <a:cubicBezTo>
                  <a:pt x="4051" y="1871"/>
                  <a:pt x="4054" y="1870"/>
                  <a:pt x="4056" y="1869"/>
                </a:cubicBezTo>
                <a:cubicBezTo>
                  <a:pt x="4060" y="1867"/>
                  <a:pt x="4060" y="1865"/>
                  <a:pt x="4059" y="1861"/>
                </a:cubicBezTo>
                <a:cubicBezTo>
                  <a:pt x="4059" y="1860"/>
                  <a:pt x="4059" y="1858"/>
                  <a:pt x="4059" y="1858"/>
                </a:cubicBezTo>
                <a:cubicBezTo>
                  <a:pt x="4063" y="1854"/>
                  <a:pt x="4066" y="1851"/>
                  <a:pt x="4070" y="1848"/>
                </a:cubicBezTo>
                <a:cubicBezTo>
                  <a:pt x="4074" y="1846"/>
                  <a:pt x="4078" y="1846"/>
                  <a:pt x="4082" y="1847"/>
                </a:cubicBezTo>
                <a:cubicBezTo>
                  <a:pt x="4085" y="1849"/>
                  <a:pt x="4088" y="1851"/>
                  <a:pt x="4092" y="1852"/>
                </a:cubicBezTo>
                <a:cubicBezTo>
                  <a:pt x="4095" y="1854"/>
                  <a:pt x="4097" y="1856"/>
                  <a:pt x="4099" y="1859"/>
                </a:cubicBezTo>
                <a:cubicBezTo>
                  <a:pt x="4104" y="1865"/>
                  <a:pt x="4109" y="1871"/>
                  <a:pt x="4114" y="1877"/>
                </a:cubicBezTo>
                <a:cubicBezTo>
                  <a:pt x="4117" y="1881"/>
                  <a:pt x="4121" y="1883"/>
                  <a:pt x="4127" y="1883"/>
                </a:cubicBezTo>
                <a:cubicBezTo>
                  <a:pt x="4136" y="1883"/>
                  <a:pt x="4144" y="1885"/>
                  <a:pt x="4152" y="1889"/>
                </a:cubicBezTo>
                <a:cubicBezTo>
                  <a:pt x="4152" y="1889"/>
                  <a:pt x="4153" y="1889"/>
                  <a:pt x="4154" y="1889"/>
                </a:cubicBezTo>
                <a:cubicBezTo>
                  <a:pt x="4155" y="1889"/>
                  <a:pt x="4156" y="1889"/>
                  <a:pt x="4156" y="1888"/>
                </a:cubicBezTo>
                <a:cubicBezTo>
                  <a:pt x="4157" y="1887"/>
                  <a:pt x="4157" y="1886"/>
                  <a:pt x="4157" y="1885"/>
                </a:cubicBezTo>
                <a:cubicBezTo>
                  <a:pt x="4157" y="1883"/>
                  <a:pt x="4156" y="1881"/>
                  <a:pt x="4154" y="1880"/>
                </a:cubicBezTo>
                <a:cubicBezTo>
                  <a:pt x="4149" y="1879"/>
                  <a:pt x="4150" y="1876"/>
                  <a:pt x="4151" y="1873"/>
                </a:cubicBezTo>
                <a:cubicBezTo>
                  <a:pt x="4147" y="1873"/>
                  <a:pt x="4143" y="1873"/>
                  <a:pt x="4141" y="1869"/>
                </a:cubicBezTo>
                <a:close/>
                <a:moveTo>
                  <a:pt x="3592" y="1733"/>
                </a:moveTo>
                <a:cubicBezTo>
                  <a:pt x="3594" y="1739"/>
                  <a:pt x="3595" y="1745"/>
                  <a:pt x="3597" y="1751"/>
                </a:cubicBezTo>
                <a:cubicBezTo>
                  <a:pt x="3597" y="1754"/>
                  <a:pt x="3599" y="1758"/>
                  <a:pt x="3603" y="1759"/>
                </a:cubicBezTo>
                <a:cubicBezTo>
                  <a:pt x="3604" y="1759"/>
                  <a:pt x="3605" y="1761"/>
                  <a:pt x="3605" y="1761"/>
                </a:cubicBezTo>
                <a:cubicBezTo>
                  <a:pt x="3605" y="1766"/>
                  <a:pt x="3607" y="1770"/>
                  <a:pt x="3608" y="1774"/>
                </a:cubicBezTo>
                <a:cubicBezTo>
                  <a:pt x="3608" y="1779"/>
                  <a:pt x="3611" y="1781"/>
                  <a:pt x="3616" y="1781"/>
                </a:cubicBezTo>
                <a:cubicBezTo>
                  <a:pt x="3618" y="1782"/>
                  <a:pt x="3621" y="1782"/>
                  <a:pt x="3624" y="1782"/>
                </a:cubicBezTo>
                <a:cubicBezTo>
                  <a:pt x="3627" y="1782"/>
                  <a:pt x="3629" y="1783"/>
                  <a:pt x="3630" y="1786"/>
                </a:cubicBezTo>
                <a:cubicBezTo>
                  <a:pt x="3632" y="1789"/>
                  <a:pt x="3634" y="1789"/>
                  <a:pt x="3637" y="1788"/>
                </a:cubicBezTo>
                <a:cubicBezTo>
                  <a:pt x="3640" y="1787"/>
                  <a:pt x="3643" y="1786"/>
                  <a:pt x="3646" y="1785"/>
                </a:cubicBezTo>
                <a:cubicBezTo>
                  <a:pt x="3648" y="1785"/>
                  <a:pt x="3649" y="1785"/>
                  <a:pt x="3650" y="1785"/>
                </a:cubicBezTo>
                <a:cubicBezTo>
                  <a:pt x="3654" y="1786"/>
                  <a:pt x="3659" y="1788"/>
                  <a:pt x="3663" y="1790"/>
                </a:cubicBezTo>
                <a:cubicBezTo>
                  <a:pt x="3665" y="1791"/>
                  <a:pt x="3665" y="1793"/>
                  <a:pt x="3666" y="1794"/>
                </a:cubicBezTo>
                <a:cubicBezTo>
                  <a:pt x="3668" y="1796"/>
                  <a:pt x="3669" y="1797"/>
                  <a:pt x="3672" y="1796"/>
                </a:cubicBezTo>
                <a:cubicBezTo>
                  <a:pt x="3675" y="1795"/>
                  <a:pt x="3678" y="1794"/>
                  <a:pt x="3681" y="1793"/>
                </a:cubicBezTo>
                <a:cubicBezTo>
                  <a:pt x="3683" y="1793"/>
                  <a:pt x="3684" y="1794"/>
                  <a:pt x="3686" y="1794"/>
                </a:cubicBezTo>
                <a:cubicBezTo>
                  <a:pt x="3688" y="1795"/>
                  <a:pt x="3691" y="1793"/>
                  <a:pt x="3691" y="1791"/>
                </a:cubicBezTo>
                <a:cubicBezTo>
                  <a:pt x="3691" y="1790"/>
                  <a:pt x="3691" y="1790"/>
                  <a:pt x="3691" y="1789"/>
                </a:cubicBezTo>
                <a:cubicBezTo>
                  <a:pt x="3689" y="1786"/>
                  <a:pt x="3689" y="1782"/>
                  <a:pt x="3691" y="1779"/>
                </a:cubicBezTo>
                <a:cubicBezTo>
                  <a:pt x="3693" y="1776"/>
                  <a:pt x="3693" y="1773"/>
                  <a:pt x="3693" y="1771"/>
                </a:cubicBezTo>
                <a:cubicBezTo>
                  <a:pt x="3692" y="1766"/>
                  <a:pt x="3694" y="1762"/>
                  <a:pt x="3697" y="1759"/>
                </a:cubicBezTo>
                <a:cubicBezTo>
                  <a:pt x="3702" y="1754"/>
                  <a:pt x="3704" y="1747"/>
                  <a:pt x="3706" y="1741"/>
                </a:cubicBezTo>
                <a:cubicBezTo>
                  <a:pt x="3708" y="1738"/>
                  <a:pt x="3709" y="1735"/>
                  <a:pt x="3710" y="1732"/>
                </a:cubicBezTo>
                <a:cubicBezTo>
                  <a:pt x="3711" y="1730"/>
                  <a:pt x="3713" y="1729"/>
                  <a:pt x="3715" y="1728"/>
                </a:cubicBezTo>
                <a:cubicBezTo>
                  <a:pt x="3716" y="1728"/>
                  <a:pt x="3718" y="1728"/>
                  <a:pt x="3720" y="1728"/>
                </a:cubicBezTo>
                <a:cubicBezTo>
                  <a:pt x="3721" y="1728"/>
                  <a:pt x="3722" y="1727"/>
                  <a:pt x="3723" y="1727"/>
                </a:cubicBezTo>
                <a:cubicBezTo>
                  <a:pt x="3724" y="1726"/>
                  <a:pt x="3725" y="1724"/>
                  <a:pt x="3724" y="1723"/>
                </a:cubicBezTo>
                <a:cubicBezTo>
                  <a:pt x="3722" y="1719"/>
                  <a:pt x="3717" y="1717"/>
                  <a:pt x="3715" y="1714"/>
                </a:cubicBezTo>
                <a:cubicBezTo>
                  <a:pt x="3713" y="1712"/>
                  <a:pt x="3712" y="1710"/>
                  <a:pt x="3713" y="1708"/>
                </a:cubicBezTo>
                <a:cubicBezTo>
                  <a:pt x="3714" y="1705"/>
                  <a:pt x="3714" y="1703"/>
                  <a:pt x="3713" y="1701"/>
                </a:cubicBezTo>
                <a:cubicBezTo>
                  <a:pt x="3707" y="1696"/>
                  <a:pt x="3708" y="1690"/>
                  <a:pt x="3711" y="1683"/>
                </a:cubicBezTo>
                <a:cubicBezTo>
                  <a:pt x="3712" y="1681"/>
                  <a:pt x="3714" y="1679"/>
                  <a:pt x="3716" y="1678"/>
                </a:cubicBezTo>
                <a:cubicBezTo>
                  <a:pt x="3718" y="1677"/>
                  <a:pt x="3719" y="1675"/>
                  <a:pt x="3719" y="1673"/>
                </a:cubicBezTo>
                <a:cubicBezTo>
                  <a:pt x="3719" y="1671"/>
                  <a:pt x="3721" y="1669"/>
                  <a:pt x="3723" y="1669"/>
                </a:cubicBezTo>
                <a:cubicBezTo>
                  <a:pt x="3725" y="1668"/>
                  <a:pt x="3727" y="1668"/>
                  <a:pt x="3729" y="1666"/>
                </a:cubicBezTo>
                <a:cubicBezTo>
                  <a:pt x="3729" y="1665"/>
                  <a:pt x="3729" y="1665"/>
                  <a:pt x="3729" y="1664"/>
                </a:cubicBezTo>
                <a:cubicBezTo>
                  <a:pt x="3729" y="1664"/>
                  <a:pt x="3729" y="1663"/>
                  <a:pt x="3729" y="1663"/>
                </a:cubicBezTo>
                <a:cubicBezTo>
                  <a:pt x="3725" y="1660"/>
                  <a:pt x="3721" y="1658"/>
                  <a:pt x="3717" y="1656"/>
                </a:cubicBezTo>
                <a:cubicBezTo>
                  <a:pt x="3714" y="1654"/>
                  <a:pt x="3709" y="1653"/>
                  <a:pt x="3709" y="1647"/>
                </a:cubicBezTo>
                <a:cubicBezTo>
                  <a:pt x="3707" y="1645"/>
                  <a:pt x="3705" y="1642"/>
                  <a:pt x="3702" y="1640"/>
                </a:cubicBezTo>
                <a:cubicBezTo>
                  <a:pt x="3701" y="1639"/>
                  <a:pt x="3699" y="1640"/>
                  <a:pt x="3698" y="1640"/>
                </a:cubicBezTo>
                <a:cubicBezTo>
                  <a:pt x="3695" y="1641"/>
                  <a:pt x="3692" y="1642"/>
                  <a:pt x="3691" y="1645"/>
                </a:cubicBezTo>
                <a:cubicBezTo>
                  <a:pt x="3689" y="1647"/>
                  <a:pt x="3688" y="1650"/>
                  <a:pt x="3686" y="1653"/>
                </a:cubicBezTo>
                <a:cubicBezTo>
                  <a:pt x="3685" y="1655"/>
                  <a:pt x="3684" y="1657"/>
                  <a:pt x="3682" y="1659"/>
                </a:cubicBezTo>
                <a:cubicBezTo>
                  <a:pt x="3679" y="1661"/>
                  <a:pt x="3675" y="1665"/>
                  <a:pt x="3670" y="1667"/>
                </a:cubicBezTo>
                <a:cubicBezTo>
                  <a:pt x="3664" y="1669"/>
                  <a:pt x="3659" y="1673"/>
                  <a:pt x="3656" y="1679"/>
                </a:cubicBezTo>
                <a:cubicBezTo>
                  <a:pt x="3654" y="1682"/>
                  <a:pt x="3652" y="1685"/>
                  <a:pt x="3650" y="1687"/>
                </a:cubicBezTo>
                <a:cubicBezTo>
                  <a:pt x="3647" y="1693"/>
                  <a:pt x="3642" y="1696"/>
                  <a:pt x="3636" y="1697"/>
                </a:cubicBezTo>
                <a:cubicBezTo>
                  <a:pt x="3629" y="1698"/>
                  <a:pt x="3626" y="1702"/>
                  <a:pt x="3624" y="1708"/>
                </a:cubicBezTo>
                <a:cubicBezTo>
                  <a:pt x="3623" y="1710"/>
                  <a:pt x="3622" y="1712"/>
                  <a:pt x="3621" y="1714"/>
                </a:cubicBezTo>
                <a:cubicBezTo>
                  <a:pt x="3621" y="1716"/>
                  <a:pt x="3618" y="1717"/>
                  <a:pt x="3616" y="1716"/>
                </a:cubicBezTo>
                <a:cubicBezTo>
                  <a:pt x="3612" y="1715"/>
                  <a:pt x="3609" y="1714"/>
                  <a:pt x="3605" y="1712"/>
                </a:cubicBezTo>
                <a:cubicBezTo>
                  <a:pt x="3601" y="1711"/>
                  <a:pt x="3599" y="1712"/>
                  <a:pt x="3596" y="1715"/>
                </a:cubicBezTo>
                <a:cubicBezTo>
                  <a:pt x="3595" y="1716"/>
                  <a:pt x="3594" y="1717"/>
                  <a:pt x="3594" y="1719"/>
                </a:cubicBezTo>
                <a:cubicBezTo>
                  <a:pt x="3592" y="1724"/>
                  <a:pt x="3590" y="1729"/>
                  <a:pt x="3592" y="1733"/>
                </a:cubicBezTo>
                <a:close/>
                <a:moveTo>
                  <a:pt x="2768" y="1903"/>
                </a:moveTo>
                <a:cubicBezTo>
                  <a:pt x="2768" y="1902"/>
                  <a:pt x="2767" y="1902"/>
                  <a:pt x="2766" y="1903"/>
                </a:cubicBezTo>
                <a:cubicBezTo>
                  <a:pt x="2763" y="1905"/>
                  <a:pt x="2762" y="1908"/>
                  <a:pt x="2761" y="1912"/>
                </a:cubicBezTo>
                <a:cubicBezTo>
                  <a:pt x="2761" y="1915"/>
                  <a:pt x="2759" y="1918"/>
                  <a:pt x="2756" y="1919"/>
                </a:cubicBezTo>
                <a:cubicBezTo>
                  <a:pt x="2756" y="1920"/>
                  <a:pt x="2756" y="1921"/>
                  <a:pt x="2755" y="1922"/>
                </a:cubicBezTo>
                <a:cubicBezTo>
                  <a:pt x="2752" y="1924"/>
                  <a:pt x="2748" y="1925"/>
                  <a:pt x="2748" y="1930"/>
                </a:cubicBezTo>
                <a:cubicBezTo>
                  <a:pt x="2747" y="1935"/>
                  <a:pt x="2744" y="1938"/>
                  <a:pt x="2739" y="1941"/>
                </a:cubicBezTo>
                <a:cubicBezTo>
                  <a:pt x="2735" y="1943"/>
                  <a:pt x="2732" y="1948"/>
                  <a:pt x="2727" y="1950"/>
                </a:cubicBezTo>
                <a:cubicBezTo>
                  <a:pt x="2723" y="1952"/>
                  <a:pt x="2718" y="1953"/>
                  <a:pt x="2713" y="1954"/>
                </a:cubicBezTo>
                <a:cubicBezTo>
                  <a:pt x="2713" y="1954"/>
                  <a:pt x="2712" y="1955"/>
                  <a:pt x="2712" y="1955"/>
                </a:cubicBezTo>
                <a:cubicBezTo>
                  <a:pt x="2707" y="1957"/>
                  <a:pt x="2703" y="1959"/>
                  <a:pt x="2698" y="1960"/>
                </a:cubicBezTo>
                <a:cubicBezTo>
                  <a:pt x="2696" y="1964"/>
                  <a:pt x="2695" y="1967"/>
                  <a:pt x="2693" y="1971"/>
                </a:cubicBezTo>
                <a:cubicBezTo>
                  <a:pt x="2689" y="1977"/>
                  <a:pt x="2689" y="1984"/>
                  <a:pt x="2691" y="1991"/>
                </a:cubicBezTo>
                <a:cubicBezTo>
                  <a:pt x="2692" y="1993"/>
                  <a:pt x="2693" y="1995"/>
                  <a:pt x="2694" y="1997"/>
                </a:cubicBezTo>
                <a:cubicBezTo>
                  <a:pt x="2696" y="2004"/>
                  <a:pt x="2696" y="2009"/>
                  <a:pt x="2692" y="2015"/>
                </a:cubicBezTo>
                <a:cubicBezTo>
                  <a:pt x="2688" y="2020"/>
                  <a:pt x="2685" y="2026"/>
                  <a:pt x="2681" y="2031"/>
                </a:cubicBezTo>
                <a:cubicBezTo>
                  <a:pt x="2676" y="2038"/>
                  <a:pt x="2674" y="2045"/>
                  <a:pt x="2678" y="2053"/>
                </a:cubicBezTo>
                <a:cubicBezTo>
                  <a:pt x="2679" y="2057"/>
                  <a:pt x="2679" y="2060"/>
                  <a:pt x="2679" y="2064"/>
                </a:cubicBezTo>
                <a:cubicBezTo>
                  <a:pt x="2679" y="2068"/>
                  <a:pt x="2679" y="2071"/>
                  <a:pt x="2680" y="2074"/>
                </a:cubicBezTo>
                <a:cubicBezTo>
                  <a:pt x="2680" y="2076"/>
                  <a:pt x="2681" y="2079"/>
                  <a:pt x="2682" y="2080"/>
                </a:cubicBezTo>
                <a:cubicBezTo>
                  <a:pt x="2686" y="2087"/>
                  <a:pt x="2692" y="2090"/>
                  <a:pt x="2699" y="2093"/>
                </a:cubicBezTo>
                <a:cubicBezTo>
                  <a:pt x="2703" y="2094"/>
                  <a:pt x="2706" y="2091"/>
                  <a:pt x="2710" y="2090"/>
                </a:cubicBezTo>
                <a:cubicBezTo>
                  <a:pt x="2712" y="2089"/>
                  <a:pt x="2715" y="2088"/>
                  <a:pt x="2718" y="2088"/>
                </a:cubicBezTo>
                <a:cubicBezTo>
                  <a:pt x="2724" y="2088"/>
                  <a:pt x="2728" y="2085"/>
                  <a:pt x="2730" y="2079"/>
                </a:cubicBezTo>
                <a:cubicBezTo>
                  <a:pt x="2732" y="2075"/>
                  <a:pt x="2734" y="2071"/>
                  <a:pt x="2736" y="2067"/>
                </a:cubicBezTo>
                <a:cubicBezTo>
                  <a:pt x="2739" y="2057"/>
                  <a:pt x="2742" y="2047"/>
                  <a:pt x="2747" y="2038"/>
                </a:cubicBezTo>
                <a:cubicBezTo>
                  <a:pt x="2753" y="2024"/>
                  <a:pt x="2757" y="2009"/>
                  <a:pt x="2763" y="1995"/>
                </a:cubicBezTo>
                <a:cubicBezTo>
                  <a:pt x="2765" y="1991"/>
                  <a:pt x="2766" y="1986"/>
                  <a:pt x="2767" y="1982"/>
                </a:cubicBezTo>
                <a:cubicBezTo>
                  <a:pt x="2768" y="1977"/>
                  <a:pt x="2769" y="1971"/>
                  <a:pt x="2771" y="1966"/>
                </a:cubicBezTo>
                <a:cubicBezTo>
                  <a:pt x="2773" y="1962"/>
                  <a:pt x="2772" y="1956"/>
                  <a:pt x="2778" y="1954"/>
                </a:cubicBezTo>
                <a:cubicBezTo>
                  <a:pt x="2780" y="1952"/>
                  <a:pt x="2781" y="1949"/>
                  <a:pt x="2780" y="1946"/>
                </a:cubicBezTo>
                <a:cubicBezTo>
                  <a:pt x="2780" y="1941"/>
                  <a:pt x="2779" y="1937"/>
                  <a:pt x="2779" y="1932"/>
                </a:cubicBezTo>
                <a:cubicBezTo>
                  <a:pt x="2779" y="1921"/>
                  <a:pt x="2775" y="1911"/>
                  <a:pt x="2768" y="1903"/>
                </a:cubicBezTo>
                <a:close/>
                <a:moveTo>
                  <a:pt x="2634" y="428"/>
                </a:moveTo>
                <a:cubicBezTo>
                  <a:pt x="2630" y="433"/>
                  <a:pt x="2631" y="440"/>
                  <a:pt x="2628" y="445"/>
                </a:cubicBezTo>
                <a:cubicBezTo>
                  <a:pt x="2626" y="447"/>
                  <a:pt x="2627" y="450"/>
                  <a:pt x="2629" y="452"/>
                </a:cubicBezTo>
                <a:cubicBezTo>
                  <a:pt x="2630" y="453"/>
                  <a:pt x="2631" y="455"/>
                  <a:pt x="2632" y="456"/>
                </a:cubicBezTo>
                <a:cubicBezTo>
                  <a:pt x="2634" y="459"/>
                  <a:pt x="2633" y="464"/>
                  <a:pt x="2629" y="466"/>
                </a:cubicBezTo>
                <a:cubicBezTo>
                  <a:pt x="2627" y="467"/>
                  <a:pt x="2624" y="468"/>
                  <a:pt x="2624" y="471"/>
                </a:cubicBezTo>
                <a:cubicBezTo>
                  <a:pt x="2623" y="474"/>
                  <a:pt x="2623" y="478"/>
                  <a:pt x="2624" y="481"/>
                </a:cubicBezTo>
                <a:cubicBezTo>
                  <a:pt x="2626" y="484"/>
                  <a:pt x="2628" y="487"/>
                  <a:pt x="2631" y="488"/>
                </a:cubicBezTo>
                <a:cubicBezTo>
                  <a:pt x="2632" y="489"/>
                  <a:pt x="2634" y="490"/>
                  <a:pt x="2635" y="490"/>
                </a:cubicBezTo>
                <a:cubicBezTo>
                  <a:pt x="2637" y="489"/>
                  <a:pt x="2640" y="488"/>
                  <a:pt x="2642" y="488"/>
                </a:cubicBezTo>
                <a:cubicBezTo>
                  <a:pt x="2645" y="487"/>
                  <a:pt x="2648" y="489"/>
                  <a:pt x="2650" y="492"/>
                </a:cubicBezTo>
                <a:cubicBezTo>
                  <a:pt x="2652" y="493"/>
                  <a:pt x="2653" y="496"/>
                  <a:pt x="2653" y="498"/>
                </a:cubicBezTo>
                <a:cubicBezTo>
                  <a:pt x="2654" y="503"/>
                  <a:pt x="2657" y="505"/>
                  <a:pt x="2661" y="506"/>
                </a:cubicBezTo>
                <a:cubicBezTo>
                  <a:pt x="2664" y="507"/>
                  <a:pt x="2667" y="508"/>
                  <a:pt x="2669" y="509"/>
                </a:cubicBezTo>
                <a:cubicBezTo>
                  <a:pt x="2672" y="510"/>
                  <a:pt x="2674" y="511"/>
                  <a:pt x="2677" y="510"/>
                </a:cubicBezTo>
                <a:cubicBezTo>
                  <a:pt x="2679" y="510"/>
                  <a:pt x="2681" y="510"/>
                  <a:pt x="2684" y="510"/>
                </a:cubicBezTo>
                <a:cubicBezTo>
                  <a:pt x="2684" y="510"/>
                  <a:pt x="2684" y="511"/>
                  <a:pt x="2684" y="511"/>
                </a:cubicBezTo>
                <a:cubicBezTo>
                  <a:pt x="2687" y="511"/>
                  <a:pt x="2690" y="511"/>
                  <a:pt x="2694" y="511"/>
                </a:cubicBezTo>
                <a:cubicBezTo>
                  <a:pt x="2694" y="511"/>
                  <a:pt x="2696" y="510"/>
                  <a:pt x="2696" y="509"/>
                </a:cubicBezTo>
                <a:cubicBezTo>
                  <a:pt x="2697" y="507"/>
                  <a:pt x="2697" y="506"/>
                  <a:pt x="2697" y="504"/>
                </a:cubicBezTo>
                <a:cubicBezTo>
                  <a:pt x="2698" y="502"/>
                  <a:pt x="2697" y="500"/>
                  <a:pt x="2695" y="498"/>
                </a:cubicBezTo>
                <a:cubicBezTo>
                  <a:pt x="2692" y="496"/>
                  <a:pt x="2689" y="494"/>
                  <a:pt x="2685" y="492"/>
                </a:cubicBezTo>
                <a:cubicBezTo>
                  <a:pt x="2676" y="486"/>
                  <a:pt x="2671" y="478"/>
                  <a:pt x="2667" y="468"/>
                </a:cubicBezTo>
                <a:cubicBezTo>
                  <a:pt x="2666" y="463"/>
                  <a:pt x="2665" y="458"/>
                  <a:pt x="2664" y="453"/>
                </a:cubicBezTo>
                <a:cubicBezTo>
                  <a:pt x="2662" y="446"/>
                  <a:pt x="2664" y="439"/>
                  <a:pt x="2664" y="432"/>
                </a:cubicBezTo>
                <a:cubicBezTo>
                  <a:pt x="2664" y="428"/>
                  <a:pt x="2666" y="426"/>
                  <a:pt x="2668" y="423"/>
                </a:cubicBezTo>
                <a:cubicBezTo>
                  <a:pt x="2669" y="421"/>
                  <a:pt x="2670" y="419"/>
                  <a:pt x="2670" y="417"/>
                </a:cubicBezTo>
                <a:cubicBezTo>
                  <a:pt x="2672" y="408"/>
                  <a:pt x="2673" y="398"/>
                  <a:pt x="2674" y="389"/>
                </a:cubicBezTo>
                <a:cubicBezTo>
                  <a:pt x="2674" y="385"/>
                  <a:pt x="2676" y="381"/>
                  <a:pt x="2679" y="379"/>
                </a:cubicBezTo>
                <a:cubicBezTo>
                  <a:pt x="2684" y="376"/>
                  <a:pt x="2687" y="372"/>
                  <a:pt x="2689" y="367"/>
                </a:cubicBezTo>
                <a:cubicBezTo>
                  <a:pt x="2692" y="360"/>
                  <a:pt x="2696" y="354"/>
                  <a:pt x="2700" y="348"/>
                </a:cubicBezTo>
                <a:cubicBezTo>
                  <a:pt x="2703" y="343"/>
                  <a:pt x="2708" y="338"/>
                  <a:pt x="2713" y="333"/>
                </a:cubicBezTo>
                <a:cubicBezTo>
                  <a:pt x="2718" y="328"/>
                  <a:pt x="2724" y="323"/>
                  <a:pt x="2731" y="319"/>
                </a:cubicBezTo>
                <a:cubicBezTo>
                  <a:pt x="2734" y="318"/>
                  <a:pt x="2736" y="315"/>
                  <a:pt x="2739" y="313"/>
                </a:cubicBezTo>
                <a:cubicBezTo>
                  <a:pt x="2745" y="309"/>
                  <a:pt x="2746" y="304"/>
                  <a:pt x="2744" y="298"/>
                </a:cubicBezTo>
                <a:cubicBezTo>
                  <a:pt x="2743" y="296"/>
                  <a:pt x="2743" y="295"/>
                  <a:pt x="2743" y="293"/>
                </a:cubicBezTo>
                <a:cubicBezTo>
                  <a:pt x="2742" y="291"/>
                  <a:pt x="2741" y="289"/>
                  <a:pt x="2739" y="288"/>
                </a:cubicBezTo>
                <a:cubicBezTo>
                  <a:pt x="2738" y="287"/>
                  <a:pt x="2736" y="286"/>
                  <a:pt x="2735" y="285"/>
                </a:cubicBezTo>
                <a:cubicBezTo>
                  <a:pt x="2731" y="281"/>
                  <a:pt x="2727" y="282"/>
                  <a:pt x="2723" y="284"/>
                </a:cubicBezTo>
                <a:cubicBezTo>
                  <a:pt x="2717" y="287"/>
                  <a:pt x="2712" y="291"/>
                  <a:pt x="2711" y="298"/>
                </a:cubicBezTo>
                <a:cubicBezTo>
                  <a:pt x="2710" y="303"/>
                  <a:pt x="2707" y="306"/>
                  <a:pt x="2703" y="309"/>
                </a:cubicBezTo>
                <a:cubicBezTo>
                  <a:pt x="2698" y="312"/>
                  <a:pt x="2693" y="315"/>
                  <a:pt x="2686" y="315"/>
                </a:cubicBezTo>
                <a:cubicBezTo>
                  <a:pt x="2676" y="315"/>
                  <a:pt x="2670" y="321"/>
                  <a:pt x="2665" y="329"/>
                </a:cubicBezTo>
                <a:cubicBezTo>
                  <a:pt x="2665" y="329"/>
                  <a:pt x="2664" y="330"/>
                  <a:pt x="2664" y="330"/>
                </a:cubicBezTo>
                <a:cubicBezTo>
                  <a:pt x="2663" y="333"/>
                  <a:pt x="2661" y="334"/>
                  <a:pt x="2658" y="335"/>
                </a:cubicBezTo>
                <a:cubicBezTo>
                  <a:pt x="2656" y="336"/>
                  <a:pt x="2654" y="337"/>
                  <a:pt x="2654" y="340"/>
                </a:cubicBezTo>
                <a:cubicBezTo>
                  <a:pt x="2653" y="342"/>
                  <a:pt x="2653" y="345"/>
                  <a:pt x="2651" y="347"/>
                </a:cubicBezTo>
                <a:cubicBezTo>
                  <a:pt x="2650" y="350"/>
                  <a:pt x="2649" y="352"/>
                  <a:pt x="2650" y="355"/>
                </a:cubicBezTo>
                <a:cubicBezTo>
                  <a:pt x="2650" y="356"/>
                  <a:pt x="2649" y="357"/>
                  <a:pt x="2649" y="358"/>
                </a:cubicBezTo>
                <a:cubicBezTo>
                  <a:pt x="2648" y="358"/>
                  <a:pt x="2648" y="358"/>
                  <a:pt x="2647" y="359"/>
                </a:cubicBezTo>
                <a:cubicBezTo>
                  <a:pt x="2644" y="359"/>
                  <a:pt x="2643" y="362"/>
                  <a:pt x="2641" y="364"/>
                </a:cubicBezTo>
                <a:cubicBezTo>
                  <a:pt x="2640" y="366"/>
                  <a:pt x="2638" y="366"/>
                  <a:pt x="2636" y="366"/>
                </a:cubicBezTo>
                <a:cubicBezTo>
                  <a:pt x="2634" y="367"/>
                  <a:pt x="2633" y="369"/>
                  <a:pt x="2634" y="370"/>
                </a:cubicBezTo>
                <a:cubicBezTo>
                  <a:pt x="2636" y="374"/>
                  <a:pt x="2639" y="377"/>
                  <a:pt x="2639" y="380"/>
                </a:cubicBezTo>
                <a:cubicBezTo>
                  <a:pt x="2640" y="384"/>
                  <a:pt x="2638" y="389"/>
                  <a:pt x="2638" y="393"/>
                </a:cubicBezTo>
                <a:cubicBezTo>
                  <a:pt x="2638" y="396"/>
                  <a:pt x="2638" y="399"/>
                  <a:pt x="2636" y="401"/>
                </a:cubicBezTo>
                <a:cubicBezTo>
                  <a:pt x="2634" y="404"/>
                  <a:pt x="2633" y="408"/>
                  <a:pt x="2631" y="411"/>
                </a:cubicBezTo>
                <a:cubicBezTo>
                  <a:pt x="2629" y="413"/>
                  <a:pt x="2630" y="416"/>
                  <a:pt x="2632" y="418"/>
                </a:cubicBezTo>
                <a:cubicBezTo>
                  <a:pt x="2636" y="423"/>
                  <a:pt x="2637" y="425"/>
                  <a:pt x="2634" y="428"/>
                </a:cubicBezTo>
                <a:close/>
                <a:moveTo>
                  <a:pt x="3847" y="1258"/>
                </a:moveTo>
                <a:cubicBezTo>
                  <a:pt x="3848" y="1258"/>
                  <a:pt x="3848" y="1258"/>
                  <a:pt x="3849" y="1257"/>
                </a:cubicBezTo>
                <a:cubicBezTo>
                  <a:pt x="3850" y="1255"/>
                  <a:pt x="3852" y="1253"/>
                  <a:pt x="3853" y="1250"/>
                </a:cubicBezTo>
                <a:cubicBezTo>
                  <a:pt x="3854" y="1242"/>
                  <a:pt x="3854" y="1233"/>
                  <a:pt x="3855" y="1224"/>
                </a:cubicBezTo>
                <a:cubicBezTo>
                  <a:pt x="3853" y="1219"/>
                  <a:pt x="3852" y="1211"/>
                  <a:pt x="3844" y="1210"/>
                </a:cubicBezTo>
                <a:cubicBezTo>
                  <a:pt x="3844" y="1210"/>
                  <a:pt x="3843" y="1209"/>
                  <a:pt x="3844" y="1209"/>
                </a:cubicBezTo>
                <a:cubicBezTo>
                  <a:pt x="3844" y="1208"/>
                  <a:pt x="3844" y="1207"/>
                  <a:pt x="3844" y="1207"/>
                </a:cubicBezTo>
                <a:cubicBezTo>
                  <a:pt x="3845" y="1207"/>
                  <a:pt x="3846" y="1206"/>
                  <a:pt x="3847" y="1206"/>
                </a:cubicBezTo>
                <a:cubicBezTo>
                  <a:pt x="3851" y="1206"/>
                  <a:pt x="3854" y="1206"/>
                  <a:pt x="3855" y="1202"/>
                </a:cubicBezTo>
                <a:cubicBezTo>
                  <a:pt x="3856" y="1201"/>
                  <a:pt x="3858" y="1200"/>
                  <a:pt x="3859" y="1200"/>
                </a:cubicBezTo>
                <a:cubicBezTo>
                  <a:pt x="3864" y="1199"/>
                  <a:pt x="3869" y="1198"/>
                  <a:pt x="3874" y="1199"/>
                </a:cubicBezTo>
                <a:cubicBezTo>
                  <a:pt x="3874" y="1199"/>
                  <a:pt x="3874" y="1199"/>
                  <a:pt x="3874" y="1199"/>
                </a:cubicBezTo>
                <a:cubicBezTo>
                  <a:pt x="3874" y="1198"/>
                  <a:pt x="3874" y="1198"/>
                  <a:pt x="3874" y="1198"/>
                </a:cubicBezTo>
                <a:cubicBezTo>
                  <a:pt x="3874" y="1199"/>
                  <a:pt x="3874" y="1199"/>
                  <a:pt x="3874" y="1199"/>
                </a:cubicBezTo>
                <a:cubicBezTo>
                  <a:pt x="3874" y="1199"/>
                  <a:pt x="3874" y="1199"/>
                  <a:pt x="3874" y="1199"/>
                </a:cubicBezTo>
                <a:cubicBezTo>
                  <a:pt x="3872" y="1202"/>
                  <a:pt x="3870" y="1204"/>
                  <a:pt x="3866" y="1204"/>
                </a:cubicBezTo>
                <a:cubicBezTo>
                  <a:pt x="3865" y="1204"/>
                  <a:pt x="3864" y="1204"/>
                  <a:pt x="3863" y="1204"/>
                </a:cubicBezTo>
                <a:cubicBezTo>
                  <a:pt x="3860" y="1205"/>
                  <a:pt x="3857" y="1210"/>
                  <a:pt x="3858" y="1213"/>
                </a:cubicBezTo>
                <a:cubicBezTo>
                  <a:pt x="3859" y="1216"/>
                  <a:pt x="3860" y="1219"/>
                  <a:pt x="3861" y="1221"/>
                </a:cubicBezTo>
                <a:cubicBezTo>
                  <a:pt x="3861" y="1221"/>
                  <a:pt x="3862" y="1222"/>
                  <a:pt x="3862" y="1222"/>
                </a:cubicBezTo>
                <a:cubicBezTo>
                  <a:pt x="3864" y="1225"/>
                  <a:pt x="3869" y="1225"/>
                  <a:pt x="3870" y="1221"/>
                </a:cubicBezTo>
                <a:cubicBezTo>
                  <a:pt x="3871" y="1218"/>
                  <a:pt x="3871" y="1216"/>
                  <a:pt x="3873" y="1214"/>
                </a:cubicBezTo>
                <a:cubicBezTo>
                  <a:pt x="3876" y="1212"/>
                  <a:pt x="3879" y="1213"/>
                  <a:pt x="3881" y="1214"/>
                </a:cubicBezTo>
                <a:cubicBezTo>
                  <a:pt x="3882" y="1214"/>
                  <a:pt x="3882" y="1214"/>
                  <a:pt x="3883" y="1214"/>
                </a:cubicBezTo>
                <a:cubicBezTo>
                  <a:pt x="3886" y="1213"/>
                  <a:pt x="3889" y="1205"/>
                  <a:pt x="3887" y="1202"/>
                </a:cubicBezTo>
                <a:cubicBezTo>
                  <a:pt x="3885" y="1200"/>
                  <a:pt x="3883" y="1198"/>
                  <a:pt x="3882" y="1196"/>
                </a:cubicBezTo>
                <a:cubicBezTo>
                  <a:pt x="3881" y="1194"/>
                  <a:pt x="3882" y="1193"/>
                  <a:pt x="3883" y="1191"/>
                </a:cubicBezTo>
                <a:cubicBezTo>
                  <a:pt x="3884" y="1190"/>
                  <a:pt x="3886" y="1190"/>
                  <a:pt x="3887" y="1189"/>
                </a:cubicBezTo>
                <a:cubicBezTo>
                  <a:pt x="3888" y="1189"/>
                  <a:pt x="3888" y="1189"/>
                  <a:pt x="3889" y="1190"/>
                </a:cubicBezTo>
                <a:cubicBezTo>
                  <a:pt x="3890" y="1190"/>
                  <a:pt x="3890" y="1191"/>
                  <a:pt x="3889" y="1192"/>
                </a:cubicBezTo>
                <a:cubicBezTo>
                  <a:pt x="3888" y="1194"/>
                  <a:pt x="3887" y="1195"/>
                  <a:pt x="3888" y="1197"/>
                </a:cubicBezTo>
                <a:cubicBezTo>
                  <a:pt x="3889" y="1200"/>
                  <a:pt x="3891" y="1203"/>
                  <a:pt x="3893" y="1205"/>
                </a:cubicBezTo>
                <a:cubicBezTo>
                  <a:pt x="3894" y="1207"/>
                  <a:pt x="3897" y="1209"/>
                  <a:pt x="3899" y="1211"/>
                </a:cubicBezTo>
                <a:cubicBezTo>
                  <a:pt x="3900" y="1212"/>
                  <a:pt x="3904" y="1211"/>
                  <a:pt x="3905" y="1209"/>
                </a:cubicBezTo>
                <a:cubicBezTo>
                  <a:pt x="3908" y="1204"/>
                  <a:pt x="3911" y="1198"/>
                  <a:pt x="3915" y="1192"/>
                </a:cubicBezTo>
                <a:cubicBezTo>
                  <a:pt x="3915" y="1191"/>
                  <a:pt x="3917" y="1190"/>
                  <a:pt x="3918" y="1189"/>
                </a:cubicBezTo>
                <a:cubicBezTo>
                  <a:pt x="3921" y="1189"/>
                  <a:pt x="3924" y="1189"/>
                  <a:pt x="3926" y="1189"/>
                </a:cubicBezTo>
                <a:cubicBezTo>
                  <a:pt x="3930" y="1189"/>
                  <a:pt x="3932" y="1186"/>
                  <a:pt x="3935" y="1184"/>
                </a:cubicBezTo>
                <a:cubicBezTo>
                  <a:pt x="3935" y="1184"/>
                  <a:pt x="3937" y="1185"/>
                  <a:pt x="3938" y="1185"/>
                </a:cubicBezTo>
                <a:cubicBezTo>
                  <a:pt x="3940" y="1186"/>
                  <a:pt x="3942" y="1185"/>
                  <a:pt x="3942" y="1184"/>
                </a:cubicBezTo>
                <a:cubicBezTo>
                  <a:pt x="3943" y="1180"/>
                  <a:pt x="3943" y="1176"/>
                  <a:pt x="3947" y="1174"/>
                </a:cubicBezTo>
                <a:cubicBezTo>
                  <a:pt x="3947" y="1173"/>
                  <a:pt x="3947" y="1173"/>
                  <a:pt x="3948" y="1173"/>
                </a:cubicBezTo>
                <a:cubicBezTo>
                  <a:pt x="3948" y="1173"/>
                  <a:pt x="3948" y="1173"/>
                  <a:pt x="3949" y="1174"/>
                </a:cubicBezTo>
                <a:cubicBezTo>
                  <a:pt x="3949" y="1175"/>
                  <a:pt x="3949" y="1177"/>
                  <a:pt x="3950" y="1178"/>
                </a:cubicBezTo>
                <a:cubicBezTo>
                  <a:pt x="3950" y="1180"/>
                  <a:pt x="3952" y="1181"/>
                  <a:pt x="3954" y="1180"/>
                </a:cubicBezTo>
                <a:cubicBezTo>
                  <a:pt x="3960" y="1177"/>
                  <a:pt x="3964" y="1169"/>
                  <a:pt x="3961" y="1163"/>
                </a:cubicBezTo>
                <a:cubicBezTo>
                  <a:pt x="3958" y="1158"/>
                  <a:pt x="3957" y="1152"/>
                  <a:pt x="3957" y="1147"/>
                </a:cubicBezTo>
                <a:cubicBezTo>
                  <a:pt x="3958" y="1138"/>
                  <a:pt x="3957" y="1130"/>
                  <a:pt x="3954" y="1123"/>
                </a:cubicBezTo>
                <a:cubicBezTo>
                  <a:pt x="3953" y="1120"/>
                  <a:pt x="3954" y="1117"/>
                  <a:pt x="3956" y="1115"/>
                </a:cubicBezTo>
                <a:cubicBezTo>
                  <a:pt x="3958" y="1113"/>
                  <a:pt x="3960" y="1111"/>
                  <a:pt x="3959" y="1108"/>
                </a:cubicBezTo>
                <a:cubicBezTo>
                  <a:pt x="3959" y="1106"/>
                  <a:pt x="3959" y="1103"/>
                  <a:pt x="3959" y="1100"/>
                </a:cubicBezTo>
                <a:cubicBezTo>
                  <a:pt x="3959" y="1092"/>
                  <a:pt x="3957" y="1084"/>
                  <a:pt x="3953" y="1077"/>
                </a:cubicBezTo>
                <a:cubicBezTo>
                  <a:pt x="3948" y="1069"/>
                  <a:pt x="3941" y="1062"/>
                  <a:pt x="3938" y="1053"/>
                </a:cubicBezTo>
                <a:cubicBezTo>
                  <a:pt x="3938" y="1051"/>
                  <a:pt x="3934" y="1051"/>
                  <a:pt x="3933" y="1052"/>
                </a:cubicBezTo>
                <a:cubicBezTo>
                  <a:pt x="3926" y="1059"/>
                  <a:pt x="3922" y="1066"/>
                  <a:pt x="3925" y="1076"/>
                </a:cubicBezTo>
                <a:cubicBezTo>
                  <a:pt x="3925" y="1080"/>
                  <a:pt x="3923" y="1084"/>
                  <a:pt x="3928" y="1087"/>
                </a:cubicBezTo>
                <a:cubicBezTo>
                  <a:pt x="3929" y="1088"/>
                  <a:pt x="3929" y="1089"/>
                  <a:pt x="3929" y="1090"/>
                </a:cubicBezTo>
                <a:cubicBezTo>
                  <a:pt x="3930" y="1102"/>
                  <a:pt x="3932" y="1115"/>
                  <a:pt x="3924" y="1126"/>
                </a:cubicBezTo>
                <a:cubicBezTo>
                  <a:pt x="3923" y="1127"/>
                  <a:pt x="3923" y="1130"/>
                  <a:pt x="3923" y="1132"/>
                </a:cubicBezTo>
                <a:cubicBezTo>
                  <a:pt x="3921" y="1139"/>
                  <a:pt x="3916" y="1143"/>
                  <a:pt x="3909" y="1145"/>
                </a:cubicBezTo>
                <a:cubicBezTo>
                  <a:pt x="3908" y="1145"/>
                  <a:pt x="3905" y="1144"/>
                  <a:pt x="3905" y="1142"/>
                </a:cubicBezTo>
                <a:cubicBezTo>
                  <a:pt x="3905" y="1141"/>
                  <a:pt x="3905" y="1140"/>
                  <a:pt x="3905" y="1139"/>
                </a:cubicBezTo>
                <a:cubicBezTo>
                  <a:pt x="3904" y="1137"/>
                  <a:pt x="3903" y="1135"/>
                  <a:pt x="3902" y="1136"/>
                </a:cubicBezTo>
                <a:cubicBezTo>
                  <a:pt x="3901" y="1137"/>
                  <a:pt x="3899" y="1137"/>
                  <a:pt x="3898" y="1139"/>
                </a:cubicBezTo>
                <a:cubicBezTo>
                  <a:pt x="3897" y="1141"/>
                  <a:pt x="3898" y="1143"/>
                  <a:pt x="3898" y="1145"/>
                </a:cubicBezTo>
                <a:cubicBezTo>
                  <a:pt x="3898" y="1147"/>
                  <a:pt x="3899" y="1150"/>
                  <a:pt x="3898" y="1152"/>
                </a:cubicBezTo>
                <a:cubicBezTo>
                  <a:pt x="3895" y="1157"/>
                  <a:pt x="3894" y="1163"/>
                  <a:pt x="3893" y="1169"/>
                </a:cubicBezTo>
                <a:cubicBezTo>
                  <a:pt x="3892" y="1170"/>
                  <a:pt x="3891" y="1171"/>
                  <a:pt x="3890" y="1171"/>
                </a:cubicBezTo>
                <a:cubicBezTo>
                  <a:pt x="3886" y="1170"/>
                  <a:pt x="3881" y="1170"/>
                  <a:pt x="3877" y="1171"/>
                </a:cubicBezTo>
                <a:cubicBezTo>
                  <a:pt x="3872" y="1173"/>
                  <a:pt x="3867" y="1174"/>
                  <a:pt x="3861" y="1175"/>
                </a:cubicBezTo>
                <a:cubicBezTo>
                  <a:pt x="3858" y="1175"/>
                  <a:pt x="3856" y="1177"/>
                  <a:pt x="3854" y="1179"/>
                </a:cubicBezTo>
                <a:cubicBezTo>
                  <a:pt x="3849" y="1186"/>
                  <a:pt x="3843" y="1193"/>
                  <a:pt x="3837" y="1199"/>
                </a:cubicBezTo>
                <a:cubicBezTo>
                  <a:pt x="3836" y="1200"/>
                  <a:pt x="3836" y="1202"/>
                  <a:pt x="3835" y="1203"/>
                </a:cubicBezTo>
                <a:cubicBezTo>
                  <a:pt x="3835" y="1205"/>
                  <a:pt x="3835" y="1207"/>
                  <a:pt x="3834" y="1208"/>
                </a:cubicBezTo>
                <a:cubicBezTo>
                  <a:pt x="3831" y="1211"/>
                  <a:pt x="3829" y="1213"/>
                  <a:pt x="3826" y="1216"/>
                </a:cubicBezTo>
                <a:cubicBezTo>
                  <a:pt x="3824" y="1218"/>
                  <a:pt x="3823" y="1221"/>
                  <a:pt x="3824" y="1224"/>
                </a:cubicBezTo>
                <a:cubicBezTo>
                  <a:pt x="3824" y="1227"/>
                  <a:pt x="3825" y="1229"/>
                  <a:pt x="3827" y="1231"/>
                </a:cubicBezTo>
                <a:cubicBezTo>
                  <a:pt x="3827" y="1231"/>
                  <a:pt x="3827" y="1231"/>
                  <a:pt x="3827" y="1231"/>
                </a:cubicBezTo>
                <a:cubicBezTo>
                  <a:pt x="3827" y="1231"/>
                  <a:pt x="3827" y="1232"/>
                  <a:pt x="3828" y="1232"/>
                </a:cubicBezTo>
                <a:cubicBezTo>
                  <a:pt x="3828" y="1231"/>
                  <a:pt x="3828" y="1231"/>
                  <a:pt x="3828" y="1231"/>
                </a:cubicBezTo>
                <a:cubicBezTo>
                  <a:pt x="3828" y="1231"/>
                  <a:pt x="3828" y="1231"/>
                  <a:pt x="3828" y="1230"/>
                </a:cubicBezTo>
                <a:cubicBezTo>
                  <a:pt x="3831" y="1230"/>
                  <a:pt x="3833" y="1231"/>
                  <a:pt x="3833" y="1233"/>
                </a:cubicBezTo>
                <a:cubicBezTo>
                  <a:pt x="3833" y="1235"/>
                  <a:pt x="3832" y="1236"/>
                  <a:pt x="3831" y="1238"/>
                </a:cubicBezTo>
                <a:cubicBezTo>
                  <a:pt x="3831" y="1238"/>
                  <a:pt x="3831" y="1238"/>
                  <a:pt x="3831" y="1238"/>
                </a:cubicBezTo>
                <a:cubicBezTo>
                  <a:pt x="3831" y="1238"/>
                  <a:pt x="3831" y="1238"/>
                  <a:pt x="3831" y="1238"/>
                </a:cubicBezTo>
                <a:cubicBezTo>
                  <a:pt x="3831" y="1238"/>
                  <a:pt x="3831" y="1238"/>
                  <a:pt x="3831" y="1238"/>
                </a:cubicBezTo>
                <a:cubicBezTo>
                  <a:pt x="3833" y="1244"/>
                  <a:pt x="3835" y="1249"/>
                  <a:pt x="3837" y="1255"/>
                </a:cubicBezTo>
                <a:cubicBezTo>
                  <a:pt x="3838" y="1258"/>
                  <a:pt x="3845" y="1260"/>
                  <a:pt x="3847" y="1258"/>
                </a:cubicBezTo>
                <a:close/>
                <a:moveTo>
                  <a:pt x="3933" y="1059"/>
                </a:moveTo>
                <a:cubicBezTo>
                  <a:pt x="3934" y="1059"/>
                  <a:pt x="3934" y="1059"/>
                  <a:pt x="3934" y="1059"/>
                </a:cubicBezTo>
                <a:cubicBezTo>
                  <a:pt x="3934" y="1059"/>
                  <a:pt x="3934" y="1059"/>
                  <a:pt x="3934" y="1059"/>
                </a:cubicBezTo>
                <a:cubicBezTo>
                  <a:pt x="3933" y="1060"/>
                  <a:pt x="3933" y="1060"/>
                  <a:pt x="3933" y="1060"/>
                </a:cubicBezTo>
                <a:lnTo>
                  <a:pt x="3933" y="1059"/>
                </a:lnTo>
                <a:close/>
                <a:moveTo>
                  <a:pt x="1266" y="186"/>
                </a:moveTo>
                <a:cubicBezTo>
                  <a:pt x="1268" y="188"/>
                  <a:pt x="1270" y="189"/>
                  <a:pt x="1272" y="189"/>
                </a:cubicBezTo>
                <a:cubicBezTo>
                  <a:pt x="1276" y="188"/>
                  <a:pt x="1280" y="189"/>
                  <a:pt x="1283" y="191"/>
                </a:cubicBezTo>
                <a:cubicBezTo>
                  <a:pt x="1285" y="192"/>
                  <a:pt x="1287" y="191"/>
                  <a:pt x="1289" y="190"/>
                </a:cubicBezTo>
                <a:cubicBezTo>
                  <a:pt x="1291" y="188"/>
                  <a:pt x="1292" y="187"/>
                  <a:pt x="1294" y="186"/>
                </a:cubicBezTo>
                <a:cubicBezTo>
                  <a:pt x="1294" y="186"/>
                  <a:pt x="1294" y="186"/>
                  <a:pt x="1294" y="186"/>
                </a:cubicBezTo>
                <a:cubicBezTo>
                  <a:pt x="1294" y="186"/>
                  <a:pt x="1294" y="186"/>
                  <a:pt x="1294" y="187"/>
                </a:cubicBezTo>
                <a:cubicBezTo>
                  <a:pt x="1294" y="186"/>
                  <a:pt x="1294" y="186"/>
                  <a:pt x="1294" y="186"/>
                </a:cubicBezTo>
                <a:cubicBezTo>
                  <a:pt x="1298" y="184"/>
                  <a:pt x="1301" y="182"/>
                  <a:pt x="1304" y="179"/>
                </a:cubicBezTo>
                <a:cubicBezTo>
                  <a:pt x="1307" y="176"/>
                  <a:pt x="1310" y="175"/>
                  <a:pt x="1314" y="173"/>
                </a:cubicBezTo>
                <a:cubicBezTo>
                  <a:pt x="1314" y="171"/>
                  <a:pt x="1315" y="169"/>
                  <a:pt x="1316" y="168"/>
                </a:cubicBezTo>
                <a:cubicBezTo>
                  <a:pt x="1318" y="165"/>
                  <a:pt x="1320" y="164"/>
                  <a:pt x="1324" y="164"/>
                </a:cubicBezTo>
                <a:cubicBezTo>
                  <a:pt x="1324" y="163"/>
                  <a:pt x="1324" y="163"/>
                  <a:pt x="1324" y="163"/>
                </a:cubicBezTo>
                <a:cubicBezTo>
                  <a:pt x="1324" y="163"/>
                  <a:pt x="1324" y="163"/>
                  <a:pt x="1324" y="163"/>
                </a:cubicBezTo>
                <a:cubicBezTo>
                  <a:pt x="1323" y="162"/>
                  <a:pt x="1324" y="162"/>
                  <a:pt x="1325" y="163"/>
                </a:cubicBezTo>
                <a:cubicBezTo>
                  <a:pt x="1324" y="163"/>
                  <a:pt x="1324" y="163"/>
                  <a:pt x="1324" y="163"/>
                </a:cubicBezTo>
                <a:cubicBezTo>
                  <a:pt x="1324" y="168"/>
                  <a:pt x="1324" y="168"/>
                  <a:pt x="1328" y="169"/>
                </a:cubicBezTo>
                <a:cubicBezTo>
                  <a:pt x="1329" y="169"/>
                  <a:pt x="1329" y="169"/>
                  <a:pt x="1330" y="169"/>
                </a:cubicBezTo>
                <a:cubicBezTo>
                  <a:pt x="1333" y="166"/>
                  <a:pt x="1334" y="162"/>
                  <a:pt x="1337" y="159"/>
                </a:cubicBezTo>
                <a:cubicBezTo>
                  <a:pt x="1340" y="157"/>
                  <a:pt x="1343" y="155"/>
                  <a:pt x="1344" y="151"/>
                </a:cubicBezTo>
                <a:cubicBezTo>
                  <a:pt x="1344" y="145"/>
                  <a:pt x="1344" y="140"/>
                  <a:pt x="1340" y="135"/>
                </a:cubicBezTo>
                <a:cubicBezTo>
                  <a:pt x="1340" y="134"/>
                  <a:pt x="1339" y="133"/>
                  <a:pt x="1339" y="132"/>
                </a:cubicBezTo>
                <a:cubicBezTo>
                  <a:pt x="1338" y="131"/>
                  <a:pt x="1338" y="129"/>
                  <a:pt x="1339" y="128"/>
                </a:cubicBezTo>
                <a:cubicBezTo>
                  <a:pt x="1341" y="125"/>
                  <a:pt x="1343" y="122"/>
                  <a:pt x="1346" y="120"/>
                </a:cubicBezTo>
                <a:cubicBezTo>
                  <a:pt x="1346" y="116"/>
                  <a:pt x="1345" y="113"/>
                  <a:pt x="1346" y="109"/>
                </a:cubicBezTo>
                <a:cubicBezTo>
                  <a:pt x="1347" y="106"/>
                  <a:pt x="1348" y="104"/>
                  <a:pt x="1348" y="101"/>
                </a:cubicBezTo>
                <a:cubicBezTo>
                  <a:pt x="1348" y="97"/>
                  <a:pt x="1343" y="97"/>
                  <a:pt x="1341" y="95"/>
                </a:cubicBezTo>
                <a:cubicBezTo>
                  <a:pt x="1339" y="92"/>
                  <a:pt x="1336" y="91"/>
                  <a:pt x="1333" y="89"/>
                </a:cubicBezTo>
                <a:cubicBezTo>
                  <a:pt x="1332" y="88"/>
                  <a:pt x="1331" y="86"/>
                  <a:pt x="1331" y="85"/>
                </a:cubicBezTo>
                <a:cubicBezTo>
                  <a:pt x="1331" y="81"/>
                  <a:pt x="1331" y="76"/>
                  <a:pt x="1332" y="72"/>
                </a:cubicBezTo>
                <a:cubicBezTo>
                  <a:pt x="1332" y="68"/>
                  <a:pt x="1333" y="64"/>
                  <a:pt x="1334" y="60"/>
                </a:cubicBezTo>
                <a:cubicBezTo>
                  <a:pt x="1334" y="54"/>
                  <a:pt x="1331" y="50"/>
                  <a:pt x="1327" y="46"/>
                </a:cubicBezTo>
                <a:cubicBezTo>
                  <a:pt x="1324" y="43"/>
                  <a:pt x="1320" y="43"/>
                  <a:pt x="1316" y="44"/>
                </a:cubicBezTo>
                <a:cubicBezTo>
                  <a:pt x="1314" y="44"/>
                  <a:pt x="1312" y="46"/>
                  <a:pt x="1312" y="48"/>
                </a:cubicBezTo>
                <a:cubicBezTo>
                  <a:pt x="1312" y="50"/>
                  <a:pt x="1313" y="51"/>
                  <a:pt x="1315" y="52"/>
                </a:cubicBezTo>
                <a:cubicBezTo>
                  <a:pt x="1317" y="53"/>
                  <a:pt x="1319" y="53"/>
                  <a:pt x="1321" y="54"/>
                </a:cubicBezTo>
                <a:cubicBezTo>
                  <a:pt x="1322" y="55"/>
                  <a:pt x="1322" y="56"/>
                  <a:pt x="1321" y="57"/>
                </a:cubicBezTo>
                <a:cubicBezTo>
                  <a:pt x="1321" y="58"/>
                  <a:pt x="1320" y="58"/>
                  <a:pt x="1320" y="58"/>
                </a:cubicBezTo>
                <a:cubicBezTo>
                  <a:pt x="1317" y="58"/>
                  <a:pt x="1315" y="58"/>
                  <a:pt x="1312" y="59"/>
                </a:cubicBezTo>
                <a:cubicBezTo>
                  <a:pt x="1309" y="59"/>
                  <a:pt x="1307" y="60"/>
                  <a:pt x="1304" y="61"/>
                </a:cubicBezTo>
                <a:cubicBezTo>
                  <a:pt x="1301" y="61"/>
                  <a:pt x="1299" y="65"/>
                  <a:pt x="1299" y="68"/>
                </a:cubicBezTo>
                <a:cubicBezTo>
                  <a:pt x="1300" y="71"/>
                  <a:pt x="1301" y="73"/>
                  <a:pt x="1301" y="75"/>
                </a:cubicBezTo>
                <a:cubicBezTo>
                  <a:pt x="1302" y="75"/>
                  <a:pt x="1301" y="77"/>
                  <a:pt x="1300" y="77"/>
                </a:cubicBezTo>
                <a:cubicBezTo>
                  <a:pt x="1300" y="78"/>
                  <a:pt x="1299" y="78"/>
                  <a:pt x="1299" y="77"/>
                </a:cubicBezTo>
                <a:cubicBezTo>
                  <a:pt x="1297" y="76"/>
                  <a:pt x="1294" y="74"/>
                  <a:pt x="1291" y="77"/>
                </a:cubicBezTo>
                <a:cubicBezTo>
                  <a:pt x="1289" y="79"/>
                  <a:pt x="1286" y="80"/>
                  <a:pt x="1282" y="79"/>
                </a:cubicBezTo>
                <a:cubicBezTo>
                  <a:pt x="1279" y="79"/>
                  <a:pt x="1278" y="82"/>
                  <a:pt x="1279" y="85"/>
                </a:cubicBezTo>
                <a:cubicBezTo>
                  <a:pt x="1279" y="88"/>
                  <a:pt x="1281" y="90"/>
                  <a:pt x="1282" y="92"/>
                </a:cubicBezTo>
                <a:cubicBezTo>
                  <a:pt x="1284" y="94"/>
                  <a:pt x="1287" y="97"/>
                  <a:pt x="1286" y="100"/>
                </a:cubicBezTo>
                <a:cubicBezTo>
                  <a:pt x="1287" y="100"/>
                  <a:pt x="1287" y="100"/>
                  <a:pt x="1287" y="100"/>
                </a:cubicBezTo>
                <a:cubicBezTo>
                  <a:pt x="1287" y="100"/>
                  <a:pt x="1288" y="101"/>
                  <a:pt x="1288" y="101"/>
                </a:cubicBezTo>
                <a:cubicBezTo>
                  <a:pt x="1289" y="101"/>
                  <a:pt x="1290" y="101"/>
                  <a:pt x="1290" y="101"/>
                </a:cubicBezTo>
                <a:cubicBezTo>
                  <a:pt x="1289" y="102"/>
                  <a:pt x="1289" y="101"/>
                  <a:pt x="1288" y="101"/>
                </a:cubicBezTo>
                <a:cubicBezTo>
                  <a:pt x="1287" y="101"/>
                  <a:pt x="1287" y="101"/>
                  <a:pt x="1286" y="101"/>
                </a:cubicBezTo>
                <a:cubicBezTo>
                  <a:pt x="1286" y="100"/>
                  <a:pt x="1286" y="100"/>
                  <a:pt x="1286" y="100"/>
                </a:cubicBezTo>
                <a:cubicBezTo>
                  <a:pt x="1283" y="100"/>
                  <a:pt x="1281" y="98"/>
                  <a:pt x="1278" y="96"/>
                </a:cubicBezTo>
                <a:cubicBezTo>
                  <a:pt x="1276" y="96"/>
                  <a:pt x="1274" y="96"/>
                  <a:pt x="1274" y="97"/>
                </a:cubicBezTo>
                <a:cubicBezTo>
                  <a:pt x="1269" y="106"/>
                  <a:pt x="1267" y="116"/>
                  <a:pt x="1262" y="125"/>
                </a:cubicBezTo>
                <a:cubicBezTo>
                  <a:pt x="1261" y="128"/>
                  <a:pt x="1262" y="131"/>
                  <a:pt x="1265" y="133"/>
                </a:cubicBezTo>
                <a:cubicBezTo>
                  <a:pt x="1268" y="136"/>
                  <a:pt x="1271" y="137"/>
                  <a:pt x="1274" y="137"/>
                </a:cubicBezTo>
                <a:cubicBezTo>
                  <a:pt x="1276" y="137"/>
                  <a:pt x="1277" y="138"/>
                  <a:pt x="1278" y="139"/>
                </a:cubicBezTo>
                <a:cubicBezTo>
                  <a:pt x="1279" y="140"/>
                  <a:pt x="1279" y="141"/>
                  <a:pt x="1279" y="142"/>
                </a:cubicBezTo>
                <a:cubicBezTo>
                  <a:pt x="1279" y="143"/>
                  <a:pt x="1278" y="144"/>
                  <a:pt x="1278" y="145"/>
                </a:cubicBezTo>
                <a:cubicBezTo>
                  <a:pt x="1277" y="145"/>
                  <a:pt x="1275" y="145"/>
                  <a:pt x="1274" y="144"/>
                </a:cubicBezTo>
                <a:cubicBezTo>
                  <a:pt x="1267" y="143"/>
                  <a:pt x="1263" y="146"/>
                  <a:pt x="1260" y="152"/>
                </a:cubicBezTo>
                <a:cubicBezTo>
                  <a:pt x="1258" y="157"/>
                  <a:pt x="1258" y="163"/>
                  <a:pt x="1257" y="168"/>
                </a:cubicBezTo>
                <a:cubicBezTo>
                  <a:pt x="1256" y="176"/>
                  <a:pt x="1260" y="182"/>
                  <a:pt x="1266" y="186"/>
                </a:cubicBezTo>
                <a:close/>
                <a:moveTo>
                  <a:pt x="1314" y="173"/>
                </a:moveTo>
                <a:cubicBezTo>
                  <a:pt x="1314" y="173"/>
                  <a:pt x="1313" y="173"/>
                  <a:pt x="1313" y="173"/>
                </a:cubicBezTo>
                <a:cubicBezTo>
                  <a:pt x="1313" y="173"/>
                  <a:pt x="1314" y="173"/>
                  <a:pt x="1314" y="173"/>
                </a:cubicBezTo>
                <a:cubicBezTo>
                  <a:pt x="1314" y="173"/>
                  <a:pt x="1314" y="173"/>
                  <a:pt x="1314" y="172"/>
                </a:cubicBezTo>
                <a:cubicBezTo>
                  <a:pt x="1314" y="173"/>
                  <a:pt x="1314" y="173"/>
                  <a:pt x="1314" y="173"/>
                </a:cubicBezTo>
                <a:close/>
                <a:moveTo>
                  <a:pt x="3550" y="1801"/>
                </a:moveTo>
                <a:cubicBezTo>
                  <a:pt x="3550" y="1794"/>
                  <a:pt x="3553" y="1788"/>
                  <a:pt x="3553" y="1781"/>
                </a:cubicBezTo>
                <a:cubicBezTo>
                  <a:pt x="3553" y="1781"/>
                  <a:pt x="3553" y="1781"/>
                  <a:pt x="3553" y="1781"/>
                </a:cubicBezTo>
                <a:cubicBezTo>
                  <a:pt x="3552" y="1779"/>
                  <a:pt x="3550" y="1778"/>
                  <a:pt x="3549" y="1777"/>
                </a:cubicBezTo>
                <a:cubicBezTo>
                  <a:pt x="3549" y="1777"/>
                  <a:pt x="3549" y="1776"/>
                  <a:pt x="3549" y="1776"/>
                </a:cubicBezTo>
                <a:cubicBezTo>
                  <a:pt x="3548" y="1775"/>
                  <a:pt x="3548" y="1775"/>
                  <a:pt x="3548" y="1774"/>
                </a:cubicBezTo>
                <a:cubicBezTo>
                  <a:pt x="3548" y="1774"/>
                  <a:pt x="3548" y="1774"/>
                  <a:pt x="3549" y="1774"/>
                </a:cubicBezTo>
                <a:cubicBezTo>
                  <a:pt x="3549" y="1775"/>
                  <a:pt x="3549" y="1775"/>
                  <a:pt x="3549" y="1776"/>
                </a:cubicBezTo>
                <a:cubicBezTo>
                  <a:pt x="3549" y="1776"/>
                  <a:pt x="3549" y="1776"/>
                  <a:pt x="3550" y="1777"/>
                </a:cubicBezTo>
                <a:cubicBezTo>
                  <a:pt x="3551" y="1778"/>
                  <a:pt x="3552" y="1779"/>
                  <a:pt x="3553" y="1780"/>
                </a:cubicBezTo>
                <a:cubicBezTo>
                  <a:pt x="3553" y="1780"/>
                  <a:pt x="3553" y="1781"/>
                  <a:pt x="3553" y="1781"/>
                </a:cubicBezTo>
                <a:cubicBezTo>
                  <a:pt x="3555" y="1781"/>
                  <a:pt x="3556" y="1781"/>
                  <a:pt x="3558" y="1782"/>
                </a:cubicBezTo>
                <a:cubicBezTo>
                  <a:pt x="3558" y="1782"/>
                  <a:pt x="3559" y="1782"/>
                  <a:pt x="3559" y="1782"/>
                </a:cubicBezTo>
                <a:cubicBezTo>
                  <a:pt x="3561" y="1781"/>
                  <a:pt x="3562" y="1779"/>
                  <a:pt x="3561" y="1778"/>
                </a:cubicBezTo>
                <a:cubicBezTo>
                  <a:pt x="3558" y="1773"/>
                  <a:pt x="3555" y="1768"/>
                  <a:pt x="3552" y="1763"/>
                </a:cubicBezTo>
                <a:cubicBezTo>
                  <a:pt x="3551" y="1762"/>
                  <a:pt x="3550" y="1762"/>
                  <a:pt x="3549" y="1762"/>
                </a:cubicBezTo>
                <a:cubicBezTo>
                  <a:pt x="3547" y="1762"/>
                  <a:pt x="3544" y="1763"/>
                  <a:pt x="3543" y="1765"/>
                </a:cubicBezTo>
                <a:cubicBezTo>
                  <a:pt x="3542" y="1766"/>
                  <a:pt x="3542" y="1767"/>
                  <a:pt x="3541" y="1768"/>
                </a:cubicBezTo>
                <a:cubicBezTo>
                  <a:pt x="3540" y="1770"/>
                  <a:pt x="3537" y="1769"/>
                  <a:pt x="3536" y="1767"/>
                </a:cubicBezTo>
                <a:cubicBezTo>
                  <a:pt x="3535" y="1764"/>
                  <a:pt x="3534" y="1761"/>
                  <a:pt x="3532" y="1758"/>
                </a:cubicBezTo>
                <a:cubicBezTo>
                  <a:pt x="3532" y="1756"/>
                  <a:pt x="3530" y="1754"/>
                  <a:pt x="3528" y="1754"/>
                </a:cubicBezTo>
                <a:cubicBezTo>
                  <a:pt x="3526" y="1753"/>
                  <a:pt x="3524" y="1753"/>
                  <a:pt x="3522" y="1752"/>
                </a:cubicBezTo>
                <a:cubicBezTo>
                  <a:pt x="3521" y="1752"/>
                  <a:pt x="3520" y="1750"/>
                  <a:pt x="3520" y="1750"/>
                </a:cubicBezTo>
                <a:cubicBezTo>
                  <a:pt x="3522" y="1747"/>
                  <a:pt x="3518" y="1743"/>
                  <a:pt x="3521" y="1741"/>
                </a:cubicBezTo>
                <a:cubicBezTo>
                  <a:pt x="3522" y="1739"/>
                  <a:pt x="3522" y="1738"/>
                  <a:pt x="3521" y="1736"/>
                </a:cubicBezTo>
                <a:cubicBezTo>
                  <a:pt x="3518" y="1732"/>
                  <a:pt x="3513" y="1730"/>
                  <a:pt x="3512" y="1725"/>
                </a:cubicBezTo>
                <a:cubicBezTo>
                  <a:pt x="3512" y="1724"/>
                  <a:pt x="3510" y="1722"/>
                  <a:pt x="3508" y="1722"/>
                </a:cubicBezTo>
                <a:cubicBezTo>
                  <a:pt x="3506" y="1720"/>
                  <a:pt x="3502" y="1719"/>
                  <a:pt x="3500" y="1717"/>
                </a:cubicBezTo>
                <a:cubicBezTo>
                  <a:pt x="3498" y="1717"/>
                  <a:pt x="3496" y="1716"/>
                  <a:pt x="3496" y="1715"/>
                </a:cubicBezTo>
                <a:cubicBezTo>
                  <a:pt x="3494" y="1711"/>
                  <a:pt x="3490" y="1710"/>
                  <a:pt x="3487" y="1708"/>
                </a:cubicBezTo>
                <a:cubicBezTo>
                  <a:pt x="3484" y="1705"/>
                  <a:pt x="3480" y="1702"/>
                  <a:pt x="3476" y="1701"/>
                </a:cubicBezTo>
                <a:cubicBezTo>
                  <a:pt x="3473" y="1700"/>
                  <a:pt x="3471" y="1698"/>
                  <a:pt x="3469" y="1696"/>
                </a:cubicBezTo>
                <a:cubicBezTo>
                  <a:pt x="3468" y="1692"/>
                  <a:pt x="3465" y="1690"/>
                  <a:pt x="3461" y="1688"/>
                </a:cubicBezTo>
                <a:cubicBezTo>
                  <a:pt x="3452" y="1683"/>
                  <a:pt x="3444" y="1676"/>
                  <a:pt x="3438" y="1667"/>
                </a:cubicBezTo>
                <a:cubicBezTo>
                  <a:pt x="3437" y="1664"/>
                  <a:pt x="3433" y="1663"/>
                  <a:pt x="3430" y="1662"/>
                </a:cubicBezTo>
                <a:cubicBezTo>
                  <a:pt x="3423" y="1662"/>
                  <a:pt x="3416" y="1661"/>
                  <a:pt x="3409" y="1658"/>
                </a:cubicBezTo>
                <a:cubicBezTo>
                  <a:pt x="3408" y="1657"/>
                  <a:pt x="3406" y="1658"/>
                  <a:pt x="3405" y="1658"/>
                </a:cubicBezTo>
                <a:cubicBezTo>
                  <a:pt x="3403" y="1659"/>
                  <a:pt x="3402" y="1662"/>
                  <a:pt x="3403" y="1664"/>
                </a:cubicBezTo>
                <a:cubicBezTo>
                  <a:pt x="3404" y="1667"/>
                  <a:pt x="3405" y="1670"/>
                  <a:pt x="3407" y="1672"/>
                </a:cubicBezTo>
                <a:cubicBezTo>
                  <a:pt x="3411" y="1677"/>
                  <a:pt x="3416" y="1681"/>
                  <a:pt x="3422" y="1684"/>
                </a:cubicBezTo>
                <a:cubicBezTo>
                  <a:pt x="3425" y="1686"/>
                  <a:pt x="3428" y="1689"/>
                  <a:pt x="3430" y="1692"/>
                </a:cubicBezTo>
                <a:cubicBezTo>
                  <a:pt x="3432" y="1694"/>
                  <a:pt x="3435" y="1697"/>
                  <a:pt x="3436" y="1700"/>
                </a:cubicBezTo>
                <a:cubicBezTo>
                  <a:pt x="3440" y="1706"/>
                  <a:pt x="3444" y="1710"/>
                  <a:pt x="3449" y="1714"/>
                </a:cubicBezTo>
                <a:cubicBezTo>
                  <a:pt x="3451" y="1716"/>
                  <a:pt x="3452" y="1718"/>
                  <a:pt x="3453" y="1720"/>
                </a:cubicBezTo>
                <a:cubicBezTo>
                  <a:pt x="3454" y="1723"/>
                  <a:pt x="3455" y="1727"/>
                  <a:pt x="3457" y="1731"/>
                </a:cubicBezTo>
                <a:cubicBezTo>
                  <a:pt x="3458" y="1733"/>
                  <a:pt x="3459" y="1735"/>
                  <a:pt x="3461" y="1736"/>
                </a:cubicBezTo>
                <a:cubicBezTo>
                  <a:pt x="3467" y="1742"/>
                  <a:pt x="3471" y="1748"/>
                  <a:pt x="3473" y="1756"/>
                </a:cubicBezTo>
                <a:cubicBezTo>
                  <a:pt x="3475" y="1760"/>
                  <a:pt x="3476" y="1764"/>
                  <a:pt x="3477" y="1767"/>
                </a:cubicBezTo>
                <a:cubicBezTo>
                  <a:pt x="3479" y="1771"/>
                  <a:pt x="3481" y="1774"/>
                  <a:pt x="3483" y="1777"/>
                </a:cubicBezTo>
                <a:cubicBezTo>
                  <a:pt x="3488" y="1783"/>
                  <a:pt x="3494" y="1787"/>
                  <a:pt x="3498" y="1792"/>
                </a:cubicBezTo>
                <a:cubicBezTo>
                  <a:pt x="3503" y="1798"/>
                  <a:pt x="3508" y="1802"/>
                  <a:pt x="3514" y="1807"/>
                </a:cubicBezTo>
                <a:cubicBezTo>
                  <a:pt x="3518" y="1810"/>
                  <a:pt x="3523" y="1813"/>
                  <a:pt x="3526" y="1818"/>
                </a:cubicBezTo>
                <a:cubicBezTo>
                  <a:pt x="3528" y="1819"/>
                  <a:pt x="3530" y="1820"/>
                  <a:pt x="3532" y="1819"/>
                </a:cubicBezTo>
                <a:cubicBezTo>
                  <a:pt x="3538" y="1819"/>
                  <a:pt x="3544" y="1818"/>
                  <a:pt x="3549" y="1820"/>
                </a:cubicBezTo>
                <a:cubicBezTo>
                  <a:pt x="3550" y="1813"/>
                  <a:pt x="3550" y="1807"/>
                  <a:pt x="3550" y="1801"/>
                </a:cubicBezTo>
                <a:close/>
                <a:moveTo>
                  <a:pt x="3549" y="1820"/>
                </a:moveTo>
                <a:cubicBezTo>
                  <a:pt x="3549" y="1820"/>
                  <a:pt x="3549" y="1820"/>
                  <a:pt x="3549" y="1820"/>
                </a:cubicBezTo>
                <a:cubicBezTo>
                  <a:pt x="3550" y="1820"/>
                  <a:pt x="3550" y="1820"/>
                  <a:pt x="3550" y="1820"/>
                </a:cubicBezTo>
                <a:cubicBezTo>
                  <a:pt x="3550" y="1820"/>
                  <a:pt x="3550" y="1820"/>
                  <a:pt x="3550" y="1820"/>
                </a:cubicBezTo>
                <a:cubicBezTo>
                  <a:pt x="3550" y="1820"/>
                  <a:pt x="3550" y="1820"/>
                  <a:pt x="3549" y="1820"/>
                </a:cubicBezTo>
                <a:close/>
                <a:moveTo>
                  <a:pt x="807" y="324"/>
                </a:moveTo>
                <a:cubicBezTo>
                  <a:pt x="807" y="329"/>
                  <a:pt x="807" y="333"/>
                  <a:pt x="807" y="337"/>
                </a:cubicBezTo>
                <a:cubicBezTo>
                  <a:pt x="807" y="339"/>
                  <a:pt x="809" y="341"/>
                  <a:pt x="810" y="341"/>
                </a:cubicBezTo>
                <a:cubicBezTo>
                  <a:pt x="816" y="340"/>
                  <a:pt x="822" y="338"/>
                  <a:pt x="827" y="335"/>
                </a:cubicBezTo>
                <a:cubicBezTo>
                  <a:pt x="827" y="335"/>
                  <a:pt x="827" y="335"/>
                  <a:pt x="827" y="335"/>
                </a:cubicBezTo>
                <a:cubicBezTo>
                  <a:pt x="828" y="334"/>
                  <a:pt x="828" y="334"/>
                  <a:pt x="828" y="334"/>
                </a:cubicBezTo>
                <a:cubicBezTo>
                  <a:pt x="827" y="335"/>
                  <a:pt x="827" y="335"/>
                  <a:pt x="827" y="335"/>
                </a:cubicBezTo>
                <a:cubicBezTo>
                  <a:pt x="827" y="335"/>
                  <a:pt x="827" y="335"/>
                  <a:pt x="827" y="335"/>
                </a:cubicBezTo>
                <a:cubicBezTo>
                  <a:pt x="829" y="337"/>
                  <a:pt x="831" y="339"/>
                  <a:pt x="834" y="339"/>
                </a:cubicBezTo>
                <a:cubicBezTo>
                  <a:pt x="836" y="339"/>
                  <a:pt x="839" y="339"/>
                  <a:pt x="841" y="337"/>
                </a:cubicBezTo>
                <a:cubicBezTo>
                  <a:pt x="843" y="335"/>
                  <a:pt x="845" y="334"/>
                  <a:pt x="846" y="332"/>
                </a:cubicBezTo>
                <a:cubicBezTo>
                  <a:pt x="848" y="329"/>
                  <a:pt x="849" y="326"/>
                  <a:pt x="851" y="324"/>
                </a:cubicBezTo>
                <a:cubicBezTo>
                  <a:pt x="855" y="320"/>
                  <a:pt x="858" y="317"/>
                  <a:pt x="864" y="317"/>
                </a:cubicBezTo>
                <a:cubicBezTo>
                  <a:pt x="866" y="317"/>
                  <a:pt x="868" y="315"/>
                  <a:pt x="871" y="313"/>
                </a:cubicBezTo>
                <a:cubicBezTo>
                  <a:pt x="873" y="311"/>
                  <a:pt x="875" y="308"/>
                  <a:pt x="877" y="306"/>
                </a:cubicBezTo>
                <a:cubicBezTo>
                  <a:pt x="879" y="305"/>
                  <a:pt x="881" y="304"/>
                  <a:pt x="883" y="303"/>
                </a:cubicBezTo>
                <a:cubicBezTo>
                  <a:pt x="889" y="303"/>
                  <a:pt x="895" y="301"/>
                  <a:pt x="900" y="299"/>
                </a:cubicBezTo>
                <a:cubicBezTo>
                  <a:pt x="903" y="299"/>
                  <a:pt x="905" y="299"/>
                  <a:pt x="907" y="298"/>
                </a:cubicBezTo>
                <a:cubicBezTo>
                  <a:pt x="906" y="299"/>
                  <a:pt x="906" y="299"/>
                  <a:pt x="906" y="299"/>
                </a:cubicBezTo>
                <a:cubicBezTo>
                  <a:pt x="906" y="299"/>
                  <a:pt x="907" y="299"/>
                  <a:pt x="907" y="299"/>
                </a:cubicBezTo>
                <a:cubicBezTo>
                  <a:pt x="907" y="299"/>
                  <a:pt x="907" y="298"/>
                  <a:pt x="907" y="298"/>
                </a:cubicBezTo>
                <a:cubicBezTo>
                  <a:pt x="909" y="296"/>
                  <a:pt x="913" y="295"/>
                  <a:pt x="916" y="295"/>
                </a:cubicBezTo>
                <a:cubicBezTo>
                  <a:pt x="919" y="295"/>
                  <a:pt x="921" y="295"/>
                  <a:pt x="923" y="295"/>
                </a:cubicBezTo>
                <a:cubicBezTo>
                  <a:pt x="926" y="292"/>
                  <a:pt x="930" y="292"/>
                  <a:pt x="933" y="292"/>
                </a:cubicBezTo>
                <a:cubicBezTo>
                  <a:pt x="934" y="283"/>
                  <a:pt x="933" y="274"/>
                  <a:pt x="933" y="266"/>
                </a:cubicBezTo>
                <a:cubicBezTo>
                  <a:pt x="933" y="261"/>
                  <a:pt x="930" y="258"/>
                  <a:pt x="927" y="255"/>
                </a:cubicBezTo>
                <a:cubicBezTo>
                  <a:pt x="925" y="252"/>
                  <a:pt x="922" y="252"/>
                  <a:pt x="919" y="252"/>
                </a:cubicBezTo>
                <a:cubicBezTo>
                  <a:pt x="914" y="252"/>
                  <a:pt x="911" y="251"/>
                  <a:pt x="907" y="248"/>
                </a:cubicBezTo>
                <a:cubicBezTo>
                  <a:pt x="905" y="246"/>
                  <a:pt x="902" y="244"/>
                  <a:pt x="901" y="242"/>
                </a:cubicBezTo>
                <a:cubicBezTo>
                  <a:pt x="897" y="236"/>
                  <a:pt x="892" y="235"/>
                  <a:pt x="886" y="236"/>
                </a:cubicBezTo>
                <a:cubicBezTo>
                  <a:pt x="881" y="236"/>
                  <a:pt x="876" y="236"/>
                  <a:pt x="871" y="236"/>
                </a:cubicBezTo>
                <a:cubicBezTo>
                  <a:pt x="868" y="236"/>
                  <a:pt x="865" y="236"/>
                  <a:pt x="863" y="237"/>
                </a:cubicBezTo>
                <a:cubicBezTo>
                  <a:pt x="860" y="237"/>
                  <a:pt x="859" y="239"/>
                  <a:pt x="858" y="241"/>
                </a:cubicBezTo>
                <a:cubicBezTo>
                  <a:pt x="857" y="245"/>
                  <a:pt x="857" y="248"/>
                  <a:pt x="857" y="251"/>
                </a:cubicBezTo>
                <a:cubicBezTo>
                  <a:pt x="856" y="255"/>
                  <a:pt x="855" y="257"/>
                  <a:pt x="852" y="259"/>
                </a:cubicBezTo>
                <a:cubicBezTo>
                  <a:pt x="847" y="263"/>
                  <a:pt x="842" y="268"/>
                  <a:pt x="837" y="272"/>
                </a:cubicBezTo>
                <a:cubicBezTo>
                  <a:pt x="834" y="274"/>
                  <a:pt x="832" y="276"/>
                  <a:pt x="832" y="280"/>
                </a:cubicBezTo>
                <a:cubicBezTo>
                  <a:pt x="832" y="281"/>
                  <a:pt x="831" y="282"/>
                  <a:pt x="830" y="283"/>
                </a:cubicBezTo>
                <a:cubicBezTo>
                  <a:pt x="821" y="288"/>
                  <a:pt x="814" y="296"/>
                  <a:pt x="806" y="302"/>
                </a:cubicBezTo>
                <a:cubicBezTo>
                  <a:pt x="804" y="303"/>
                  <a:pt x="802" y="305"/>
                  <a:pt x="801" y="306"/>
                </a:cubicBezTo>
                <a:cubicBezTo>
                  <a:pt x="800" y="309"/>
                  <a:pt x="803" y="311"/>
                  <a:pt x="804" y="313"/>
                </a:cubicBezTo>
                <a:cubicBezTo>
                  <a:pt x="806" y="317"/>
                  <a:pt x="807" y="320"/>
                  <a:pt x="807" y="324"/>
                </a:cubicBezTo>
                <a:close/>
                <a:moveTo>
                  <a:pt x="2021" y="850"/>
                </a:moveTo>
                <a:cubicBezTo>
                  <a:pt x="2025" y="854"/>
                  <a:pt x="2026" y="858"/>
                  <a:pt x="2025" y="864"/>
                </a:cubicBezTo>
                <a:cubicBezTo>
                  <a:pt x="2024" y="865"/>
                  <a:pt x="2025" y="867"/>
                  <a:pt x="2026" y="868"/>
                </a:cubicBezTo>
                <a:cubicBezTo>
                  <a:pt x="2029" y="869"/>
                  <a:pt x="2029" y="871"/>
                  <a:pt x="2027" y="873"/>
                </a:cubicBezTo>
                <a:cubicBezTo>
                  <a:pt x="2027" y="875"/>
                  <a:pt x="2026" y="876"/>
                  <a:pt x="2025" y="878"/>
                </a:cubicBezTo>
                <a:cubicBezTo>
                  <a:pt x="2026" y="878"/>
                  <a:pt x="2027" y="879"/>
                  <a:pt x="2027" y="880"/>
                </a:cubicBezTo>
                <a:cubicBezTo>
                  <a:pt x="2028" y="881"/>
                  <a:pt x="2028" y="882"/>
                  <a:pt x="2028" y="883"/>
                </a:cubicBezTo>
                <a:cubicBezTo>
                  <a:pt x="2030" y="887"/>
                  <a:pt x="2031" y="887"/>
                  <a:pt x="2035" y="883"/>
                </a:cubicBezTo>
                <a:cubicBezTo>
                  <a:pt x="2036" y="882"/>
                  <a:pt x="2036" y="882"/>
                  <a:pt x="2036" y="882"/>
                </a:cubicBezTo>
                <a:cubicBezTo>
                  <a:pt x="2037" y="883"/>
                  <a:pt x="2037" y="884"/>
                  <a:pt x="2037" y="885"/>
                </a:cubicBezTo>
                <a:cubicBezTo>
                  <a:pt x="2037" y="888"/>
                  <a:pt x="2036" y="890"/>
                  <a:pt x="2036" y="893"/>
                </a:cubicBezTo>
                <a:cubicBezTo>
                  <a:pt x="2036" y="896"/>
                  <a:pt x="2037" y="898"/>
                  <a:pt x="2041" y="898"/>
                </a:cubicBezTo>
                <a:cubicBezTo>
                  <a:pt x="2041" y="898"/>
                  <a:pt x="2042" y="899"/>
                  <a:pt x="2042" y="899"/>
                </a:cubicBezTo>
                <a:cubicBezTo>
                  <a:pt x="2045" y="899"/>
                  <a:pt x="2048" y="898"/>
                  <a:pt x="2050" y="898"/>
                </a:cubicBezTo>
                <a:cubicBezTo>
                  <a:pt x="2053" y="899"/>
                  <a:pt x="2052" y="903"/>
                  <a:pt x="2053" y="906"/>
                </a:cubicBezTo>
                <a:cubicBezTo>
                  <a:pt x="2054" y="907"/>
                  <a:pt x="2055" y="908"/>
                  <a:pt x="2056" y="909"/>
                </a:cubicBezTo>
                <a:cubicBezTo>
                  <a:pt x="2059" y="911"/>
                  <a:pt x="2059" y="914"/>
                  <a:pt x="2059" y="917"/>
                </a:cubicBezTo>
                <a:cubicBezTo>
                  <a:pt x="2057" y="925"/>
                  <a:pt x="2055" y="926"/>
                  <a:pt x="2046" y="925"/>
                </a:cubicBezTo>
                <a:cubicBezTo>
                  <a:pt x="2046" y="925"/>
                  <a:pt x="2045" y="925"/>
                  <a:pt x="2045" y="925"/>
                </a:cubicBezTo>
                <a:cubicBezTo>
                  <a:pt x="2043" y="925"/>
                  <a:pt x="2042" y="925"/>
                  <a:pt x="2043" y="926"/>
                </a:cubicBezTo>
                <a:cubicBezTo>
                  <a:pt x="2043" y="931"/>
                  <a:pt x="2042" y="935"/>
                  <a:pt x="2046" y="939"/>
                </a:cubicBezTo>
                <a:cubicBezTo>
                  <a:pt x="2047" y="940"/>
                  <a:pt x="2046" y="943"/>
                  <a:pt x="2045" y="945"/>
                </a:cubicBezTo>
                <a:cubicBezTo>
                  <a:pt x="2043" y="946"/>
                  <a:pt x="2041" y="947"/>
                  <a:pt x="2040" y="949"/>
                </a:cubicBezTo>
                <a:cubicBezTo>
                  <a:pt x="2038" y="950"/>
                  <a:pt x="2037" y="950"/>
                  <a:pt x="2036" y="952"/>
                </a:cubicBezTo>
                <a:cubicBezTo>
                  <a:pt x="2035" y="952"/>
                  <a:pt x="2035" y="954"/>
                  <a:pt x="2035" y="955"/>
                </a:cubicBezTo>
                <a:cubicBezTo>
                  <a:pt x="2036" y="956"/>
                  <a:pt x="2036" y="957"/>
                  <a:pt x="2037" y="957"/>
                </a:cubicBezTo>
                <a:cubicBezTo>
                  <a:pt x="2044" y="958"/>
                  <a:pt x="2050" y="960"/>
                  <a:pt x="2056" y="964"/>
                </a:cubicBezTo>
                <a:cubicBezTo>
                  <a:pt x="2056" y="964"/>
                  <a:pt x="2057" y="964"/>
                  <a:pt x="2057" y="965"/>
                </a:cubicBezTo>
                <a:cubicBezTo>
                  <a:pt x="2056" y="965"/>
                  <a:pt x="2055" y="966"/>
                  <a:pt x="2055" y="965"/>
                </a:cubicBezTo>
                <a:cubicBezTo>
                  <a:pt x="2049" y="965"/>
                  <a:pt x="2045" y="967"/>
                  <a:pt x="2042" y="971"/>
                </a:cubicBezTo>
                <a:cubicBezTo>
                  <a:pt x="2039" y="977"/>
                  <a:pt x="2034" y="980"/>
                  <a:pt x="2030" y="985"/>
                </a:cubicBezTo>
                <a:cubicBezTo>
                  <a:pt x="2030" y="985"/>
                  <a:pt x="2030" y="986"/>
                  <a:pt x="2030" y="986"/>
                </a:cubicBezTo>
                <a:cubicBezTo>
                  <a:pt x="2031" y="987"/>
                  <a:pt x="2031" y="988"/>
                  <a:pt x="2032" y="988"/>
                </a:cubicBezTo>
                <a:cubicBezTo>
                  <a:pt x="2033" y="987"/>
                  <a:pt x="2035" y="988"/>
                  <a:pt x="2036" y="987"/>
                </a:cubicBezTo>
                <a:cubicBezTo>
                  <a:pt x="2039" y="985"/>
                  <a:pt x="2042" y="983"/>
                  <a:pt x="2045" y="984"/>
                </a:cubicBezTo>
                <a:cubicBezTo>
                  <a:pt x="2051" y="985"/>
                  <a:pt x="2055" y="984"/>
                  <a:pt x="2058" y="979"/>
                </a:cubicBezTo>
                <a:cubicBezTo>
                  <a:pt x="2059" y="978"/>
                  <a:pt x="2062" y="977"/>
                  <a:pt x="2064" y="977"/>
                </a:cubicBezTo>
                <a:cubicBezTo>
                  <a:pt x="2070" y="978"/>
                  <a:pt x="2075" y="978"/>
                  <a:pt x="2080" y="976"/>
                </a:cubicBezTo>
                <a:cubicBezTo>
                  <a:pt x="2087" y="975"/>
                  <a:pt x="2093" y="974"/>
                  <a:pt x="2100" y="974"/>
                </a:cubicBezTo>
                <a:cubicBezTo>
                  <a:pt x="2106" y="973"/>
                  <a:pt x="2111" y="970"/>
                  <a:pt x="2116" y="966"/>
                </a:cubicBezTo>
                <a:cubicBezTo>
                  <a:pt x="2117" y="965"/>
                  <a:pt x="2116" y="962"/>
                  <a:pt x="2115" y="961"/>
                </a:cubicBezTo>
                <a:cubicBezTo>
                  <a:pt x="2114" y="961"/>
                  <a:pt x="2113" y="960"/>
                  <a:pt x="2112" y="960"/>
                </a:cubicBezTo>
                <a:cubicBezTo>
                  <a:pt x="2110" y="958"/>
                  <a:pt x="2110" y="957"/>
                  <a:pt x="2111" y="956"/>
                </a:cubicBezTo>
                <a:cubicBezTo>
                  <a:pt x="2113" y="952"/>
                  <a:pt x="2116" y="949"/>
                  <a:pt x="2117" y="946"/>
                </a:cubicBezTo>
                <a:cubicBezTo>
                  <a:pt x="2121" y="939"/>
                  <a:pt x="2117" y="931"/>
                  <a:pt x="2109" y="930"/>
                </a:cubicBezTo>
                <a:cubicBezTo>
                  <a:pt x="2106" y="930"/>
                  <a:pt x="2104" y="930"/>
                  <a:pt x="2101" y="930"/>
                </a:cubicBezTo>
                <a:cubicBezTo>
                  <a:pt x="2101" y="930"/>
                  <a:pt x="2101" y="930"/>
                  <a:pt x="2101" y="930"/>
                </a:cubicBezTo>
                <a:cubicBezTo>
                  <a:pt x="2100" y="931"/>
                  <a:pt x="2100" y="931"/>
                  <a:pt x="2100" y="931"/>
                </a:cubicBezTo>
                <a:cubicBezTo>
                  <a:pt x="2101" y="930"/>
                  <a:pt x="2101" y="930"/>
                  <a:pt x="2101" y="930"/>
                </a:cubicBezTo>
                <a:cubicBezTo>
                  <a:pt x="2101" y="930"/>
                  <a:pt x="2101" y="930"/>
                  <a:pt x="2101" y="930"/>
                </a:cubicBezTo>
                <a:cubicBezTo>
                  <a:pt x="2101" y="928"/>
                  <a:pt x="2101" y="926"/>
                  <a:pt x="2100" y="925"/>
                </a:cubicBezTo>
                <a:cubicBezTo>
                  <a:pt x="2097" y="920"/>
                  <a:pt x="2095" y="915"/>
                  <a:pt x="2093" y="910"/>
                </a:cubicBezTo>
                <a:cubicBezTo>
                  <a:pt x="2092" y="907"/>
                  <a:pt x="2090" y="904"/>
                  <a:pt x="2087" y="902"/>
                </a:cubicBezTo>
                <a:cubicBezTo>
                  <a:pt x="2082" y="900"/>
                  <a:pt x="2079" y="895"/>
                  <a:pt x="2078" y="890"/>
                </a:cubicBezTo>
                <a:cubicBezTo>
                  <a:pt x="2075" y="882"/>
                  <a:pt x="2071" y="876"/>
                  <a:pt x="2063" y="873"/>
                </a:cubicBezTo>
                <a:cubicBezTo>
                  <a:pt x="2062" y="873"/>
                  <a:pt x="2061" y="872"/>
                  <a:pt x="2062" y="871"/>
                </a:cubicBezTo>
                <a:cubicBezTo>
                  <a:pt x="2063" y="868"/>
                  <a:pt x="2063" y="865"/>
                  <a:pt x="2065" y="863"/>
                </a:cubicBezTo>
                <a:cubicBezTo>
                  <a:pt x="2068" y="859"/>
                  <a:pt x="2070" y="853"/>
                  <a:pt x="2071" y="848"/>
                </a:cubicBezTo>
                <a:cubicBezTo>
                  <a:pt x="2072" y="846"/>
                  <a:pt x="2070" y="843"/>
                  <a:pt x="2067" y="842"/>
                </a:cubicBezTo>
                <a:cubicBezTo>
                  <a:pt x="2066" y="842"/>
                  <a:pt x="2065" y="841"/>
                  <a:pt x="2064" y="841"/>
                </a:cubicBezTo>
                <a:cubicBezTo>
                  <a:pt x="2060" y="841"/>
                  <a:pt x="2056" y="842"/>
                  <a:pt x="2052" y="841"/>
                </a:cubicBezTo>
                <a:cubicBezTo>
                  <a:pt x="2051" y="841"/>
                  <a:pt x="2051" y="840"/>
                  <a:pt x="2050" y="840"/>
                </a:cubicBezTo>
                <a:cubicBezTo>
                  <a:pt x="2050" y="839"/>
                  <a:pt x="2050" y="839"/>
                  <a:pt x="2050" y="838"/>
                </a:cubicBezTo>
                <a:cubicBezTo>
                  <a:pt x="2052" y="836"/>
                  <a:pt x="2055" y="833"/>
                  <a:pt x="2056" y="830"/>
                </a:cubicBezTo>
                <a:cubicBezTo>
                  <a:pt x="2057" y="830"/>
                  <a:pt x="2057" y="828"/>
                  <a:pt x="2057" y="827"/>
                </a:cubicBezTo>
                <a:cubicBezTo>
                  <a:pt x="2057" y="826"/>
                  <a:pt x="2055" y="824"/>
                  <a:pt x="2053" y="825"/>
                </a:cubicBezTo>
                <a:cubicBezTo>
                  <a:pt x="2049" y="825"/>
                  <a:pt x="2044" y="825"/>
                  <a:pt x="2040" y="825"/>
                </a:cubicBezTo>
                <a:cubicBezTo>
                  <a:pt x="2038" y="826"/>
                  <a:pt x="2036" y="827"/>
                  <a:pt x="2035" y="829"/>
                </a:cubicBezTo>
                <a:cubicBezTo>
                  <a:pt x="2032" y="834"/>
                  <a:pt x="2030" y="839"/>
                  <a:pt x="2027" y="844"/>
                </a:cubicBezTo>
                <a:cubicBezTo>
                  <a:pt x="2027" y="845"/>
                  <a:pt x="2026" y="845"/>
                  <a:pt x="2024" y="845"/>
                </a:cubicBezTo>
                <a:cubicBezTo>
                  <a:pt x="2020" y="845"/>
                  <a:pt x="2018" y="847"/>
                  <a:pt x="2021" y="850"/>
                </a:cubicBezTo>
                <a:close/>
                <a:moveTo>
                  <a:pt x="2192" y="268"/>
                </a:moveTo>
                <a:cubicBezTo>
                  <a:pt x="2192" y="273"/>
                  <a:pt x="2195" y="277"/>
                  <a:pt x="2197" y="280"/>
                </a:cubicBezTo>
                <a:cubicBezTo>
                  <a:pt x="2199" y="283"/>
                  <a:pt x="2202" y="286"/>
                  <a:pt x="2203" y="290"/>
                </a:cubicBezTo>
                <a:cubicBezTo>
                  <a:pt x="2208" y="294"/>
                  <a:pt x="2211" y="299"/>
                  <a:pt x="2216" y="302"/>
                </a:cubicBezTo>
                <a:cubicBezTo>
                  <a:pt x="2216" y="301"/>
                  <a:pt x="2216" y="301"/>
                  <a:pt x="2216" y="301"/>
                </a:cubicBezTo>
                <a:cubicBezTo>
                  <a:pt x="2216" y="301"/>
                  <a:pt x="2217" y="301"/>
                  <a:pt x="2217" y="302"/>
                </a:cubicBezTo>
                <a:cubicBezTo>
                  <a:pt x="2219" y="299"/>
                  <a:pt x="2221" y="297"/>
                  <a:pt x="2223" y="294"/>
                </a:cubicBezTo>
                <a:cubicBezTo>
                  <a:pt x="2224" y="292"/>
                  <a:pt x="2225" y="290"/>
                  <a:pt x="2224" y="287"/>
                </a:cubicBezTo>
                <a:cubicBezTo>
                  <a:pt x="2224" y="286"/>
                  <a:pt x="2225" y="285"/>
                  <a:pt x="2226" y="284"/>
                </a:cubicBezTo>
                <a:cubicBezTo>
                  <a:pt x="2227" y="284"/>
                  <a:pt x="2228" y="284"/>
                  <a:pt x="2228" y="285"/>
                </a:cubicBezTo>
                <a:cubicBezTo>
                  <a:pt x="2230" y="289"/>
                  <a:pt x="2233" y="289"/>
                  <a:pt x="2237" y="288"/>
                </a:cubicBezTo>
                <a:cubicBezTo>
                  <a:pt x="2237" y="288"/>
                  <a:pt x="2238" y="289"/>
                  <a:pt x="2238" y="289"/>
                </a:cubicBezTo>
                <a:cubicBezTo>
                  <a:pt x="2238" y="289"/>
                  <a:pt x="2238" y="290"/>
                  <a:pt x="2238" y="290"/>
                </a:cubicBezTo>
                <a:cubicBezTo>
                  <a:pt x="2234" y="292"/>
                  <a:pt x="2231" y="295"/>
                  <a:pt x="2228" y="298"/>
                </a:cubicBezTo>
                <a:cubicBezTo>
                  <a:pt x="2225" y="302"/>
                  <a:pt x="2221" y="302"/>
                  <a:pt x="2217" y="302"/>
                </a:cubicBezTo>
                <a:cubicBezTo>
                  <a:pt x="2217" y="302"/>
                  <a:pt x="2217" y="302"/>
                  <a:pt x="2217" y="302"/>
                </a:cubicBezTo>
                <a:cubicBezTo>
                  <a:pt x="2216" y="302"/>
                  <a:pt x="2216" y="302"/>
                  <a:pt x="2216" y="302"/>
                </a:cubicBezTo>
                <a:cubicBezTo>
                  <a:pt x="2216" y="305"/>
                  <a:pt x="2216" y="308"/>
                  <a:pt x="2216" y="311"/>
                </a:cubicBezTo>
                <a:cubicBezTo>
                  <a:pt x="2216" y="313"/>
                  <a:pt x="2218" y="315"/>
                  <a:pt x="2220" y="315"/>
                </a:cubicBezTo>
                <a:cubicBezTo>
                  <a:pt x="2222" y="316"/>
                  <a:pt x="2225" y="316"/>
                  <a:pt x="2226" y="319"/>
                </a:cubicBezTo>
                <a:cubicBezTo>
                  <a:pt x="2226" y="318"/>
                  <a:pt x="2226" y="318"/>
                  <a:pt x="2226" y="318"/>
                </a:cubicBezTo>
                <a:cubicBezTo>
                  <a:pt x="2227" y="319"/>
                  <a:pt x="2227" y="319"/>
                  <a:pt x="2227" y="319"/>
                </a:cubicBezTo>
                <a:cubicBezTo>
                  <a:pt x="2228" y="319"/>
                  <a:pt x="2229" y="319"/>
                  <a:pt x="2231" y="319"/>
                </a:cubicBezTo>
                <a:cubicBezTo>
                  <a:pt x="2232" y="319"/>
                  <a:pt x="2233" y="320"/>
                  <a:pt x="2232" y="321"/>
                </a:cubicBezTo>
                <a:cubicBezTo>
                  <a:pt x="2231" y="321"/>
                  <a:pt x="2231" y="321"/>
                  <a:pt x="2230" y="321"/>
                </a:cubicBezTo>
                <a:cubicBezTo>
                  <a:pt x="2229" y="321"/>
                  <a:pt x="2228" y="320"/>
                  <a:pt x="2227" y="319"/>
                </a:cubicBezTo>
                <a:cubicBezTo>
                  <a:pt x="2227" y="319"/>
                  <a:pt x="2226" y="319"/>
                  <a:pt x="2226" y="319"/>
                </a:cubicBezTo>
                <a:cubicBezTo>
                  <a:pt x="2226" y="319"/>
                  <a:pt x="2226" y="319"/>
                  <a:pt x="2226" y="319"/>
                </a:cubicBezTo>
                <a:cubicBezTo>
                  <a:pt x="2224" y="319"/>
                  <a:pt x="2222" y="319"/>
                  <a:pt x="2221" y="321"/>
                </a:cubicBezTo>
                <a:cubicBezTo>
                  <a:pt x="2219" y="324"/>
                  <a:pt x="2219" y="327"/>
                  <a:pt x="2221" y="329"/>
                </a:cubicBezTo>
                <a:cubicBezTo>
                  <a:pt x="2225" y="337"/>
                  <a:pt x="2231" y="343"/>
                  <a:pt x="2240" y="346"/>
                </a:cubicBezTo>
                <a:cubicBezTo>
                  <a:pt x="2240" y="346"/>
                  <a:pt x="2240" y="345"/>
                  <a:pt x="2240" y="345"/>
                </a:cubicBezTo>
                <a:cubicBezTo>
                  <a:pt x="2240" y="345"/>
                  <a:pt x="2240" y="345"/>
                  <a:pt x="2240" y="345"/>
                </a:cubicBezTo>
                <a:cubicBezTo>
                  <a:pt x="2240" y="346"/>
                  <a:pt x="2240" y="346"/>
                  <a:pt x="2240" y="346"/>
                </a:cubicBezTo>
                <a:cubicBezTo>
                  <a:pt x="2240" y="346"/>
                  <a:pt x="2240" y="346"/>
                  <a:pt x="2240" y="346"/>
                </a:cubicBezTo>
                <a:cubicBezTo>
                  <a:pt x="2240" y="347"/>
                  <a:pt x="2239" y="348"/>
                  <a:pt x="2240" y="349"/>
                </a:cubicBezTo>
                <a:cubicBezTo>
                  <a:pt x="2241" y="353"/>
                  <a:pt x="2244" y="356"/>
                  <a:pt x="2247" y="359"/>
                </a:cubicBezTo>
                <a:cubicBezTo>
                  <a:pt x="2248" y="360"/>
                  <a:pt x="2252" y="360"/>
                  <a:pt x="2253" y="358"/>
                </a:cubicBezTo>
                <a:cubicBezTo>
                  <a:pt x="2253" y="357"/>
                  <a:pt x="2254" y="356"/>
                  <a:pt x="2254" y="355"/>
                </a:cubicBezTo>
                <a:cubicBezTo>
                  <a:pt x="2254" y="348"/>
                  <a:pt x="2256" y="341"/>
                  <a:pt x="2257" y="334"/>
                </a:cubicBezTo>
                <a:cubicBezTo>
                  <a:pt x="2257" y="330"/>
                  <a:pt x="2258" y="327"/>
                  <a:pt x="2260" y="323"/>
                </a:cubicBezTo>
                <a:cubicBezTo>
                  <a:pt x="2262" y="322"/>
                  <a:pt x="2263" y="319"/>
                  <a:pt x="2263" y="317"/>
                </a:cubicBezTo>
                <a:cubicBezTo>
                  <a:pt x="2262" y="308"/>
                  <a:pt x="2267" y="300"/>
                  <a:pt x="2267" y="291"/>
                </a:cubicBezTo>
                <a:cubicBezTo>
                  <a:pt x="2266" y="290"/>
                  <a:pt x="2267" y="289"/>
                  <a:pt x="2267" y="288"/>
                </a:cubicBezTo>
                <a:cubicBezTo>
                  <a:pt x="2268" y="284"/>
                  <a:pt x="2270" y="281"/>
                  <a:pt x="2274" y="280"/>
                </a:cubicBezTo>
                <a:cubicBezTo>
                  <a:pt x="2276" y="279"/>
                  <a:pt x="2277" y="280"/>
                  <a:pt x="2277" y="281"/>
                </a:cubicBezTo>
                <a:cubicBezTo>
                  <a:pt x="2277" y="283"/>
                  <a:pt x="2276" y="286"/>
                  <a:pt x="2277" y="287"/>
                </a:cubicBezTo>
                <a:cubicBezTo>
                  <a:pt x="2281" y="293"/>
                  <a:pt x="2281" y="300"/>
                  <a:pt x="2285" y="305"/>
                </a:cubicBezTo>
                <a:cubicBezTo>
                  <a:pt x="2286" y="308"/>
                  <a:pt x="2286" y="310"/>
                  <a:pt x="2286" y="313"/>
                </a:cubicBezTo>
                <a:cubicBezTo>
                  <a:pt x="2285" y="316"/>
                  <a:pt x="2284" y="318"/>
                  <a:pt x="2284" y="321"/>
                </a:cubicBezTo>
                <a:cubicBezTo>
                  <a:pt x="2283" y="323"/>
                  <a:pt x="2286" y="326"/>
                  <a:pt x="2288" y="325"/>
                </a:cubicBezTo>
                <a:cubicBezTo>
                  <a:pt x="2290" y="324"/>
                  <a:pt x="2293" y="323"/>
                  <a:pt x="2295" y="322"/>
                </a:cubicBezTo>
                <a:cubicBezTo>
                  <a:pt x="2298" y="321"/>
                  <a:pt x="2298" y="321"/>
                  <a:pt x="2299" y="325"/>
                </a:cubicBezTo>
                <a:cubicBezTo>
                  <a:pt x="2299" y="325"/>
                  <a:pt x="2299" y="326"/>
                  <a:pt x="2300" y="327"/>
                </a:cubicBezTo>
                <a:cubicBezTo>
                  <a:pt x="2300" y="329"/>
                  <a:pt x="2302" y="330"/>
                  <a:pt x="2304" y="328"/>
                </a:cubicBezTo>
                <a:cubicBezTo>
                  <a:pt x="2311" y="323"/>
                  <a:pt x="2314" y="317"/>
                  <a:pt x="2316" y="309"/>
                </a:cubicBezTo>
                <a:cubicBezTo>
                  <a:pt x="2316" y="308"/>
                  <a:pt x="2315" y="307"/>
                  <a:pt x="2314" y="306"/>
                </a:cubicBezTo>
                <a:cubicBezTo>
                  <a:pt x="2313" y="306"/>
                  <a:pt x="2312" y="305"/>
                  <a:pt x="2311" y="305"/>
                </a:cubicBezTo>
                <a:cubicBezTo>
                  <a:pt x="2306" y="305"/>
                  <a:pt x="2303" y="303"/>
                  <a:pt x="2303" y="297"/>
                </a:cubicBezTo>
                <a:cubicBezTo>
                  <a:pt x="2303" y="292"/>
                  <a:pt x="2301" y="292"/>
                  <a:pt x="2295" y="293"/>
                </a:cubicBezTo>
                <a:cubicBezTo>
                  <a:pt x="2292" y="294"/>
                  <a:pt x="2292" y="294"/>
                  <a:pt x="2293" y="291"/>
                </a:cubicBezTo>
                <a:cubicBezTo>
                  <a:pt x="2293" y="289"/>
                  <a:pt x="2294" y="287"/>
                  <a:pt x="2294" y="286"/>
                </a:cubicBezTo>
                <a:cubicBezTo>
                  <a:pt x="2295" y="282"/>
                  <a:pt x="2294" y="280"/>
                  <a:pt x="2291" y="279"/>
                </a:cubicBezTo>
                <a:cubicBezTo>
                  <a:pt x="2287" y="278"/>
                  <a:pt x="2285" y="278"/>
                  <a:pt x="2283" y="274"/>
                </a:cubicBezTo>
                <a:cubicBezTo>
                  <a:pt x="2281" y="271"/>
                  <a:pt x="2276" y="269"/>
                  <a:pt x="2275" y="264"/>
                </a:cubicBezTo>
                <a:cubicBezTo>
                  <a:pt x="2275" y="263"/>
                  <a:pt x="2274" y="262"/>
                  <a:pt x="2273" y="262"/>
                </a:cubicBezTo>
                <a:cubicBezTo>
                  <a:pt x="2271" y="261"/>
                  <a:pt x="2268" y="261"/>
                  <a:pt x="2266" y="261"/>
                </a:cubicBezTo>
                <a:cubicBezTo>
                  <a:pt x="2262" y="259"/>
                  <a:pt x="2259" y="257"/>
                  <a:pt x="2257" y="252"/>
                </a:cubicBezTo>
                <a:cubicBezTo>
                  <a:pt x="2256" y="247"/>
                  <a:pt x="2254" y="244"/>
                  <a:pt x="2250" y="241"/>
                </a:cubicBezTo>
                <a:cubicBezTo>
                  <a:pt x="2249" y="240"/>
                  <a:pt x="2248" y="239"/>
                  <a:pt x="2247" y="238"/>
                </a:cubicBezTo>
                <a:cubicBezTo>
                  <a:pt x="2245" y="235"/>
                  <a:pt x="2243" y="232"/>
                  <a:pt x="2240" y="231"/>
                </a:cubicBezTo>
                <a:cubicBezTo>
                  <a:pt x="2238" y="231"/>
                  <a:pt x="2236" y="229"/>
                  <a:pt x="2234" y="228"/>
                </a:cubicBezTo>
                <a:cubicBezTo>
                  <a:pt x="2232" y="227"/>
                  <a:pt x="2230" y="228"/>
                  <a:pt x="2229" y="231"/>
                </a:cubicBezTo>
                <a:cubicBezTo>
                  <a:pt x="2228" y="234"/>
                  <a:pt x="2228" y="238"/>
                  <a:pt x="2227" y="242"/>
                </a:cubicBezTo>
                <a:cubicBezTo>
                  <a:pt x="2227" y="242"/>
                  <a:pt x="2227" y="242"/>
                  <a:pt x="2227" y="242"/>
                </a:cubicBezTo>
                <a:cubicBezTo>
                  <a:pt x="2227" y="242"/>
                  <a:pt x="2227" y="242"/>
                  <a:pt x="2227" y="243"/>
                </a:cubicBezTo>
                <a:cubicBezTo>
                  <a:pt x="2229" y="245"/>
                  <a:pt x="2229" y="247"/>
                  <a:pt x="2229" y="249"/>
                </a:cubicBezTo>
                <a:cubicBezTo>
                  <a:pt x="2229" y="250"/>
                  <a:pt x="2229" y="250"/>
                  <a:pt x="2229" y="251"/>
                </a:cubicBezTo>
                <a:cubicBezTo>
                  <a:pt x="2228" y="252"/>
                  <a:pt x="2227" y="251"/>
                  <a:pt x="2227" y="250"/>
                </a:cubicBezTo>
                <a:cubicBezTo>
                  <a:pt x="2227" y="247"/>
                  <a:pt x="2227" y="245"/>
                  <a:pt x="2227" y="243"/>
                </a:cubicBezTo>
                <a:cubicBezTo>
                  <a:pt x="2227" y="242"/>
                  <a:pt x="2227" y="242"/>
                  <a:pt x="2227" y="242"/>
                </a:cubicBezTo>
                <a:cubicBezTo>
                  <a:pt x="2227" y="242"/>
                  <a:pt x="2227" y="242"/>
                  <a:pt x="2227" y="242"/>
                </a:cubicBezTo>
                <a:cubicBezTo>
                  <a:pt x="2226" y="242"/>
                  <a:pt x="2225" y="242"/>
                  <a:pt x="2224" y="242"/>
                </a:cubicBezTo>
                <a:cubicBezTo>
                  <a:pt x="2220" y="239"/>
                  <a:pt x="2217" y="240"/>
                  <a:pt x="2213" y="242"/>
                </a:cubicBezTo>
                <a:cubicBezTo>
                  <a:pt x="2213" y="242"/>
                  <a:pt x="2213" y="242"/>
                  <a:pt x="2213" y="242"/>
                </a:cubicBezTo>
                <a:cubicBezTo>
                  <a:pt x="2213" y="242"/>
                  <a:pt x="2213" y="242"/>
                  <a:pt x="2213" y="242"/>
                </a:cubicBezTo>
                <a:cubicBezTo>
                  <a:pt x="2213" y="243"/>
                  <a:pt x="2213" y="244"/>
                  <a:pt x="2213" y="245"/>
                </a:cubicBezTo>
                <a:cubicBezTo>
                  <a:pt x="2213" y="246"/>
                  <a:pt x="2212" y="247"/>
                  <a:pt x="2211" y="246"/>
                </a:cubicBezTo>
                <a:cubicBezTo>
                  <a:pt x="2210" y="246"/>
                  <a:pt x="2210" y="246"/>
                  <a:pt x="2209" y="245"/>
                </a:cubicBezTo>
                <a:cubicBezTo>
                  <a:pt x="2209" y="244"/>
                  <a:pt x="2209" y="243"/>
                  <a:pt x="2210" y="243"/>
                </a:cubicBezTo>
                <a:cubicBezTo>
                  <a:pt x="2211" y="243"/>
                  <a:pt x="2212" y="243"/>
                  <a:pt x="2213" y="242"/>
                </a:cubicBezTo>
                <a:cubicBezTo>
                  <a:pt x="2213" y="242"/>
                  <a:pt x="2213" y="242"/>
                  <a:pt x="2213" y="242"/>
                </a:cubicBezTo>
                <a:cubicBezTo>
                  <a:pt x="2213" y="242"/>
                  <a:pt x="2213" y="242"/>
                  <a:pt x="2213" y="242"/>
                </a:cubicBezTo>
                <a:cubicBezTo>
                  <a:pt x="2213" y="241"/>
                  <a:pt x="2213" y="241"/>
                  <a:pt x="2213" y="241"/>
                </a:cubicBezTo>
                <a:cubicBezTo>
                  <a:pt x="2212" y="236"/>
                  <a:pt x="2210" y="235"/>
                  <a:pt x="2206" y="236"/>
                </a:cubicBezTo>
                <a:cubicBezTo>
                  <a:pt x="2202" y="237"/>
                  <a:pt x="2198" y="238"/>
                  <a:pt x="2194" y="239"/>
                </a:cubicBezTo>
                <a:cubicBezTo>
                  <a:pt x="2191" y="239"/>
                  <a:pt x="2189" y="241"/>
                  <a:pt x="2188" y="244"/>
                </a:cubicBezTo>
                <a:cubicBezTo>
                  <a:pt x="2187" y="245"/>
                  <a:pt x="2187" y="247"/>
                  <a:pt x="2186" y="248"/>
                </a:cubicBezTo>
                <a:cubicBezTo>
                  <a:pt x="2184" y="255"/>
                  <a:pt x="2185" y="260"/>
                  <a:pt x="2190" y="265"/>
                </a:cubicBezTo>
                <a:cubicBezTo>
                  <a:pt x="2191" y="266"/>
                  <a:pt x="2193" y="267"/>
                  <a:pt x="2192" y="268"/>
                </a:cubicBezTo>
                <a:close/>
                <a:moveTo>
                  <a:pt x="2233" y="314"/>
                </a:moveTo>
                <a:cubicBezTo>
                  <a:pt x="2232" y="313"/>
                  <a:pt x="2232" y="313"/>
                  <a:pt x="2232" y="313"/>
                </a:cubicBezTo>
                <a:cubicBezTo>
                  <a:pt x="2233" y="313"/>
                  <a:pt x="2233" y="313"/>
                  <a:pt x="2233" y="313"/>
                </a:cubicBezTo>
                <a:lnTo>
                  <a:pt x="2233" y="314"/>
                </a:lnTo>
                <a:close/>
                <a:moveTo>
                  <a:pt x="2230" y="262"/>
                </a:moveTo>
                <a:cubicBezTo>
                  <a:pt x="2230" y="263"/>
                  <a:pt x="2230" y="263"/>
                  <a:pt x="2230" y="263"/>
                </a:cubicBezTo>
                <a:cubicBezTo>
                  <a:pt x="2229" y="262"/>
                  <a:pt x="2229" y="262"/>
                  <a:pt x="2229" y="262"/>
                </a:cubicBezTo>
                <a:cubicBezTo>
                  <a:pt x="2229" y="261"/>
                  <a:pt x="2229" y="261"/>
                  <a:pt x="2229" y="261"/>
                </a:cubicBezTo>
                <a:lnTo>
                  <a:pt x="2230" y="262"/>
                </a:lnTo>
                <a:close/>
                <a:moveTo>
                  <a:pt x="1315" y="301"/>
                </a:moveTo>
                <a:cubicBezTo>
                  <a:pt x="1314" y="300"/>
                  <a:pt x="1312" y="299"/>
                  <a:pt x="1312" y="296"/>
                </a:cubicBezTo>
                <a:cubicBezTo>
                  <a:pt x="1310" y="293"/>
                  <a:pt x="1307" y="292"/>
                  <a:pt x="1304" y="292"/>
                </a:cubicBezTo>
                <a:cubicBezTo>
                  <a:pt x="1299" y="292"/>
                  <a:pt x="1294" y="292"/>
                  <a:pt x="1289" y="289"/>
                </a:cubicBezTo>
                <a:cubicBezTo>
                  <a:pt x="1288" y="289"/>
                  <a:pt x="1286" y="289"/>
                  <a:pt x="1284" y="289"/>
                </a:cubicBezTo>
                <a:cubicBezTo>
                  <a:pt x="1277" y="290"/>
                  <a:pt x="1270" y="290"/>
                  <a:pt x="1263" y="291"/>
                </a:cubicBezTo>
                <a:cubicBezTo>
                  <a:pt x="1259" y="292"/>
                  <a:pt x="1255" y="294"/>
                  <a:pt x="1252" y="288"/>
                </a:cubicBezTo>
                <a:cubicBezTo>
                  <a:pt x="1251" y="286"/>
                  <a:pt x="1248" y="286"/>
                  <a:pt x="1246" y="286"/>
                </a:cubicBezTo>
                <a:cubicBezTo>
                  <a:pt x="1240" y="283"/>
                  <a:pt x="1234" y="280"/>
                  <a:pt x="1233" y="273"/>
                </a:cubicBezTo>
                <a:cubicBezTo>
                  <a:pt x="1232" y="269"/>
                  <a:pt x="1230" y="268"/>
                  <a:pt x="1227" y="268"/>
                </a:cubicBezTo>
                <a:cubicBezTo>
                  <a:pt x="1225" y="267"/>
                  <a:pt x="1225" y="267"/>
                  <a:pt x="1227" y="266"/>
                </a:cubicBezTo>
                <a:cubicBezTo>
                  <a:pt x="1228" y="265"/>
                  <a:pt x="1230" y="263"/>
                  <a:pt x="1231" y="262"/>
                </a:cubicBezTo>
                <a:cubicBezTo>
                  <a:pt x="1231" y="262"/>
                  <a:pt x="1231" y="262"/>
                  <a:pt x="1231" y="262"/>
                </a:cubicBezTo>
                <a:cubicBezTo>
                  <a:pt x="1231" y="262"/>
                  <a:pt x="1231" y="262"/>
                  <a:pt x="1231" y="262"/>
                </a:cubicBezTo>
                <a:cubicBezTo>
                  <a:pt x="1232" y="262"/>
                  <a:pt x="1232" y="262"/>
                  <a:pt x="1232" y="262"/>
                </a:cubicBezTo>
                <a:cubicBezTo>
                  <a:pt x="1232" y="262"/>
                  <a:pt x="1231" y="262"/>
                  <a:pt x="1231" y="262"/>
                </a:cubicBezTo>
                <a:cubicBezTo>
                  <a:pt x="1235" y="263"/>
                  <a:pt x="1238" y="264"/>
                  <a:pt x="1241" y="263"/>
                </a:cubicBezTo>
                <a:cubicBezTo>
                  <a:pt x="1242" y="262"/>
                  <a:pt x="1243" y="259"/>
                  <a:pt x="1243" y="258"/>
                </a:cubicBezTo>
                <a:cubicBezTo>
                  <a:pt x="1242" y="258"/>
                  <a:pt x="1242" y="256"/>
                  <a:pt x="1241" y="256"/>
                </a:cubicBezTo>
                <a:cubicBezTo>
                  <a:pt x="1238" y="253"/>
                  <a:pt x="1237" y="250"/>
                  <a:pt x="1238" y="246"/>
                </a:cubicBezTo>
                <a:cubicBezTo>
                  <a:pt x="1238" y="243"/>
                  <a:pt x="1234" y="239"/>
                  <a:pt x="1232" y="239"/>
                </a:cubicBezTo>
                <a:cubicBezTo>
                  <a:pt x="1229" y="238"/>
                  <a:pt x="1226" y="239"/>
                  <a:pt x="1223" y="238"/>
                </a:cubicBezTo>
                <a:cubicBezTo>
                  <a:pt x="1221" y="238"/>
                  <a:pt x="1219" y="237"/>
                  <a:pt x="1218" y="235"/>
                </a:cubicBezTo>
                <a:cubicBezTo>
                  <a:pt x="1218" y="233"/>
                  <a:pt x="1217" y="230"/>
                  <a:pt x="1216" y="228"/>
                </a:cubicBezTo>
                <a:cubicBezTo>
                  <a:pt x="1216" y="227"/>
                  <a:pt x="1215" y="225"/>
                  <a:pt x="1214" y="224"/>
                </a:cubicBezTo>
                <a:cubicBezTo>
                  <a:pt x="1210" y="221"/>
                  <a:pt x="1207" y="216"/>
                  <a:pt x="1201" y="214"/>
                </a:cubicBezTo>
                <a:cubicBezTo>
                  <a:pt x="1197" y="212"/>
                  <a:pt x="1193" y="213"/>
                  <a:pt x="1189" y="216"/>
                </a:cubicBezTo>
                <a:cubicBezTo>
                  <a:pt x="1187" y="217"/>
                  <a:pt x="1185" y="220"/>
                  <a:pt x="1186" y="223"/>
                </a:cubicBezTo>
                <a:cubicBezTo>
                  <a:pt x="1188" y="229"/>
                  <a:pt x="1189" y="236"/>
                  <a:pt x="1190" y="242"/>
                </a:cubicBezTo>
                <a:cubicBezTo>
                  <a:pt x="1190" y="243"/>
                  <a:pt x="1191" y="244"/>
                  <a:pt x="1192" y="244"/>
                </a:cubicBezTo>
                <a:cubicBezTo>
                  <a:pt x="1196" y="246"/>
                  <a:pt x="1201" y="248"/>
                  <a:pt x="1205" y="250"/>
                </a:cubicBezTo>
                <a:cubicBezTo>
                  <a:pt x="1210" y="252"/>
                  <a:pt x="1210" y="252"/>
                  <a:pt x="1210" y="255"/>
                </a:cubicBezTo>
                <a:cubicBezTo>
                  <a:pt x="1210" y="259"/>
                  <a:pt x="1210" y="262"/>
                  <a:pt x="1210" y="265"/>
                </a:cubicBezTo>
                <a:cubicBezTo>
                  <a:pt x="1210" y="270"/>
                  <a:pt x="1209" y="273"/>
                  <a:pt x="1205" y="275"/>
                </a:cubicBezTo>
                <a:cubicBezTo>
                  <a:pt x="1202" y="277"/>
                  <a:pt x="1200" y="280"/>
                  <a:pt x="1199" y="283"/>
                </a:cubicBezTo>
                <a:cubicBezTo>
                  <a:pt x="1194" y="289"/>
                  <a:pt x="1193" y="297"/>
                  <a:pt x="1194" y="305"/>
                </a:cubicBezTo>
                <a:cubicBezTo>
                  <a:pt x="1194" y="310"/>
                  <a:pt x="1201" y="309"/>
                  <a:pt x="1203" y="313"/>
                </a:cubicBezTo>
                <a:cubicBezTo>
                  <a:pt x="1203" y="314"/>
                  <a:pt x="1204" y="314"/>
                  <a:pt x="1204" y="314"/>
                </a:cubicBezTo>
                <a:cubicBezTo>
                  <a:pt x="1208" y="318"/>
                  <a:pt x="1212" y="318"/>
                  <a:pt x="1216" y="315"/>
                </a:cubicBezTo>
                <a:cubicBezTo>
                  <a:pt x="1217" y="315"/>
                  <a:pt x="1218" y="314"/>
                  <a:pt x="1219" y="314"/>
                </a:cubicBezTo>
                <a:cubicBezTo>
                  <a:pt x="1221" y="314"/>
                  <a:pt x="1221" y="315"/>
                  <a:pt x="1221" y="316"/>
                </a:cubicBezTo>
                <a:cubicBezTo>
                  <a:pt x="1221" y="318"/>
                  <a:pt x="1220" y="319"/>
                  <a:pt x="1220" y="321"/>
                </a:cubicBezTo>
                <a:cubicBezTo>
                  <a:pt x="1221" y="323"/>
                  <a:pt x="1223" y="324"/>
                  <a:pt x="1225" y="325"/>
                </a:cubicBezTo>
                <a:cubicBezTo>
                  <a:pt x="1230" y="326"/>
                  <a:pt x="1236" y="328"/>
                  <a:pt x="1241" y="328"/>
                </a:cubicBezTo>
                <a:cubicBezTo>
                  <a:pt x="1252" y="328"/>
                  <a:pt x="1261" y="334"/>
                  <a:pt x="1272" y="333"/>
                </a:cubicBezTo>
                <a:cubicBezTo>
                  <a:pt x="1274" y="333"/>
                  <a:pt x="1276" y="335"/>
                  <a:pt x="1278" y="336"/>
                </a:cubicBezTo>
                <a:cubicBezTo>
                  <a:pt x="1282" y="338"/>
                  <a:pt x="1286" y="339"/>
                  <a:pt x="1290" y="339"/>
                </a:cubicBezTo>
                <a:cubicBezTo>
                  <a:pt x="1293" y="338"/>
                  <a:pt x="1297" y="339"/>
                  <a:pt x="1300" y="338"/>
                </a:cubicBezTo>
                <a:cubicBezTo>
                  <a:pt x="1302" y="338"/>
                  <a:pt x="1303" y="337"/>
                  <a:pt x="1304" y="336"/>
                </a:cubicBezTo>
                <a:cubicBezTo>
                  <a:pt x="1307" y="334"/>
                  <a:pt x="1310" y="331"/>
                  <a:pt x="1314" y="330"/>
                </a:cubicBezTo>
                <a:cubicBezTo>
                  <a:pt x="1316" y="329"/>
                  <a:pt x="1317" y="327"/>
                  <a:pt x="1316" y="324"/>
                </a:cubicBezTo>
                <a:cubicBezTo>
                  <a:pt x="1316" y="322"/>
                  <a:pt x="1317" y="320"/>
                  <a:pt x="1318" y="318"/>
                </a:cubicBezTo>
                <a:cubicBezTo>
                  <a:pt x="1323" y="311"/>
                  <a:pt x="1322" y="306"/>
                  <a:pt x="1315" y="301"/>
                </a:cubicBezTo>
                <a:close/>
                <a:moveTo>
                  <a:pt x="1021" y="224"/>
                </a:moveTo>
                <a:cubicBezTo>
                  <a:pt x="1024" y="220"/>
                  <a:pt x="1021" y="215"/>
                  <a:pt x="1022" y="210"/>
                </a:cubicBezTo>
                <a:cubicBezTo>
                  <a:pt x="1022" y="206"/>
                  <a:pt x="1022" y="202"/>
                  <a:pt x="1021" y="198"/>
                </a:cubicBezTo>
                <a:cubicBezTo>
                  <a:pt x="1021" y="195"/>
                  <a:pt x="1018" y="193"/>
                  <a:pt x="1015" y="192"/>
                </a:cubicBezTo>
                <a:cubicBezTo>
                  <a:pt x="1011" y="191"/>
                  <a:pt x="1012" y="191"/>
                  <a:pt x="1012" y="188"/>
                </a:cubicBezTo>
                <a:cubicBezTo>
                  <a:pt x="1012" y="183"/>
                  <a:pt x="1010" y="180"/>
                  <a:pt x="1006" y="180"/>
                </a:cubicBezTo>
                <a:cubicBezTo>
                  <a:pt x="1002" y="179"/>
                  <a:pt x="998" y="178"/>
                  <a:pt x="996" y="181"/>
                </a:cubicBezTo>
                <a:cubicBezTo>
                  <a:pt x="992" y="185"/>
                  <a:pt x="986" y="185"/>
                  <a:pt x="982" y="189"/>
                </a:cubicBezTo>
                <a:cubicBezTo>
                  <a:pt x="980" y="190"/>
                  <a:pt x="979" y="192"/>
                  <a:pt x="978" y="193"/>
                </a:cubicBezTo>
                <a:cubicBezTo>
                  <a:pt x="978" y="198"/>
                  <a:pt x="976" y="199"/>
                  <a:pt x="972" y="200"/>
                </a:cubicBezTo>
                <a:cubicBezTo>
                  <a:pt x="970" y="201"/>
                  <a:pt x="968" y="204"/>
                  <a:pt x="966" y="206"/>
                </a:cubicBezTo>
                <a:cubicBezTo>
                  <a:pt x="965" y="207"/>
                  <a:pt x="965" y="208"/>
                  <a:pt x="966" y="209"/>
                </a:cubicBezTo>
                <a:cubicBezTo>
                  <a:pt x="968" y="210"/>
                  <a:pt x="970" y="211"/>
                  <a:pt x="972" y="212"/>
                </a:cubicBezTo>
                <a:cubicBezTo>
                  <a:pt x="973" y="213"/>
                  <a:pt x="973" y="214"/>
                  <a:pt x="973" y="214"/>
                </a:cubicBezTo>
                <a:cubicBezTo>
                  <a:pt x="972" y="215"/>
                  <a:pt x="972" y="215"/>
                  <a:pt x="971" y="215"/>
                </a:cubicBezTo>
                <a:cubicBezTo>
                  <a:pt x="967" y="214"/>
                  <a:pt x="964" y="213"/>
                  <a:pt x="960" y="213"/>
                </a:cubicBezTo>
                <a:cubicBezTo>
                  <a:pt x="956" y="213"/>
                  <a:pt x="953" y="217"/>
                  <a:pt x="952" y="221"/>
                </a:cubicBezTo>
                <a:cubicBezTo>
                  <a:pt x="951" y="224"/>
                  <a:pt x="952" y="226"/>
                  <a:pt x="954" y="228"/>
                </a:cubicBezTo>
                <a:cubicBezTo>
                  <a:pt x="957" y="229"/>
                  <a:pt x="959" y="231"/>
                  <a:pt x="961" y="233"/>
                </a:cubicBezTo>
                <a:cubicBezTo>
                  <a:pt x="966" y="237"/>
                  <a:pt x="972" y="241"/>
                  <a:pt x="979" y="237"/>
                </a:cubicBezTo>
                <a:cubicBezTo>
                  <a:pt x="980" y="237"/>
                  <a:pt x="981" y="237"/>
                  <a:pt x="982" y="237"/>
                </a:cubicBezTo>
                <a:cubicBezTo>
                  <a:pt x="986" y="240"/>
                  <a:pt x="990" y="240"/>
                  <a:pt x="995" y="240"/>
                </a:cubicBezTo>
                <a:cubicBezTo>
                  <a:pt x="995" y="240"/>
                  <a:pt x="995" y="241"/>
                  <a:pt x="996" y="241"/>
                </a:cubicBezTo>
                <a:cubicBezTo>
                  <a:pt x="995" y="241"/>
                  <a:pt x="995" y="241"/>
                  <a:pt x="994" y="242"/>
                </a:cubicBezTo>
                <a:cubicBezTo>
                  <a:pt x="987" y="243"/>
                  <a:pt x="980" y="244"/>
                  <a:pt x="973" y="245"/>
                </a:cubicBezTo>
                <a:cubicBezTo>
                  <a:pt x="971" y="245"/>
                  <a:pt x="969" y="248"/>
                  <a:pt x="969" y="250"/>
                </a:cubicBezTo>
                <a:cubicBezTo>
                  <a:pt x="969" y="255"/>
                  <a:pt x="971" y="259"/>
                  <a:pt x="975" y="261"/>
                </a:cubicBezTo>
                <a:cubicBezTo>
                  <a:pt x="977" y="262"/>
                  <a:pt x="979" y="262"/>
                  <a:pt x="981" y="263"/>
                </a:cubicBezTo>
                <a:cubicBezTo>
                  <a:pt x="984" y="263"/>
                  <a:pt x="987" y="263"/>
                  <a:pt x="991" y="263"/>
                </a:cubicBezTo>
                <a:cubicBezTo>
                  <a:pt x="997" y="264"/>
                  <a:pt x="1003" y="262"/>
                  <a:pt x="1008" y="259"/>
                </a:cubicBezTo>
                <a:cubicBezTo>
                  <a:pt x="1010" y="258"/>
                  <a:pt x="1012" y="257"/>
                  <a:pt x="1014" y="257"/>
                </a:cubicBezTo>
                <a:cubicBezTo>
                  <a:pt x="1019" y="256"/>
                  <a:pt x="1024" y="256"/>
                  <a:pt x="1029" y="254"/>
                </a:cubicBezTo>
                <a:cubicBezTo>
                  <a:pt x="1030" y="254"/>
                  <a:pt x="1031" y="254"/>
                  <a:pt x="1032" y="255"/>
                </a:cubicBezTo>
                <a:cubicBezTo>
                  <a:pt x="1035" y="256"/>
                  <a:pt x="1039" y="257"/>
                  <a:pt x="1042" y="259"/>
                </a:cubicBezTo>
                <a:cubicBezTo>
                  <a:pt x="1045" y="260"/>
                  <a:pt x="1048" y="261"/>
                  <a:pt x="1050" y="260"/>
                </a:cubicBezTo>
                <a:cubicBezTo>
                  <a:pt x="1053" y="260"/>
                  <a:pt x="1055" y="259"/>
                  <a:pt x="1057" y="259"/>
                </a:cubicBezTo>
                <a:cubicBezTo>
                  <a:pt x="1060" y="259"/>
                  <a:pt x="1063" y="257"/>
                  <a:pt x="1065" y="254"/>
                </a:cubicBezTo>
                <a:cubicBezTo>
                  <a:pt x="1071" y="249"/>
                  <a:pt x="1075" y="244"/>
                  <a:pt x="1080" y="239"/>
                </a:cubicBezTo>
                <a:cubicBezTo>
                  <a:pt x="1082" y="238"/>
                  <a:pt x="1083" y="236"/>
                  <a:pt x="1084" y="234"/>
                </a:cubicBezTo>
                <a:cubicBezTo>
                  <a:pt x="1086" y="229"/>
                  <a:pt x="1085" y="224"/>
                  <a:pt x="1080" y="221"/>
                </a:cubicBezTo>
                <a:cubicBezTo>
                  <a:pt x="1079" y="220"/>
                  <a:pt x="1078" y="220"/>
                  <a:pt x="1077" y="220"/>
                </a:cubicBezTo>
                <a:cubicBezTo>
                  <a:pt x="1075" y="221"/>
                  <a:pt x="1073" y="222"/>
                  <a:pt x="1072" y="224"/>
                </a:cubicBezTo>
                <a:cubicBezTo>
                  <a:pt x="1071" y="226"/>
                  <a:pt x="1070" y="226"/>
                  <a:pt x="1069" y="225"/>
                </a:cubicBezTo>
                <a:cubicBezTo>
                  <a:pt x="1067" y="223"/>
                  <a:pt x="1063" y="222"/>
                  <a:pt x="1064" y="217"/>
                </a:cubicBezTo>
                <a:cubicBezTo>
                  <a:pt x="1063" y="215"/>
                  <a:pt x="1061" y="213"/>
                  <a:pt x="1064" y="210"/>
                </a:cubicBezTo>
                <a:cubicBezTo>
                  <a:pt x="1065" y="209"/>
                  <a:pt x="1066" y="207"/>
                  <a:pt x="1066" y="204"/>
                </a:cubicBezTo>
                <a:cubicBezTo>
                  <a:pt x="1066" y="199"/>
                  <a:pt x="1067" y="195"/>
                  <a:pt x="1069" y="190"/>
                </a:cubicBezTo>
                <a:cubicBezTo>
                  <a:pt x="1070" y="188"/>
                  <a:pt x="1069" y="187"/>
                  <a:pt x="1068" y="186"/>
                </a:cubicBezTo>
                <a:cubicBezTo>
                  <a:pt x="1066" y="184"/>
                  <a:pt x="1064" y="184"/>
                  <a:pt x="1062" y="185"/>
                </a:cubicBezTo>
                <a:cubicBezTo>
                  <a:pt x="1057" y="189"/>
                  <a:pt x="1053" y="192"/>
                  <a:pt x="1048" y="195"/>
                </a:cubicBezTo>
                <a:cubicBezTo>
                  <a:pt x="1046" y="197"/>
                  <a:pt x="1045" y="200"/>
                  <a:pt x="1046" y="203"/>
                </a:cubicBezTo>
                <a:cubicBezTo>
                  <a:pt x="1046" y="204"/>
                  <a:pt x="1046" y="206"/>
                  <a:pt x="1047" y="207"/>
                </a:cubicBezTo>
                <a:cubicBezTo>
                  <a:pt x="1048" y="211"/>
                  <a:pt x="1046" y="212"/>
                  <a:pt x="1043" y="214"/>
                </a:cubicBezTo>
                <a:cubicBezTo>
                  <a:pt x="1043" y="214"/>
                  <a:pt x="1042" y="215"/>
                  <a:pt x="1042" y="215"/>
                </a:cubicBezTo>
                <a:cubicBezTo>
                  <a:pt x="1039" y="217"/>
                  <a:pt x="1039" y="219"/>
                  <a:pt x="1040" y="222"/>
                </a:cubicBezTo>
                <a:cubicBezTo>
                  <a:pt x="1040" y="223"/>
                  <a:pt x="1041" y="224"/>
                  <a:pt x="1041" y="225"/>
                </a:cubicBezTo>
                <a:cubicBezTo>
                  <a:pt x="1041" y="227"/>
                  <a:pt x="1039" y="230"/>
                  <a:pt x="1037" y="230"/>
                </a:cubicBezTo>
                <a:cubicBezTo>
                  <a:pt x="1032" y="229"/>
                  <a:pt x="1028" y="228"/>
                  <a:pt x="1023" y="227"/>
                </a:cubicBezTo>
                <a:cubicBezTo>
                  <a:pt x="1022" y="226"/>
                  <a:pt x="1021" y="225"/>
                  <a:pt x="1021" y="224"/>
                </a:cubicBezTo>
                <a:close/>
                <a:moveTo>
                  <a:pt x="4371" y="2456"/>
                </a:moveTo>
                <a:cubicBezTo>
                  <a:pt x="4369" y="2456"/>
                  <a:pt x="4367" y="2458"/>
                  <a:pt x="4365" y="2457"/>
                </a:cubicBezTo>
                <a:cubicBezTo>
                  <a:pt x="4361" y="2457"/>
                  <a:pt x="4363" y="2453"/>
                  <a:pt x="4361" y="2451"/>
                </a:cubicBezTo>
                <a:cubicBezTo>
                  <a:pt x="4361" y="2450"/>
                  <a:pt x="4360" y="2449"/>
                  <a:pt x="4359" y="2448"/>
                </a:cubicBezTo>
                <a:cubicBezTo>
                  <a:pt x="4358" y="2446"/>
                  <a:pt x="4356" y="2446"/>
                  <a:pt x="4354" y="2447"/>
                </a:cubicBezTo>
                <a:cubicBezTo>
                  <a:pt x="4352" y="2448"/>
                  <a:pt x="4350" y="2449"/>
                  <a:pt x="4350" y="2451"/>
                </a:cubicBezTo>
                <a:cubicBezTo>
                  <a:pt x="4347" y="2459"/>
                  <a:pt x="4342" y="2466"/>
                  <a:pt x="4334" y="2471"/>
                </a:cubicBezTo>
                <a:cubicBezTo>
                  <a:pt x="4332" y="2472"/>
                  <a:pt x="4331" y="2474"/>
                  <a:pt x="4330" y="2476"/>
                </a:cubicBezTo>
                <a:cubicBezTo>
                  <a:pt x="4328" y="2478"/>
                  <a:pt x="4327" y="2481"/>
                  <a:pt x="4326" y="2483"/>
                </a:cubicBezTo>
                <a:cubicBezTo>
                  <a:pt x="4323" y="2489"/>
                  <a:pt x="4319" y="2493"/>
                  <a:pt x="4314" y="2496"/>
                </a:cubicBezTo>
                <a:cubicBezTo>
                  <a:pt x="4307" y="2499"/>
                  <a:pt x="4302" y="2503"/>
                  <a:pt x="4295" y="2507"/>
                </a:cubicBezTo>
                <a:cubicBezTo>
                  <a:pt x="4290" y="2510"/>
                  <a:pt x="4286" y="2515"/>
                  <a:pt x="4280" y="2515"/>
                </a:cubicBezTo>
                <a:cubicBezTo>
                  <a:pt x="4278" y="2515"/>
                  <a:pt x="4277" y="2517"/>
                  <a:pt x="4275" y="2518"/>
                </a:cubicBezTo>
                <a:cubicBezTo>
                  <a:pt x="4267" y="2524"/>
                  <a:pt x="4260" y="2531"/>
                  <a:pt x="4252" y="2539"/>
                </a:cubicBezTo>
                <a:cubicBezTo>
                  <a:pt x="4246" y="2544"/>
                  <a:pt x="4242" y="2552"/>
                  <a:pt x="4239" y="2559"/>
                </a:cubicBezTo>
                <a:cubicBezTo>
                  <a:pt x="4238" y="2561"/>
                  <a:pt x="4239" y="2565"/>
                  <a:pt x="4241" y="2566"/>
                </a:cubicBezTo>
                <a:cubicBezTo>
                  <a:pt x="4247" y="2568"/>
                  <a:pt x="4252" y="2570"/>
                  <a:pt x="4255" y="2575"/>
                </a:cubicBezTo>
                <a:cubicBezTo>
                  <a:pt x="4256" y="2576"/>
                  <a:pt x="4256" y="2576"/>
                  <a:pt x="4257" y="2577"/>
                </a:cubicBezTo>
                <a:cubicBezTo>
                  <a:pt x="4261" y="2581"/>
                  <a:pt x="4266" y="2581"/>
                  <a:pt x="4271" y="2579"/>
                </a:cubicBezTo>
                <a:cubicBezTo>
                  <a:pt x="4279" y="2576"/>
                  <a:pt x="4284" y="2568"/>
                  <a:pt x="4292" y="2564"/>
                </a:cubicBezTo>
                <a:cubicBezTo>
                  <a:pt x="4295" y="2560"/>
                  <a:pt x="4297" y="2557"/>
                  <a:pt x="4299" y="2553"/>
                </a:cubicBezTo>
                <a:cubicBezTo>
                  <a:pt x="4301" y="2551"/>
                  <a:pt x="4302" y="2548"/>
                  <a:pt x="4304" y="2546"/>
                </a:cubicBezTo>
                <a:cubicBezTo>
                  <a:pt x="4307" y="2544"/>
                  <a:pt x="4309" y="2540"/>
                  <a:pt x="4311" y="2537"/>
                </a:cubicBezTo>
                <a:cubicBezTo>
                  <a:pt x="4317" y="2525"/>
                  <a:pt x="4316" y="2528"/>
                  <a:pt x="4327" y="2522"/>
                </a:cubicBezTo>
                <a:cubicBezTo>
                  <a:pt x="4330" y="2520"/>
                  <a:pt x="4333" y="2520"/>
                  <a:pt x="4336" y="2520"/>
                </a:cubicBezTo>
                <a:cubicBezTo>
                  <a:pt x="4340" y="2520"/>
                  <a:pt x="4342" y="2518"/>
                  <a:pt x="4342" y="2515"/>
                </a:cubicBezTo>
                <a:cubicBezTo>
                  <a:pt x="4340" y="2510"/>
                  <a:pt x="4341" y="2506"/>
                  <a:pt x="4347" y="2503"/>
                </a:cubicBezTo>
                <a:cubicBezTo>
                  <a:pt x="4349" y="2502"/>
                  <a:pt x="4351" y="2500"/>
                  <a:pt x="4352" y="2499"/>
                </a:cubicBezTo>
                <a:cubicBezTo>
                  <a:pt x="4357" y="2491"/>
                  <a:pt x="4364" y="2485"/>
                  <a:pt x="4370" y="2478"/>
                </a:cubicBezTo>
                <a:cubicBezTo>
                  <a:pt x="4372" y="2476"/>
                  <a:pt x="4373" y="2474"/>
                  <a:pt x="4373" y="2472"/>
                </a:cubicBezTo>
                <a:cubicBezTo>
                  <a:pt x="4373" y="2470"/>
                  <a:pt x="4373" y="2467"/>
                  <a:pt x="4373" y="2466"/>
                </a:cubicBezTo>
                <a:cubicBezTo>
                  <a:pt x="4374" y="2465"/>
                  <a:pt x="4374" y="2464"/>
                  <a:pt x="4374" y="2464"/>
                </a:cubicBezTo>
                <a:cubicBezTo>
                  <a:pt x="4374" y="2463"/>
                  <a:pt x="4375" y="2462"/>
                  <a:pt x="4375" y="2460"/>
                </a:cubicBezTo>
                <a:cubicBezTo>
                  <a:pt x="4375" y="2460"/>
                  <a:pt x="4375" y="2459"/>
                  <a:pt x="4375" y="2459"/>
                </a:cubicBezTo>
                <a:cubicBezTo>
                  <a:pt x="4375" y="2458"/>
                  <a:pt x="4373" y="2456"/>
                  <a:pt x="4371" y="2456"/>
                </a:cubicBezTo>
                <a:close/>
                <a:moveTo>
                  <a:pt x="1887" y="715"/>
                </a:moveTo>
                <a:cubicBezTo>
                  <a:pt x="1895" y="712"/>
                  <a:pt x="1903" y="707"/>
                  <a:pt x="1911" y="704"/>
                </a:cubicBezTo>
                <a:cubicBezTo>
                  <a:pt x="1913" y="704"/>
                  <a:pt x="1914" y="703"/>
                  <a:pt x="1915" y="702"/>
                </a:cubicBezTo>
                <a:cubicBezTo>
                  <a:pt x="1919" y="698"/>
                  <a:pt x="1924" y="695"/>
                  <a:pt x="1929" y="694"/>
                </a:cubicBezTo>
                <a:cubicBezTo>
                  <a:pt x="1932" y="693"/>
                  <a:pt x="1933" y="692"/>
                  <a:pt x="1935" y="690"/>
                </a:cubicBezTo>
                <a:cubicBezTo>
                  <a:pt x="1936" y="688"/>
                  <a:pt x="1938" y="686"/>
                  <a:pt x="1940" y="684"/>
                </a:cubicBezTo>
                <a:cubicBezTo>
                  <a:pt x="1941" y="683"/>
                  <a:pt x="1941" y="682"/>
                  <a:pt x="1941" y="681"/>
                </a:cubicBezTo>
                <a:cubicBezTo>
                  <a:pt x="1939" y="676"/>
                  <a:pt x="1941" y="673"/>
                  <a:pt x="1943" y="669"/>
                </a:cubicBezTo>
                <a:cubicBezTo>
                  <a:pt x="1944" y="669"/>
                  <a:pt x="1944" y="668"/>
                  <a:pt x="1944" y="667"/>
                </a:cubicBezTo>
                <a:cubicBezTo>
                  <a:pt x="1943" y="667"/>
                  <a:pt x="1943" y="666"/>
                  <a:pt x="1943" y="666"/>
                </a:cubicBezTo>
                <a:cubicBezTo>
                  <a:pt x="1941" y="665"/>
                  <a:pt x="1939" y="664"/>
                  <a:pt x="1937" y="663"/>
                </a:cubicBezTo>
                <a:cubicBezTo>
                  <a:pt x="1934" y="661"/>
                  <a:pt x="1936" y="658"/>
                  <a:pt x="1935" y="655"/>
                </a:cubicBezTo>
                <a:cubicBezTo>
                  <a:pt x="1934" y="653"/>
                  <a:pt x="1933" y="650"/>
                  <a:pt x="1931" y="648"/>
                </a:cubicBezTo>
                <a:cubicBezTo>
                  <a:pt x="1931" y="647"/>
                  <a:pt x="1930" y="647"/>
                  <a:pt x="1929" y="647"/>
                </a:cubicBezTo>
                <a:cubicBezTo>
                  <a:pt x="1926" y="648"/>
                  <a:pt x="1924" y="647"/>
                  <a:pt x="1923" y="646"/>
                </a:cubicBezTo>
                <a:cubicBezTo>
                  <a:pt x="1920" y="643"/>
                  <a:pt x="1917" y="643"/>
                  <a:pt x="1914" y="646"/>
                </a:cubicBezTo>
                <a:cubicBezTo>
                  <a:pt x="1909" y="650"/>
                  <a:pt x="1904" y="652"/>
                  <a:pt x="1898" y="650"/>
                </a:cubicBezTo>
                <a:cubicBezTo>
                  <a:pt x="1896" y="649"/>
                  <a:pt x="1893" y="651"/>
                  <a:pt x="1891" y="650"/>
                </a:cubicBezTo>
                <a:cubicBezTo>
                  <a:pt x="1886" y="648"/>
                  <a:pt x="1883" y="651"/>
                  <a:pt x="1881" y="655"/>
                </a:cubicBezTo>
                <a:cubicBezTo>
                  <a:pt x="1880" y="655"/>
                  <a:pt x="1878" y="655"/>
                  <a:pt x="1878" y="655"/>
                </a:cubicBezTo>
                <a:cubicBezTo>
                  <a:pt x="1877" y="654"/>
                  <a:pt x="1876" y="652"/>
                  <a:pt x="1875" y="651"/>
                </a:cubicBezTo>
                <a:cubicBezTo>
                  <a:pt x="1874" y="650"/>
                  <a:pt x="1872" y="651"/>
                  <a:pt x="1871" y="652"/>
                </a:cubicBezTo>
                <a:cubicBezTo>
                  <a:pt x="1869" y="654"/>
                  <a:pt x="1869" y="656"/>
                  <a:pt x="1870" y="658"/>
                </a:cubicBezTo>
                <a:cubicBezTo>
                  <a:pt x="1871" y="661"/>
                  <a:pt x="1869" y="663"/>
                  <a:pt x="1866" y="664"/>
                </a:cubicBezTo>
                <a:cubicBezTo>
                  <a:pt x="1865" y="665"/>
                  <a:pt x="1864" y="665"/>
                  <a:pt x="1863" y="666"/>
                </a:cubicBezTo>
                <a:cubicBezTo>
                  <a:pt x="1863" y="666"/>
                  <a:pt x="1863" y="666"/>
                  <a:pt x="1863" y="666"/>
                </a:cubicBezTo>
                <a:cubicBezTo>
                  <a:pt x="1863" y="666"/>
                  <a:pt x="1863" y="666"/>
                  <a:pt x="1862" y="667"/>
                </a:cubicBezTo>
                <a:cubicBezTo>
                  <a:pt x="1862" y="666"/>
                  <a:pt x="1863" y="666"/>
                  <a:pt x="1863" y="666"/>
                </a:cubicBezTo>
                <a:cubicBezTo>
                  <a:pt x="1863" y="666"/>
                  <a:pt x="1863" y="666"/>
                  <a:pt x="1863" y="666"/>
                </a:cubicBezTo>
                <a:cubicBezTo>
                  <a:pt x="1861" y="663"/>
                  <a:pt x="1860" y="660"/>
                  <a:pt x="1861" y="657"/>
                </a:cubicBezTo>
                <a:cubicBezTo>
                  <a:pt x="1861" y="654"/>
                  <a:pt x="1860" y="651"/>
                  <a:pt x="1857" y="649"/>
                </a:cubicBezTo>
                <a:cubicBezTo>
                  <a:pt x="1856" y="648"/>
                  <a:pt x="1855" y="646"/>
                  <a:pt x="1854" y="645"/>
                </a:cubicBezTo>
                <a:cubicBezTo>
                  <a:pt x="1850" y="642"/>
                  <a:pt x="1848" y="642"/>
                  <a:pt x="1843" y="646"/>
                </a:cubicBezTo>
                <a:cubicBezTo>
                  <a:pt x="1843" y="646"/>
                  <a:pt x="1843" y="646"/>
                  <a:pt x="1843" y="646"/>
                </a:cubicBezTo>
                <a:cubicBezTo>
                  <a:pt x="1843" y="646"/>
                  <a:pt x="1843" y="646"/>
                  <a:pt x="1843" y="646"/>
                </a:cubicBezTo>
                <a:cubicBezTo>
                  <a:pt x="1843" y="646"/>
                  <a:pt x="1843" y="646"/>
                  <a:pt x="1843" y="646"/>
                </a:cubicBezTo>
                <a:cubicBezTo>
                  <a:pt x="1843" y="645"/>
                  <a:pt x="1843" y="645"/>
                  <a:pt x="1843" y="645"/>
                </a:cubicBezTo>
                <a:cubicBezTo>
                  <a:pt x="1840" y="646"/>
                  <a:pt x="1837" y="646"/>
                  <a:pt x="1836" y="649"/>
                </a:cubicBezTo>
                <a:cubicBezTo>
                  <a:pt x="1833" y="653"/>
                  <a:pt x="1830" y="657"/>
                  <a:pt x="1827" y="661"/>
                </a:cubicBezTo>
                <a:cubicBezTo>
                  <a:pt x="1826" y="662"/>
                  <a:pt x="1829" y="666"/>
                  <a:pt x="1831" y="666"/>
                </a:cubicBezTo>
                <a:cubicBezTo>
                  <a:pt x="1832" y="666"/>
                  <a:pt x="1834" y="666"/>
                  <a:pt x="1835" y="665"/>
                </a:cubicBezTo>
                <a:cubicBezTo>
                  <a:pt x="1839" y="663"/>
                  <a:pt x="1843" y="665"/>
                  <a:pt x="1846" y="666"/>
                </a:cubicBezTo>
                <a:cubicBezTo>
                  <a:pt x="1848" y="667"/>
                  <a:pt x="1848" y="668"/>
                  <a:pt x="1847" y="669"/>
                </a:cubicBezTo>
                <a:cubicBezTo>
                  <a:pt x="1846" y="671"/>
                  <a:pt x="1845" y="674"/>
                  <a:pt x="1842" y="674"/>
                </a:cubicBezTo>
                <a:cubicBezTo>
                  <a:pt x="1838" y="674"/>
                  <a:pt x="1834" y="675"/>
                  <a:pt x="1830" y="676"/>
                </a:cubicBezTo>
                <a:cubicBezTo>
                  <a:pt x="1830" y="676"/>
                  <a:pt x="1829" y="678"/>
                  <a:pt x="1829" y="679"/>
                </a:cubicBezTo>
                <a:cubicBezTo>
                  <a:pt x="1829" y="680"/>
                  <a:pt x="1830" y="681"/>
                  <a:pt x="1831" y="681"/>
                </a:cubicBezTo>
                <a:cubicBezTo>
                  <a:pt x="1833" y="682"/>
                  <a:pt x="1836" y="682"/>
                  <a:pt x="1839" y="683"/>
                </a:cubicBezTo>
                <a:cubicBezTo>
                  <a:pt x="1840" y="683"/>
                  <a:pt x="1842" y="684"/>
                  <a:pt x="1843" y="685"/>
                </a:cubicBezTo>
                <a:cubicBezTo>
                  <a:pt x="1845" y="687"/>
                  <a:pt x="1846" y="690"/>
                  <a:pt x="1847" y="692"/>
                </a:cubicBezTo>
                <a:cubicBezTo>
                  <a:pt x="1847" y="693"/>
                  <a:pt x="1847" y="694"/>
                  <a:pt x="1846" y="695"/>
                </a:cubicBezTo>
                <a:cubicBezTo>
                  <a:pt x="1845" y="696"/>
                  <a:pt x="1844" y="696"/>
                  <a:pt x="1843" y="697"/>
                </a:cubicBezTo>
                <a:cubicBezTo>
                  <a:pt x="1841" y="697"/>
                  <a:pt x="1840" y="698"/>
                  <a:pt x="1840" y="701"/>
                </a:cubicBezTo>
                <a:cubicBezTo>
                  <a:pt x="1840" y="704"/>
                  <a:pt x="1841" y="706"/>
                  <a:pt x="1845" y="706"/>
                </a:cubicBezTo>
                <a:cubicBezTo>
                  <a:pt x="1847" y="706"/>
                  <a:pt x="1848" y="706"/>
                  <a:pt x="1850" y="706"/>
                </a:cubicBezTo>
                <a:cubicBezTo>
                  <a:pt x="1855" y="706"/>
                  <a:pt x="1861" y="706"/>
                  <a:pt x="1865" y="710"/>
                </a:cubicBezTo>
                <a:cubicBezTo>
                  <a:pt x="1870" y="712"/>
                  <a:pt x="1875" y="714"/>
                  <a:pt x="1881" y="715"/>
                </a:cubicBezTo>
                <a:cubicBezTo>
                  <a:pt x="1883" y="716"/>
                  <a:pt x="1885" y="716"/>
                  <a:pt x="1887" y="715"/>
                </a:cubicBezTo>
                <a:close/>
                <a:moveTo>
                  <a:pt x="2867" y="99"/>
                </a:moveTo>
                <a:cubicBezTo>
                  <a:pt x="2867" y="101"/>
                  <a:pt x="2868" y="102"/>
                  <a:pt x="2870" y="102"/>
                </a:cubicBezTo>
                <a:cubicBezTo>
                  <a:pt x="2871" y="103"/>
                  <a:pt x="2873" y="102"/>
                  <a:pt x="2874" y="103"/>
                </a:cubicBezTo>
                <a:cubicBezTo>
                  <a:pt x="2878" y="106"/>
                  <a:pt x="2881" y="107"/>
                  <a:pt x="2885" y="107"/>
                </a:cubicBezTo>
                <a:cubicBezTo>
                  <a:pt x="2886" y="107"/>
                  <a:pt x="2886" y="108"/>
                  <a:pt x="2886" y="108"/>
                </a:cubicBezTo>
                <a:cubicBezTo>
                  <a:pt x="2887" y="109"/>
                  <a:pt x="2887" y="109"/>
                  <a:pt x="2885" y="109"/>
                </a:cubicBezTo>
                <a:cubicBezTo>
                  <a:pt x="2883" y="110"/>
                  <a:pt x="2881" y="110"/>
                  <a:pt x="2879" y="110"/>
                </a:cubicBezTo>
                <a:cubicBezTo>
                  <a:pt x="2876" y="111"/>
                  <a:pt x="2874" y="112"/>
                  <a:pt x="2873" y="114"/>
                </a:cubicBezTo>
                <a:cubicBezTo>
                  <a:pt x="2872" y="115"/>
                  <a:pt x="2873" y="117"/>
                  <a:pt x="2876" y="119"/>
                </a:cubicBezTo>
                <a:cubicBezTo>
                  <a:pt x="2879" y="122"/>
                  <a:pt x="2882" y="125"/>
                  <a:pt x="2885" y="128"/>
                </a:cubicBezTo>
                <a:cubicBezTo>
                  <a:pt x="2886" y="129"/>
                  <a:pt x="2887" y="129"/>
                  <a:pt x="2888" y="129"/>
                </a:cubicBezTo>
                <a:cubicBezTo>
                  <a:pt x="2895" y="128"/>
                  <a:pt x="2899" y="121"/>
                  <a:pt x="2898" y="114"/>
                </a:cubicBezTo>
                <a:cubicBezTo>
                  <a:pt x="2897" y="112"/>
                  <a:pt x="2896" y="111"/>
                  <a:pt x="2897" y="110"/>
                </a:cubicBezTo>
                <a:cubicBezTo>
                  <a:pt x="2897" y="109"/>
                  <a:pt x="2897" y="109"/>
                  <a:pt x="2898" y="108"/>
                </a:cubicBezTo>
                <a:cubicBezTo>
                  <a:pt x="2898" y="108"/>
                  <a:pt x="2899" y="108"/>
                  <a:pt x="2899" y="108"/>
                </a:cubicBezTo>
                <a:cubicBezTo>
                  <a:pt x="2902" y="111"/>
                  <a:pt x="2904" y="114"/>
                  <a:pt x="2904" y="119"/>
                </a:cubicBezTo>
                <a:cubicBezTo>
                  <a:pt x="2903" y="121"/>
                  <a:pt x="2903" y="123"/>
                  <a:pt x="2903" y="125"/>
                </a:cubicBezTo>
                <a:cubicBezTo>
                  <a:pt x="2902" y="131"/>
                  <a:pt x="2902" y="131"/>
                  <a:pt x="2907" y="131"/>
                </a:cubicBezTo>
                <a:cubicBezTo>
                  <a:pt x="2911" y="131"/>
                  <a:pt x="2914" y="132"/>
                  <a:pt x="2917" y="136"/>
                </a:cubicBezTo>
                <a:cubicBezTo>
                  <a:pt x="2920" y="142"/>
                  <a:pt x="2925" y="143"/>
                  <a:pt x="2930" y="143"/>
                </a:cubicBezTo>
                <a:cubicBezTo>
                  <a:pt x="2940" y="144"/>
                  <a:pt x="2949" y="144"/>
                  <a:pt x="2958" y="147"/>
                </a:cubicBezTo>
                <a:cubicBezTo>
                  <a:pt x="2959" y="147"/>
                  <a:pt x="2961" y="147"/>
                  <a:pt x="2963" y="147"/>
                </a:cubicBezTo>
                <a:cubicBezTo>
                  <a:pt x="2967" y="145"/>
                  <a:pt x="2971" y="143"/>
                  <a:pt x="2973" y="139"/>
                </a:cubicBezTo>
                <a:cubicBezTo>
                  <a:pt x="2975" y="138"/>
                  <a:pt x="2975" y="134"/>
                  <a:pt x="2974" y="133"/>
                </a:cubicBezTo>
                <a:cubicBezTo>
                  <a:pt x="2973" y="132"/>
                  <a:pt x="2972" y="131"/>
                  <a:pt x="2972" y="131"/>
                </a:cubicBezTo>
                <a:cubicBezTo>
                  <a:pt x="2970" y="129"/>
                  <a:pt x="2968" y="128"/>
                  <a:pt x="2966" y="127"/>
                </a:cubicBezTo>
                <a:cubicBezTo>
                  <a:pt x="2964" y="125"/>
                  <a:pt x="2964" y="123"/>
                  <a:pt x="2964" y="121"/>
                </a:cubicBezTo>
                <a:cubicBezTo>
                  <a:pt x="2965" y="116"/>
                  <a:pt x="2960" y="113"/>
                  <a:pt x="2959" y="109"/>
                </a:cubicBezTo>
                <a:cubicBezTo>
                  <a:pt x="2958" y="101"/>
                  <a:pt x="2952" y="96"/>
                  <a:pt x="2945" y="92"/>
                </a:cubicBezTo>
                <a:cubicBezTo>
                  <a:pt x="2942" y="90"/>
                  <a:pt x="2938" y="90"/>
                  <a:pt x="2936" y="92"/>
                </a:cubicBezTo>
                <a:cubicBezTo>
                  <a:pt x="2933" y="94"/>
                  <a:pt x="2931" y="93"/>
                  <a:pt x="2928" y="91"/>
                </a:cubicBezTo>
                <a:cubicBezTo>
                  <a:pt x="2925" y="89"/>
                  <a:pt x="2921" y="89"/>
                  <a:pt x="2918" y="92"/>
                </a:cubicBezTo>
                <a:cubicBezTo>
                  <a:pt x="2917" y="92"/>
                  <a:pt x="2916" y="93"/>
                  <a:pt x="2915" y="93"/>
                </a:cubicBezTo>
                <a:cubicBezTo>
                  <a:pt x="2915" y="93"/>
                  <a:pt x="2915" y="94"/>
                  <a:pt x="2915" y="94"/>
                </a:cubicBezTo>
                <a:cubicBezTo>
                  <a:pt x="2915" y="94"/>
                  <a:pt x="2915" y="94"/>
                  <a:pt x="2914" y="94"/>
                </a:cubicBezTo>
                <a:cubicBezTo>
                  <a:pt x="2912" y="96"/>
                  <a:pt x="2909" y="99"/>
                  <a:pt x="2907" y="101"/>
                </a:cubicBezTo>
                <a:cubicBezTo>
                  <a:pt x="2906" y="102"/>
                  <a:pt x="2905" y="102"/>
                  <a:pt x="2904" y="101"/>
                </a:cubicBezTo>
                <a:cubicBezTo>
                  <a:pt x="2904" y="100"/>
                  <a:pt x="2904" y="100"/>
                  <a:pt x="2905" y="99"/>
                </a:cubicBezTo>
                <a:cubicBezTo>
                  <a:pt x="2907" y="96"/>
                  <a:pt x="2910" y="94"/>
                  <a:pt x="2914" y="94"/>
                </a:cubicBezTo>
                <a:cubicBezTo>
                  <a:pt x="2914" y="94"/>
                  <a:pt x="2915" y="94"/>
                  <a:pt x="2915" y="93"/>
                </a:cubicBezTo>
                <a:cubicBezTo>
                  <a:pt x="2915" y="93"/>
                  <a:pt x="2915" y="93"/>
                  <a:pt x="2915" y="93"/>
                </a:cubicBezTo>
                <a:cubicBezTo>
                  <a:pt x="2916" y="88"/>
                  <a:pt x="2915" y="84"/>
                  <a:pt x="2910" y="81"/>
                </a:cubicBezTo>
                <a:cubicBezTo>
                  <a:pt x="2907" y="78"/>
                  <a:pt x="2905" y="74"/>
                  <a:pt x="2905" y="69"/>
                </a:cubicBezTo>
                <a:cubicBezTo>
                  <a:pt x="2905" y="67"/>
                  <a:pt x="2903" y="65"/>
                  <a:pt x="2901" y="65"/>
                </a:cubicBezTo>
                <a:cubicBezTo>
                  <a:pt x="2894" y="64"/>
                  <a:pt x="2889" y="60"/>
                  <a:pt x="2884" y="55"/>
                </a:cubicBezTo>
                <a:cubicBezTo>
                  <a:pt x="2883" y="53"/>
                  <a:pt x="2880" y="52"/>
                  <a:pt x="2878" y="50"/>
                </a:cubicBezTo>
                <a:cubicBezTo>
                  <a:pt x="2876" y="49"/>
                  <a:pt x="2873" y="51"/>
                  <a:pt x="2872" y="52"/>
                </a:cubicBezTo>
                <a:cubicBezTo>
                  <a:pt x="2871" y="57"/>
                  <a:pt x="2870" y="61"/>
                  <a:pt x="2867" y="65"/>
                </a:cubicBezTo>
                <a:cubicBezTo>
                  <a:pt x="2863" y="70"/>
                  <a:pt x="2863" y="77"/>
                  <a:pt x="2865" y="83"/>
                </a:cubicBezTo>
                <a:cubicBezTo>
                  <a:pt x="2867" y="89"/>
                  <a:pt x="2868" y="94"/>
                  <a:pt x="2867" y="99"/>
                </a:cubicBezTo>
                <a:close/>
                <a:moveTo>
                  <a:pt x="4452" y="2387"/>
                </a:moveTo>
                <a:cubicBezTo>
                  <a:pt x="4451" y="2386"/>
                  <a:pt x="4449" y="2386"/>
                  <a:pt x="4447" y="2387"/>
                </a:cubicBezTo>
                <a:cubicBezTo>
                  <a:pt x="4446" y="2387"/>
                  <a:pt x="4446" y="2388"/>
                  <a:pt x="4445" y="2388"/>
                </a:cubicBezTo>
                <a:cubicBezTo>
                  <a:pt x="4438" y="2392"/>
                  <a:pt x="4437" y="2392"/>
                  <a:pt x="4432" y="2388"/>
                </a:cubicBezTo>
                <a:cubicBezTo>
                  <a:pt x="4429" y="2386"/>
                  <a:pt x="4427" y="2383"/>
                  <a:pt x="4427" y="2380"/>
                </a:cubicBezTo>
                <a:cubicBezTo>
                  <a:pt x="4427" y="2376"/>
                  <a:pt x="4426" y="2372"/>
                  <a:pt x="4425" y="2368"/>
                </a:cubicBezTo>
                <a:cubicBezTo>
                  <a:pt x="4425" y="2367"/>
                  <a:pt x="4424" y="2365"/>
                  <a:pt x="4423" y="2364"/>
                </a:cubicBezTo>
                <a:cubicBezTo>
                  <a:pt x="4423" y="2363"/>
                  <a:pt x="4422" y="2363"/>
                  <a:pt x="4421" y="2362"/>
                </a:cubicBezTo>
                <a:cubicBezTo>
                  <a:pt x="4421" y="2362"/>
                  <a:pt x="4420" y="2363"/>
                  <a:pt x="4420" y="2363"/>
                </a:cubicBezTo>
                <a:cubicBezTo>
                  <a:pt x="4419" y="2364"/>
                  <a:pt x="4419" y="2366"/>
                  <a:pt x="4419" y="2367"/>
                </a:cubicBezTo>
                <a:cubicBezTo>
                  <a:pt x="4418" y="2367"/>
                  <a:pt x="4417" y="2368"/>
                  <a:pt x="4417" y="2369"/>
                </a:cubicBezTo>
                <a:cubicBezTo>
                  <a:pt x="4416" y="2369"/>
                  <a:pt x="4413" y="2367"/>
                  <a:pt x="4414" y="2365"/>
                </a:cubicBezTo>
                <a:cubicBezTo>
                  <a:pt x="4415" y="2358"/>
                  <a:pt x="4414" y="2350"/>
                  <a:pt x="4416" y="2343"/>
                </a:cubicBezTo>
                <a:cubicBezTo>
                  <a:pt x="4417" y="2338"/>
                  <a:pt x="4417" y="2334"/>
                  <a:pt x="4414" y="2330"/>
                </a:cubicBezTo>
                <a:cubicBezTo>
                  <a:pt x="4410" y="2326"/>
                  <a:pt x="4408" y="2320"/>
                  <a:pt x="4403" y="2317"/>
                </a:cubicBezTo>
                <a:cubicBezTo>
                  <a:pt x="4401" y="2316"/>
                  <a:pt x="4401" y="2314"/>
                  <a:pt x="4400" y="2312"/>
                </a:cubicBezTo>
                <a:cubicBezTo>
                  <a:pt x="4400" y="2312"/>
                  <a:pt x="4400" y="2311"/>
                  <a:pt x="4399" y="2311"/>
                </a:cubicBezTo>
                <a:cubicBezTo>
                  <a:pt x="4398" y="2310"/>
                  <a:pt x="4397" y="2310"/>
                  <a:pt x="4396" y="2311"/>
                </a:cubicBezTo>
                <a:cubicBezTo>
                  <a:pt x="4396" y="2311"/>
                  <a:pt x="4396" y="2312"/>
                  <a:pt x="4396" y="2312"/>
                </a:cubicBezTo>
                <a:cubicBezTo>
                  <a:pt x="4396" y="2317"/>
                  <a:pt x="4400" y="2321"/>
                  <a:pt x="4398" y="2325"/>
                </a:cubicBezTo>
                <a:cubicBezTo>
                  <a:pt x="4396" y="2328"/>
                  <a:pt x="4397" y="2331"/>
                  <a:pt x="4398" y="2335"/>
                </a:cubicBezTo>
                <a:cubicBezTo>
                  <a:pt x="4400" y="2339"/>
                  <a:pt x="4401" y="2344"/>
                  <a:pt x="4402" y="2349"/>
                </a:cubicBezTo>
                <a:cubicBezTo>
                  <a:pt x="4403" y="2354"/>
                  <a:pt x="4405" y="2358"/>
                  <a:pt x="4403" y="2363"/>
                </a:cubicBezTo>
                <a:cubicBezTo>
                  <a:pt x="4403" y="2365"/>
                  <a:pt x="4404" y="2367"/>
                  <a:pt x="4404" y="2368"/>
                </a:cubicBezTo>
                <a:cubicBezTo>
                  <a:pt x="4405" y="2370"/>
                  <a:pt x="4406" y="2372"/>
                  <a:pt x="4406" y="2374"/>
                </a:cubicBezTo>
                <a:cubicBezTo>
                  <a:pt x="4406" y="2379"/>
                  <a:pt x="4405" y="2384"/>
                  <a:pt x="4403" y="2389"/>
                </a:cubicBezTo>
                <a:cubicBezTo>
                  <a:pt x="4401" y="2394"/>
                  <a:pt x="4399" y="2399"/>
                  <a:pt x="4397" y="2404"/>
                </a:cubicBezTo>
                <a:cubicBezTo>
                  <a:pt x="4396" y="2407"/>
                  <a:pt x="4394" y="2409"/>
                  <a:pt x="4391" y="2410"/>
                </a:cubicBezTo>
                <a:cubicBezTo>
                  <a:pt x="4389" y="2410"/>
                  <a:pt x="4386" y="2412"/>
                  <a:pt x="4384" y="2413"/>
                </a:cubicBezTo>
                <a:cubicBezTo>
                  <a:pt x="4380" y="2415"/>
                  <a:pt x="4379" y="2421"/>
                  <a:pt x="4382" y="2424"/>
                </a:cubicBezTo>
                <a:cubicBezTo>
                  <a:pt x="4385" y="2427"/>
                  <a:pt x="4387" y="2430"/>
                  <a:pt x="4390" y="2432"/>
                </a:cubicBezTo>
                <a:cubicBezTo>
                  <a:pt x="4393" y="2435"/>
                  <a:pt x="4393" y="2438"/>
                  <a:pt x="4393" y="2442"/>
                </a:cubicBezTo>
                <a:cubicBezTo>
                  <a:pt x="4393" y="2444"/>
                  <a:pt x="4392" y="2447"/>
                  <a:pt x="4390" y="2449"/>
                </a:cubicBezTo>
                <a:cubicBezTo>
                  <a:pt x="4387" y="2453"/>
                  <a:pt x="4384" y="2457"/>
                  <a:pt x="4381" y="2461"/>
                </a:cubicBezTo>
                <a:cubicBezTo>
                  <a:pt x="4380" y="2461"/>
                  <a:pt x="4380" y="2463"/>
                  <a:pt x="4381" y="2464"/>
                </a:cubicBezTo>
                <a:cubicBezTo>
                  <a:pt x="4382" y="2466"/>
                  <a:pt x="4384" y="2468"/>
                  <a:pt x="4386" y="2469"/>
                </a:cubicBezTo>
                <a:cubicBezTo>
                  <a:pt x="4387" y="2470"/>
                  <a:pt x="4389" y="2470"/>
                  <a:pt x="4390" y="2470"/>
                </a:cubicBezTo>
                <a:cubicBezTo>
                  <a:pt x="4394" y="2468"/>
                  <a:pt x="4397" y="2465"/>
                  <a:pt x="4400" y="2462"/>
                </a:cubicBezTo>
                <a:cubicBezTo>
                  <a:pt x="4406" y="2457"/>
                  <a:pt x="4411" y="2451"/>
                  <a:pt x="4416" y="2446"/>
                </a:cubicBezTo>
                <a:cubicBezTo>
                  <a:pt x="4421" y="2440"/>
                  <a:pt x="4425" y="2434"/>
                  <a:pt x="4425" y="2427"/>
                </a:cubicBezTo>
                <a:cubicBezTo>
                  <a:pt x="4425" y="2423"/>
                  <a:pt x="4429" y="2420"/>
                  <a:pt x="4433" y="2420"/>
                </a:cubicBezTo>
                <a:cubicBezTo>
                  <a:pt x="4434" y="2419"/>
                  <a:pt x="4435" y="2420"/>
                  <a:pt x="4436" y="2420"/>
                </a:cubicBezTo>
                <a:cubicBezTo>
                  <a:pt x="4437" y="2419"/>
                  <a:pt x="4439" y="2419"/>
                  <a:pt x="4439" y="2418"/>
                </a:cubicBezTo>
                <a:cubicBezTo>
                  <a:pt x="4440" y="2413"/>
                  <a:pt x="4445" y="2410"/>
                  <a:pt x="4448" y="2407"/>
                </a:cubicBezTo>
                <a:cubicBezTo>
                  <a:pt x="4450" y="2406"/>
                  <a:pt x="4451" y="2403"/>
                  <a:pt x="4452" y="2401"/>
                </a:cubicBezTo>
                <a:cubicBezTo>
                  <a:pt x="4453" y="2398"/>
                  <a:pt x="4454" y="2395"/>
                  <a:pt x="4455" y="2392"/>
                </a:cubicBezTo>
                <a:cubicBezTo>
                  <a:pt x="4455" y="2390"/>
                  <a:pt x="4454" y="2388"/>
                  <a:pt x="4452" y="2387"/>
                </a:cubicBezTo>
                <a:close/>
                <a:moveTo>
                  <a:pt x="3404" y="141"/>
                </a:moveTo>
                <a:cubicBezTo>
                  <a:pt x="3406" y="145"/>
                  <a:pt x="3409" y="147"/>
                  <a:pt x="3409" y="152"/>
                </a:cubicBezTo>
                <a:cubicBezTo>
                  <a:pt x="3410" y="154"/>
                  <a:pt x="3411" y="155"/>
                  <a:pt x="3413" y="156"/>
                </a:cubicBezTo>
                <a:cubicBezTo>
                  <a:pt x="3415" y="158"/>
                  <a:pt x="3418" y="159"/>
                  <a:pt x="3421" y="160"/>
                </a:cubicBezTo>
                <a:cubicBezTo>
                  <a:pt x="3425" y="161"/>
                  <a:pt x="3428" y="163"/>
                  <a:pt x="3431" y="166"/>
                </a:cubicBezTo>
                <a:cubicBezTo>
                  <a:pt x="3433" y="168"/>
                  <a:pt x="3436" y="169"/>
                  <a:pt x="3440" y="169"/>
                </a:cubicBezTo>
                <a:cubicBezTo>
                  <a:pt x="3443" y="168"/>
                  <a:pt x="3445" y="169"/>
                  <a:pt x="3448" y="169"/>
                </a:cubicBezTo>
                <a:cubicBezTo>
                  <a:pt x="3449" y="169"/>
                  <a:pt x="3451" y="167"/>
                  <a:pt x="3452" y="166"/>
                </a:cubicBezTo>
                <a:cubicBezTo>
                  <a:pt x="3453" y="164"/>
                  <a:pt x="3453" y="161"/>
                  <a:pt x="3456" y="159"/>
                </a:cubicBezTo>
                <a:cubicBezTo>
                  <a:pt x="3458" y="158"/>
                  <a:pt x="3460" y="155"/>
                  <a:pt x="3461" y="153"/>
                </a:cubicBezTo>
                <a:cubicBezTo>
                  <a:pt x="3464" y="149"/>
                  <a:pt x="3468" y="146"/>
                  <a:pt x="3474" y="148"/>
                </a:cubicBezTo>
                <a:cubicBezTo>
                  <a:pt x="3475" y="148"/>
                  <a:pt x="3477" y="147"/>
                  <a:pt x="3478" y="147"/>
                </a:cubicBezTo>
                <a:cubicBezTo>
                  <a:pt x="3480" y="146"/>
                  <a:pt x="3481" y="145"/>
                  <a:pt x="3482" y="143"/>
                </a:cubicBezTo>
                <a:cubicBezTo>
                  <a:pt x="3482" y="143"/>
                  <a:pt x="3483" y="141"/>
                  <a:pt x="3483" y="140"/>
                </a:cubicBezTo>
                <a:cubicBezTo>
                  <a:pt x="3483" y="138"/>
                  <a:pt x="3484" y="138"/>
                  <a:pt x="3485" y="137"/>
                </a:cubicBezTo>
                <a:cubicBezTo>
                  <a:pt x="3486" y="136"/>
                  <a:pt x="3487" y="135"/>
                  <a:pt x="3488" y="134"/>
                </a:cubicBezTo>
                <a:cubicBezTo>
                  <a:pt x="3489" y="133"/>
                  <a:pt x="3490" y="132"/>
                  <a:pt x="3490" y="130"/>
                </a:cubicBezTo>
                <a:cubicBezTo>
                  <a:pt x="3490" y="128"/>
                  <a:pt x="3490" y="126"/>
                  <a:pt x="3490" y="124"/>
                </a:cubicBezTo>
                <a:cubicBezTo>
                  <a:pt x="3489" y="121"/>
                  <a:pt x="3488" y="119"/>
                  <a:pt x="3487" y="116"/>
                </a:cubicBezTo>
                <a:cubicBezTo>
                  <a:pt x="3488" y="111"/>
                  <a:pt x="3485" y="109"/>
                  <a:pt x="3481" y="108"/>
                </a:cubicBezTo>
                <a:cubicBezTo>
                  <a:pt x="3474" y="107"/>
                  <a:pt x="3467" y="106"/>
                  <a:pt x="3460" y="104"/>
                </a:cubicBezTo>
                <a:cubicBezTo>
                  <a:pt x="3460" y="104"/>
                  <a:pt x="3459" y="104"/>
                  <a:pt x="3459" y="104"/>
                </a:cubicBezTo>
                <a:cubicBezTo>
                  <a:pt x="3457" y="105"/>
                  <a:pt x="3456" y="105"/>
                  <a:pt x="3455" y="106"/>
                </a:cubicBezTo>
                <a:cubicBezTo>
                  <a:pt x="3454" y="107"/>
                  <a:pt x="3454" y="109"/>
                  <a:pt x="3455" y="109"/>
                </a:cubicBezTo>
                <a:cubicBezTo>
                  <a:pt x="3458" y="114"/>
                  <a:pt x="3459" y="119"/>
                  <a:pt x="3459" y="125"/>
                </a:cubicBezTo>
                <a:cubicBezTo>
                  <a:pt x="3459" y="126"/>
                  <a:pt x="3459" y="128"/>
                  <a:pt x="3460" y="129"/>
                </a:cubicBezTo>
                <a:cubicBezTo>
                  <a:pt x="3460" y="129"/>
                  <a:pt x="3460" y="129"/>
                  <a:pt x="3460" y="129"/>
                </a:cubicBezTo>
                <a:cubicBezTo>
                  <a:pt x="3461" y="130"/>
                  <a:pt x="3461" y="130"/>
                  <a:pt x="3461" y="131"/>
                </a:cubicBezTo>
                <a:cubicBezTo>
                  <a:pt x="3461" y="130"/>
                  <a:pt x="3460" y="130"/>
                  <a:pt x="3460" y="130"/>
                </a:cubicBezTo>
                <a:cubicBezTo>
                  <a:pt x="3460" y="130"/>
                  <a:pt x="3460" y="129"/>
                  <a:pt x="3460" y="129"/>
                </a:cubicBezTo>
                <a:cubicBezTo>
                  <a:pt x="3459" y="129"/>
                  <a:pt x="3458" y="128"/>
                  <a:pt x="3458" y="128"/>
                </a:cubicBezTo>
                <a:cubicBezTo>
                  <a:pt x="3454" y="123"/>
                  <a:pt x="3451" y="117"/>
                  <a:pt x="3451" y="111"/>
                </a:cubicBezTo>
                <a:cubicBezTo>
                  <a:pt x="3450" y="107"/>
                  <a:pt x="3448" y="106"/>
                  <a:pt x="3444" y="105"/>
                </a:cubicBezTo>
                <a:cubicBezTo>
                  <a:pt x="3441" y="104"/>
                  <a:pt x="3438" y="103"/>
                  <a:pt x="3435" y="103"/>
                </a:cubicBezTo>
                <a:cubicBezTo>
                  <a:pt x="3434" y="103"/>
                  <a:pt x="3433" y="103"/>
                  <a:pt x="3432" y="104"/>
                </a:cubicBezTo>
                <a:cubicBezTo>
                  <a:pt x="3431" y="106"/>
                  <a:pt x="3430" y="108"/>
                  <a:pt x="3430" y="110"/>
                </a:cubicBezTo>
                <a:cubicBezTo>
                  <a:pt x="3430" y="113"/>
                  <a:pt x="3430" y="116"/>
                  <a:pt x="3430" y="120"/>
                </a:cubicBezTo>
                <a:cubicBezTo>
                  <a:pt x="3430" y="120"/>
                  <a:pt x="3430" y="120"/>
                  <a:pt x="3430" y="120"/>
                </a:cubicBezTo>
                <a:cubicBezTo>
                  <a:pt x="3431" y="120"/>
                  <a:pt x="3431" y="121"/>
                  <a:pt x="3432" y="122"/>
                </a:cubicBezTo>
                <a:cubicBezTo>
                  <a:pt x="3431" y="121"/>
                  <a:pt x="3431" y="121"/>
                  <a:pt x="3430" y="120"/>
                </a:cubicBezTo>
                <a:cubicBezTo>
                  <a:pt x="3430" y="120"/>
                  <a:pt x="3430" y="120"/>
                  <a:pt x="3430" y="120"/>
                </a:cubicBezTo>
                <a:cubicBezTo>
                  <a:pt x="3426" y="118"/>
                  <a:pt x="3421" y="118"/>
                  <a:pt x="3417" y="114"/>
                </a:cubicBezTo>
                <a:cubicBezTo>
                  <a:pt x="3415" y="110"/>
                  <a:pt x="3410" y="109"/>
                  <a:pt x="3406" y="108"/>
                </a:cubicBezTo>
                <a:cubicBezTo>
                  <a:pt x="3404" y="107"/>
                  <a:pt x="3401" y="109"/>
                  <a:pt x="3401" y="111"/>
                </a:cubicBezTo>
                <a:cubicBezTo>
                  <a:pt x="3399" y="115"/>
                  <a:pt x="3398" y="119"/>
                  <a:pt x="3396" y="123"/>
                </a:cubicBezTo>
                <a:cubicBezTo>
                  <a:pt x="3396" y="125"/>
                  <a:pt x="3396" y="127"/>
                  <a:pt x="3397" y="128"/>
                </a:cubicBezTo>
                <a:cubicBezTo>
                  <a:pt x="3399" y="132"/>
                  <a:pt x="3401" y="137"/>
                  <a:pt x="3404" y="141"/>
                </a:cubicBezTo>
                <a:close/>
                <a:moveTo>
                  <a:pt x="3464" y="133"/>
                </a:moveTo>
                <a:cubicBezTo>
                  <a:pt x="3464" y="134"/>
                  <a:pt x="3464" y="134"/>
                  <a:pt x="3464" y="134"/>
                </a:cubicBezTo>
                <a:cubicBezTo>
                  <a:pt x="3463" y="133"/>
                  <a:pt x="3463" y="133"/>
                  <a:pt x="3463" y="133"/>
                </a:cubicBezTo>
                <a:cubicBezTo>
                  <a:pt x="3463" y="133"/>
                  <a:pt x="3463" y="133"/>
                  <a:pt x="3463" y="132"/>
                </a:cubicBezTo>
                <a:cubicBezTo>
                  <a:pt x="3463" y="132"/>
                  <a:pt x="3463" y="133"/>
                  <a:pt x="3464" y="133"/>
                </a:cubicBezTo>
                <a:close/>
                <a:moveTo>
                  <a:pt x="3434" y="123"/>
                </a:moveTo>
                <a:cubicBezTo>
                  <a:pt x="3434" y="123"/>
                  <a:pt x="3434" y="123"/>
                  <a:pt x="3434" y="123"/>
                </a:cubicBezTo>
                <a:cubicBezTo>
                  <a:pt x="3434" y="123"/>
                  <a:pt x="3434" y="123"/>
                  <a:pt x="3434" y="123"/>
                </a:cubicBezTo>
                <a:cubicBezTo>
                  <a:pt x="3433" y="123"/>
                  <a:pt x="3433" y="122"/>
                  <a:pt x="3432" y="122"/>
                </a:cubicBezTo>
                <a:cubicBezTo>
                  <a:pt x="3433" y="122"/>
                  <a:pt x="3433" y="123"/>
                  <a:pt x="3434" y="123"/>
                </a:cubicBezTo>
                <a:close/>
                <a:moveTo>
                  <a:pt x="1122" y="331"/>
                </a:moveTo>
                <a:cubicBezTo>
                  <a:pt x="1124" y="330"/>
                  <a:pt x="1124" y="327"/>
                  <a:pt x="1124" y="325"/>
                </a:cubicBezTo>
                <a:cubicBezTo>
                  <a:pt x="1123" y="323"/>
                  <a:pt x="1121" y="322"/>
                  <a:pt x="1119" y="321"/>
                </a:cubicBezTo>
                <a:cubicBezTo>
                  <a:pt x="1115" y="321"/>
                  <a:pt x="1111" y="321"/>
                  <a:pt x="1108" y="320"/>
                </a:cubicBezTo>
                <a:cubicBezTo>
                  <a:pt x="1106" y="320"/>
                  <a:pt x="1104" y="319"/>
                  <a:pt x="1102" y="318"/>
                </a:cubicBezTo>
                <a:cubicBezTo>
                  <a:pt x="1102" y="318"/>
                  <a:pt x="1102" y="318"/>
                  <a:pt x="1102" y="318"/>
                </a:cubicBezTo>
                <a:cubicBezTo>
                  <a:pt x="1102" y="318"/>
                  <a:pt x="1102" y="318"/>
                  <a:pt x="1102" y="318"/>
                </a:cubicBezTo>
                <a:cubicBezTo>
                  <a:pt x="1102" y="318"/>
                  <a:pt x="1102" y="318"/>
                  <a:pt x="1102" y="318"/>
                </a:cubicBezTo>
                <a:cubicBezTo>
                  <a:pt x="1101" y="317"/>
                  <a:pt x="1100" y="316"/>
                  <a:pt x="1099" y="315"/>
                </a:cubicBezTo>
                <a:cubicBezTo>
                  <a:pt x="1097" y="314"/>
                  <a:pt x="1096" y="313"/>
                  <a:pt x="1094" y="313"/>
                </a:cubicBezTo>
                <a:cubicBezTo>
                  <a:pt x="1092" y="314"/>
                  <a:pt x="1089" y="314"/>
                  <a:pt x="1086" y="315"/>
                </a:cubicBezTo>
                <a:cubicBezTo>
                  <a:pt x="1085" y="316"/>
                  <a:pt x="1083" y="317"/>
                  <a:pt x="1083" y="318"/>
                </a:cubicBezTo>
                <a:cubicBezTo>
                  <a:pt x="1081" y="322"/>
                  <a:pt x="1078" y="324"/>
                  <a:pt x="1075" y="326"/>
                </a:cubicBezTo>
                <a:cubicBezTo>
                  <a:pt x="1074" y="327"/>
                  <a:pt x="1073" y="329"/>
                  <a:pt x="1074" y="331"/>
                </a:cubicBezTo>
                <a:cubicBezTo>
                  <a:pt x="1074" y="332"/>
                  <a:pt x="1075" y="334"/>
                  <a:pt x="1076" y="335"/>
                </a:cubicBezTo>
                <a:cubicBezTo>
                  <a:pt x="1079" y="341"/>
                  <a:pt x="1077" y="346"/>
                  <a:pt x="1074" y="351"/>
                </a:cubicBezTo>
                <a:cubicBezTo>
                  <a:pt x="1073" y="352"/>
                  <a:pt x="1071" y="352"/>
                  <a:pt x="1070" y="351"/>
                </a:cubicBezTo>
                <a:cubicBezTo>
                  <a:pt x="1067" y="348"/>
                  <a:pt x="1066" y="345"/>
                  <a:pt x="1065" y="341"/>
                </a:cubicBezTo>
                <a:cubicBezTo>
                  <a:pt x="1064" y="339"/>
                  <a:pt x="1062" y="338"/>
                  <a:pt x="1060" y="338"/>
                </a:cubicBezTo>
                <a:cubicBezTo>
                  <a:pt x="1053" y="338"/>
                  <a:pt x="1049" y="342"/>
                  <a:pt x="1049" y="348"/>
                </a:cubicBezTo>
                <a:cubicBezTo>
                  <a:pt x="1048" y="352"/>
                  <a:pt x="1048" y="357"/>
                  <a:pt x="1048" y="361"/>
                </a:cubicBezTo>
                <a:cubicBezTo>
                  <a:pt x="1048" y="363"/>
                  <a:pt x="1049" y="364"/>
                  <a:pt x="1050" y="365"/>
                </a:cubicBezTo>
                <a:cubicBezTo>
                  <a:pt x="1054" y="367"/>
                  <a:pt x="1056" y="370"/>
                  <a:pt x="1058" y="374"/>
                </a:cubicBezTo>
                <a:cubicBezTo>
                  <a:pt x="1060" y="380"/>
                  <a:pt x="1063" y="387"/>
                  <a:pt x="1063" y="394"/>
                </a:cubicBezTo>
                <a:cubicBezTo>
                  <a:pt x="1062" y="398"/>
                  <a:pt x="1064" y="402"/>
                  <a:pt x="1067" y="404"/>
                </a:cubicBezTo>
                <a:cubicBezTo>
                  <a:pt x="1069" y="406"/>
                  <a:pt x="1071" y="407"/>
                  <a:pt x="1073" y="405"/>
                </a:cubicBezTo>
                <a:cubicBezTo>
                  <a:pt x="1076" y="403"/>
                  <a:pt x="1078" y="400"/>
                  <a:pt x="1080" y="399"/>
                </a:cubicBezTo>
                <a:cubicBezTo>
                  <a:pt x="1083" y="397"/>
                  <a:pt x="1087" y="397"/>
                  <a:pt x="1090" y="396"/>
                </a:cubicBezTo>
                <a:cubicBezTo>
                  <a:pt x="1093" y="394"/>
                  <a:pt x="1096" y="393"/>
                  <a:pt x="1098" y="391"/>
                </a:cubicBezTo>
                <a:cubicBezTo>
                  <a:pt x="1100" y="390"/>
                  <a:pt x="1101" y="389"/>
                  <a:pt x="1102" y="387"/>
                </a:cubicBezTo>
                <a:cubicBezTo>
                  <a:pt x="1103" y="382"/>
                  <a:pt x="1106" y="378"/>
                  <a:pt x="1110" y="374"/>
                </a:cubicBezTo>
                <a:cubicBezTo>
                  <a:pt x="1113" y="371"/>
                  <a:pt x="1113" y="367"/>
                  <a:pt x="1112" y="363"/>
                </a:cubicBezTo>
                <a:cubicBezTo>
                  <a:pt x="1112" y="360"/>
                  <a:pt x="1110" y="358"/>
                  <a:pt x="1110" y="355"/>
                </a:cubicBezTo>
                <a:cubicBezTo>
                  <a:pt x="1109" y="351"/>
                  <a:pt x="1106" y="349"/>
                  <a:pt x="1103" y="348"/>
                </a:cubicBezTo>
                <a:cubicBezTo>
                  <a:pt x="1102" y="347"/>
                  <a:pt x="1102" y="346"/>
                  <a:pt x="1104" y="345"/>
                </a:cubicBezTo>
                <a:cubicBezTo>
                  <a:pt x="1107" y="344"/>
                  <a:pt x="1110" y="343"/>
                  <a:pt x="1113" y="342"/>
                </a:cubicBezTo>
                <a:cubicBezTo>
                  <a:pt x="1115" y="341"/>
                  <a:pt x="1117" y="339"/>
                  <a:pt x="1117" y="337"/>
                </a:cubicBezTo>
                <a:cubicBezTo>
                  <a:pt x="1117" y="333"/>
                  <a:pt x="1120" y="333"/>
                  <a:pt x="1122" y="331"/>
                </a:cubicBezTo>
                <a:close/>
                <a:moveTo>
                  <a:pt x="3751" y="1734"/>
                </a:moveTo>
                <a:cubicBezTo>
                  <a:pt x="3763" y="1733"/>
                  <a:pt x="3775" y="1733"/>
                  <a:pt x="3787" y="1735"/>
                </a:cubicBezTo>
                <a:cubicBezTo>
                  <a:pt x="3799" y="1737"/>
                  <a:pt x="3807" y="1732"/>
                  <a:pt x="3813" y="1722"/>
                </a:cubicBezTo>
                <a:cubicBezTo>
                  <a:pt x="3814" y="1720"/>
                  <a:pt x="3814" y="1719"/>
                  <a:pt x="3812" y="1717"/>
                </a:cubicBezTo>
                <a:cubicBezTo>
                  <a:pt x="3811" y="1716"/>
                  <a:pt x="3809" y="1715"/>
                  <a:pt x="3808" y="1716"/>
                </a:cubicBezTo>
                <a:cubicBezTo>
                  <a:pt x="3806" y="1718"/>
                  <a:pt x="3804" y="1720"/>
                  <a:pt x="3802" y="1722"/>
                </a:cubicBezTo>
                <a:cubicBezTo>
                  <a:pt x="3798" y="1725"/>
                  <a:pt x="3795" y="1726"/>
                  <a:pt x="3790" y="1725"/>
                </a:cubicBezTo>
                <a:cubicBezTo>
                  <a:pt x="3783" y="1724"/>
                  <a:pt x="3777" y="1724"/>
                  <a:pt x="3770" y="1723"/>
                </a:cubicBezTo>
                <a:cubicBezTo>
                  <a:pt x="3766" y="1723"/>
                  <a:pt x="3762" y="1721"/>
                  <a:pt x="3757" y="1721"/>
                </a:cubicBezTo>
                <a:cubicBezTo>
                  <a:pt x="3752" y="1721"/>
                  <a:pt x="3750" y="1727"/>
                  <a:pt x="3744" y="1727"/>
                </a:cubicBezTo>
                <a:cubicBezTo>
                  <a:pt x="3744" y="1727"/>
                  <a:pt x="3743" y="1728"/>
                  <a:pt x="3743" y="1728"/>
                </a:cubicBezTo>
                <a:cubicBezTo>
                  <a:pt x="3740" y="1730"/>
                  <a:pt x="3738" y="1733"/>
                  <a:pt x="3737" y="1736"/>
                </a:cubicBezTo>
                <a:cubicBezTo>
                  <a:pt x="3737" y="1738"/>
                  <a:pt x="3737" y="1740"/>
                  <a:pt x="3737" y="1743"/>
                </a:cubicBezTo>
                <a:cubicBezTo>
                  <a:pt x="3737" y="1745"/>
                  <a:pt x="3736" y="1747"/>
                  <a:pt x="3735" y="1749"/>
                </a:cubicBezTo>
                <a:cubicBezTo>
                  <a:pt x="3732" y="1752"/>
                  <a:pt x="3730" y="1756"/>
                  <a:pt x="3730" y="1761"/>
                </a:cubicBezTo>
                <a:cubicBezTo>
                  <a:pt x="3730" y="1765"/>
                  <a:pt x="3729" y="1768"/>
                  <a:pt x="3727" y="1772"/>
                </a:cubicBezTo>
                <a:cubicBezTo>
                  <a:pt x="3726" y="1774"/>
                  <a:pt x="3725" y="1777"/>
                  <a:pt x="3724" y="1779"/>
                </a:cubicBezTo>
                <a:cubicBezTo>
                  <a:pt x="3723" y="1783"/>
                  <a:pt x="3724" y="1786"/>
                  <a:pt x="3727" y="1788"/>
                </a:cubicBezTo>
                <a:cubicBezTo>
                  <a:pt x="3728" y="1790"/>
                  <a:pt x="3729" y="1790"/>
                  <a:pt x="3731" y="1791"/>
                </a:cubicBezTo>
                <a:cubicBezTo>
                  <a:pt x="3733" y="1794"/>
                  <a:pt x="3734" y="1797"/>
                  <a:pt x="3733" y="1800"/>
                </a:cubicBezTo>
                <a:cubicBezTo>
                  <a:pt x="3733" y="1804"/>
                  <a:pt x="3731" y="1808"/>
                  <a:pt x="3731" y="1812"/>
                </a:cubicBezTo>
                <a:cubicBezTo>
                  <a:pt x="3732" y="1813"/>
                  <a:pt x="3732" y="1815"/>
                  <a:pt x="3733" y="1816"/>
                </a:cubicBezTo>
                <a:cubicBezTo>
                  <a:pt x="3737" y="1819"/>
                  <a:pt x="3741" y="1818"/>
                  <a:pt x="3744" y="1816"/>
                </a:cubicBezTo>
                <a:cubicBezTo>
                  <a:pt x="3747" y="1815"/>
                  <a:pt x="3746" y="1813"/>
                  <a:pt x="3746" y="1811"/>
                </a:cubicBezTo>
                <a:cubicBezTo>
                  <a:pt x="3746" y="1801"/>
                  <a:pt x="3748" y="1791"/>
                  <a:pt x="3749" y="1781"/>
                </a:cubicBezTo>
                <a:cubicBezTo>
                  <a:pt x="3749" y="1781"/>
                  <a:pt x="3751" y="1780"/>
                  <a:pt x="3752" y="1780"/>
                </a:cubicBezTo>
                <a:cubicBezTo>
                  <a:pt x="3752" y="1780"/>
                  <a:pt x="3754" y="1781"/>
                  <a:pt x="3754" y="1781"/>
                </a:cubicBezTo>
                <a:cubicBezTo>
                  <a:pt x="3753" y="1787"/>
                  <a:pt x="3754" y="1792"/>
                  <a:pt x="3758" y="1796"/>
                </a:cubicBezTo>
                <a:cubicBezTo>
                  <a:pt x="3760" y="1797"/>
                  <a:pt x="3760" y="1800"/>
                  <a:pt x="3760" y="1802"/>
                </a:cubicBezTo>
                <a:cubicBezTo>
                  <a:pt x="3762" y="1806"/>
                  <a:pt x="3763" y="1807"/>
                  <a:pt x="3768" y="1807"/>
                </a:cubicBezTo>
                <a:cubicBezTo>
                  <a:pt x="3769" y="1807"/>
                  <a:pt x="3770" y="1807"/>
                  <a:pt x="3771" y="1807"/>
                </a:cubicBezTo>
                <a:cubicBezTo>
                  <a:pt x="3771" y="1807"/>
                  <a:pt x="3771" y="1807"/>
                  <a:pt x="3771" y="1807"/>
                </a:cubicBezTo>
                <a:cubicBezTo>
                  <a:pt x="3771" y="1807"/>
                  <a:pt x="3771" y="1806"/>
                  <a:pt x="3772" y="1806"/>
                </a:cubicBezTo>
                <a:cubicBezTo>
                  <a:pt x="3772" y="1806"/>
                  <a:pt x="3771" y="1807"/>
                  <a:pt x="3771" y="1807"/>
                </a:cubicBezTo>
                <a:cubicBezTo>
                  <a:pt x="3771" y="1807"/>
                  <a:pt x="3771" y="1807"/>
                  <a:pt x="3771" y="1807"/>
                </a:cubicBezTo>
                <a:cubicBezTo>
                  <a:pt x="3771" y="1810"/>
                  <a:pt x="3772" y="1813"/>
                  <a:pt x="3776" y="1814"/>
                </a:cubicBezTo>
                <a:cubicBezTo>
                  <a:pt x="3776" y="1814"/>
                  <a:pt x="3777" y="1815"/>
                  <a:pt x="3777" y="1815"/>
                </a:cubicBezTo>
                <a:cubicBezTo>
                  <a:pt x="3780" y="1816"/>
                  <a:pt x="3783" y="1815"/>
                  <a:pt x="3784" y="1813"/>
                </a:cubicBezTo>
                <a:cubicBezTo>
                  <a:pt x="3785" y="1808"/>
                  <a:pt x="3785" y="1804"/>
                  <a:pt x="3784" y="1800"/>
                </a:cubicBezTo>
                <a:cubicBezTo>
                  <a:pt x="3784" y="1797"/>
                  <a:pt x="3783" y="1796"/>
                  <a:pt x="3781" y="1794"/>
                </a:cubicBezTo>
                <a:cubicBezTo>
                  <a:pt x="3779" y="1794"/>
                  <a:pt x="3778" y="1793"/>
                  <a:pt x="3777" y="1792"/>
                </a:cubicBezTo>
                <a:cubicBezTo>
                  <a:pt x="3775" y="1791"/>
                  <a:pt x="3774" y="1789"/>
                  <a:pt x="3774" y="1786"/>
                </a:cubicBezTo>
                <a:cubicBezTo>
                  <a:pt x="3775" y="1783"/>
                  <a:pt x="3774" y="1781"/>
                  <a:pt x="3772" y="1779"/>
                </a:cubicBezTo>
                <a:cubicBezTo>
                  <a:pt x="3770" y="1776"/>
                  <a:pt x="3768" y="1773"/>
                  <a:pt x="3766" y="1771"/>
                </a:cubicBezTo>
                <a:cubicBezTo>
                  <a:pt x="3766" y="1770"/>
                  <a:pt x="3766" y="1767"/>
                  <a:pt x="3767" y="1766"/>
                </a:cubicBezTo>
                <a:cubicBezTo>
                  <a:pt x="3770" y="1764"/>
                  <a:pt x="3773" y="1762"/>
                  <a:pt x="3776" y="1761"/>
                </a:cubicBezTo>
                <a:cubicBezTo>
                  <a:pt x="3778" y="1759"/>
                  <a:pt x="3780" y="1760"/>
                  <a:pt x="3782" y="1761"/>
                </a:cubicBezTo>
                <a:cubicBezTo>
                  <a:pt x="3784" y="1761"/>
                  <a:pt x="3785" y="1761"/>
                  <a:pt x="3787" y="1761"/>
                </a:cubicBezTo>
                <a:cubicBezTo>
                  <a:pt x="3788" y="1761"/>
                  <a:pt x="3789" y="1760"/>
                  <a:pt x="3789" y="1759"/>
                </a:cubicBezTo>
                <a:cubicBezTo>
                  <a:pt x="3790" y="1756"/>
                  <a:pt x="3790" y="1753"/>
                  <a:pt x="3790" y="1749"/>
                </a:cubicBezTo>
                <a:cubicBezTo>
                  <a:pt x="3790" y="1749"/>
                  <a:pt x="3789" y="1747"/>
                  <a:pt x="3788" y="1747"/>
                </a:cubicBezTo>
                <a:cubicBezTo>
                  <a:pt x="3786" y="1747"/>
                  <a:pt x="3784" y="1746"/>
                  <a:pt x="3782" y="1747"/>
                </a:cubicBezTo>
                <a:cubicBezTo>
                  <a:pt x="3777" y="1748"/>
                  <a:pt x="3773" y="1750"/>
                  <a:pt x="3769" y="1750"/>
                </a:cubicBezTo>
                <a:cubicBezTo>
                  <a:pt x="3763" y="1750"/>
                  <a:pt x="3759" y="1751"/>
                  <a:pt x="3756" y="1756"/>
                </a:cubicBezTo>
                <a:cubicBezTo>
                  <a:pt x="3755" y="1756"/>
                  <a:pt x="3753" y="1756"/>
                  <a:pt x="3753" y="1756"/>
                </a:cubicBezTo>
                <a:cubicBezTo>
                  <a:pt x="3748" y="1754"/>
                  <a:pt x="3745" y="1750"/>
                  <a:pt x="3743" y="1745"/>
                </a:cubicBezTo>
                <a:cubicBezTo>
                  <a:pt x="3742" y="1740"/>
                  <a:pt x="3747" y="1735"/>
                  <a:pt x="3751" y="1734"/>
                </a:cubicBezTo>
                <a:close/>
                <a:moveTo>
                  <a:pt x="3774" y="1803"/>
                </a:moveTo>
                <a:cubicBezTo>
                  <a:pt x="3775" y="1803"/>
                  <a:pt x="3775" y="1803"/>
                  <a:pt x="3775" y="1803"/>
                </a:cubicBezTo>
                <a:cubicBezTo>
                  <a:pt x="3776" y="1802"/>
                  <a:pt x="3777" y="1801"/>
                  <a:pt x="3778" y="1801"/>
                </a:cubicBezTo>
                <a:cubicBezTo>
                  <a:pt x="3779" y="1802"/>
                  <a:pt x="3780" y="1802"/>
                  <a:pt x="3780" y="1804"/>
                </a:cubicBezTo>
                <a:cubicBezTo>
                  <a:pt x="3780" y="1804"/>
                  <a:pt x="3779" y="1805"/>
                  <a:pt x="3779" y="1804"/>
                </a:cubicBezTo>
                <a:cubicBezTo>
                  <a:pt x="3777" y="1804"/>
                  <a:pt x="3776" y="1804"/>
                  <a:pt x="3775" y="1803"/>
                </a:cubicBezTo>
                <a:cubicBezTo>
                  <a:pt x="3775" y="1803"/>
                  <a:pt x="3775" y="1803"/>
                  <a:pt x="3775" y="1804"/>
                </a:cubicBezTo>
                <a:cubicBezTo>
                  <a:pt x="3774" y="1804"/>
                  <a:pt x="3774" y="1804"/>
                  <a:pt x="3774" y="1804"/>
                </a:cubicBezTo>
                <a:cubicBezTo>
                  <a:pt x="3774" y="1804"/>
                  <a:pt x="3774" y="1804"/>
                  <a:pt x="3774" y="1803"/>
                </a:cubicBezTo>
                <a:close/>
                <a:moveTo>
                  <a:pt x="1436" y="1009"/>
                </a:moveTo>
                <a:cubicBezTo>
                  <a:pt x="1436" y="1010"/>
                  <a:pt x="1436" y="1010"/>
                  <a:pt x="1436" y="1010"/>
                </a:cubicBezTo>
                <a:cubicBezTo>
                  <a:pt x="1436" y="1010"/>
                  <a:pt x="1436" y="1010"/>
                  <a:pt x="1436" y="1010"/>
                </a:cubicBezTo>
                <a:cubicBezTo>
                  <a:pt x="1436" y="1010"/>
                  <a:pt x="1436" y="1010"/>
                  <a:pt x="1436" y="1009"/>
                </a:cubicBezTo>
                <a:close/>
                <a:moveTo>
                  <a:pt x="1431" y="985"/>
                </a:moveTo>
                <a:cubicBezTo>
                  <a:pt x="1432" y="983"/>
                  <a:pt x="1431" y="981"/>
                  <a:pt x="1431" y="980"/>
                </a:cubicBezTo>
                <a:cubicBezTo>
                  <a:pt x="1430" y="979"/>
                  <a:pt x="1429" y="978"/>
                  <a:pt x="1427" y="977"/>
                </a:cubicBezTo>
                <a:cubicBezTo>
                  <a:pt x="1426" y="976"/>
                  <a:pt x="1425" y="975"/>
                  <a:pt x="1423" y="976"/>
                </a:cubicBezTo>
                <a:cubicBezTo>
                  <a:pt x="1422" y="976"/>
                  <a:pt x="1420" y="977"/>
                  <a:pt x="1419" y="978"/>
                </a:cubicBezTo>
                <a:cubicBezTo>
                  <a:pt x="1415" y="980"/>
                  <a:pt x="1411" y="979"/>
                  <a:pt x="1408" y="979"/>
                </a:cubicBezTo>
                <a:cubicBezTo>
                  <a:pt x="1405" y="978"/>
                  <a:pt x="1405" y="977"/>
                  <a:pt x="1405" y="974"/>
                </a:cubicBezTo>
                <a:cubicBezTo>
                  <a:pt x="1405" y="973"/>
                  <a:pt x="1405" y="972"/>
                  <a:pt x="1405" y="972"/>
                </a:cubicBezTo>
                <a:cubicBezTo>
                  <a:pt x="1405" y="969"/>
                  <a:pt x="1404" y="967"/>
                  <a:pt x="1401" y="966"/>
                </a:cubicBezTo>
                <a:cubicBezTo>
                  <a:pt x="1400" y="966"/>
                  <a:pt x="1398" y="966"/>
                  <a:pt x="1397" y="966"/>
                </a:cubicBezTo>
                <a:cubicBezTo>
                  <a:pt x="1397" y="966"/>
                  <a:pt x="1397" y="966"/>
                  <a:pt x="1396" y="966"/>
                </a:cubicBezTo>
                <a:cubicBezTo>
                  <a:pt x="1396" y="967"/>
                  <a:pt x="1396" y="967"/>
                  <a:pt x="1396" y="967"/>
                </a:cubicBezTo>
                <a:cubicBezTo>
                  <a:pt x="1396" y="966"/>
                  <a:pt x="1396" y="966"/>
                  <a:pt x="1396" y="966"/>
                </a:cubicBezTo>
                <a:cubicBezTo>
                  <a:pt x="1396" y="966"/>
                  <a:pt x="1396" y="966"/>
                  <a:pt x="1397" y="966"/>
                </a:cubicBezTo>
                <a:cubicBezTo>
                  <a:pt x="1398" y="961"/>
                  <a:pt x="1401" y="958"/>
                  <a:pt x="1405" y="955"/>
                </a:cubicBezTo>
                <a:cubicBezTo>
                  <a:pt x="1409" y="952"/>
                  <a:pt x="1410" y="947"/>
                  <a:pt x="1412" y="944"/>
                </a:cubicBezTo>
                <a:cubicBezTo>
                  <a:pt x="1413" y="943"/>
                  <a:pt x="1413" y="942"/>
                  <a:pt x="1413" y="941"/>
                </a:cubicBezTo>
                <a:cubicBezTo>
                  <a:pt x="1413" y="940"/>
                  <a:pt x="1410" y="939"/>
                  <a:pt x="1408" y="940"/>
                </a:cubicBezTo>
                <a:cubicBezTo>
                  <a:pt x="1403" y="941"/>
                  <a:pt x="1398" y="943"/>
                  <a:pt x="1394" y="948"/>
                </a:cubicBezTo>
                <a:cubicBezTo>
                  <a:pt x="1387" y="957"/>
                  <a:pt x="1380" y="967"/>
                  <a:pt x="1374" y="978"/>
                </a:cubicBezTo>
                <a:cubicBezTo>
                  <a:pt x="1371" y="983"/>
                  <a:pt x="1367" y="987"/>
                  <a:pt x="1361" y="990"/>
                </a:cubicBezTo>
                <a:cubicBezTo>
                  <a:pt x="1359" y="990"/>
                  <a:pt x="1360" y="992"/>
                  <a:pt x="1361" y="993"/>
                </a:cubicBezTo>
                <a:cubicBezTo>
                  <a:pt x="1362" y="996"/>
                  <a:pt x="1362" y="997"/>
                  <a:pt x="1360" y="999"/>
                </a:cubicBezTo>
                <a:cubicBezTo>
                  <a:pt x="1358" y="1001"/>
                  <a:pt x="1356" y="1003"/>
                  <a:pt x="1355" y="1005"/>
                </a:cubicBezTo>
                <a:cubicBezTo>
                  <a:pt x="1354" y="1006"/>
                  <a:pt x="1355" y="1009"/>
                  <a:pt x="1356" y="1009"/>
                </a:cubicBezTo>
                <a:cubicBezTo>
                  <a:pt x="1358" y="1010"/>
                  <a:pt x="1359" y="1010"/>
                  <a:pt x="1361" y="1010"/>
                </a:cubicBezTo>
                <a:cubicBezTo>
                  <a:pt x="1366" y="1010"/>
                  <a:pt x="1372" y="1010"/>
                  <a:pt x="1377" y="1011"/>
                </a:cubicBezTo>
                <a:cubicBezTo>
                  <a:pt x="1382" y="1012"/>
                  <a:pt x="1386" y="1012"/>
                  <a:pt x="1390" y="1011"/>
                </a:cubicBezTo>
                <a:cubicBezTo>
                  <a:pt x="1395" y="1010"/>
                  <a:pt x="1398" y="1013"/>
                  <a:pt x="1402" y="1015"/>
                </a:cubicBezTo>
                <a:cubicBezTo>
                  <a:pt x="1403" y="1015"/>
                  <a:pt x="1403" y="1016"/>
                  <a:pt x="1402" y="1016"/>
                </a:cubicBezTo>
                <a:cubicBezTo>
                  <a:pt x="1401" y="1018"/>
                  <a:pt x="1399" y="1019"/>
                  <a:pt x="1398" y="1021"/>
                </a:cubicBezTo>
                <a:cubicBezTo>
                  <a:pt x="1397" y="1021"/>
                  <a:pt x="1397" y="1023"/>
                  <a:pt x="1398" y="1024"/>
                </a:cubicBezTo>
                <a:cubicBezTo>
                  <a:pt x="1398" y="1024"/>
                  <a:pt x="1400" y="1025"/>
                  <a:pt x="1401" y="1025"/>
                </a:cubicBezTo>
                <a:cubicBezTo>
                  <a:pt x="1403" y="1025"/>
                  <a:pt x="1405" y="1024"/>
                  <a:pt x="1406" y="1022"/>
                </a:cubicBezTo>
                <a:cubicBezTo>
                  <a:pt x="1409" y="1018"/>
                  <a:pt x="1414" y="1017"/>
                  <a:pt x="1418" y="1013"/>
                </a:cubicBezTo>
                <a:cubicBezTo>
                  <a:pt x="1418" y="1013"/>
                  <a:pt x="1419" y="1014"/>
                  <a:pt x="1419" y="1014"/>
                </a:cubicBezTo>
                <a:cubicBezTo>
                  <a:pt x="1418" y="1017"/>
                  <a:pt x="1418" y="1020"/>
                  <a:pt x="1418" y="1022"/>
                </a:cubicBezTo>
                <a:cubicBezTo>
                  <a:pt x="1417" y="1023"/>
                  <a:pt x="1418" y="1025"/>
                  <a:pt x="1418" y="1025"/>
                </a:cubicBezTo>
                <a:cubicBezTo>
                  <a:pt x="1422" y="1027"/>
                  <a:pt x="1424" y="1030"/>
                  <a:pt x="1429" y="1030"/>
                </a:cubicBezTo>
                <a:cubicBezTo>
                  <a:pt x="1430" y="1030"/>
                  <a:pt x="1433" y="1029"/>
                  <a:pt x="1434" y="1027"/>
                </a:cubicBezTo>
                <a:cubicBezTo>
                  <a:pt x="1436" y="1024"/>
                  <a:pt x="1437" y="1020"/>
                  <a:pt x="1438" y="1017"/>
                </a:cubicBezTo>
                <a:cubicBezTo>
                  <a:pt x="1439" y="1014"/>
                  <a:pt x="1438" y="1012"/>
                  <a:pt x="1436" y="1010"/>
                </a:cubicBezTo>
                <a:cubicBezTo>
                  <a:pt x="1436" y="1010"/>
                  <a:pt x="1436" y="1010"/>
                  <a:pt x="1435" y="1010"/>
                </a:cubicBezTo>
                <a:cubicBezTo>
                  <a:pt x="1435" y="1010"/>
                  <a:pt x="1435" y="1011"/>
                  <a:pt x="1435" y="1011"/>
                </a:cubicBezTo>
                <a:cubicBezTo>
                  <a:pt x="1435" y="1011"/>
                  <a:pt x="1435" y="1010"/>
                  <a:pt x="1435" y="1010"/>
                </a:cubicBezTo>
                <a:cubicBezTo>
                  <a:pt x="1435" y="1010"/>
                  <a:pt x="1435" y="1010"/>
                  <a:pt x="1435" y="1010"/>
                </a:cubicBezTo>
                <a:cubicBezTo>
                  <a:pt x="1436" y="1010"/>
                  <a:pt x="1436" y="1010"/>
                  <a:pt x="1436" y="1009"/>
                </a:cubicBezTo>
                <a:cubicBezTo>
                  <a:pt x="1434" y="1007"/>
                  <a:pt x="1432" y="1007"/>
                  <a:pt x="1429" y="1007"/>
                </a:cubicBezTo>
                <a:cubicBezTo>
                  <a:pt x="1428" y="1008"/>
                  <a:pt x="1427" y="1006"/>
                  <a:pt x="1428" y="1005"/>
                </a:cubicBezTo>
                <a:cubicBezTo>
                  <a:pt x="1428" y="1004"/>
                  <a:pt x="1429" y="1002"/>
                  <a:pt x="1430" y="1001"/>
                </a:cubicBezTo>
                <a:cubicBezTo>
                  <a:pt x="1431" y="999"/>
                  <a:pt x="1433" y="998"/>
                  <a:pt x="1434" y="996"/>
                </a:cubicBezTo>
                <a:cubicBezTo>
                  <a:pt x="1435" y="996"/>
                  <a:pt x="1435" y="995"/>
                  <a:pt x="1435" y="995"/>
                </a:cubicBezTo>
                <a:cubicBezTo>
                  <a:pt x="1434" y="994"/>
                  <a:pt x="1433" y="993"/>
                  <a:pt x="1432" y="993"/>
                </a:cubicBezTo>
                <a:cubicBezTo>
                  <a:pt x="1431" y="994"/>
                  <a:pt x="1429" y="995"/>
                  <a:pt x="1428" y="993"/>
                </a:cubicBezTo>
                <a:cubicBezTo>
                  <a:pt x="1427" y="991"/>
                  <a:pt x="1428" y="990"/>
                  <a:pt x="1429" y="989"/>
                </a:cubicBezTo>
                <a:cubicBezTo>
                  <a:pt x="1430" y="987"/>
                  <a:pt x="1431" y="986"/>
                  <a:pt x="1431" y="985"/>
                </a:cubicBezTo>
                <a:close/>
                <a:moveTo>
                  <a:pt x="924" y="175"/>
                </a:moveTo>
                <a:cubicBezTo>
                  <a:pt x="929" y="176"/>
                  <a:pt x="932" y="178"/>
                  <a:pt x="935" y="179"/>
                </a:cubicBezTo>
                <a:cubicBezTo>
                  <a:pt x="938" y="181"/>
                  <a:pt x="939" y="183"/>
                  <a:pt x="941" y="185"/>
                </a:cubicBezTo>
                <a:cubicBezTo>
                  <a:pt x="943" y="187"/>
                  <a:pt x="947" y="187"/>
                  <a:pt x="949" y="186"/>
                </a:cubicBezTo>
                <a:cubicBezTo>
                  <a:pt x="951" y="184"/>
                  <a:pt x="954" y="182"/>
                  <a:pt x="956" y="180"/>
                </a:cubicBezTo>
                <a:cubicBezTo>
                  <a:pt x="957" y="179"/>
                  <a:pt x="958" y="179"/>
                  <a:pt x="959" y="180"/>
                </a:cubicBezTo>
                <a:cubicBezTo>
                  <a:pt x="961" y="180"/>
                  <a:pt x="963" y="180"/>
                  <a:pt x="964" y="179"/>
                </a:cubicBezTo>
                <a:cubicBezTo>
                  <a:pt x="966" y="175"/>
                  <a:pt x="968" y="171"/>
                  <a:pt x="971" y="168"/>
                </a:cubicBezTo>
                <a:cubicBezTo>
                  <a:pt x="974" y="165"/>
                  <a:pt x="977" y="162"/>
                  <a:pt x="980" y="159"/>
                </a:cubicBezTo>
                <a:cubicBezTo>
                  <a:pt x="981" y="158"/>
                  <a:pt x="982" y="158"/>
                  <a:pt x="983" y="158"/>
                </a:cubicBezTo>
                <a:cubicBezTo>
                  <a:pt x="984" y="158"/>
                  <a:pt x="985" y="160"/>
                  <a:pt x="983" y="162"/>
                </a:cubicBezTo>
                <a:cubicBezTo>
                  <a:pt x="981" y="166"/>
                  <a:pt x="978" y="170"/>
                  <a:pt x="976" y="173"/>
                </a:cubicBezTo>
                <a:cubicBezTo>
                  <a:pt x="975" y="175"/>
                  <a:pt x="976" y="178"/>
                  <a:pt x="976" y="180"/>
                </a:cubicBezTo>
                <a:cubicBezTo>
                  <a:pt x="977" y="182"/>
                  <a:pt x="980" y="183"/>
                  <a:pt x="982" y="182"/>
                </a:cubicBezTo>
                <a:cubicBezTo>
                  <a:pt x="983" y="181"/>
                  <a:pt x="985" y="180"/>
                  <a:pt x="985" y="179"/>
                </a:cubicBezTo>
                <a:cubicBezTo>
                  <a:pt x="987" y="175"/>
                  <a:pt x="990" y="173"/>
                  <a:pt x="995" y="173"/>
                </a:cubicBezTo>
                <a:cubicBezTo>
                  <a:pt x="996" y="173"/>
                  <a:pt x="998" y="172"/>
                  <a:pt x="999" y="171"/>
                </a:cubicBezTo>
                <a:cubicBezTo>
                  <a:pt x="1001" y="170"/>
                  <a:pt x="1003" y="169"/>
                  <a:pt x="1003" y="168"/>
                </a:cubicBezTo>
                <a:cubicBezTo>
                  <a:pt x="1006" y="162"/>
                  <a:pt x="1013" y="159"/>
                  <a:pt x="1013" y="152"/>
                </a:cubicBezTo>
                <a:cubicBezTo>
                  <a:pt x="1014" y="151"/>
                  <a:pt x="1016" y="149"/>
                  <a:pt x="1017" y="149"/>
                </a:cubicBezTo>
                <a:cubicBezTo>
                  <a:pt x="1018" y="148"/>
                  <a:pt x="1020" y="147"/>
                  <a:pt x="1021" y="147"/>
                </a:cubicBezTo>
                <a:cubicBezTo>
                  <a:pt x="1023" y="146"/>
                  <a:pt x="1024" y="144"/>
                  <a:pt x="1024" y="143"/>
                </a:cubicBezTo>
                <a:cubicBezTo>
                  <a:pt x="1024" y="140"/>
                  <a:pt x="1024" y="138"/>
                  <a:pt x="1024" y="136"/>
                </a:cubicBezTo>
                <a:cubicBezTo>
                  <a:pt x="1024" y="134"/>
                  <a:pt x="1022" y="130"/>
                  <a:pt x="1021" y="131"/>
                </a:cubicBezTo>
                <a:cubicBezTo>
                  <a:pt x="1019" y="131"/>
                  <a:pt x="1017" y="132"/>
                  <a:pt x="1016" y="133"/>
                </a:cubicBezTo>
                <a:cubicBezTo>
                  <a:pt x="1014" y="135"/>
                  <a:pt x="1012" y="136"/>
                  <a:pt x="1011" y="135"/>
                </a:cubicBezTo>
                <a:cubicBezTo>
                  <a:pt x="1006" y="131"/>
                  <a:pt x="1001" y="132"/>
                  <a:pt x="997" y="131"/>
                </a:cubicBezTo>
                <a:cubicBezTo>
                  <a:pt x="994" y="130"/>
                  <a:pt x="990" y="131"/>
                  <a:pt x="988" y="133"/>
                </a:cubicBezTo>
                <a:cubicBezTo>
                  <a:pt x="976" y="141"/>
                  <a:pt x="965" y="148"/>
                  <a:pt x="951" y="152"/>
                </a:cubicBezTo>
                <a:cubicBezTo>
                  <a:pt x="948" y="153"/>
                  <a:pt x="945" y="155"/>
                  <a:pt x="942" y="155"/>
                </a:cubicBezTo>
                <a:cubicBezTo>
                  <a:pt x="937" y="156"/>
                  <a:pt x="932" y="159"/>
                  <a:pt x="927" y="162"/>
                </a:cubicBezTo>
                <a:cubicBezTo>
                  <a:pt x="923" y="164"/>
                  <a:pt x="922" y="169"/>
                  <a:pt x="922" y="173"/>
                </a:cubicBezTo>
                <a:cubicBezTo>
                  <a:pt x="922" y="174"/>
                  <a:pt x="923" y="175"/>
                  <a:pt x="924" y="175"/>
                </a:cubicBezTo>
                <a:close/>
                <a:moveTo>
                  <a:pt x="2249" y="229"/>
                </a:moveTo>
                <a:cubicBezTo>
                  <a:pt x="2251" y="237"/>
                  <a:pt x="2253" y="239"/>
                  <a:pt x="2261" y="240"/>
                </a:cubicBezTo>
                <a:cubicBezTo>
                  <a:pt x="2263" y="240"/>
                  <a:pt x="2266" y="239"/>
                  <a:pt x="2268" y="239"/>
                </a:cubicBezTo>
                <a:cubicBezTo>
                  <a:pt x="2268" y="239"/>
                  <a:pt x="2269" y="239"/>
                  <a:pt x="2269" y="238"/>
                </a:cubicBezTo>
                <a:cubicBezTo>
                  <a:pt x="2269" y="238"/>
                  <a:pt x="2270" y="238"/>
                  <a:pt x="2270" y="238"/>
                </a:cubicBezTo>
                <a:cubicBezTo>
                  <a:pt x="2271" y="238"/>
                  <a:pt x="2272" y="237"/>
                  <a:pt x="2274" y="237"/>
                </a:cubicBezTo>
                <a:cubicBezTo>
                  <a:pt x="2274" y="237"/>
                  <a:pt x="2275" y="237"/>
                  <a:pt x="2275" y="237"/>
                </a:cubicBezTo>
                <a:cubicBezTo>
                  <a:pt x="2276" y="238"/>
                  <a:pt x="2275" y="238"/>
                  <a:pt x="2273" y="238"/>
                </a:cubicBezTo>
                <a:cubicBezTo>
                  <a:pt x="2272" y="238"/>
                  <a:pt x="2271" y="238"/>
                  <a:pt x="2270" y="238"/>
                </a:cubicBezTo>
                <a:cubicBezTo>
                  <a:pt x="2270" y="239"/>
                  <a:pt x="2270" y="239"/>
                  <a:pt x="2269" y="239"/>
                </a:cubicBezTo>
                <a:cubicBezTo>
                  <a:pt x="2269" y="239"/>
                  <a:pt x="2269" y="239"/>
                  <a:pt x="2268" y="239"/>
                </a:cubicBezTo>
                <a:cubicBezTo>
                  <a:pt x="2267" y="240"/>
                  <a:pt x="2266" y="241"/>
                  <a:pt x="2266" y="242"/>
                </a:cubicBezTo>
                <a:cubicBezTo>
                  <a:pt x="2264" y="244"/>
                  <a:pt x="2264" y="246"/>
                  <a:pt x="2266" y="247"/>
                </a:cubicBezTo>
                <a:cubicBezTo>
                  <a:pt x="2268" y="249"/>
                  <a:pt x="2271" y="250"/>
                  <a:pt x="2274" y="252"/>
                </a:cubicBezTo>
                <a:cubicBezTo>
                  <a:pt x="2277" y="254"/>
                  <a:pt x="2280" y="255"/>
                  <a:pt x="2283" y="254"/>
                </a:cubicBezTo>
                <a:cubicBezTo>
                  <a:pt x="2287" y="253"/>
                  <a:pt x="2290" y="253"/>
                  <a:pt x="2293" y="257"/>
                </a:cubicBezTo>
                <a:cubicBezTo>
                  <a:pt x="2297" y="261"/>
                  <a:pt x="2300" y="260"/>
                  <a:pt x="2305" y="256"/>
                </a:cubicBezTo>
                <a:cubicBezTo>
                  <a:pt x="2306" y="255"/>
                  <a:pt x="2308" y="253"/>
                  <a:pt x="2310" y="253"/>
                </a:cubicBezTo>
                <a:cubicBezTo>
                  <a:pt x="2316" y="253"/>
                  <a:pt x="2319" y="251"/>
                  <a:pt x="2320" y="245"/>
                </a:cubicBezTo>
                <a:cubicBezTo>
                  <a:pt x="2321" y="242"/>
                  <a:pt x="2323" y="239"/>
                  <a:pt x="2325" y="236"/>
                </a:cubicBezTo>
                <a:cubicBezTo>
                  <a:pt x="2329" y="231"/>
                  <a:pt x="2329" y="226"/>
                  <a:pt x="2329" y="219"/>
                </a:cubicBezTo>
                <a:cubicBezTo>
                  <a:pt x="2326" y="218"/>
                  <a:pt x="2323" y="216"/>
                  <a:pt x="2320" y="216"/>
                </a:cubicBezTo>
                <a:cubicBezTo>
                  <a:pt x="2314" y="215"/>
                  <a:pt x="2309" y="214"/>
                  <a:pt x="2303" y="211"/>
                </a:cubicBezTo>
                <a:cubicBezTo>
                  <a:pt x="2300" y="210"/>
                  <a:pt x="2298" y="211"/>
                  <a:pt x="2296" y="213"/>
                </a:cubicBezTo>
                <a:cubicBezTo>
                  <a:pt x="2293" y="215"/>
                  <a:pt x="2293" y="215"/>
                  <a:pt x="2291" y="211"/>
                </a:cubicBezTo>
                <a:cubicBezTo>
                  <a:pt x="2291" y="210"/>
                  <a:pt x="2291" y="209"/>
                  <a:pt x="2290" y="208"/>
                </a:cubicBezTo>
                <a:cubicBezTo>
                  <a:pt x="2289" y="207"/>
                  <a:pt x="2287" y="206"/>
                  <a:pt x="2286" y="207"/>
                </a:cubicBezTo>
                <a:cubicBezTo>
                  <a:pt x="2285" y="207"/>
                  <a:pt x="2284" y="208"/>
                  <a:pt x="2284" y="209"/>
                </a:cubicBezTo>
                <a:cubicBezTo>
                  <a:pt x="2283" y="210"/>
                  <a:pt x="2283" y="212"/>
                  <a:pt x="2283" y="214"/>
                </a:cubicBezTo>
                <a:cubicBezTo>
                  <a:pt x="2283" y="215"/>
                  <a:pt x="2283" y="217"/>
                  <a:pt x="2282" y="218"/>
                </a:cubicBezTo>
                <a:cubicBezTo>
                  <a:pt x="2280" y="220"/>
                  <a:pt x="2279" y="217"/>
                  <a:pt x="2278" y="217"/>
                </a:cubicBezTo>
                <a:cubicBezTo>
                  <a:pt x="2278" y="216"/>
                  <a:pt x="2277" y="216"/>
                  <a:pt x="2277" y="216"/>
                </a:cubicBezTo>
                <a:cubicBezTo>
                  <a:pt x="2271" y="216"/>
                  <a:pt x="2267" y="214"/>
                  <a:pt x="2264" y="210"/>
                </a:cubicBezTo>
                <a:cubicBezTo>
                  <a:pt x="2264" y="209"/>
                  <a:pt x="2262" y="208"/>
                  <a:pt x="2262" y="208"/>
                </a:cubicBezTo>
                <a:cubicBezTo>
                  <a:pt x="2260" y="206"/>
                  <a:pt x="2257" y="208"/>
                  <a:pt x="2257" y="210"/>
                </a:cubicBezTo>
                <a:cubicBezTo>
                  <a:pt x="2257" y="211"/>
                  <a:pt x="2257" y="212"/>
                  <a:pt x="2257" y="214"/>
                </a:cubicBezTo>
                <a:cubicBezTo>
                  <a:pt x="2257" y="214"/>
                  <a:pt x="2256" y="216"/>
                  <a:pt x="2256" y="216"/>
                </a:cubicBezTo>
                <a:cubicBezTo>
                  <a:pt x="2255" y="216"/>
                  <a:pt x="2254" y="215"/>
                  <a:pt x="2253" y="215"/>
                </a:cubicBezTo>
                <a:cubicBezTo>
                  <a:pt x="2252" y="215"/>
                  <a:pt x="2250" y="215"/>
                  <a:pt x="2250" y="215"/>
                </a:cubicBezTo>
                <a:cubicBezTo>
                  <a:pt x="2249" y="218"/>
                  <a:pt x="2247" y="220"/>
                  <a:pt x="2248" y="223"/>
                </a:cubicBezTo>
                <a:cubicBezTo>
                  <a:pt x="2248" y="225"/>
                  <a:pt x="2249" y="227"/>
                  <a:pt x="2249" y="229"/>
                </a:cubicBezTo>
                <a:close/>
                <a:moveTo>
                  <a:pt x="1108" y="205"/>
                </a:moveTo>
                <a:cubicBezTo>
                  <a:pt x="1107" y="207"/>
                  <a:pt x="1106" y="209"/>
                  <a:pt x="1106" y="211"/>
                </a:cubicBezTo>
                <a:cubicBezTo>
                  <a:pt x="1105" y="215"/>
                  <a:pt x="1105" y="219"/>
                  <a:pt x="1102" y="222"/>
                </a:cubicBezTo>
                <a:cubicBezTo>
                  <a:pt x="1101" y="222"/>
                  <a:pt x="1101" y="224"/>
                  <a:pt x="1101" y="225"/>
                </a:cubicBezTo>
                <a:cubicBezTo>
                  <a:pt x="1102" y="230"/>
                  <a:pt x="1104" y="235"/>
                  <a:pt x="1102" y="241"/>
                </a:cubicBezTo>
                <a:cubicBezTo>
                  <a:pt x="1102" y="241"/>
                  <a:pt x="1103" y="242"/>
                  <a:pt x="1104" y="243"/>
                </a:cubicBezTo>
                <a:cubicBezTo>
                  <a:pt x="1105" y="243"/>
                  <a:pt x="1106" y="244"/>
                  <a:pt x="1106" y="245"/>
                </a:cubicBezTo>
                <a:cubicBezTo>
                  <a:pt x="1105" y="250"/>
                  <a:pt x="1108" y="251"/>
                  <a:pt x="1112" y="252"/>
                </a:cubicBezTo>
                <a:cubicBezTo>
                  <a:pt x="1117" y="252"/>
                  <a:pt x="1122" y="253"/>
                  <a:pt x="1127" y="253"/>
                </a:cubicBezTo>
                <a:cubicBezTo>
                  <a:pt x="1128" y="253"/>
                  <a:pt x="1128" y="254"/>
                  <a:pt x="1128" y="254"/>
                </a:cubicBezTo>
                <a:cubicBezTo>
                  <a:pt x="1128" y="255"/>
                  <a:pt x="1127" y="257"/>
                  <a:pt x="1127" y="257"/>
                </a:cubicBezTo>
                <a:cubicBezTo>
                  <a:pt x="1125" y="258"/>
                  <a:pt x="1123" y="258"/>
                  <a:pt x="1121" y="259"/>
                </a:cubicBezTo>
                <a:cubicBezTo>
                  <a:pt x="1118" y="260"/>
                  <a:pt x="1116" y="262"/>
                  <a:pt x="1116" y="265"/>
                </a:cubicBezTo>
                <a:cubicBezTo>
                  <a:pt x="1115" y="267"/>
                  <a:pt x="1115" y="269"/>
                  <a:pt x="1115" y="271"/>
                </a:cubicBezTo>
                <a:cubicBezTo>
                  <a:pt x="1115" y="273"/>
                  <a:pt x="1116" y="276"/>
                  <a:pt x="1118" y="276"/>
                </a:cubicBezTo>
                <a:cubicBezTo>
                  <a:pt x="1122" y="278"/>
                  <a:pt x="1127" y="279"/>
                  <a:pt x="1131" y="280"/>
                </a:cubicBezTo>
                <a:cubicBezTo>
                  <a:pt x="1135" y="281"/>
                  <a:pt x="1140" y="278"/>
                  <a:pt x="1142" y="275"/>
                </a:cubicBezTo>
                <a:cubicBezTo>
                  <a:pt x="1142" y="274"/>
                  <a:pt x="1142" y="272"/>
                  <a:pt x="1143" y="271"/>
                </a:cubicBezTo>
                <a:cubicBezTo>
                  <a:pt x="1144" y="267"/>
                  <a:pt x="1147" y="266"/>
                  <a:pt x="1151" y="265"/>
                </a:cubicBezTo>
                <a:cubicBezTo>
                  <a:pt x="1153" y="262"/>
                  <a:pt x="1154" y="259"/>
                  <a:pt x="1155" y="256"/>
                </a:cubicBezTo>
                <a:cubicBezTo>
                  <a:pt x="1157" y="252"/>
                  <a:pt x="1160" y="250"/>
                  <a:pt x="1162" y="247"/>
                </a:cubicBezTo>
                <a:cubicBezTo>
                  <a:pt x="1162" y="246"/>
                  <a:pt x="1163" y="246"/>
                  <a:pt x="1163" y="245"/>
                </a:cubicBezTo>
                <a:cubicBezTo>
                  <a:pt x="1165" y="241"/>
                  <a:pt x="1168" y="236"/>
                  <a:pt x="1170" y="231"/>
                </a:cubicBezTo>
                <a:cubicBezTo>
                  <a:pt x="1171" y="230"/>
                  <a:pt x="1171" y="229"/>
                  <a:pt x="1170" y="228"/>
                </a:cubicBezTo>
                <a:cubicBezTo>
                  <a:pt x="1170" y="226"/>
                  <a:pt x="1169" y="224"/>
                  <a:pt x="1168" y="222"/>
                </a:cubicBezTo>
                <a:cubicBezTo>
                  <a:pt x="1167" y="221"/>
                  <a:pt x="1166" y="220"/>
                  <a:pt x="1164" y="220"/>
                </a:cubicBezTo>
                <a:cubicBezTo>
                  <a:pt x="1160" y="221"/>
                  <a:pt x="1157" y="219"/>
                  <a:pt x="1155" y="216"/>
                </a:cubicBezTo>
                <a:cubicBezTo>
                  <a:pt x="1150" y="215"/>
                  <a:pt x="1146" y="215"/>
                  <a:pt x="1141" y="216"/>
                </a:cubicBezTo>
                <a:cubicBezTo>
                  <a:pt x="1140" y="219"/>
                  <a:pt x="1138" y="221"/>
                  <a:pt x="1138" y="225"/>
                </a:cubicBezTo>
                <a:cubicBezTo>
                  <a:pt x="1138" y="229"/>
                  <a:pt x="1138" y="232"/>
                  <a:pt x="1138" y="236"/>
                </a:cubicBezTo>
                <a:cubicBezTo>
                  <a:pt x="1138" y="237"/>
                  <a:pt x="1138" y="237"/>
                  <a:pt x="1137" y="238"/>
                </a:cubicBezTo>
                <a:cubicBezTo>
                  <a:pt x="1137" y="238"/>
                  <a:pt x="1136" y="238"/>
                  <a:pt x="1136" y="236"/>
                </a:cubicBezTo>
                <a:cubicBezTo>
                  <a:pt x="1134" y="232"/>
                  <a:pt x="1133" y="228"/>
                  <a:pt x="1131" y="224"/>
                </a:cubicBezTo>
                <a:cubicBezTo>
                  <a:pt x="1131" y="224"/>
                  <a:pt x="1129" y="223"/>
                  <a:pt x="1128" y="223"/>
                </a:cubicBezTo>
                <a:cubicBezTo>
                  <a:pt x="1127" y="223"/>
                  <a:pt x="1126" y="224"/>
                  <a:pt x="1125" y="224"/>
                </a:cubicBezTo>
                <a:cubicBezTo>
                  <a:pt x="1123" y="229"/>
                  <a:pt x="1121" y="234"/>
                  <a:pt x="1119" y="239"/>
                </a:cubicBezTo>
                <a:cubicBezTo>
                  <a:pt x="1119" y="239"/>
                  <a:pt x="1119" y="239"/>
                  <a:pt x="1119" y="239"/>
                </a:cubicBezTo>
                <a:cubicBezTo>
                  <a:pt x="1118" y="239"/>
                  <a:pt x="1118" y="239"/>
                  <a:pt x="1118" y="239"/>
                </a:cubicBezTo>
                <a:cubicBezTo>
                  <a:pt x="1119" y="239"/>
                  <a:pt x="1119" y="239"/>
                  <a:pt x="1119" y="239"/>
                </a:cubicBezTo>
                <a:cubicBezTo>
                  <a:pt x="1119" y="239"/>
                  <a:pt x="1119" y="239"/>
                  <a:pt x="1119" y="239"/>
                </a:cubicBezTo>
                <a:cubicBezTo>
                  <a:pt x="1117" y="236"/>
                  <a:pt x="1116" y="234"/>
                  <a:pt x="1117" y="230"/>
                </a:cubicBezTo>
                <a:cubicBezTo>
                  <a:pt x="1118" y="229"/>
                  <a:pt x="1119" y="227"/>
                  <a:pt x="1118" y="226"/>
                </a:cubicBezTo>
                <a:cubicBezTo>
                  <a:pt x="1117" y="221"/>
                  <a:pt x="1116" y="217"/>
                  <a:pt x="1117" y="213"/>
                </a:cubicBezTo>
                <a:cubicBezTo>
                  <a:pt x="1117" y="212"/>
                  <a:pt x="1116" y="211"/>
                  <a:pt x="1116" y="210"/>
                </a:cubicBezTo>
                <a:cubicBezTo>
                  <a:pt x="1115" y="208"/>
                  <a:pt x="1115" y="207"/>
                  <a:pt x="1114" y="205"/>
                </a:cubicBezTo>
                <a:cubicBezTo>
                  <a:pt x="1113" y="204"/>
                  <a:pt x="1109" y="203"/>
                  <a:pt x="1108" y="205"/>
                </a:cubicBezTo>
                <a:close/>
                <a:moveTo>
                  <a:pt x="1996" y="894"/>
                </a:moveTo>
                <a:cubicBezTo>
                  <a:pt x="1995" y="897"/>
                  <a:pt x="1995" y="899"/>
                  <a:pt x="1993" y="902"/>
                </a:cubicBezTo>
                <a:cubicBezTo>
                  <a:pt x="1993" y="902"/>
                  <a:pt x="1992" y="903"/>
                  <a:pt x="1991" y="903"/>
                </a:cubicBezTo>
                <a:cubicBezTo>
                  <a:pt x="1988" y="904"/>
                  <a:pt x="1984" y="904"/>
                  <a:pt x="1981" y="904"/>
                </a:cubicBezTo>
                <a:cubicBezTo>
                  <a:pt x="1979" y="904"/>
                  <a:pt x="1978" y="905"/>
                  <a:pt x="1978" y="907"/>
                </a:cubicBezTo>
                <a:cubicBezTo>
                  <a:pt x="1977" y="910"/>
                  <a:pt x="1978" y="913"/>
                  <a:pt x="1977" y="917"/>
                </a:cubicBezTo>
                <a:cubicBezTo>
                  <a:pt x="1976" y="920"/>
                  <a:pt x="1978" y="922"/>
                  <a:pt x="1980" y="924"/>
                </a:cubicBezTo>
                <a:cubicBezTo>
                  <a:pt x="1982" y="927"/>
                  <a:pt x="1982" y="930"/>
                  <a:pt x="1981" y="933"/>
                </a:cubicBezTo>
                <a:cubicBezTo>
                  <a:pt x="1979" y="936"/>
                  <a:pt x="1977" y="938"/>
                  <a:pt x="1975" y="941"/>
                </a:cubicBezTo>
                <a:cubicBezTo>
                  <a:pt x="1975" y="942"/>
                  <a:pt x="1974" y="943"/>
                  <a:pt x="1973" y="943"/>
                </a:cubicBezTo>
                <a:cubicBezTo>
                  <a:pt x="1970" y="946"/>
                  <a:pt x="1971" y="952"/>
                  <a:pt x="1975" y="955"/>
                </a:cubicBezTo>
                <a:cubicBezTo>
                  <a:pt x="1980" y="958"/>
                  <a:pt x="1985" y="959"/>
                  <a:pt x="1991" y="957"/>
                </a:cubicBezTo>
                <a:cubicBezTo>
                  <a:pt x="1994" y="956"/>
                  <a:pt x="1997" y="954"/>
                  <a:pt x="2000" y="953"/>
                </a:cubicBezTo>
                <a:cubicBezTo>
                  <a:pt x="2004" y="950"/>
                  <a:pt x="2009" y="948"/>
                  <a:pt x="2015" y="947"/>
                </a:cubicBezTo>
                <a:cubicBezTo>
                  <a:pt x="2017" y="947"/>
                  <a:pt x="2019" y="945"/>
                  <a:pt x="2020" y="943"/>
                </a:cubicBezTo>
                <a:cubicBezTo>
                  <a:pt x="2024" y="937"/>
                  <a:pt x="2026" y="930"/>
                  <a:pt x="2024" y="923"/>
                </a:cubicBezTo>
                <a:cubicBezTo>
                  <a:pt x="2024" y="921"/>
                  <a:pt x="2023" y="920"/>
                  <a:pt x="2023" y="918"/>
                </a:cubicBezTo>
                <a:cubicBezTo>
                  <a:pt x="2023" y="916"/>
                  <a:pt x="2024" y="914"/>
                  <a:pt x="2025" y="912"/>
                </a:cubicBezTo>
                <a:cubicBezTo>
                  <a:pt x="2026" y="911"/>
                  <a:pt x="2026" y="910"/>
                  <a:pt x="2027" y="910"/>
                </a:cubicBezTo>
                <a:cubicBezTo>
                  <a:pt x="2031" y="906"/>
                  <a:pt x="2031" y="902"/>
                  <a:pt x="2029" y="898"/>
                </a:cubicBezTo>
                <a:cubicBezTo>
                  <a:pt x="2028" y="896"/>
                  <a:pt x="2027" y="894"/>
                  <a:pt x="2025" y="892"/>
                </a:cubicBezTo>
                <a:cubicBezTo>
                  <a:pt x="2024" y="891"/>
                  <a:pt x="2023" y="889"/>
                  <a:pt x="2021" y="889"/>
                </a:cubicBezTo>
                <a:cubicBezTo>
                  <a:pt x="2017" y="888"/>
                  <a:pt x="2013" y="888"/>
                  <a:pt x="2009" y="887"/>
                </a:cubicBezTo>
                <a:cubicBezTo>
                  <a:pt x="2007" y="887"/>
                  <a:pt x="2006" y="887"/>
                  <a:pt x="2005" y="888"/>
                </a:cubicBezTo>
                <a:cubicBezTo>
                  <a:pt x="2001" y="888"/>
                  <a:pt x="1998" y="890"/>
                  <a:pt x="1996" y="894"/>
                </a:cubicBezTo>
                <a:close/>
                <a:moveTo>
                  <a:pt x="3910" y="1031"/>
                </a:moveTo>
                <a:cubicBezTo>
                  <a:pt x="3910" y="1036"/>
                  <a:pt x="3915" y="1038"/>
                  <a:pt x="3916" y="1042"/>
                </a:cubicBezTo>
                <a:cubicBezTo>
                  <a:pt x="3918" y="1045"/>
                  <a:pt x="3919" y="1048"/>
                  <a:pt x="3920" y="1051"/>
                </a:cubicBezTo>
                <a:cubicBezTo>
                  <a:pt x="3921" y="1051"/>
                  <a:pt x="3922" y="1052"/>
                  <a:pt x="3923" y="1052"/>
                </a:cubicBezTo>
                <a:cubicBezTo>
                  <a:pt x="3927" y="1049"/>
                  <a:pt x="3930" y="1047"/>
                  <a:pt x="3934" y="1044"/>
                </a:cubicBezTo>
                <a:cubicBezTo>
                  <a:pt x="3935" y="1043"/>
                  <a:pt x="3935" y="1041"/>
                  <a:pt x="3934" y="1040"/>
                </a:cubicBezTo>
                <a:cubicBezTo>
                  <a:pt x="3930" y="1038"/>
                  <a:pt x="3926" y="1036"/>
                  <a:pt x="3922" y="1033"/>
                </a:cubicBezTo>
                <a:cubicBezTo>
                  <a:pt x="3922" y="1033"/>
                  <a:pt x="3922" y="1032"/>
                  <a:pt x="3922" y="1032"/>
                </a:cubicBezTo>
                <a:cubicBezTo>
                  <a:pt x="3924" y="1031"/>
                  <a:pt x="3926" y="1031"/>
                  <a:pt x="3928" y="1030"/>
                </a:cubicBezTo>
                <a:cubicBezTo>
                  <a:pt x="3935" y="1025"/>
                  <a:pt x="3940" y="1026"/>
                  <a:pt x="3946" y="1031"/>
                </a:cubicBezTo>
                <a:cubicBezTo>
                  <a:pt x="3949" y="1034"/>
                  <a:pt x="3953" y="1035"/>
                  <a:pt x="3957" y="1036"/>
                </a:cubicBezTo>
                <a:cubicBezTo>
                  <a:pt x="3958" y="1036"/>
                  <a:pt x="3959" y="1035"/>
                  <a:pt x="3959" y="1034"/>
                </a:cubicBezTo>
                <a:cubicBezTo>
                  <a:pt x="3960" y="1031"/>
                  <a:pt x="3960" y="1028"/>
                  <a:pt x="3961" y="1024"/>
                </a:cubicBezTo>
                <a:cubicBezTo>
                  <a:pt x="3962" y="1021"/>
                  <a:pt x="3964" y="1018"/>
                  <a:pt x="3969" y="1016"/>
                </a:cubicBezTo>
                <a:cubicBezTo>
                  <a:pt x="3972" y="1015"/>
                  <a:pt x="3976" y="1013"/>
                  <a:pt x="3979" y="1012"/>
                </a:cubicBezTo>
                <a:cubicBezTo>
                  <a:pt x="3982" y="1010"/>
                  <a:pt x="3983" y="1006"/>
                  <a:pt x="3981" y="1003"/>
                </a:cubicBezTo>
                <a:cubicBezTo>
                  <a:pt x="3979" y="1001"/>
                  <a:pt x="3978" y="999"/>
                  <a:pt x="3976" y="997"/>
                </a:cubicBezTo>
                <a:cubicBezTo>
                  <a:pt x="3974" y="995"/>
                  <a:pt x="3974" y="993"/>
                  <a:pt x="3973" y="992"/>
                </a:cubicBezTo>
                <a:cubicBezTo>
                  <a:pt x="3972" y="989"/>
                  <a:pt x="3971" y="988"/>
                  <a:pt x="3970" y="990"/>
                </a:cubicBezTo>
                <a:cubicBezTo>
                  <a:pt x="3964" y="993"/>
                  <a:pt x="3960" y="993"/>
                  <a:pt x="3954" y="991"/>
                </a:cubicBezTo>
                <a:cubicBezTo>
                  <a:pt x="3947" y="987"/>
                  <a:pt x="3941" y="983"/>
                  <a:pt x="3936" y="977"/>
                </a:cubicBezTo>
                <a:cubicBezTo>
                  <a:pt x="3932" y="973"/>
                  <a:pt x="3928" y="970"/>
                  <a:pt x="3923" y="967"/>
                </a:cubicBezTo>
                <a:cubicBezTo>
                  <a:pt x="3921" y="966"/>
                  <a:pt x="3919" y="967"/>
                  <a:pt x="3918" y="968"/>
                </a:cubicBezTo>
                <a:cubicBezTo>
                  <a:pt x="3917" y="969"/>
                  <a:pt x="3916" y="971"/>
                  <a:pt x="3917" y="973"/>
                </a:cubicBezTo>
                <a:cubicBezTo>
                  <a:pt x="3918" y="975"/>
                  <a:pt x="3919" y="978"/>
                  <a:pt x="3920" y="980"/>
                </a:cubicBezTo>
                <a:cubicBezTo>
                  <a:pt x="3921" y="983"/>
                  <a:pt x="3922" y="985"/>
                  <a:pt x="3922" y="988"/>
                </a:cubicBezTo>
                <a:cubicBezTo>
                  <a:pt x="3923" y="995"/>
                  <a:pt x="3923" y="1003"/>
                  <a:pt x="3924" y="1011"/>
                </a:cubicBezTo>
                <a:cubicBezTo>
                  <a:pt x="3924" y="1011"/>
                  <a:pt x="3922" y="1012"/>
                  <a:pt x="3921" y="1013"/>
                </a:cubicBezTo>
                <a:cubicBezTo>
                  <a:pt x="3920" y="1013"/>
                  <a:pt x="3919" y="1013"/>
                  <a:pt x="3918" y="1013"/>
                </a:cubicBezTo>
                <a:cubicBezTo>
                  <a:pt x="3915" y="1013"/>
                  <a:pt x="3915" y="1013"/>
                  <a:pt x="3915" y="1017"/>
                </a:cubicBezTo>
                <a:cubicBezTo>
                  <a:pt x="3915" y="1018"/>
                  <a:pt x="3915" y="1019"/>
                  <a:pt x="3915" y="1020"/>
                </a:cubicBezTo>
                <a:cubicBezTo>
                  <a:pt x="3913" y="1024"/>
                  <a:pt x="3910" y="1026"/>
                  <a:pt x="3910" y="1031"/>
                </a:cubicBezTo>
                <a:close/>
                <a:moveTo>
                  <a:pt x="1156" y="144"/>
                </a:moveTo>
                <a:cubicBezTo>
                  <a:pt x="1159" y="144"/>
                  <a:pt x="1162" y="144"/>
                  <a:pt x="1165" y="146"/>
                </a:cubicBezTo>
                <a:cubicBezTo>
                  <a:pt x="1165" y="146"/>
                  <a:pt x="1165" y="146"/>
                  <a:pt x="1165" y="147"/>
                </a:cubicBezTo>
                <a:cubicBezTo>
                  <a:pt x="1165" y="147"/>
                  <a:pt x="1165" y="146"/>
                  <a:pt x="1165" y="146"/>
                </a:cubicBezTo>
                <a:cubicBezTo>
                  <a:pt x="1166" y="148"/>
                  <a:pt x="1168" y="149"/>
                  <a:pt x="1169" y="150"/>
                </a:cubicBezTo>
                <a:cubicBezTo>
                  <a:pt x="1176" y="155"/>
                  <a:pt x="1180" y="161"/>
                  <a:pt x="1175" y="170"/>
                </a:cubicBezTo>
                <a:cubicBezTo>
                  <a:pt x="1174" y="172"/>
                  <a:pt x="1175" y="175"/>
                  <a:pt x="1178" y="177"/>
                </a:cubicBezTo>
                <a:cubicBezTo>
                  <a:pt x="1180" y="179"/>
                  <a:pt x="1184" y="180"/>
                  <a:pt x="1187" y="178"/>
                </a:cubicBezTo>
                <a:cubicBezTo>
                  <a:pt x="1191" y="175"/>
                  <a:pt x="1194" y="171"/>
                  <a:pt x="1195" y="166"/>
                </a:cubicBezTo>
                <a:cubicBezTo>
                  <a:pt x="1196" y="160"/>
                  <a:pt x="1198" y="154"/>
                  <a:pt x="1204" y="149"/>
                </a:cubicBezTo>
                <a:cubicBezTo>
                  <a:pt x="1205" y="148"/>
                  <a:pt x="1206" y="146"/>
                  <a:pt x="1207" y="144"/>
                </a:cubicBezTo>
                <a:cubicBezTo>
                  <a:pt x="1209" y="139"/>
                  <a:pt x="1209" y="135"/>
                  <a:pt x="1205" y="131"/>
                </a:cubicBezTo>
                <a:cubicBezTo>
                  <a:pt x="1204" y="130"/>
                  <a:pt x="1203" y="128"/>
                  <a:pt x="1204" y="126"/>
                </a:cubicBezTo>
                <a:cubicBezTo>
                  <a:pt x="1204" y="125"/>
                  <a:pt x="1204" y="124"/>
                  <a:pt x="1204" y="122"/>
                </a:cubicBezTo>
                <a:cubicBezTo>
                  <a:pt x="1204" y="115"/>
                  <a:pt x="1201" y="112"/>
                  <a:pt x="1194" y="115"/>
                </a:cubicBezTo>
                <a:cubicBezTo>
                  <a:pt x="1193" y="115"/>
                  <a:pt x="1192" y="116"/>
                  <a:pt x="1191" y="116"/>
                </a:cubicBezTo>
                <a:cubicBezTo>
                  <a:pt x="1191" y="116"/>
                  <a:pt x="1191" y="116"/>
                  <a:pt x="1191" y="116"/>
                </a:cubicBezTo>
                <a:cubicBezTo>
                  <a:pt x="1191" y="118"/>
                  <a:pt x="1191" y="118"/>
                  <a:pt x="1190" y="117"/>
                </a:cubicBezTo>
                <a:cubicBezTo>
                  <a:pt x="1191" y="117"/>
                  <a:pt x="1191" y="116"/>
                  <a:pt x="1191" y="116"/>
                </a:cubicBezTo>
                <a:cubicBezTo>
                  <a:pt x="1192" y="113"/>
                  <a:pt x="1192" y="110"/>
                  <a:pt x="1192" y="107"/>
                </a:cubicBezTo>
                <a:cubicBezTo>
                  <a:pt x="1192" y="101"/>
                  <a:pt x="1188" y="97"/>
                  <a:pt x="1183" y="97"/>
                </a:cubicBezTo>
                <a:cubicBezTo>
                  <a:pt x="1179" y="97"/>
                  <a:pt x="1176" y="98"/>
                  <a:pt x="1173" y="97"/>
                </a:cubicBezTo>
                <a:cubicBezTo>
                  <a:pt x="1172" y="97"/>
                  <a:pt x="1171" y="98"/>
                  <a:pt x="1170" y="99"/>
                </a:cubicBezTo>
                <a:cubicBezTo>
                  <a:pt x="1167" y="102"/>
                  <a:pt x="1164" y="105"/>
                  <a:pt x="1165" y="110"/>
                </a:cubicBezTo>
                <a:cubicBezTo>
                  <a:pt x="1166" y="111"/>
                  <a:pt x="1165" y="113"/>
                  <a:pt x="1165" y="115"/>
                </a:cubicBezTo>
                <a:cubicBezTo>
                  <a:pt x="1164" y="118"/>
                  <a:pt x="1164" y="118"/>
                  <a:pt x="1168" y="120"/>
                </a:cubicBezTo>
                <a:cubicBezTo>
                  <a:pt x="1168" y="120"/>
                  <a:pt x="1168" y="120"/>
                  <a:pt x="1168" y="120"/>
                </a:cubicBezTo>
                <a:cubicBezTo>
                  <a:pt x="1168" y="120"/>
                  <a:pt x="1168" y="120"/>
                  <a:pt x="1168" y="120"/>
                </a:cubicBezTo>
                <a:cubicBezTo>
                  <a:pt x="1169" y="119"/>
                  <a:pt x="1169" y="119"/>
                  <a:pt x="1169" y="119"/>
                </a:cubicBezTo>
                <a:cubicBezTo>
                  <a:pt x="1170" y="119"/>
                  <a:pt x="1169" y="119"/>
                  <a:pt x="1168" y="120"/>
                </a:cubicBezTo>
                <a:cubicBezTo>
                  <a:pt x="1168" y="120"/>
                  <a:pt x="1168" y="120"/>
                  <a:pt x="1168" y="120"/>
                </a:cubicBezTo>
                <a:cubicBezTo>
                  <a:pt x="1168" y="120"/>
                  <a:pt x="1168" y="120"/>
                  <a:pt x="1168" y="120"/>
                </a:cubicBezTo>
                <a:cubicBezTo>
                  <a:pt x="1168" y="122"/>
                  <a:pt x="1169" y="124"/>
                  <a:pt x="1169" y="126"/>
                </a:cubicBezTo>
                <a:cubicBezTo>
                  <a:pt x="1169" y="128"/>
                  <a:pt x="1168" y="129"/>
                  <a:pt x="1168" y="131"/>
                </a:cubicBezTo>
                <a:cubicBezTo>
                  <a:pt x="1167" y="133"/>
                  <a:pt x="1165" y="134"/>
                  <a:pt x="1164" y="133"/>
                </a:cubicBezTo>
                <a:cubicBezTo>
                  <a:pt x="1162" y="132"/>
                  <a:pt x="1160" y="131"/>
                  <a:pt x="1158" y="130"/>
                </a:cubicBezTo>
                <a:cubicBezTo>
                  <a:pt x="1157" y="129"/>
                  <a:pt x="1155" y="130"/>
                  <a:pt x="1154" y="131"/>
                </a:cubicBezTo>
                <a:cubicBezTo>
                  <a:pt x="1153" y="132"/>
                  <a:pt x="1152" y="134"/>
                  <a:pt x="1151" y="135"/>
                </a:cubicBezTo>
                <a:cubicBezTo>
                  <a:pt x="1149" y="139"/>
                  <a:pt x="1151" y="143"/>
                  <a:pt x="1156" y="144"/>
                </a:cubicBezTo>
                <a:close/>
                <a:moveTo>
                  <a:pt x="3637" y="1857"/>
                </a:moveTo>
                <a:cubicBezTo>
                  <a:pt x="3643" y="1857"/>
                  <a:pt x="3650" y="1858"/>
                  <a:pt x="3656" y="1861"/>
                </a:cubicBezTo>
                <a:cubicBezTo>
                  <a:pt x="3658" y="1862"/>
                  <a:pt x="3661" y="1862"/>
                  <a:pt x="3663" y="1860"/>
                </a:cubicBezTo>
                <a:cubicBezTo>
                  <a:pt x="3664" y="1858"/>
                  <a:pt x="3666" y="1859"/>
                  <a:pt x="3668" y="1859"/>
                </a:cubicBezTo>
                <a:cubicBezTo>
                  <a:pt x="3670" y="1860"/>
                  <a:pt x="3672" y="1860"/>
                  <a:pt x="3674" y="1860"/>
                </a:cubicBezTo>
                <a:cubicBezTo>
                  <a:pt x="3676" y="1860"/>
                  <a:pt x="3678" y="1858"/>
                  <a:pt x="3678" y="1856"/>
                </a:cubicBezTo>
                <a:cubicBezTo>
                  <a:pt x="3678" y="1854"/>
                  <a:pt x="3677" y="1852"/>
                  <a:pt x="3675" y="1852"/>
                </a:cubicBezTo>
                <a:cubicBezTo>
                  <a:pt x="3669" y="1852"/>
                  <a:pt x="3664" y="1851"/>
                  <a:pt x="3659" y="1847"/>
                </a:cubicBezTo>
                <a:cubicBezTo>
                  <a:pt x="3658" y="1846"/>
                  <a:pt x="3657" y="1846"/>
                  <a:pt x="3656" y="1846"/>
                </a:cubicBezTo>
                <a:cubicBezTo>
                  <a:pt x="3653" y="1846"/>
                  <a:pt x="3651" y="1846"/>
                  <a:pt x="3649" y="1846"/>
                </a:cubicBezTo>
                <a:cubicBezTo>
                  <a:pt x="3647" y="1846"/>
                  <a:pt x="3646" y="1845"/>
                  <a:pt x="3645" y="1844"/>
                </a:cubicBezTo>
                <a:cubicBezTo>
                  <a:pt x="3644" y="1843"/>
                  <a:pt x="3646" y="1841"/>
                  <a:pt x="3648" y="1841"/>
                </a:cubicBezTo>
                <a:cubicBezTo>
                  <a:pt x="3649" y="1841"/>
                  <a:pt x="3650" y="1841"/>
                  <a:pt x="3651" y="1840"/>
                </a:cubicBezTo>
                <a:cubicBezTo>
                  <a:pt x="3653" y="1840"/>
                  <a:pt x="3655" y="1840"/>
                  <a:pt x="3655" y="1838"/>
                </a:cubicBezTo>
                <a:cubicBezTo>
                  <a:pt x="3655" y="1837"/>
                  <a:pt x="3652" y="1836"/>
                  <a:pt x="3651" y="1836"/>
                </a:cubicBezTo>
                <a:cubicBezTo>
                  <a:pt x="3644" y="1835"/>
                  <a:pt x="3638" y="1835"/>
                  <a:pt x="3631" y="1833"/>
                </a:cubicBezTo>
                <a:cubicBezTo>
                  <a:pt x="3628" y="1832"/>
                  <a:pt x="3625" y="1831"/>
                  <a:pt x="3622" y="1829"/>
                </a:cubicBezTo>
                <a:cubicBezTo>
                  <a:pt x="3618" y="1827"/>
                  <a:pt x="3614" y="1827"/>
                  <a:pt x="3611" y="1832"/>
                </a:cubicBezTo>
                <a:cubicBezTo>
                  <a:pt x="3610" y="1834"/>
                  <a:pt x="3607" y="1834"/>
                  <a:pt x="3605" y="1834"/>
                </a:cubicBezTo>
                <a:cubicBezTo>
                  <a:pt x="3602" y="1834"/>
                  <a:pt x="3600" y="1834"/>
                  <a:pt x="3597" y="1834"/>
                </a:cubicBezTo>
                <a:cubicBezTo>
                  <a:pt x="3592" y="1833"/>
                  <a:pt x="3588" y="1832"/>
                  <a:pt x="3584" y="1828"/>
                </a:cubicBezTo>
                <a:cubicBezTo>
                  <a:pt x="3580" y="1823"/>
                  <a:pt x="3573" y="1822"/>
                  <a:pt x="3567" y="1822"/>
                </a:cubicBezTo>
                <a:cubicBezTo>
                  <a:pt x="3561" y="1822"/>
                  <a:pt x="3556" y="1820"/>
                  <a:pt x="3550" y="1820"/>
                </a:cubicBezTo>
                <a:cubicBezTo>
                  <a:pt x="3549" y="1825"/>
                  <a:pt x="3547" y="1828"/>
                  <a:pt x="3545" y="1832"/>
                </a:cubicBezTo>
                <a:cubicBezTo>
                  <a:pt x="3544" y="1833"/>
                  <a:pt x="3545" y="1835"/>
                  <a:pt x="3546" y="1836"/>
                </a:cubicBezTo>
                <a:cubicBezTo>
                  <a:pt x="3550" y="1837"/>
                  <a:pt x="3554" y="1837"/>
                  <a:pt x="3556" y="1841"/>
                </a:cubicBezTo>
                <a:cubicBezTo>
                  <a:pt x="3557" y="1843"/>
                  <a:pt x="3560" y="1844"/>
                  <a:pt x="3562" y="1844"/>
                </a:cubicBezTo>
                <a:cubicBezTo>
                  <a:pt x="3566" y="1844"/>
                  <a:pt x="3570" y="1845"/>
                  <a:pt x="3574" y="1847"/>
                </a:cubicBezTo>
                <a:cubicBezTo>
                  <a:pt x="3577" y="1849"/>
                  <a:pt x="3580" y="1849"/>
                  <a:pt x="3584" y="1848"/>
                </a:cubicBezTo>
                <a:cubicBezTo>
                  <a:pt x="3591" y="1848"/>
                  <a:pt x="3598" y="1848"/>
                  <a:pt x="3605" y="1852"/>
                </a:cubicBezTo>
                <a:cubicBezTo>
                  <a:pt x="3611" y="1855"/>
                  <a:pt x="3618" y="1856"/>
                  <a:pt x="3625" y="1856"/>
                </a:cubicBezTo>
                <a:cubicBezTo>
                  <a:pt x="3629" y="1857"/>
                  <a:pt x="3633" y="1857"/>
                  <a:pt x="3637" y="1857"/>
                </a:cubicBezTo>
                <a:close/>
                <a:moveTo>
                  <a:pt x="3757" y="1469"/>
                </a:moveTo>
                <a:cubicBezTo>
                  <a:pt x="3754" y="1469"/>
                  <a:pt x="3750" y="1469"/>
                  <a:pt x="3746" y="1467"/>
                </a:cubicBezTo>
                <a:cubicBezTo>
                  <a:pt x="3741" y="1465"/>
                  <a:pt x="3738" y="1469"/>
                  <a:pt x="3736" y="1473"/>
                </a:cubicBezTo>
                <a:cubicBezTo>
                  <a:pt x="3735" y="1475"/>
                  <a:pt x="3735" y="1477"/>
                  <a:pt x="3735" y="1479"/>
                </a:cubicBezTo>
                <a:cubicBezTo>
                  <a:pt x="3734" y="1485"/>
                  <a:pt x="3733" y="1491"/>
                  <a:pt x="3733" y="1497"/>
                </a:cubicBezTo>
                <a:cubicBezTo>
                  <a:pt x="3733" y="1500"/>
                  <a:pt x="3732" y="1501"/>
                  <a:pt x="3730" y="1503"/>
                </a:cubicBezTo>
                <a:cubicBezTo>
                  <a:pt x="3729" y="1503"/>
                  <a:pt x="3729" y="1505"/>
                  <a:pt x="3729" y="1506"/>
                </a:cubicBezTo>
                <a:cubicBezTo>
                  <a:pt x="3730" y="1511"/>
                  <a:pt x="3731" y="1517"/>
                  <a:pt x="3733" y="1522"/>
                </a:cubicBezTo>
                <a:cubicBezTo>
                  <a:pt x="3735" y="1525"/>
                  <a:pt x="3737" y="1528"/>
                  <a:pt x="3741" y="1529"/>
                </a:cubicBezTo>
                <a:cubicBezTo>
                  <a:pt x="3741" y="1529"/>
                  <a:pt x="3741" y="1529"/>
                  <a:pt x="3741" y="1529"/>
                </a:cubicBezTo>
                <a:cubicBezTo>
                  <a:pt x="3741" y="1528"/>
                  <a:pt x="3742" y="1528"/>
                  <a:pt x="3742" y="1529"/>
                </a:cubicBezTo>
                <a:cubicBezTo>
                  <a:pt x="3742" y="1529"/>
                  <a:pt x="3742" y="1529"/>
                  <a:pt x="3741" y="1529"/>
                </a:cubicBezTo>
                <a:cubicBezTo>
                  <a:pt x="3741" y="1529"/>
                  <a:pt x="3741" y="1529"/>
                  <a:pt x="3741" y="1529"/>
                </a:cubicBezTo>
                <a:cubicBezTo>
                  <a:pt x="3741" y="1534"/>
                  <a:pt x="3742" y="1538"/>
                  <a:pt x="3748" y="1540"/>
                </a:cubicBezTo>
                <a:cubicBezTo>
                  <a:pt x="3749" y="1540"/>
                  <a:pt x="3750" y="1541"/>
                  <a:pt x="3751" y="1542"/>
                </a:cubicBezTo>
                <a:cubicBezTo>
                  <a:pt x="3751" y="1542"/>
                  <a:pt x="3751" y="1542"/>
                  <a:pt x="3751" y="1542"/>
                </a:cubicBezTo>
                <a:cubicBezTo>
                  <a:pt x="3751" y="1542"/>
                  <a:pt x="3751" y="1542"/>
                  <a:pt x="3752" y="1542"/>
                </a:cubicBezTo>
                <a:cubicBezTo>
                  <a:pt x="3751" y="1542"/>
                  <a:pt x="3751" y="1542"/>
                  <a:pt x="3751" y="1542"/>
                </a:cubicBezTo>
                <a:cubicBezTo>
                  <a:pt x="3753" y="1541"/>
                  <a:pt x="3755" y="1540"/>
                  <a:pt x="3758" y="1539"/>
                </a:cubicBezTo>
                <a:cubicBezTo>
                  <a:pt x="3759" y="1538"/>
                  <a:pt x="3761" y="1538"/>
                  <a:pt x="3762" y="1539"/>
                </a:cubicBezTo>
                <a:cubicBezTo>
                  <a:pt x="3763" y="1540"/>
                  <a:pt x="3764" y="1541"/>
                  <a:pt x="3765" y="1542"/>
                </a:cubicBezTo>
                <a:cubicBezTo>
                  <a:pt x="3768" y="1544"/>
                  <a:pt x="3771" y="1545"/>
                  <a:pt x="3775" y="1542"/>
                </a:cubicBezTo>
                <a:cubicBezTo>
                  <a:pt x="3774" y="1542"/>
                  <a:pt x="3774" y="1542"/>
                  <a:pt x="3774" y="1542"/>
                </a:cubicBezTo>
                <a:cubicBezTo>
                  <a:pt x="3775" y="1542"/>
                  <a:pt x="3775" y="1542"/>
                  <a:pt x="3775" y="1542"/>
                </a:cubicBezTo>
                <a:cubicBezTo>
                  <a:pt x="3775" y="1542"/>
                  <a:pt x="3775" y="1542"/>
                  <a:pt x="3775" y="1542"/>
                </a:cubicBezTo>
                <a:cubicBezTo>
                  <a:pt x="3775" y="1542"/>
                  <a:pt x="3775" y="1542"/>
                  <a:pt x="3775" y="1542"/>
                </a:cubicBezTo>
                <a:cubicBezTo>
                  <a:pt x="3776" y="1543"/>
                  <a:pt x="3778" y="1544"/>
                  <a:pt x="3778" y="1545"/>
                </a:cubicBezTo>
                <a:cubicBezTo>
                  <a:pt x="3779" y="1549"/>
                  <a:pt x="3781" y="1552"/>
                  <a:pt x="3785" y="1553"/>
                </a:cubicBezTo>
                <a:cubicBezTo>
                  <a:pt x="3787" y="1554"/>
                  <a:pt x="3786" y="1555"/>
                  <a:pt x="3785" y="1557"/>
                </a:cubicBezTo>
                <a:cubicBezTo>
                  <a:pt x="3780" y="1561"/>
                  <a:pt x="3780" y="1562"/>
                  <a:pt x="3786" y="1564"/>
                </a:cubicBezTo>
                <a:cubicBezTo>
                  <a:pt x="3787" y="1565"/>
                  <a:pt x="3789" y="1566"/>
                  <a:pt x="3790" y="1566"/>
                </a:cubicBezTo>
                <a:cubicBezTo>
                  <a:pt x="3791" y="1566"/>
                  <a:pt x="3793" y="1565"/>
                  <a:pt x="3793" y="1565"/>
                </a:cubicBezTo>
                <a:cubicBezTo>
                  <a:pt x="3792" y="1561"/>
                  <a:pt x="3794" y="1558"/>
                  <a:pt x="3794" y="1554"/>
                </a:cubicBezTo>
                <a:cubicBezTo>
                  <a:pt x="3794" y="1553"/>
                  <a:pt x="3793" y="1551"/>
                  <a:pt x="3792" y="1550"/>
                </a:cubicBezTo>
                <a:cubicBezTo>
                  <a:pt x="3790" y="1548"/>
                  <a:pt x="3788" y="1546"/>
                  <a:pt x="3788" y="1543"/>
                </a:cubicBezTo>
                <a:cubicBezTo>
                  <a:pt x="3787" y="1538"/>
                  <a:pt x="3784" y="1536"/>
                  <a:pt x="3780" y="1534"/>
                </a:cubicBezTo>
                <a:cubicBezTo>
                  <a:pt x="3778" y="1533"/>
                  <a:pt x="3776" y="1531"/>
                  <a:pt x="3774" y="1530"/>
                </a:cubicBezTo>
                <a:cubicBezTo>
                  <a:pt x="3772" y="1529"/>
                  <a:pt x="3770" y="1529"/>
                  <a:pt x="3768" y="1529"/>
                </a:cubicBezTo>
                <a:cubicBezTo>
                  <a:pt x="3767" y="1530"/>
                  <a:pt x="3766" y="1530"/>
                  <a:pt x="3765" y="1530"/>
                </a:cubicBezTo>
                <a:cubicBezTo>
                  <a:pt x="3764" y="1531"/>
                  <a:pt x="3764" y="1531"/>
                  <a:pt x="3763" y="1531"/>
                </a:cubicBezTo>
                <a:cubicBezTo>
                  <a:pt x="3762" y="1531"/>
                  <a:pt x="3761" y="1530"/>
                  <a:pt x="3760" y="1530"/>
                </a:cubicBezTo>
                <a:cubicBezTo>
                  <a:pt x="3759" y="1529"/>
                  <a:pt x="3759" y="1528"/>
                  <a:pt x="3760" y="1526"/>
                </a:cubicBezTo>
                <a:cubicBezTo>
                  <a:pt x="3763" y="1521"/>
                  <a:pt x="3763" y="1521"/>
                  <a:pt x="3758" y="1520"/>
                </a:cubicBezTo>
                <a:cubicBezTo>
                  <a:pt x="3756" y="1520"/>
                  <a:pt x="3755" y="1519"/>
                  <a:pt x="3755" y="1517"/>
                </a:cubicBezTo>
                <a:cubicBezTo>
                  <a:pt x="3755" y="1514"/>
                  <a:pt x="3755" y="1510"/>
                  <a:pt x="3758" y="1508"/>
                </a:cubicBezTo>
                <a:cubicBezTo>
                  <a:pt x="3758" y="1506"/>
                  <a:pt x="3760" y="1505"/>
                  <a:pt x="3761" y="1504"/>
                </a:cubicBezTo>
                <a:cubicBezTo>
                  <a:pt x="3765" y="1498"/>
                  <a:pt x="3767" y="1491"/>
                  <a:pt x="3763" y="1484"/>
                </a:cubicBezTo>
                <a:cubicBezTo>
                  <a:pt x="3761" y="1480"/>
                  <a:pt x="3760" y="1476"/>
                  <a:pt x="3761" y="1471"/>
                </a:cubicBezTo>
                <a:cubicBezTo>
                  <a:pt x="3761" y="1470"/>
                  <a:pt x="3760" y="1468"/>
                  <a:pt x="3757" y="1469"/>
                </a:cubicBezTo>
                <a:close/>
                <a:moveTo>
                  <a:pt x="4029" y="2417"/>
                </a:moveTo>
                <a:cubicBezTo>
                  <a:pt x="4024" y="2418"/>
                  <a:pt x="4019" y="2418"/>
                  <a:pt x="4013" y="2420"/>
                </a:cubicBezTo>
                <a:cubicBezTo>
                  <a:pt x="4009" y="2421"/>
                  <a:pt x="4005" y="2420"/>
                  <a:pt x="4001" y="2417"/>
                </a:cubicBezTo>
                <a:cubicBezTo>
                  <a:pt x="3999" y="2415"/>
                  <a:pt x="3996" y="2413"/>
                  <a:pt x="3994" y="2411"/>
                </a:cubicBezTo>
                <a:cubicBezTo>
                  <a:pt x="3992" y="2410"/>
                  <a:pt x="3990" y="2410"/>
                  <a:pt x="3989" y="2410"/>
                </a:cubicBezTo>
                <a:cubicBezTo>
                  <a:pt x="3987" y="2410"/>
                  <a:pt x="3985" y="2413"/>
                  <a:pt x="3985" y="2415"/>
                </a:cubicBezTo>
                <a:cubicBezTo>
                  <a:pt x="3985" y="2416"/>
                  <a:pt x="3985" y="2417"/>
                  <a:pt x="3985" y="2418"/>
                </a:cubicBezTo>
                <a:cubicBezTo>
                  <a:pt x="3984" y="2428"/>
                  <a:pt x="3986" y="2438"/>
                  <a:pt x="3983" y="2447"/>
                </a:cubicBezTo>
                <a:cubicBezTo>
                  <a:pt x="3983" y="2448"/>
                  <a:pt x="3983" y="2449"/>
                  <a:pt x="3983" y="2452"/>
                </a:cubicBezTo>
                <a:cubicBezTo>
                  <a:pt x="3983" y="2455"/>
                  <a:pt x="3984" y="2460"/>
                  <a:pt x="3985" y="2465"/>
                </a:cubicBezTo>
                <a:cubicBezTo>
                  <a:pt x="3986" y="2471"/>
                  <a:pt x="3990" y="2473"/>
                  <a:pt x="3995" y="2474"/>
                </a:cubicBezTo>
                <a:cubicBezTo>
                  <a:pt x="3996" y="2475"/>
                  <a:pt x="3998" y="2475"/>
                  <a:pt x="3999" y="2474"/>
                </a:cubicBezTo>
                <a:cubicBezTo>
                  <a:pt x="4001" y="2473"/>
                  <a:pt x="4003" y="2471"/>
                  <a:pt x="4005" y="2469"/>
                </a:cubicBezTo>
                <a:cubicBezTo>
                  <a:pt x="4007" y="2466"/>
                  <a:pt x="4010" y="2465"/>
                  <a:pt x="4014" y="2466"/>
                </a:cubicBezTo>
                <a:cubicBezTo>
                  <a:pt x="4016" y="2466"/>
                  <a:pt x="4018" y="2465"/>
                  <a:pt x="4019" y="2463"/>
                </a:cubicBezTo>
                <a:cubicBezTo>
                  <a:pt x="4021" y="2456"/>
                  <a:pt x="4022" y="2449"/>
                  <a:pt x="4028" y="2444"/>
                </a:cubicBezTo>
                <a:cubicBezTo>
                  <a:pt x="4029" y="2443"/>
                  <a:pt x="4029" y="2442"/>
                  <a:pt x="4029" y="2441"/>
                </a:cubicBezTo>
                <a:cubicBezTo>
                  <a:pt x="4031" y="2436"/>
                  <a:pt x="4032" y="2430"/>
                  <a:pt x="4034" y="2425"/>
                </a:cubicBezTo>
                <a:cubicBezTo>
                  <a:pt x="4034" y="2424"/>
                  <a:pt x="4034" y="2423"/>
                  <a:pt x="4034" y="2422"/>
                </a:cubicBezTo>
                <a:cubicBezTo>
                  <a:pt x="4035" y="2419"/>
                  <a:pt x="4032" y="2416"/>
                  <a:pt x="4029" y="2417"/>
                </a:cubicBezTo>
                <a:close/>
                <a:moveTo>
                  <a:pt x="1102" y="1453"/>
                </a:moveTo>
                <a:cubicBezTo>
                  <a:pt x="1104" y="1452"/>
                  <a:pt x="1105" y="1449"/>
                  <a:pt x="1103" y="1447"/>
                </a:cubicBezTo>
                <a:cubicBezTo>
                  <a:pt x="1102" y="1446"/>
                  <a:pt x="1100" y="1444"/>
                  <a:pt x="1098" y="1443"/>
                </a:cubicBezTo>
                <a:cubicBezTo>
                  <a:pt x="1087" y="1438"/>
                  <a:pt x="1077" y="1432"/>
                  <a:pt x="1066" y="1428"/>
                </a:cubicBezTo>
                <a:cubicBezTo>
                  <a:pt x="1062" y="1427"/>
                  <a:pt x="1058" y="1425"/>
                  <a:pt x="1055" y="1423"/>
                </a:cubicBezTo>
                <a:cubicBezTo>
                  <a:pt x="1051" y="1421"/>
                  <a:pt x="1048" y="1419"/>
                  <a:pt x="1043" y="1417"/>
                </a:cubicBezTo>
                <a:cubicBezTo>
                  <a:pt x="1041" y="1417"/>
                  <a:pt x="1039" y="1416"/>
                  <a:pt x="1038" y="1414"/>
                </a:cubicBezTo>
                <a:cubicBezTo>
                  <a:pt x="1033" y="1410"/>
                  <a:pt x="1027" y="1408"/>
                  <a:pt x="1021" y="1408"/>
                </a:cubicBezTo>
                <a:cubicBezTo>
                  <a:pt x="1016" y="1408"/>
                  <a:pt x="1012" y="1407"/>
                  <a:pt x="1008" y="1406"/>
                </a:cubicBezTo>
                <a:cubicBezTo>
                  <a:pt x="1006" y="1405"/>
                  <a:pt x="1003" y="1404"/>
                  <a:pt x="1000" y="1404"/>
                </a:cubicBezTo>
                <a:cubicBezTo>
                  <a:pt x="993" y="1406"/>
                  <a:pt x="985" y="1407"/>
                  <a:pt x="978" y="1410"/>
                </a:cubicBezTo>
                <a:cubicBezTo>
                  <a:pt x="971" y="1413"/>
                  <a:pt x="968" y="1419"/>
                  <a:pt x="963" y="1425"/>
                </a:cubicBezTo>
                <a:cubicBezTo>
                  <a:pt x="963" y="1425"/>
                  <a:pt x="964" y="1426"/>
                  <a:pt x="965" y="1426"/>
                </a:cubicBezTo>
                <a:cubicBezTo>
                  <a:pt x="967" y="1426"/>
                  <a:pt x="969" y="1426"/>
                  <a:pt x="971" y="1425"/>
                </a:cubicBezTo>
                <a:cubicBezTo>
                  <a:pt x="979" y="1421"/>
                  <a:pt x="988" y="1420"/>
                  <a:pt x="995" y="1415"/>
                </a:cubicBezTo>
                <a:cubicBezTo>
                  <a:pt x="996" y="1414"/>
                  <a:pt x="1000" y="1415"/>
                  <a:pt x="1001" y="1416"/>
                </a:cubicBezTo>
                <a:cubicBezTo>
                  <a:pt x="1002" y="1419"/>
                  <a:pt x="1004" y="1421"/>
                  <a:pt x="1007" y="1421"/>
                </a:cubicBezTo>
                <a:cubicBezTo>
                  <a:pt x="1010" y="1422"/>
                  <a:pt x="1014" y="1423"/>
                  <a:pt x="1018" y="1424"/>
                </a:cubicBezTo>
                <a:cubicBezTo>
                  <a:pt x="1021" y="1424"/>
                  <a:pt x="1023" y="1425"/>
                  <a:pt x="1026" y="1426"/>
                </a:cubicBezTo>
                <a:cubicBezTo>
                  <a:pt x="1031" y="1429"/>
                  <a:pt x="1036" y="1430"/>
                  <a:pt x="1041" y="1430"/>
                </a:cubicBezTo>
                <a:cubicBezTo>
                  <a:pt x="1044" y="1431"/>
                  <a:pt x="1047" y="1432"/>
                  <a:pt x="1048" y="1435"/>
                </a:cubicBezTo>
                <a:cubicBezTo>
                  <a:pt x="1050" y="1441"/>
                  <a:pt x="1054" y="1443"/>
                  <a:pt x="1060" y="1444"/>
                </a:cubicBezTo>
                <a:cubicBezTo>
                  <a:pt x="1061" y="1444"/>
                  <a:pt x="1061" y="1445"/>
                  <a:pt x="1062" y="1445"/>
                </a:cubicBezTo>
                <a:cubicBezTo>
                  <a:pt x="1063" y="1445"/>
                  <a:pt x="1064" y="1447"/>
                  <a:pt x="1063" y="1449"/>
                </a:cubicBezTo>
                <a:cubicBezTo>
                  <a:pt x="1062" y="1450"/>
                  <a:pt x="1062" y="1451"/>
                  <a:pt x="1061" y="1452"/>
                </a:cubicBezTo>
                <a:cubicBezTo>
                  <a:pt x="1060" y="1454"/>
                  <a:pt x="1061" y="1456"/>
                  <a:pt x="1063" y="1456"/>
                </a:cubicBezTo>
                <a:cubicBezTo>
                  <a:pt x="1067" y="1457"/>
                  <a:pt x="1071" y="1456"/>
                  <a:pt x="1078" y="1456"/>
                </a:cubicBezTo>
                <a:cubicBezTo>
                  <a:pt x="1085" y="1459"/>
                  <a:pt x="1093" y="1455"/>
                  <a:pt x="1102" y="1453"/>
                </a:cubicBezTo>
                <a:close/>
                <a:moveTo>
                  <a:pt x="2988" y="136"/>
                </a:moveTo>
                <a:cubicBezTo>
                  <a:pt x="2988" y="137"/>
                  <a:pt x="2988" y="139"/>
                  <a:pt x="2988" y="138"/>
                </a:cubicBezTo>
                <a:cubicBezTo>
                  <a:pt x="2988" y="142"/>
                  <a:pt x="2987" y="144"/>
                  <a:pt x="2988" y="145"/>
                </a:cubicBezTo>
                <a:cubicBezTo>
                  <a:pt x="2989" y="151"/>
                  <a:pt x="2990" y="157"/>
                  <a:pt x="2992" y="163"/>
                </a:cubicBezTo>
                <a:cubicBezTo>
                  <a:pt x="2993" y="167"/>
                  <a:pt x="2995" y="171"/>
                  <a:pt x="2998" y="174"/>
                </a:cubicBezTo>
                <a:cubicBezTo>
                  <a:pt x="2999" y="175"/>
                  <a:pt x="3000" y="175"/>
                  <a:pt x="3001" y="175"/>
                </a:cubicBezTo>
                <a:cubicBezTo>
                  <a:pt x="3002" y="174"/>
                  <a:pt x="3003" y="174"/>
                  <a:pt x="3004" y="173"/>
                </a:cubicBezTo>
                <a:cubicBezTo>
                  <a:pt x="3010" y="164"/>
                  <a:pt x="3010" y="164"/>
                  <a:pt x="3022" y="157"/>
                </a:cubicBezTo>
                <a:cubicBezTo>
                  <a:pt x="3025" y="155"/>
                  <a:pt x="3028" y="152"/>
                  <a:pt x="3031" y="150"/>
                </a:cubicBezTo>
                <a:cubicBezTo>
                  <a:pt x="3032" y="148"/>
                  <a:pt x="3034" y="145"/>
                  <a:pt x="3035" y="143"/>
                </a:cubicBezTo>
                <a:cubicBezTo>
                  <a:pt x="3036" y="141"/>
                  <a:pt x="3036" y="139"/>
                  <a:pt x="3035" y="138"/>
                </a:cubicBezTo>
                <a:cubicBezTo>
                  <a:pt x="3034" y="135"/>
                  <a:pt x="3033" y="133"/>
                  <a:pt x="3031" y="131"/>
                </a:cubicBezTo>
                <a:cubicBezTo>
                  <a:pt x="3030" y="127"/>
                  <a:pt x="3027" y="124"/>
                  <a:pt x="3023" y="123"/>
                </a:cubicBezTo>
                <a:cubicBezTo>
                  <a:pt x="3018" y="122"/>
                  <a:pt x="3013" y="119"/>
                  <a:pt x="3008" y="117"/>
                </a:cubicBezTo>
                <a:cubicBezTo>
                  <a:pt x="3003" y="115"/>
                  <a:pt x="2998" y="114"/>
                  <a:pt x="2993" y="110"/>
                </a:cubicBezTo>
                <a:cubicBezTo>
                  <a:pt x="2992" y="109"/>
                  <a:pt x="2989" y="109"/>
                  <a:pt x="2987" y="108"/>
                </a:cubicBezTo>
                <a:cubicBezTo>
                  <a:pt x="2986" y="108"/>
                  <a:pt x="2985" y="109"/>
                  <a:pt x="2984" y="109"/>
                </a:cubicBezTo>
                <a:cubicBezTo>
                  <a:pt x="2982" y="114"/>
                  <a:pt x="2979" y="119"/>
                  <a:pt x="2983" y="125"/>
                </a:cubicBezTo>
                <a:cubicBezTo>
                  <a:pt x="2985" y="128"/>
                  <a:pt x="2986" y="132"/>
                  <a:pt x="2988" y="136"/>
                </a:cubicBezTo>
                <a:close/>
                <a:moveTo>
                  <a:pt x="3815" y="1593"/>
                </a:moveTo>
                <a:cubicBezTo>
                  <a:pt x="3815" y="1594"/>
                  <a:pt x="3815" y="1594"/>
                  <a:pt x="3815" y="1595"/>
                </a:cubicBezTo>
                <a:cubicBezTo>
                  <a:pt x="3814" y="1598"/>
                  <a:pt x="3814" y="1602"/>
                  <a:pt x="3812" y="1604"/>
                </a:cubicBezTo>
                <a:cubicBezTo>
                  <a:pt x="3810" y="1607"/>
                  <a:pt x="3807" y="1608"/>
                  <a:pt x="3805" y="1611"/>
                </a:cubicBezTo>
                <a:cubicBezTo>
                  <a:pt x="3803" y="1612"/>
                  <a:pt x="3803" y="1613"/>
                  <a:pt x="3801" y="1614"/>
                </a:cubicBezTo>
                <a:cubicBezTo>
                  <a:pt x="3800" y="1615"/>
                  <a:pt x="3799" y="1616"/>
                  <a:pt x="3798" y="1617"/>
                </a:cubicBezTo>
                <a:cubicBezTo>
                  <a:pt x="3796" y="1619"/>
                  <a:pt x="3795" y="1618"/>
                  <a:pt x="3794" y="1616"/>
                </a:cubicBezTo>
                <a:cubicBezTo>
                  <a:pt x="3790" y="1613"/>
                  <a:pt x="3788" y="1611"/>
                  <a:pt x="3783" y="1616"/>
                </a:cubicBezTo>
                <a:cubicBezTo>
                  <a:pt x="3780" y="1619"/>
                  <a:pt x="3777" y="1621"/>
                  <a:pt x="3773" y="1622"/>
                </a:cubicBezTo>
                <a:cubicBezTo>
                  <a:pt x="3769" y="1624"/>
                  <a:pt x="3768" y="1628"/>
                  <a:pt x="3768" y="1632"/>
                </a:cubicBezTo>
                <a:cubicBezTo>
                  <a:pt x="3768" y="1632"/>
                  <a:pt x="3768" y="1633"/>
                  <a:pt x="3768" y="1633"/>
                </a:cubicBezTo>
                <a:cubicBezTo>
                  <a:pt x="3768" y="1635"/>
                  <a:pt x="3768" y="1636"/>
                  <a:pt x="3769" y="1636"/>
                </a:cubicBezTo>
                <a:cubicBezTo>
                  <a:pt x="3769" y="1637"/>
                  <a:pt x="3771" y="1636"/>
                  <a:pt x="3772" y="1636"/>
                </a:cubicBezTo>
                <a:cubicBezTo>
                  <a:pt x="3773" y="1634"/>
                  <a:pt x="3775" y="1633"/>
                  <a:pt x="3776" y="1631"/>
                </a:cubicBezTo>
                <a:cubicBezTo>
                  <a:pt x="3781" y="1632"/>
                  <a:pt x="3786" y="1632"/>
                  <a:pt x="3791" y="1630"/>
                </a:cubicBezTo>
                <a:cubicBezTo>
                  <a:pt x="3792" y="1630"/>
                  <a:pt x="3796" y="1632"/>
                  <a:pt x="3796" y="1634"/>
                </a:cubicBezTo>
                <a:cubicBezTo>
                  <a:pt x="3796" y="1636"/>
                  <a:pt x="3796" y="1638"/>
                  <a:pt x="3796" y="1640"/>
                </a:cubicBezTo>
                <a:cubicBezTo>
                  <a:pt x="3796" y="1648"/>
                  <a:pt x="3800" y="1653"/>
                  <a:pt x="3807" y="1655"/>
                </a:cubicBezTo>
                <a:cubicBezTo>
                  <a:pt x="3810" y="1656"/>
                  <a:pt x="3813" y="1656"/>
                  <a:pt x="3815" y="1656"/>
                </a:cubicBezTo>
                <a:cubicBezTo>
                  <a:pt x="3817" y="1656"/>
                  <a:pt x="3818" y="1655"/>
                  <a:pt x="3819" y="1654"/>
                </a:cubicBezTo>
                <a:cubicBezTo>
                  <a:pt x="3821" y="1653"/>
                  <a:pt x="3821" y="1650"/>
                  <a:pt x="3821" y="1648"/>
                </a:cubicBezTo>
                <a:cubicBezTo>
                  <a:pt x="3820" y="1645"/>
                  <a:pt x="3818" y="1642"/>
                  <a:pt x="3819" y="1639"/>
                </a:cubicBezTo>
                <a:cubicBezTo>
                  <a:pt x="3819" y="1638"/>
                  <a:pt x="3821" y="1637"/>
                  <a:pt x="3821" y="1637"/>
                </a:cubicBezTo>
                <a:cubicBezTo>
                  <a:pt x="3822" y="1637"/>
                  <a:pt x="3823" y="1639"/>
                  <a:pt x="3824" y="1639"/>
                </a:cubicBezTo>
                <a:cubicBezTo>
                  <a:pt x="3826" y="1642"/>
                  <a:pt x="3826" y="1642"/>
                  <a:pt x="3828" y="1640"/>
                </a:cubicBezTo>
                <a:cubicBezTo>
                  <a:pt x="3832" y="1637"/>
                  <a:pt x="3833" y="1633"/>
                  <a:pt x="3832" y="1629"/>
                </a:cubicBezTo>
                <a:cubicBezTo>
                  <a:pt x="3830" y="1623"/>
                  <a:pt x="3829" y="1618"/>
                  <a:pt x="3828" y="1613"/>
                </a:cubicBezTo>
                <a:cubicBezTo>
                  <a:pt x="3827" y="1609"/>
                  <a:pt x="3826" y="1606"/>
                  <a:pt x="3824" y="1604"/>
                </a:cubicBezTo>
                <a:cubicBezTo>
                  <a:pt x="3821" y="1601"/>
                  <a:pt x="3818" y="1599"/>
                  <a:pt x="3817" y="1595"/>
                </a:cubicBezTo>
                <a:cubicBezTo>
                  <a:pt x="3817" y="1593"/>
                  <a:pt x="3816" y="1593"/>
                  <a:pt x="3815" y="1593"/>
                </a:cubicBezTo>
                <a:close/>
                <a:moveTo>
                  <a:pt x="1109" y="1481"/>
                </a:moveTo>
                <a:cubicBezTo>
                  <a:pt x="1112" y="1481"/>
                  <a:pt x="1115" y="1480"/>
                  <a:pt x="1118" y="1480"/>
                </a:cubicBezTo>
                <a:cubicBezTo>
                  <a:pt x="1122" y="1481"/>
                  <a:pt x="1126" y="1481"/>
                  <a:pt x="1130" y="1482"/>
                </a:cubicBezTo>
                <a:cubicBezTo>
                  <a:pt x="1133" y="1482"/>
                  <a:pt x="1135" y="1486"/>
                  <a:pt x="1138" y="1487"/>
                </a:cubicBezTo>
                <a:cubicBezTo>
                  <a:pt x="1138" y="1488"/>
                  <a:pt x="1140" y="1488"/>
                  <a:pt x="1141" y="1487"/>
                </a:cubicBezTo>
                <a:cubicBezTo>
                  <a:pt x="1142" y="1487"/>
                  <a:pt x="1142" y="1486"/>
                  <a:pt x="1143" y="1485"/>
                </a:cubicBezTo>
                <a:cubicBezTo>
                  <a:pt x="1146" y="1481"/>
                  <a:pt x="1149" y="1479"/>
                  <a:pt x="1154" y="1480"/>
                </a:cubicBezTo>
                <a:cubicBezTo>
                  <a:pt x="1156" y="1480"/>
                  <a:pt x="1158" y="1480"/>
                  <a:pt x="1159" y="1480"/>
                </a:cubicBezTo>
                <a:cubicBezTo>
                  <a:pt x="1165" y="1476"/>
                  <a:pt x="1172" y="1477"/>
                  <a:pt x="1178" y="1478"/>
                </a:cubicBezTo>
                <a:cubicBezTo>
                  <a:pt x="1179" y="1478"/>
                  <a:pt x="1180" y="1478"/>
                  <a:pt x="1181" y="1478"/>
                </a:cubicBezTo>
                <a:cubicBezTo>
                  <a:pt x="1182" y="1477"/>
                  <a:pt x="1184" y="1475"/>
                  <a:pt x="1184" y="1474"/>
                </a:cubicBezTo>
                <a:cubicBezTo>
                  <a:pt x="1184" y="1473"/>
                  <a:pt x="1184" y="1472"/>
                  <a:pt x="1183" y="1471"/>
                </a:cubicBezTo>
                <a:cubicBezTo>
                  <a:pt x="1177" y="1467"/>
                  <a:pt x="1171" y="1463"/>
                  <a:pt x="1166" y="1459"/>
                </a:cubicBezTo>
                <a:cubicBezTo>
                  <a:pt x="1164" y="1457"/>
                  <a:pt x="1162" y="1457"/>
                  <a:pt x="1160" y="1456"/>
                </a:cubicBezTo>
                <a:cubicBezTo>
                  <a:pt x="1152" y="1454"/>
                  <a:pt x="1145" y="1453"/>
                  <a:pt x="1137" y="1455"/>
                </a:cubicBezTo>
                <a:cubicBezTo>
                  <a:pt x="1135" y="1456"/>
                  <a:pt x="1132" y="1455"/>
                  <a:pt x="1129" y="1454"/>
                </a:cubicBezTo>
                <a:cubicBezTo>
                  <a:pt x="1129" y="1453"/>
                  <a:pt x="1128" y="1452"/>
                  <a:pt x="1127" y="1452"/>
                </a:cubicBezTo>
                <a:cubicBezTo>
                  <a:pt x="1125" y="1451"/>
                  <a:pt x="1122" y="1452"/>
                  <a:pt x="1120" y="1455"/>
                </a:cubicBezTo>
                <a:cubicBezTo>
                  <a:pt x="1119" y="1457"/>
                  <a:pt x="1119" y="1458"/>
                  <a:pt x="1121" y="1459"/>
                </a:cubicBezTo>
                <a:cubicBezTo>
                  <a:pt x="1124" y="1462"/>
                  <a:pt x="1124" y="1466"/>
                  <a:pt x="1125" y="1469"/>
                </a:cubicBezTo>
                <a:cubicBezTo>
                  <a:pt x="1126" y="1471"/>
                  <a:pt x="1125" y="1472"/>
                  <a:pt x="1122" y="1471"/>
                </a:cubicBezTo>
                <a:cubicBezTo>
                  <a:pt x="1119" y="1469"/>
                  <a:pt x="1118" y="1472"/>
                  <a:pt x="1117" y="1472"/>
                </a:cubicBezTo>
                <a:cubicBezTo>
                  <a:pt x="1112" y="1473"/>
                  <a:pt x="1108" y="1473"/>
                  <a:pt x="1104" y="1474"/>
                </a:cubicBezTo>
                <a:cubicBezTo>
                  <a:pt x="1103" y="1474"/>
                  <a:pt x="1102" y="1476"/>
                  <a:pt x="1103" y="1476"/>
                </a:cubicBezTo>
                <a:cubicBezTo>
                  <a:pt x="1104" y="1479"/>
                  <a:pt x="1106" y="1481"/>
                  <a:pt x="1109" y="1481"/>
                </a:cubicBezTo>
                <a:close/>
                <a:moveTo>
                  <a:pt x="1280" y="381"/>
                </a:moveTo>
                <a:cubicBezTo>
                  <a:pt x="1282" y="384"/>
                  <a:pt x="1281" y="388"/>
                  <a:pt x="1280" y="391"/>
                </a:cubicBezTo>
                <a:cubicBezTo>
                  <a:pt x="1279" y="398"/>
                  <a:pt x="1286" y="403"/>
                  <a:pt x="1291" y="403"/>
                </a:cubicBezTo>
                <a:cubicBezTo>
                  <a:pt x="1294" y="403"/>
                  <a:pt x="1297" y="402"/>
                  <a:pt x="1300" y="402"/>
                </a:cubicBezTo>
                <a:cubicBezTo>
                  <a:pt x="1303" y="401"/>
                  <a:pt x="1305" y="402"/>
                  <a:pt x="1307" y="404"/>
                </a:cubicBezTo>
                <a:cubicBezTo>
                  <a:pt x="1311" y="404"/>
                  <a:pt x="1315" y="405"/>
                  <a:pt x="1318" y="405"/>
                </a:cubicBezTo>
                <a:cubicBezTo>
                  <a:pt x="1320" y="405"/>
                  <a:pt x="1322" y="403"/>
                  <a:pt x="1322" y="402"/>
                </a:cubicBezTo>
                <a:cubicBezTo>
                  <a:pt x="1321" y="396"/>
                  <a:pt x="1321" y="390"/>
                  <a:pt x="1319" y="384"/>
                </a:cubicBezTo>
                <a:cubicBezTo>
                  <a:pt x="1317" y="378"/>
                  <a:pt x="1313" y="373"/>
                  <a:pt x="1307" y="372"/>
                </a:cubicBezTo>
                <a:cubicBezTo>
                  <a:pt x="1301" y="371"/>
                  <a:pt x="1295" y="369"/>
                  <a:pt x="1290" y="366"/>
                </a:cubicBezTo>
                <a:cubicBezTo>
                  <a:pt x="1288" y="365"/>
                  <a:pt x="1286" y="366"/>
                  <a:pt x="1285" y="368"/>
                </a:cubicBezTo>
                <a:cubicBezTo>
                  <a:pt x="1283" y="370"/>
                  <a:pt x="1282" y="372"/>
                  <a:pt x="1281" y="374"/>
                </a:cubicBezTo>
                <a:cubicBezTo>
                  <a:pt x="1281" y="376"/>
                  <a:pt x="1280" y="379"/>
                  <a:pt x="1280" y="381"/>
                </a:cubicBezTo>
                <a:close/>
                <a:moveTo>
                  <a:pt x="1281" y="374"/>
                </a:moveTo>
                <a:cubicBezTo>
                  <a:pt x="1281" y="374"/>
                  <a:pt x="1281" y="374"/>
                  <a:pt x="1281" y="374"/>
                </a:cubicBezTo>
                <a:cubicBezTo>
                  <a:pt x="1281" y="374"/>
                  <a:pt x="1281" y="375"/>
                  <a:pt x="1280" y="375"/>
                </a:cubicBezTo>
                <a:cubicBezTo>
                  <a:pt x="1280" y="375"/>
                  <a:pt x="1280" y="375"/>
                  <a:pt x="1280" y="375"/>
                </a:cubicBezTo>
                <a:cubicBezTo>
                  <a:pt x="1281" y="375"/>
                  <a:pt x="1281" y="375"/>
                  <a:pt x="1281" y="374"/>
                </a:cubicBezTo>
                <a:close/>
                <a:moveTo>
                  <a:pt x="3199" y="1601"/>
                </a:moveTo>
                <a:cubicBezTo>
                  <a:pt x="3198" y="1600"/>
                  <a:pt x="3196" y="1599"/>
                  <a:pt x="3194" y="1599"/>
                </a:cubicBezTo>
                <a:cubicBezTo>
                  <a:pt x="3193" y="1599"/>
                  <a:pt x="3192" y="1599"/>
                  <a:pt x="3192" y="1600"/>
                </a:cubicBezTo>
                <a:cubicBezTo>
                  <a:pt x="3192" y="1602"/>
                  <a:pt x="3194" y="1604"/>
                  <a:pt x="3193" y="1605"/>
                </a:cubicBezTo>
                <a:cubicBezTo>
                  <a:pt x="3189" y="1611"/>
                  <a:pt x="3190" y="1619"/>
                  <a:pt x="3189" y="1624"/>
                </a:cubicBezTo>
                <a:cubicBezTo>
                  <a:pt x="3188" y="1634"/>
                  <a:pt x="3190" y="1642"/>
                  <a:pt x="3194" y="1649"/>
                </a:cubicBezTo>
                <a:cubicBezTo>
                  <a:pt x="3195" y="1653"/>
                  <a:pt x="3199" y="1655"/>
                  <a:pt x="3203" y="1655"/>
                </a:cubicBezTo>
                <a:cubicBezTo>
                  <a:pt x="3214" y="1654"/>
                  <a:pt x="3222" y="1642"/>
                  <a:pt x="3218" y="1631"/>
                </a:cubicBezTo>
                <a:cubicBezTo>
                  <a:pt x="3214" y="1619"/>
                  <a:pt x="3207" y="1609"/>
                  <a:pt x="3199" y="1601"/>
                </a:cubicBezTo>
                <a:close/>
                <a:moveTo>
                  <a:pt x="1208" y="179"/>
                </a:moveTo>
                <a:cubicBezTo>
                  <a:pt x="1208" y="182"/>
                  <a:pt x="1210" y="183"/>
                  <a:pt x="1212" y="183"/>
                </a:cubicBezTo>
                <a:cubicBezTo>
                  <a:pt x="1218" y="185"/>
                  <a:pt x="1224" y="185"/>
                  <a:pt x="1230" y="184"/>
                </a:cubicBezTo>
                <a:cubicBezTo>
                  <a:pt x="1231" y="184"/>
                  <a:pt x="1233" y="182"/>
                  <a:pt x="1234" y="181"/>
                </a:cubicBezTo>
                <a:cubicBezTo>
                  <a:pt x="1236" y="179"/>
                  <a:pt x="1235" y="175"/>
                  <a:pt x="1238" y="173"/>
                </a:cubicBezTo>
                <a:cubicBezTo>
                  <a:pt x="1238" y="173"/>
                  <a:pt x="1238" y="173"/>
                  <a:pt x="1238" y="173"/>
                </a:cubicBezTo>
                <a:cubicBezTo>
                  <a:pt x="1238" y="173"/>
                  <a:pt x="1238" y="173"/>
                  <a:pt x="1238" y="172"/>
                </a:cubicBezTo>
                <a:cubicBezTo>
                  <a:pt x="1237" y="173"/>
                  <a:pt x="1237" y="173"/>
                  <a:pt x="1237" y="173"/>
                </a:cubicBezTo>
                <a:cubicBezTo>
                  <a:pt x="1240" y="169"/>
                  <a:pt x="1241" y="165"/>
                  <a:pt x="1238" y="161"/>
                </a:cubicBezTo>
                <a:cubicBezTo>
                  <a:pt x="1234" y="156"/>
                  <a:pt x="1232" y="151"/>
                  <a:pt x="1230" y="146"/>
                </a:cubicBezTo>
                <a:cubicBezTo>
                  <a:pt x="1229" y="145"/>
                  <a:pt x="1228" y="143"/>
                  <a:pt x="1227" y="142"/>
                </a:cubicBezTo>
                <a:cubicBezTo>
                  <a:pt x="1226" y="140"/>
                  <a:pt x="1222" y="139"/>
                  <a:pt x="1220" y="141"/>
                </a:cubicBezTo>
                <a:cubicBezTo>
                  <a:pt x="1214" y="147"/>
                  <a:pt x="1209" y="153"/>
                  <a:pt x="1210" y="162"/>
                </a:cubicBezTo>
                <a:cubicBezTo>
                  <a:pt x="1210" y="166"/>
                  <a:pt x="1208" y="168"/>
                  <a:pt x="1207" y="171"/>
                </a:cubicBezTo>
                <a:cubicBezTo>
                  <a:pt x="1206" y="174"/>
                  <a:pt x="1207" y="177"/>
                  <a:pt x="1208" y="179"/>
                </a:cubicBezTo>
                <a:close/>
                <a:moveTo>
                  <a:pt x="2494" y="176"/>
                </a:moveTo>
                <a:cubicBezTo>
                  <a:pt x="2489" y="176"/>
                  <a:pt x="2488" y="179"/>
                  <a:pt x="2488" y="183"/>
                </a:cubicBezTo>
                <a:cubicBezTo>
                  <a:pt x="2492" y="184"/>
                  <a:pt x="2492" y="184"/>
                  <a:pt x="2492" y="187"/>
                </a:cubicBezTo>
                <a:cubicBezTo>
                  <a:pt x="2492" y="189"/>
                  <a:pt x="2491" y="190"/>
                  <a:pt x="2491" y="192"/>
                </a:cubicBezTo>
                <a:cubicBezTo>
                  <a:pt x="2491" y="196"/>
                  <a:pt x="2494" y="199"/>
                  <a:pt x="2498" y="200"/>
                </a:cubicBezTo>
                <a:cubicBezTo>
                  <a:pt x="2500" y="200"/>
                  <a:pt x="2501" y="201"/>
                  <a:pt x="2503" y="201"/>
                </a:cubicBezTo>
                <a:cubicBezTo>
                  <a:pt x="2505" y="201"/>
                  <a:pt x="2507" y="200"/>
                  <a:pt x="2508" y="198"/>
                </a:cubicBezTo>
                <a:cubicBezTo>
                  <a:pt x="2510" y="196"/>
                  <a:pt x="2512" y="194"/>
                  <a:pt x="2512" y="191"/>
                </a:cubicBezTo>
                <a:cubicBezTo>
                  <a:pt x="2512" y="189"/>
                  <a:pt x="2512" y="186"/>
                  <a:pt x="2514" y="185"/>
                </a:cubicBezTo>
                <a:cubicBezTo>
                  <a:pt x="2518" y="182"/>
                  <a:pt x="2519" y="176"/>
                  <a:pt x="2523" y="173"/>
                </a:cubicBezTo>
                <a:cubicBezTo>
                  <a:pt x="2525" y="171"/>
                  <a:pt x="2525" y="168"/>
                  <a:pt x="2523" y="166"/>
                </a:cubicBezTo>
                <a:cubicBezTo>
                  <a:pt x="2521" y="163"/>
                  <a:pt x="2519" y="160"/>
                  <a:pt x="2516" y="157"/>
                </a:cubicBezTo>
                <a:cubicBezTo>
                  <a:pt x="2516" y="156"/>
                  <a:pt x="2514" y="156"/>
                  <a:pt x="2513" y="156"/>
                </a:cubicBezTo>
                <a:cubicBezTo>
                  <a:pt x="2508" y="157"/>
                  <a:pt x="2507" y="158"/>
                  <a:pt x="2507" y="164"/>
                </a:cubicBezTo>
                <a:cubicBezTo>
                  <a:pt x="2507" y="168"/>
                  <a:pt x="2505" y="171"/>
                  <a:pt x="2501" y="173"/>
                </a:cubicBezTo>
                <a:cubicBezTo>
                  <a:pt x="2501" y="173"/>
                  <a:pt x="2501" y="173"/>
                  <a:pt x="2501" y="173"/>
                </a:cubicBezTo>
                <a:cubicBezTo>
                  <a:pt x="2501" y="173"/>
                  <a:pt x="2501" y="173"/>
                  <a:pt x="2501" y="173"/>
                </a:cubicBezTo>
                <a:cubicBezTo>
                  <a:pt x="2501" y="173"/>
                  <a:pt x="2501" y="173"/>
                  <a:pt x="2501" y="173"/>
                </a:cubicBezTo>
                <a:cubicBezTo>
                  <a:pt x="2499" y="175"/>
                  <a:pt x="2497" y="175"/>
                  <a:pt x="2494" y="176"/>
                </a:cubicBezTo>
                <a:close/>
                <a:moveTo>
                  <a:pt x="3738" y="1360"/>
                </a:moveTo>
                <a:cubicBezTo>
                  <a:pt x="3737" y="1359"/>
                  <a:pt x="3735" y="1359"/>
                  <a:pt x="3735" y="1360"/>
                </a:cubicBezTo>
                <a:cubicBezTo>
                  <a:pt x="3732" y="1362"/>
                  <a:pt x="3730" y="1364"/>
                  <a:pt x="3728" y="1367"/>
                </a:cubicBezTo>
                <a:cubicBezTo>
                  <a:pt x="3726" y="1370"/>
                  <a:pt x="3724" y="1374"/>
                  <a:pt x="3723" y="1377"/>
                </a:cubicBezTo>
                <a:cubicBezTo>
                  <a:pt x="3721" y="1381"/>
                  <a:pt x="3720" y="1386"/>
                  <a:pt x="3720" y="1390"/>
                </a:cubicBezTo>
                <a:cubicBezTo>
                  <a:pt x="3720" y="1398"/>
                  <a:pt x="3721" y="1404"/>
                  <a:pt x="3728" y="1409"/>
                </a:cubicBezTo>
                <a:cubicBezTo>
                  <a:pt x="3730" y="1411"/>
                  <a:pt x="3731" y="1413"/>
                  <a:pt x="3732" y="1414"/>
                </a:cubicBezTo>
                <a:cubicBezTo>
                  <a:pt x="3733" y="1415"/>
                  <a:pt x="3734" y="1415"/>
                  <a:pt x="3735" y="1413"/>
                </a:cubicBezTo>
                <a:cubicBezTo>
                  <a:pt x="3736" y="1411"/>
                  <a:pt x="3736" y="1407"/>
                  <a:pt x="3737" y="1405"/>
                </a:cubicBezTo>
                <a:cubicBezTo>
                  <a:pt x="3741" y="1399"/>
                  <a:pt x="3741" y="1392"/>
                  <a:pt x="3742" y="1385"/>
                </a:cubicBezTo>
                <a:cubicBezTo>
                  <a:pt x="3742" y="1379"/>
                  <a:pt x="3743" y="1374"/>
                  <a:pt x="3744" y="1368"/>
                </a:cubicBezTo>
                <a:cubicBezTo>
                  <a:pt x="3744" y="1365"/>
                  <a:pt x="3742" y="1361"/>
                  <a:pt x="3738" y="1360"/>
                </a:cubicBezTo>
                <a:close/>
                <a:moveTo>
                  <a:pt x="2551" y="151"/>
                </a:moveTo>
                <a:cubicBezTo>
                  <a:pt x="2552" y="151"/>
                  <a:pt x="2553" y="152"/>
                  <a:pt x="2554" y="153"/>
                </a:cubicBezTo>
                <a:cubicBezTo>
                  <a:pt x="2554" y="153"/>
                  <a:pt x="2554" y="153"/>
                  <a:pt x="2554" y="152"/>
                </a:cubicBezTo>
                <a:cubicBezTo>
                  <a:pt x="2554" y="153"/>
                  <a:pt x="2554" y="153"/>
                  <a:pt x="2554" y="153"/>
                </a:cubicBezTo>
                <a:cubicBezTo>
                  <a:pt x="2554" y="153"/>
                  <a:pt x="2554" y="153"/>
                  <a:pt x="2554" y="153"/>
                </a:cubicBezTo>
                <a:cubicBezTo>
                  <a:pt x="2554" y="153"/>
                  <a:pt x="2554" y="153"/>
                  <a:pt x="2554" y="153"/>
                </a:cubicBezTo>
                <a:cubicBezTo>
                  <a:pt x="2552" y="153"/>
                  <a:pt x="2550" y="154"/>
                  <a:pt x="2548" y="155"/>
                </a:cubicBezTo>
                <a:cubicBezTo>
                  <a:pt x="2547" y="155"/>
                  <a:pt x="2546" y="156"/>
                  <a:pt x="2546" y="157"/>
                </a:cubicBezTo>
                <a:cubicBezTo>
                  <a:pt x="2546" y="158"/>
                  <a:pt x="2547" y="159"/>
                  <a:pt x="2548" y="160"/>
                </a:cubicBezTo>
                <a:cubicBezTo>
                  <a:pt x="2552" y="162"/>
                  <a:pt x="2557" y="161"/>
                  <a:pt x="2562" y="164"/>
                </a:cubicBezTo>
                <a:cubicBezTo>
                  <a:pt x="2563" y="165"/>
                  <a:pt x="2565" y="164"/>
                  <a:pt x="2566" y="164"/>
                </a:cubicBezTo>
                <a:cubicBezTo>
                  <a:pt x="2567" y="163"/>
                  <a:pt x="2569" y="163"/>
                  <a:pt x="2569" y="162"/>
                </a:cubicBezTo>
                <a:cubicBezTo>
                  <a:pt x="2571" y="157"/>
                  <a:pt x="2575" y="154"/>
                  <a:pt x="2579" y="151"/>
                </a:cubicBezTo>
                <a:cubicBezTo>
                  <a:pt x="2581" y="150"/>
                  <a:pt x="2581" y="148"/>
                  <a:pt x="2578" y="144"/>
                </a:cubicBezTo>
                <a:cubicBezTo>
                  <a:pt x="2578" y="144"/>
                  <a:pt x="2578" y="144"/>
                  <a:pt x="2577" y="143"/>
                </a:cubicBezTo>
                <a:cubicBezTo>
                  <a:pt x="2578" y="143"/>
                  <a:pt x="2578" y="143"/>
                  <a:pt x="2578" y="143"/>
                </a:cubicBezTo>
                <a:cubicBezTo>
                  <a:pt x="2577" y="143"/>
                  <a:pt x="2577" y="143"/>
                  <a:pt x="2577" y="143"/>
                </a:cubicBezTo>
                <a:cubicBezTo>
                  <a:pt x="2577" y="143"/>
                  <a:pt x="2577" y="143"/>
                  <a:pt x="2577" y="143"/>
                </a:cubicBezTo>
                <a:cubicBezTo>
                  <a:pt x="2576" y="144"/>
                  <a:pt x="2575" y="144"/>
                  <a:pt x="2574" y="143"/>
                </a:cubicBezTo>
                <a:cubicBezTo>
                  <a:pt x="2574" y="143"/>
                  <a:pt x="2574" y="143"/>
                  <a:pt x="2574" y="143"/>
                </a:cubicBezTo>
                <a:cubicBezTo>
                  <a:pt x="2574" y="143"/>
                  <a:pt x="2574" y="143"/>
                  <a:pt x="2574" y="143"/>
                </a:cubicBezTo>
                <a:cubicBezTo>
                  <a:pt x="2574" y="143"/>
                  <a:pt x="2574" y="143"/>
                  <a:pt x="2574" y="143"/>
                </a:cubicBezTo>
                <a:cubicBezTo>
                  <a:pt x="2572" y="142"/>
                  <a:pt x="2570" y="142"/>
                  <a:pt x="2568" y="141"/>
                </a:cubicBezTo>
                <a:cubicBezTo>
                  <a:pt x="2567" y="140"/>
                  <a:pt x="2566" y="139"/>
                  <a:pt x="2566" y="138"/>
                </a:cubicBezTo>
                <a:cubicBezTo>
                  <a:pt x="2568" y="131"/>
                  <a:pt x="2563" y="125"/>
                  <a:pt x="2565" y="119"/>
                </a:cubicBezTo>
                <a:cubicBezTo>
                  <a:pt x="2566" y="118"/>
                  <a:pt x="2565" y="117"/>
                  <a:pt x="2564" y="116"/>
                </a:cubicBezTo>
                <a:cubicBezTo>
                  <a:pt x="2559" y="113"/>
                  <a:pt x="2554" y="115"/>
                  <a:pt x="2554" y="120"/>
                </a:cubicBezTo>
                <a:cubicBezTo>
                  <a:pt x="2554" y="126"/>
                  <a:pt x="2554" y="131"/>
                  <a:pt x="2550" y="136"/>
                </a:cubicBezTo>
                <a:cubicBezTo>
                  <a:pt x="2549" y="138"/>
                  <a:pt x="2550" y="139"/>
                  <a:pt x="2552" y="140"/>
                </a:cubicBezTo>
                <a:cubicBezTo>
                  <a:pt x="2553" y="140"/>
                  <a:pt x="2553" y="140"/>
                  <a:pt x="2553" y="141"/>
                </a:cubicBezTo>
                <a:cubicBezTo>
                  <a:pt x="2554" y="142"/>
                  <a:pt x="2553" y="142"/>
                  <a:pt x="2551" y="143"/>
                </a:cubicBezTo>
                <a:cubicBezTo>
                  <a:pt x="2549" y="143"/>
                  <a:pt x="2545" y="142"/>
                  <a:pt x="2545" y="146"/>
                </a:cubicBezTo>
                <a:cubicBezTo>
                  <a:pt x="2544" y="150"/>
                  <a:pt x="2549" y="150"/>
                  <a:pt x="2551" y="151"/>
                </a:cubicBezTo>
                <a:close/>
                <a:moveTo>
                  <a:pt x="2564" y="147"/>
                </a:moveTo>
                <a:cubicBezTo>
                  <a:pt x="2564" y="147"/>
                  <a:pt x="2564" y="147"/>
                  <a:pt x="2564" y="147"/>
                </a:cubicBezTo>
                <a:cubicBezTo>
                  <a:pt x="2563" y="147"/>
                  <a:pt x="2563" y="147"/>
                  <a:pt x="2563" y="147"/>
                </a:cubicBezTo>
                <a:cubicBezTo>
                  <a:pt x="2563" y="146"/>
                  <a:pt x="2563" y="146"/>
                  <a:pt x="2563" y="146"/>
                </a:cubicBezTo>
                <a:lnTo>
                  <a:pt x="2564" y="147"/>
                </a:lnTo>
                <a:close/>
                <a:moveTo>
                  <a:pt x="1154" y="282"/>
                </a:moveTo>
                <a:cubicBezTo>
                  <a:pt x="1151" y="284"/>
                  <a:pt x="1151" y="289"/>
                  <a:pt x="1154" y="292"/>
                </a:cubicBezTo>
                <a:cubicBezTo>
                  <a:pt x="1158" y="295"/>
                  <a:pt x="1162" y="299"/>
                  <a:pt x="1166" y="302"/>
                </a:cubicBezTo>
                <a:cubicBezTo>
                  <a:pt x="1167" y="303"/>
                  <a:pt x="1168" y="303"/>
                  <a:pt x="1169" y="304"/>
                </a:cubicBezTo>
                <a:cubicBezTo>
                  <a:pt x="1172" y="305"/>
                  <a:pt x="1176" y="304"/>
                  <a:pt x="1177" y="301"/>
                </a:cubicBezTo>
                <a:cubicBezTo>
                  <a:pt x="1179" y="297"/>
                  <a:pt x="1180" y="292"/>
                  <a:pt x="1182" y="288"/>
                </a:cubicBezTo>
                <a:cubicBezTo>
                  <a:pt x="1182" y="286"/>
                  <a:pt x="1183" y="284"/>
                  <a:pt x="1183" y="282"/>
                </a:cubicBezTo>
                <a:cubicBezTo>
                  <a:pt x="1183" y="277"/>
                  <a:pt x="1181" y="273"/>
                  <a:pt x="1178" y="270"/>
                </a:cubicBezTo>
                <a:cubicBezTo>
                  <a:pt x="1176" y="268"/>
                  <a:pt x="1173" y="268"/>
                  <a:pt x="1170" y="268"/>
                </a:cubicBezTo>
                <a:cubicBezTo>
                  <a:pt x="1168" y="269"/>
                  <a:pt x="1167" y="269"/>
                  <a:pt x="1165" y="269"/>
                </a:cubicBezTo>
                <a:cubicBezTo>
                  <a:pt x="1162" y="274"/>
                  <a:pt x="1158" y="278"/>
                  <a:pt x="1154" y="282"/>
                </a:cubicBezTo>
                <a:close/>
                <a:moveTo>
                  <a:pt x="1165" y="269"/>
                </a:moveTo>
                <a:cubicBezTo>
                  <a:pt x="1165" y="269"/>
                  <a:pt x="1165" y="268"/>
                  <a:pt x="1165" y="268"/>
                </a:cubicBezTo>
                <a:cubicBezTo>
                  <a:pt x="1165" y="268"/>
                  <a:pt x="1165" y="268"/>
                  <a:pt x="1165" y="268"/>
                </a:cubicBezTo>
                <a:cubicBezTo>
                  <a:pt x="1165" y="269"/>
                  <a:pt x="1165" y="269"/>
                  <a:pt x="1165" y="269"/>
                </a:cubicBezTo>
                <a:cubicBezTo>
                  <a:pt x="1165" y="269"/>
                  <a:pt x="1165" y="269"/>
                  <a:pt x="1165" y="269"/>
                </a:cubicBezTo>
                <a:close/>
                <a:moveTo>
                  <a:pt x="3512" y="120"/>
                </a:moveTo>
                <a:cubicBezTo>
                  <a:pt x="3520" y="124"/>
                  <a:pt x="3529" y="125"/>
                  <a:pt x="3537" y="126"/>
                </a:cubicBezTo>
                <a:cubicBezTo>
                  <a:pt x="3539" y="126"/>
                  <a:pt x="3542" y="126"/>
                  <a:pt x="3544" y="125"/>
                </a:cubicBezTo>
                <a:cubicBezTo>
                  <a:pt x="3548" y="124"/>
                  <a:pt x="3552" y="122"/>
                  <a:pt x="3553" y="117"/>
                </a:cubicBezTo>
                <a:cubicBezTo>
                  <a:pt x="3553" y="116"/>
                  <a:pt x="3553" y="113"/>
                  <a:pt x="3553" y="112"/>
                </a:cubicBezTo>
                <a:cubicBezTo>
                  <a:pt x="3550" y="108"/>
                  <a:pt x="3546" y="105"/>
                  <a:pt x="3541" y="105"/>
                </a:cubicBezTo>
                <a:cubicBezTo>
                  <a:pt x="3537" y="105"/>
                  <a:pt x="3534" y="107"/>
                  <a:pt x="3530" y="107"/>
                </a:cubicBezTo>
                <a:cubicBezTo>
                  <a:pt x="3526" y="107"/>
                  <a:pt x="3521" y="107"/>
                  <a:pt x="3517" y="106"/>
                </a:cubicBezTo>
                <a:cubicBezTo>
                  <a:pt x="3516" y="106"/>
                  <a:pt x="3515" y="107"/>
                  <a:pt x="3514" y="107"/>
                </a:cubicBezTo>
                <a:cubicBezTo>
                  <a:pt x="3511" y="109"/>
                  <a:pt x="3509" y="109"/>
                  <a:pt x="3506" y="108"/>
                </a:cubicBezTo>
                <a:cubicBezTo>
                  <a:pt x="3505" y="108"/>
                  <a:pt x="3504" y="111"/>
                  <a:pt x="3504" y="112"/>
                </a:cubicBezTo>
                <a:cubicBezTo>
                  <a:pt x="3506" y="115"/>
                  <a:pt x="3508" y="119"/>
                  <a:pt x="3512" y="120"/>
                </a:cubicBezTo>
                <a:close/>
                <a:moveTo>
                  <a:pt x="4183" y="1797"/>
                </a:moveTo>
                <a:cubicBezTo>
                  <a:pt x="4179" y="1796"/>
                  <a:pt x="4176" y="1797"/>
                  <a:pt x="4175" y="1802"/>
                </a:cubicBezTo>
                <a:cubicBezTo>
                  <a:pt x="4173" y="1808"/>
                  <a:pt x="4169" y="1811"/>
                  <a:pt x="4164" y="1813"/>
                </a:cubicBezTo>
                <a:cubicBezTo>
                  <a:pt x="4161" y="1814"/>
                  <a:pt x="4157" y="1813"/>
                  <a:pt x="4155" y="1811"/>
                </a:cubicBezTo>
                <a:cubicBezTo>
                  <a:pt x="4155" y="1810"/>
                  <a:pt x="4155" y="1810"/>
                  <a:pt x="4155" y="1810"/>
                </a:cubicBezTo>
                <a:cubicBezTo>
                  <a:pt x="4155" y="1810"/>
                  <a:pt x="4155" y="1810"/>
                  <a:pt x="4155" y="1810"/>
                </a:cubicBezTo>
                <a:cubicBezTo>
                  <a:pt x="4155" y="1811"/>
                  <a:pt x="4155" y="1811"/>
                  <a:pt x="4155" y="1811"/>
                </a:cubicBezTo>
                <a:cubicBezTo>
                  <a:pt x="4150" y="1812"/>
                  <a:pt x="4145" y="1814"/>
                  <a:pt x="4139" y="1813"/>
                </a:cubicBezTo>
                <a:cubicBezTo>
                  <a:pt x="4138" y="1813"/>
                  <a:pt x="4137" y="1813"/>
                  <a:pt x="4136" y="1813"/>
                </a:cubicBezTo>
                <a:cubicBezTo>
                  <a:pt x="4135" y="1813"/>
                  <a:pt x="4134" y="1813"/>
                  <a:pt x="4133" y="1814"/>
                </a:cubicBezTo>
                <a:cubicBezTo>
                  <a:pt x="4132" y="1814"/>
                  <a:pt x="4131" y="1815"/>
                  <a:pt x="4130" y="1816"/>
                </a:cubicBezTo>
                <a:cubicBezTo>
                  <a:pt x="4130" y="1817"/>
                  <a:pt x="4130" y="1818"/>
                  <a:pt x="4131" y="1819"/>
                </a:cubicBezTo>
                <a:cubicBezTo>
                  <a:pt x="4141" y="1827"/>
                  <a:pt x="4153" y="1828"/>
                  <a:pt x="4165" y="1826"/>
                </a:cubicBezTo>
                <a:cubicBezTo>
                  <a:pt x="4166" y="1826"/>
                  <a:pt x="4167" y="1825"/>
                  <a:pt x="4168" y="1825"/>
                </a:cubicBezTo>
                <a:cubicBezTo>
                  <a:pt x="4173" y="1822"/>
                  <a:pt x="4176" y="1817"/>
                  <a:pt x="4181" y="1815"/>
                </a:cubicBezTo>
                <a:cubicBezTo>
                  <a:pt x="4182" y="1815"/>
                  <a:pt x="4183" y="1813"/>
                  <a:pt x="4183" y="1813"/>
                </a:cubicBezTo>
                <a:cubicBezTo>
                  <a:pt x="4183" y="1809"/>
                  <a:pt x="4186" y="1807"/>
                  <a:pt x="4187" y="1804"/>
                </a:cubicBezTo>
                <a:cubicBezTo>
                  <a:pt x="4189" y="1801"/>
                  <a:pt x="4187" y="1797"/>
                  <a:pt x="4183" y="1797"/>
                </a:cubicBezTo>
                <a:close/>
                <a:moveTo>
                  <a:pt x="1076" y="115"/>
                </a:moveTo>
                <a:cubicBezTo>
                  <a:pt x="1080" y="116"/>
                  <a:pt x="1084" y="118"/>
                  <a:pt x="1087" y="122"/>
                </a:cubicBezTo>
                <a:cubicBezTo>
                  <a:pt x="1091" y="122"/>
                  <a:pt x="1093" y="126"/>
                  <a:pt x="1096" y="128"/>
                </a:cubicBezTo>
                <a:cubicBezTo>
                  <a:pt x="1103" y="132"/>
                  <a:pt x="1111" y="128"/>
                  <a:pt x="1112" y="121"/>
                </a:cubicBezTo>
                <a:cubicBezTo>
                  <a:pt x="1113" y="119"/>
                  <a:pt x="1113" y="116"/>
                  <a:pt x="1113" y="114"/>
                </a:cubicBezTo>
                <a:cubicBezTo>
                  <a:pt x="1113" y="114"/>
                  <a:pt x="1113" y="113"/>
                  <a:pt x="1113" y="113"/>
                </a:cubicBezTo>
                <a:cubicBezTo>
                  <a:pt x="1114" y="107"/>
                  <a:pt x="1111" y="104"/>
                  <a:pt x="1106" y="105"/>
                </a:cubicBezTo>
                <a:cubicBezTo>
                  <a:pt x="1101" y="106"/>
                  <a:pt x="1096" y="107"/>
                  <a:pt x="1091" y="106"/>
                </a:cubicBezTo>
                <a:cubicBezTo>
                  <a:pt x="1087" y="106"/>
                  <a:pt x="1084" y="107"/>
                  <a:pt x="1080" y="108"/>
                </a:cubicBezTo>
                <a:cubicBezTo>
                  <a:pt x="1078" y="108"/>
                  <a:pt x="1077" y="109"/>
                  <a:pt x="1076" y="110"/>
                </a:cubicBezTo>
                <a:cubicBezTo>
                  <a:pt x="1075" y="111"/>
                  <a:pt x="1074" y="112"/>
                  <a:pt x="1074" y="113"/>
                </a:cubicBezTo>
                <a:cubicBezTo>
                  <a:pt x="1075" y="114"/>
                  <a:pt x="1075" y="115"/>
                  <a:pt x="1076" y="115"/>
                </a:cubicBezTo>
                <a:close/>
                <a:moveTo>
                  <a:pt x="3493" y="211"/>
                </a:moveTo>
                <a:cubicBezTo>
                  <a:pt x="3493" y="211"/>
                  <a:pt x="3494" y="211"/>
                  <a:pt x="3495" y="211"/>
                </a:cubicBezTo>
                <a:cubicBezTo>
                  <a:pt x="3499" y="208"/>
                  <a:pt x="3504" y="207"/>
                  <a:pt x="3510" y="207"/>
                </a:cubicBezTo>
                <a:cubicBezTo>
                  <a:pt x="3516" y="207"/>
                  <a:pt x="3522" y="206"/>
                  <a:pt x="3528" y="205"/>
                </a:cubicBezTo>
                <a:cubicBezTo>
                  <a:pt x="3531" y="205"/>
                  <a:pt x="3532" y="201"/>
                  <a:pt x="3530" y="199"/>
                </a:cubicBezTo>
                <a:cubicBezTo>
                  <a:pt x="3527" y="194"/>
                  <a:pt x="3524" y="190"/>
                  <a:pt x="3518" y="189"/>
                </a:cubicBezTo>
                <a:cubicBezTo>
                  <a:pt x="3515" y="188"/>
                  <a:pt x="3513" y="186"/>
                  <a:pt x="3510" y="186"/>
                </a:cubicBezTo>
                <a:cubicBezTo>
                  <a:pt x="3508" y="185"/>
                  <a:pt x="3505" y="185"/>
                  <a:pt x="3502" y="185"/>
                </a:cubicBezTo>
                <a:cubicBezTo>
                  <a:pt x="3500" y="186"/>
                  <a:pt x="3496" y="188"/>
                  <a:pt x="3496" y="190"/>
                </a:cubicBezTo>
                <a:cubicBezTo>
                  <a:pt x="3495" y="194"/>
                  <a:pt x="3495" y="197"/>
                  <a:pt x="3494" y="203"/>
                </a:cubicBezTo>
                <a:cubicBezTo>
                  <a:pt x="3494" y="203"/>
                  <a:pt x="3493" y="206"/>
                  <a:pt x="3492" y="210"/>
                </a:cubicBezTo>
                <a:cubicBezTo>
                  <a:pt x="3492" y="210"/>
                  <a:pt x="3493" y="211"/>
                  <a:pt x="3493" y="211"/>
                </a:cubicBezTo>
                <a:close/>
                <a:moveTo>
                  <a:pt x="3598" y="1466"/>
                </a:moveTo>
                <a:cubicBezTo>
                  <a:pt x="3601" y="1462"/>
                  <a:pt x="3604" y="1457"/>
                  <a:pt x="3604" y="1451"/>
                </a:cubicBezTo>
                <a:cubicBezTo>
                  <a:pt x="3605" y="1450"/>
                  <a:pt x="3603" y="1448"/>
                  <a:pt x="3602" y="1447"/>
                </a:cubicBezTo>
                <a:cubicBezTo>
                  <a:pt x="3600" y="1446"/>
                  <a:pt x="3598" y="1446"/>
                  <a:pt x="3597" y="1445"/>
                </a:cubicBezTo>
                <a:cubicBezTo>
                  <a:pt x="3595" y="1445"/>
                  <a:pt x="3595" y="1445"/>
                  <a:pt x="3594" y="1445"/>
                </a:cubicBezTo>
                <a:cubicBezTo>
                  <a:pt x="3586" y="1445"/>
                  <a:pt x="3580" y="1448"/>
                  <a:pt x="3574" y="1455"/>
                </a:cubicBezTo>
                <a:cubicBezTo>
                  <a:pt x="3574" y="1456"/>
                  <a:pt x="3573" y="1457"/>
                  <a:pt x="3573" y="1458"/>
                </a:cubicBezTo>
                <a:cubicBezTo>
                  <a:pt x="3572" y="1464"/>
                  <a:pt x="3575" y="1470"/>
                  <a:pt x="3581" y="1472"/>
                </a:cubicBezTo>
                <a:cubicBezTo>
                  <a:pt x="3586" y="1474"/>
                  <a:pt x="3595" y="1472"/>
                  <a:pt x="3598" y="1466"/>
                </a:cubicBezTo>
                <a:close/>
                <a:moveTo>
                  <a:pt x="2200" y="1145"/>
                </a:moveTo>
                <a:cubicBezTo>
                  <a:pt x="2203" y="1151"/>
                  <a:pt x="2203" y="1158"/>
                  <a:pt x="2203" y="1164"/>
                </a:cubicBezTo>
                <a:cubicBezTo>
                  <a:pt x="2203" y="1174"/>
                  <a:pt x="2208" y="1176"/>
                  <a:pt x="2217" y="1171"/>
                </a:cubicBezTo>
                <a:cubicBezTo>
                  <a:pt x="2219" y="1169"/>
                  <a:pt x="2220" y="1168"/>
                  <a:pt x="2220" y="1165"/>
                </a:cubicBezTo>
                <a:cubicBezTo>
                  <a:pt x="2220" y="1162"/>
                  <a:pt x="2220" y="1159"/>
                  <a:pt x="2220" y="1156"/>
                </a:cubicBezTo>
                <a:cubicBezTo>
                  <a:pt x="2221" y="1156"/>
                  <a:pt x="2221" y="1156"/>
                  <a:pt x="2221" y="1156"/>
                </a:cubicBezTo>
                <a:cubicBezTo>
                  <a:pt x="2220" y="1153"/>
                  <a:pt x="2220" y="1151"/>
                  <a:pt x="2220" y="1149"/>
                </a:cubicBezTo>
                <a:cubicBezTo>
                  <a:pt x="2220" y="1147"/>
                  <a:pt x="2220" y="1146"/>
                  <a:pt x="2220" y="1144"/>
                </a:cubicBezTo>
                <a:cubicBezTo>
                  <a:pt x="2220" y="1139"/>
                  <a:pt x="2214" y="1132"/>
                  <a:pt x="2207" y="1137"/>
                </a:cubicBezTo>
                <a:cubicBezTo>
                  <a:pt x="2206" y="1138"/>
                  <a:pt x="2204" y="1139"/>
                  <a:pt x="2202" y="1141"/>
                </a:cubicBezTo>
                <a:cubicBezTo>
                  <a:pt x="2200" y="1142"/>
                  <a:pt x="2200" y="1143"/>
                  <a:pt x="2200" y="1145"/>
                </a:cubicBezTo>
                <a:close/>
                <a:moveTo>
                  <a:pt x="1251" y="555"/>
                </a:moveTo>
                <a:cubicBezTo>
                  <a:pt x="1250" y="560"/>
                  <a:pt x="1253" y="564"/>
                  <a:pt x="1258" y="564"/>
                </a:cubicBezTo>
                <a:cubicBezTo>
                  <a:pt x="1267" y="565"/>
                  <a:pt x="1274" y="561"/>
                  <a:pt x="1277" y="552"/>
                </a:cubicBezTo>
                <a:cubicBezTo>
                  <a:pt x="1278" y="550"/>
                  <a:pt x="1279" y="547"/>
                  <a:pt x="1280" y="545"/>
                </a:cubicBezTo>
                <a:cubicBezTo>
                  <a:pt x="1281" y="543"/>
                  <a:pt x="1279" y="539"/>
                  <a:pt x="1277" y="538"/>
                </a:cubicBezTo>
                <a:cubicBezTo>
                  <a:pt x="1273" y="535"/>
                  <a:pt x="1268" y="535"/>
                  <a:pt x="1265" y="537"/>
                </a:cubicBezTo>
                <a:cubicBezTo>
                  <a:pt x="1259" y="541"/>
                  <a:pt x="1254" y="547"/>
                  <a:pt x="1251" y="554"/>
                </a:cubicBezTo>
                <a:cubicBezTo>
                  <a:pt x="1251" y="554"/>
                  <a:pt x="1251" y="555"/>
                  <a:pt x="1251" y="555"/>
                </a:cubicBezTo>
                <a:close/>
                <a:moveTo>
                  <a:pt x="466" y="788"/>
                </a:moveTo>
                <a:cubicBezTo>
                  <a:pt x="464" y="788"/>
                  <a:pt x="461" y="789"/>
                  <a:pt x="460" y="790"/>
                </a:cubicBezTo>
                <a:cubicBezTo>
                  <a:pt x="458" y="793"/>
                  <a:pt x="457" y="795"/>
                  <a:pt x="457" y="798"/>
                </a:cubicBezTo>
                <a:cubicBezTo>
                  <a:pt x="457" y="801"/>
                  <a:pt x="458" y="804"/>
                  <a:pt x="458" y="808"/>
                </a:cubicBezTo>
                <a:cubicBezTo>
                  <a:pt x="458" y="808"/>
                  <a:pt x="458" y="808"/>
                  <a:pt x="458" y="808"/>
                </a:cubicBezTo>
                <a:cubicBezTo>
                  <a:pt x="458" y="810"/>
                  <a:pt x="459" y="813"/>
                  <a:pt x="459" y="816"/>
                </a:cubicBezTo>
                <a:cubicBezTo>
                  <a:pt x="458" y="823"/>
                  <a:pt x="461" y="829"/>
                  <a:pt x="464" y="834"/>
                </a:cubicBezTo>
                <a:cubicBezTo>
                  <a:pt x="464" y="835"/>
                  <a:pt x="465" y="836"/>
                  <a:pt x="466" y="836"/>
                </a:cubicBezTo>
                <a:cubicBezTo>
                  <a:pt x="467" y="837"/>
                  <a:pt x="467" y="837"/>
                  <a:pt x="468" y="836"/>
                </a:cubicBezTo>
                <a:cubicBezTo>
                  <a:pt x="468" y="836"/>
                  <a:pt x="469" y="835"/>
                  <a:pt x="469" y="835"/>
                </a:cubicBezTo>
                <a:cubicBezTo>
                  <a:pt x="466" y="826"/>
                  <a:pt x="468" y="818"/>
                  <a:pt x="471" y="810"/>
                </a:cubicBezTo>
                <a:cubicBezTo>
                  <a:pt x="472" y="805"/>
                  <a:pt x="474" y="800"/>
                  <a:pt x="476" y="796"/>
                </a:cubicBezTo>
                <a:cubicBezTo>
                  <a:pt x="476" y="795"/>
                  <a:pt x="475" y="793"/>
                  <a:pt x="475" y="793"/>
                </a:cubicBezTo>
                <a:cubicBezTo>
                  <a:pt x="472" y="791"/>
                  <a:pt x="469" y="790"/>
                  <a:pt x="466" y="788"/>
                </a:cubicBezTo>
                <a:close/>
                <a:moveTo>
                  <a:pt x="3789" y="1886"/>
                </a:moveTo>
                <a:cubicBezTo>
                  <a:pt x="3795" y="1884"/>
                  <a:pt x="3801" y="1883"/>
                  <a:pt x="3805" y="1878"/>
                </a:cubicBezTo>
                <a:cubicBezTo>
                  <a:pt x="3810" y="1873"/>
                  <a:pt x="3816" y="1870"/>
                  <a:pt x="3822" y="1869"/>
                </a:cubicBezTo>
                <a:cubicBezTo>
                  <a:pt x="3825" y="1869"/>
                  <a:pt x="3828" y="1867"/>
                  <a:pt x="3830" y="1866"/>
                </a:cubicBezTo>
                <a:cubicBezTo>
                  <a:pt x="3832" y="1865"/>
                  <a:pt x="3834" y="1864"/>
                  <a:pt x="3834" y="1861"/>
                </a:cubicBezTo>
                <a:cubicBezTo>
                  <a:pt x="3835" y="1860"/>
                  <a:pt x="3832" y="1859"/>
                  <a:pt x="3829" y="1859"/>
                </a:cubicBezTo>
                <a:cubicBezTo>
                  <a:pt x="3820" y="1859"/>
                  <a:pt x="3812" y="1859"/>
                  <a:pt x="3804" y="1865"/>
                </a:cubicBezTo>
                <a:cubicBezTo>
                  <a:pt x="3802" y="1866"/>
                  <a:pt x="3799" y="1866"/>
                  <a:pt x="3796" y="1868"/>
                </a:cubicBezTo>
                <a:cubicBezTo>
                  <a:pt x="3794" y="1869"/>
                  <a:pt x="3792" y="1871"/>
                  <a:pt x="3790" y="1873"/>
                </a:cubicBezTo>
                <a:cubicBezTo>
                  <a:pt x="3787" y="1877"/>
                  <a:pt x="3785" y="1881"/>
                  <a:pt x="3785" y="1886"/>
                </a:cubicBezTo>
                <a:cubicBezTo>
                  <a:pt x="3786" y="1886"/>
                  <a:pt x="3788" y="1887"/>
                  <a:pt x="3789" y="1886"/>
                </a:cubicBezTo>
                <a:close/>
                <a:moveTo>
                  <a:pt x="122" y="429"/>
                </a:moveTo>
                <a:cubicBezTo>
                  <a:pt x="123" y="430"/>
                  <a:pt x="125" y="431"/>
                  <a:pt x="126" y="431"/>
                </a:cubicBezTo>
                <a:cubicBezTo>
                  <a:pt x="130" y="431"/>
                  <a:pt x="132" y="432"/>
                  <a:pt x="134" y="436"/>
                </a:cubicBezTo>
                <a:cubicBezTo>
                  <a:pt x="135" y="439"/>
                  <a:pt x="136" y="442"/>
                  <a:pt x="137" y="445"/>
                </a:cubicBezTo>
                <a:cubicBezTo>
                  <a:pt x="138" y="446"/>
                  <a:pt x="140" y="447"/>
                  <a:pt x="141" y="446"/>
                </a:cubicBezTo>
                <a:cubicBezTo>
                  <a:pt x="144" y="446"/>
                  <a:pt x="147" y="445"/>
                  <a:pt x="151" y="444"/>
                </a:cubicBezTo>
                <a:cubicBezTo>
                  <a:pt x="151" y="444"/>
                  <a:pt x="151" y="443"/>
                  <a:pt x="152" y="443"/>
                </a:cubicBezTo>
                <a:cubicBezTo>
                  <a:pt x="152" y="442"/>
                  <a:pt x="152" y="441"/>
                  <a:pt x="152" y="441"/>
                </a:cubicBezTo>
                <a:cubicBezTo>
                  <a:pt x="150" y="437"/>
                  <a:pt x="147" y="434"/>
                  <a:pt x="146" y="429"/>
                </a:cubicBezTo>
                <a:cubicBezTo>
                  <a:pt x="144" y="424"/>
                  <a:pt x="141" y="422"/>
                  <a:pt x="136" y="421"/>
                </a:cubicBezTo>
                <a:cubicBezTo>
                  <a:pt x="133" y="420"/>
                  <a:pt x="131" y="418"/>
                  <a:pt x="129" y="417"/>
                </a:cubicBezTo>
                <a:cubicBezTo>
                  <a:pt x="128" y="416"/>
                  <a:pt x="127" y="417"/>
                  <a:pt x="126" y="417"/>
                </a:cubicBezTo>
                <a:cubicBezTo>
                  <a:pt x="124" y="419"/>
                  <a:pt x="121" y="421"/>
                  <a:pt x="120" y="425"/>
                </a:cubicBezTo>
                <a:cubicBezTo>
                  <a:pt x="120" y="426"/>
                  <a:pt x="120" y="428"/>
                  <a:pt x="122" y="429"/>
                </a:cubicBezTo>
                <a:close/>
                <a:moveTo>
                  <a:pt x="1230" y="209"/>
                </a:moveTo>
                <a:cubicBezTo>
                  <a:pt x="1232" y="209"/>
                  <a:pt x="1235" y="208"/>
                  <a:pt x="1237" y="206"/>
                </a:cubicBezTo>
                <a:cubicBezTo>
                  <a:pt x="1238" y="205"/>
                  <a:pt x="1238" y="202"/>
                  <a:pt x="1237" y="201"/>
                </a:cubicBezTo>
                <a:cubicBezTo>
                  <a:pt x="1230" y="195"/>
                  <a:pt x="1224" y="190"/>
                  <a:pt x="1214" y="189"/>
                </a:cubicBezTo>
                <a:cubicBezTo>
                  <a:pt x="1211" y="189"/>
                  <a:pt x="1207" y="191"/>
                  <a:pt x="1206" y="195"/>
                </a:cubicBezTo>
                <a:cubicBezTo>
                  <a:pt x="1205" y="197"/>
                  <a:pt x="1206" y="200"/>
                  <a:pt x="1207" y="201"/>
                </a:cubicBezTo>
                <a:cubicBezTo>
                  <a:pt x="1213" y="206"/>
                  <a:pt x="1221" y="208"/>
                  <a:pt x="1228" y="209"/>
                </a:cubicBezTo>
                <a:cubicBezTo>
                  <a:pt x="1229" y="209"/>
                  <a:pt x="1229" y="209"/>
                  <a:pt x="1230" y="209"/>
                </a:cubicBezTo>
                <a:close/>
                <a:moveTo>
                  <a:pt x="3801" y="1556"/>
                </a:moveTo>
                <a:cubicBezTo>
                  <a:pt x="3799" y="1557"/>
                  <a:pt x="3797" y="1559"/>
                  <a:pt x="3798" y="1561"/>
                </a:cubicBezTo>
                <a:cubicBezTo>
                  <a:pt x="3799" y="1564"/>
                  <a:pt x="3800" y="1566"/>
                  <a:pt x="3801" y="1569"/>
                </a:cubicBezTo>
                <a:cubicBezTo>
                  <a:pt x="3801" y="1569"/>
                  <a:pt x="3801" y="1569"/>
                  <a:pt x="3801" y="1569"/>
                </a:cubicBezTo>
                <a:cubicBezTo>
                  <a:pt x="3801" y="1569"/>
                  <a:pt x="3801" y="1568"/>
                  <a:pt x="3801" y="1568"/>
                </a:cubicBezTo>
                <a:cubicBezTo>
                  <a:pt x="3801" y="1568"/>
                  <a:pt x="3801" y="1569"/>
                  <a:pt x="3801" y="1569"/>
                </a:cubicBezTo>
                <a:cubicBezTo>
                  <a:pt x="3802" y="1569"/>
                  <a:pt x="3803" y="1570"/>
                  <a:pt x="3803" y="1570"/>
                </a:cubicBezTo>
                <a:cubicBezTo>
                  <a:pt x="3803" y="1571"/>
                  <a:pt x="3803" y="1571"/>
                  <a:pt x="3803" y="1572"/>
                </a:cubicBezTo>
                <a:cubicBezTo>
                  <a:pt x="3802" y="1573"/>
                  <a:pt x="3801" y="1572"/>
                  <a:pt x="3801" y="1571"/>
                </a:cubicBezTo>
                <a:cubicBezTo>
                  <a:pt x="3801" y="1570"/>
                  <a:pt x="3801" y="1570"/>
                  <a:pt x="3801" y="1569"/>
                </a:cubicBezTo>
                <a:cubicBezTo>
                  <a:pt x="3801" y="1569"/>
                  <a:pt x="3801" y="1569"/>
                  <a:pt x="3801" y="1569"/>
                </a:cubicBezTo>
                <a:cubicBezTo>
                  <a:pt x="3801" y="1569"/>
                  <a:pt x="3800" y="1569"/>
                  <a:pt x="3800" y="1570"/>
                </a:cubicBezTo>
                <a:cubicBezTo>
                  <a:pt x="3798" y="1574"/>
                  <a:pt x="3797" y="1578"/>
                  <a:pt x="3800" y="1582"/>
                </a:cubicBezTo>
                <a:cubicBezTo>
                  <a:pt x="3802" y="1584"/>
                  <a:pt x="3803" y="1587"/>
                  <a:pt x="3805" y="1590"/>
                </a:cubicBezTo>
                <a:cubicBezTo>
                  <a:pt x="3806" y="1591"/>
                  <a:pt x="3807" y="1591"/>
                  <a:pt x="3808" y="1591"/>
                </a:cubicBezTo>
                <a:cubicBezTo>
                  <a:pt x="3809" y="1591"/>
                  <a:pt x="3811" y="1589"/>
                  <a:pt x="3811" y="1588"/>
                </a:cubicBezTo>
                <a:cubicBezTo>
                  <a:pt x="3810" y="1586"/>
                  <a:pt x="3809" y="1584"/>
                  <a:pt x="3809" y="1583"/>
                </a:cubicBezTo>
                <a:cubicBezTo>
                  <a:pt x="3809" y="1582"/>
                  <a:pt x="3810" y="1580"/>
                  <a:pt x="3810" y="1580"/>
                </a:cubicBezTo>
                <a:cubicBezTo>
                  <a:pt x="3816" y="1578"/>
                  <a:pt x="3815" y="1574"/>
                  <a:pt x="3815" y="1569"/>
                </a:cubicBezTo>
                <a:cubicBezTo>
                  <a:pt x="3814" y="1566"/>
                  <a:pt x="3814" y="1563"/>
                  <a:pt x="3812" y="1560"/>
                </a:cubicBezTo>
                <a:cubicBezTo>
                  <a:pt x="3809" y="1556"/>
                  <a:pt x="3805" y="1554"/>
                  <a:pt x="3801" y="1556"/>
                </a:cubicBezTo>
                <a:close/>
                <a:moveTo>
                  <a:pt x="2595" y="146"/>
                </a:moveTo>
                <a:cubicBezTo>
                  <a:pt x="2594" y="147"/>
                  <a:pt x="2593" y="148"/>
                  <a:pt x="2593" y="148"/>
                </a:cubicBezTo>
                <a:cubicBezTo>
                  <a:pt x="2592" y="153"/>
                  <a:pt x="2592" y="158"/>
                  <a:pt x="2594" y="163"/>
                </a:cubicBezTo>
                <a:cubicBezTo>
                  <a:pt x="2595" y="165"/>
                  <a:pt x="2597" y="167"/>
                  <a:pt x="2599" y="167"/>
                </a:cubicBezTo>
                <a:cubicBezTo>
                  <a:pt x="2604" y="168"/>
                  <a:pt x="2608" y="167"/>
                  <a:pt x="2612" y="163"/>
                </a:cubicBezTo>
                <a:cubicBezTo>
                  <a:pt x="2613" y="163"/>
                  <a:pt x="2614" y="160"/>
                  <a:pt x="2613" y="159"/>
                </a:cubicBezTo>
                <a:cubicBezTo>
                  <a:pt x="2613" y="158"/>
                  <a:pt x="2612" y="158"/>
                  <a:pt x="2612" y="158"/>
                </a:cubicBezTo>
                <a:cubicBezTo>
                  <a:pt x="2612" y="157"/>
                  <a:pt x="2611" y="156"/>
                  <a:pt x="2610" y="155"/>
                </a:cubicBezTo>
                <a:cubicBezTo>
                  <a:pt x="2609" y="152"/>
                  <a:pt x="2609" y="152"/>
                  <a:pt x="2611" y="149"/>
                </a:cubicBezTo>
                <a:cubicBezTo>
                  <a:pt x="2614" y="146"/>
                  <a:pt x="2614" y="144"/>
                  <a:pt x="2612" y="142"/>
                </a:cubicBezTo>
                <a:cubicBezTo>
                  <a:pt x="2610" y="140"/>
                  <a:pt x="2608" y="140"/>
                  <a:pt x="2605" y="141"/>
                </a:cubicBezTo>
                <a:cubicBezTo>
                  <a:pt x="2603" y="142"/>
                  <a:pt x="2602" y="143"/>
                  <a:pt x="2600" y="143"/>
                </a:cubicBezTo>
                <a:cubicBezTo>
                  <a:pt x="2600" y="143"/>
                  <a:pt x="2600" y="143"/>
                  <a:pt x="2600" y="143"/>
                </a:cubicBezTo>
                <a:cubicBezTo>
                  <a:pt x="2600" y="143"/>
                  <a:pt x="2600" y="143"/>
                  <a:pt x="2600" y="143"/>
                </a:cubicBezTo>
                <a:cubicBezTo>
                  <a:pt x="2600" y="143"/>
                  <a:pt x="2600" y="143"/>
                  <a:pt x="2600" y="143"/>
                </a:cubicBezTo>
                <a:cubicBezTo>
                  <a:pt x="2598" y="144"/>
                  <a:pt x="2596" y="145"/>
                  <a:pt x="2595" y="146"/>
                </a:cubicBezTo>
                <a:close/>
                <a:moveTo>
                  <a:pt x="2471" y="184"/>
                </a:moveTo>
                <a:cubicBezTo>
                  <a:pt x="2476" y="185"/>
                  <a:pt x="2480" y="186"/>
                  <a:pt x="2484" y="187"/>
                </a:cubicBezTo>
                <a:cubicBezTo>
                  <a:pt x="2487" y="187"/>
                  <a:pt x="2487" y="185"/>
                  <a:pt x="2488" y="183"/>
                </a:cubicBezTo>
                <a:cubicBezTo>
                  <a:pt x="2487" y="182"/>
                  <a:pt x="2486" y="181"/>
                  <a:pt x="2486" y="181"/>
                </a:cubicBezTo>
                <a:cubicBezTo>
                  <a:pt x="2485" y="178"/>
                  <a:pt x="2485" y="175"/>
                  <a:pt x="2486" y="173"/>
                </a:cubicBezTo>
                <a:cubicBezTo>
                  <a:pt x="2488" y="172"/>
                  <a:pt x="2491" y="170"/>
                  <a:pt x="2494" y="172"/>
                </a:cubicBezTo>
                <a:cubicBezTo>
                  <a:pt x="2496" y="173"/>
                  <a:pt x="2498" y="174"/>
                  <a:pt x="2501" y="173"/>
                </a:cubicBezTo>
                <a:cubicBezTo>
                  <a:pt x="2501" y="172"/>
                  <a:pt x="2501" y="171"/>
                  <a:pt x="2500" y="170"/>
                </a:cubicBezTo>
                <a:cubicBezTo>
                  <a:pt x="2497" y="166"/>
                  <a:pt x="2492" y="164"/>
                  <a:pt x="2487" y="163"/>
                </a:cubicBezTo>
                <a:cubicBezTo>
                  <a:pt x="2485" y="163"/>
                  <a:pt x="2483" y="163"/>
                  <a:pt x="2481" y="164"/>
                </a:cubicBezTo>
                <a:cubicBezTo>
                  <a:pt x="2476" y="167"/>
                  <a:pt x="2472" y="172"/>
                  <a:pt x="2468" y="177"/>
                </a:cubicBezTo>
                <a:cubicBezTo>
                  <a:pt x="2466" y="179"/>
                  <a:pt x="2468" y="184"/>
                  <a:pt x="2471" y="184"/>
                </a:cubicBezTo>
                <a:close/>
                <a:moveTo>
                  <a:pt x="2488" y="183"/>
                </a:moveTo>
                <a:cubicBezTo>
                  <a:pt x="2488" y="183"/>
                  <a:pt x="2488" y="183"/>
                  <a:pt x="2488" y="183"/>
                </a:cubicBezTo>
                <a:cubicBezTo>
                  <a:pt x="2488" y="183"/>
                  <a:pt x="2488" y="183"/>
                  <a:pt x="2488" y="183"/>
                </a:cubicBezTo>
                <a:cubicBezTo>
                  <a:pt x="2488" y="183"/>
                  <a:pt x="2488" y="183"/>
                  <a:pt x="2488" y="183"/>
                </a:cubicBezTo>
                <a:cubicBezTo>
                  <a:pt x="2488" y="183"/>
                  <a:pt x="2488" y="183"/>
                  <a:pt x="2488" y="183"/>
                </a:cubicBezTo>
                <a:close/>
                <a:moveTo>
                  <a:pt x="2568" y="174"/>
                </a:moveTo>
                <a:cubicBezTo>
                  <a:pt x="2567" y="174"/>
                  <a:pt x="2566" y="176"/>
                  <a:pt x="2566" y="177"/>
                </a:cubicBezTo>
                <a:cubicBezTo>
                  <a:pt x="2566" y="181"/>
                  <a:pt x="2568" y="184"/>
                  <a:pt x="2571" y="187"/>
                </a:cubicBezTo>
                <a:cubicBezTo>
                  <a:pt x="2572" y="188"/>
                  <a:pt x="2575" y="189"/>
                  <a:pt x="2577" y="188"/>
                </a:cubicBezTo>
                <a:cubicBezTo>
                  <a:pt x="2579" y="188"/>
                  <a:pt x="2580" y="186"/>
                  <a:pt x="2582" y="185"/>
                </a:cubicBezTo>
                <a:cubicBezTo>
                  <a:pt x="2586" y="185"/>
                  <a:pt x="2587" y="183"/>
                  <a:pt x="2588" y="181"/>
                </a:cubicBezTo>
                <a:cubicBezTo>
                  <a:pt x="2589" y="179"/>
                  <a:pt x="2590" y="177"/>
                  <a:pt x="2591" y="176"/>
                </a:cubicBezTo>
                <a:cubicBezTo>
                  <a:pt x="2592" y="172"/>
                  <a:pt x="2592" y="171"/>
                  <a:pt x="2589" y="169"/>
                </a:cubicBezTo>
                <a:cubicBezTo>
                  <a:pt x="2587" y="168"/>
                  <a:pt x="2585" y="167"/>
                  <a:pt x="2583" y="167"/>
                </a:cubicBezTo>
                <a:cubicBezTo>
                  <a:pt x="2582" y="166"/>
                  <a:pt x="2581" y="166"/>
                  <a:pt x="2580" y="167"/>
                </a:cubicBezTo>
                <a:cubicBezTo>
                  <a:pt x="2577" y="171"/>
                  <a:pt x="2573" y="173"/>
                  <a:pt x="2568" y="174"/>
                </a:cubicBezTo>
                <a:close/>
                <a:moveTo>
                  <a:pt x="2619" y="141"/>
                </a:moveTo>
                <a:cubicBezTo>
                  <a:pt x="2620" y="141"/>
                  <a:pt x="2621" y="141"/>
                  <a:pt x="2622" y="140"/>
                </a:cubicBezTo>
                <a:cubicBezTo>
                  <a:pt x="2624" y="137"/>
                  <a:pt x="2625" y="132"/>
                  <a:pt x="2629" y="130"/>
                </a:cubicBezTo>
                <a:cubicBezTo>
                  <a:pt x="2629" y="129"/>
                  <a:pt x="2630" y="127"/>
                  <a:pt x="2630" y="127"/>
                </a:cubicBezTo>
                <a:cubicBezTo>
                  <a:pt x="2627" y="122"/>
                  <a:pt x="2625" y="117"/>
                  <a:pt x="2621" y="113"/>
                </a:cubicBezTo>
                <a:cubicBezTo>
                  <a:pt x="2621" y="112"/>
                  <a:pt x="2618" y="112"/>
                  <a:pt x="2617" y="113"/>
                </a:cubicBezTo>
                <a:cubicBezTo>
                  <a:pt x="2615" y="116"/>
                  <a:pt x="2613" y="118"/>
                  <a:pt x="2611" y="121"/>
                </a:cubicBezTo>
                <a:cubicBezTo>
                  <a:pt x="2610" y="122"/>
                  <a:pt x="2610" y="124"/>
                  <a:pt x="2610" y="125"/>
                </a:cubicBezTo>
                <a:cubicBezTo>
                  <a:pt x="2610" y="133"/>
                  <a:pt x="2612" y="138"/>
                  <a:pt x="2619" y="141"/>
                </a:cubicBezTo>
                <a:close/>
                <a:moveTo>
                  <a:pt x="3855" y="1789"/>
                </a:moveTo>
                <a:cubicBezTo>
                  <a:pt x="3865" y="1786"/>
                  <a:pt x="3875" y="1786"/>
                  <a:pt x="3885" y="1792"/>
                </a:cubicBezTo>
                <a:cubicBezTo>
                  <a:pt x="3885" y="1792"/>
                  <a:pt x="3886" y="1792"/>
                  <a:pt x="3886" y="1792"/>
                </a:cubicBezTo>
                <a:cubicBezTo>
                  <a:pt x="3888" y="1793"/>
                  <a:pt x="3890" y="1791"/>
                  <a:pt x="3890" y="1789"/>
                </a:cubicBezTo>
                <a:cubicBezTo>
                  <a:pt x="3890" y="1788"/>
                  <a:pt x="3890" y="1786"/>
                  <a:pt x="3889" y="1785"/>
                </a:cubicBezTo>
                <a:cubicBezTo>
                  <a:pt x="3888" y="1784"/>
                  <a:pt x="3886" y="1783"/>
                  <a:pt x="3885" y="1782"/>
                </a:cubicBezTo>
                <a:cubicBezTo>
                  <a:pt x="3876" y="1777"/>
                  <a:pt x="3866" y="1777"/>
                  <a:pt x="3856" y="1778"/>
                </a:cubicBezTo>
                <a:cubicBezTo>
                  <a:pt x="3854" y="1779"/>
                  <a:pt x="3852" y="1781"/>
                  <a:pt x="3851" y="1784"/>
                </a:cubicBezTo>
                <a:cubicBezTo>
                  <a:pt x="3850" y="1787"/>
                  <a:pt x="3852" y="1790"/>
                  <a:pt x="3855" y="1789"/>
                </a:cubicBezTo>
                <a:close/>
                <a:moveTo>
                  <a:pt x="4340" y="2063"/>
                </a:moveTo>
                <a:cubicBezTo>
                  <a:pt x="4345" y="2069"/>
                  <a:pt x="4349" y="2074"/>
                  <a:pt x="4356" y="2077"/>
                </a:cubicBezTo>
                <a:cubicBezTo>
                  <a:pt x="4357" y="2077"/>
                  <a:pt x="4359" y="2077"/>
                  <a:pt x="4361" y="2077"/>
                </a:cubicBezTo>
                <a:cubicBezTo>
                  <a:pt x="4361" y="2077"/>
                  <a:pt x="4361" y="2076"/>
                  <a:pt x="4361" y="2075"/>
                </a:cubicBezTo>
                <a:cubicBezTo>
                  <a:pt x="4361" y="2074"/>
                  <a:pt x="4361" y="2073"/>
                  <a:pt x="4360" y="2072"/>
                </a:cubicBezTo>
                <a:cubicBezTo>
                  <a:pt x="4354" y="2065"/>
                  <a:pt x="4348" y="2058"/>
                  <a:pt x="4342" y="2052"/>
                </a:cubicBezTo>
                <a:cubicBezTo>
                  <a:pt x="4340" y="2049"/>
                  <a:pt x="4337" y="2047"/>
                  <a:pt x="4335" y="2045"/>
                </a:cubicBezTo>
                <a:cubicBezTo>
                  <a:pt x="4334" y="2044"/>
                  <a:pt x="4333" y="2043"/>
                  <a:pt x="4332" y="2043"/>
                </a:cubicBezTo>
                <a:cubicBezTo>
                  <a:pt x="4331" y="2043"/>
                  <a:pt x="4330" y="2043"/>
                  <a:pt x="4329" y="2043"/>
                </a:cubicBezTo>
                <a:cubicBezTo>
                  <a:pt x="4329" y="2044"/>
                  <a:pt x="4328" y="2045"/>
                  <a:pt x="4328" y="2046"/>
                </a:cubicBezTo>
                <a:cubicBezTo>
                  <a:pt x="4330" y="2053"/>
                  <a:pt x="4335" y="2058"/>
                  <a:pt x="4340" y="2063"/>
                </a:cubicBezTo>
                <a:close/>
                <a:moveTo>
                  <a:pt x="3685" y="1863"/>
                </a:moveTo>
                <a:cubicBezTo>
                  <a:pt x="3688" y="1864"/>
                  <a:pt x="3691" y="1865"/>
                  <a:pt x="3694" y="1866"/>
                </a:cubicBezTo>
                <a:cubicBezTo>
                  <a:pt x="3697" y="1867"/>
                  <a:pt x="3699" y="1867"/>
                  <a:pt x="3701" y="1867"/>
                </a:cubicBezTo>
                <a:cubicBezTo>
                  <a:pt x="3710" y="1866"/>
                  <a:pt x="3718" y="1865"/>
                  <a:pt x="3727" y="1862"/>
                </a:cubicBezTo>
                <a:cubicBezTo>
                  <a:pt x="3728" y="1862"/>
                  <a:pt x="3728" y="1861"/>
                  <a:pt x="3727" y="1860"/>
                </a:cubicBezTo>
                <a:cubicBezTo>
                  <a:pt x="3723" y="1854"/>
                  <a:pt x="3717" y="1853"/>
                  <a:pt x="3711" y="1853"/>
                </a:cubicBezTo>
                <a:cubicBezTo>
                  <a:pt x="3710" y="1853"/>
                  <a:pt x="3710" y="1854"/>
                  <a:pt x="3709" y="1855"/>
                </a:cubicBezTo>
                <a:cubicBezTo>
                  <a:pt x="3708" y="1856"/>
                  <a:pt x="3708" y="1857"/>
                  <a:pt x="3707" y="1858"/>
                </a:cubicBezTo>
                <a:cubicBezTo>
                  <a:pt x="3702" y="1855"/>
                  <a:pt x="3696" y="1858"/>
                  <a:pt x="3690" y="1856"/>
                </a:cubicBezTo>
                <a:cubicBezTo>
                  <a:pt x="3688" y="1855"/>
                  <a:pt x="3686" y="1857"/>
                  <a:pt x="3684" y="1859"/>
                </a:cubicBezTo>
                <a:cubicBezTo>
                  <a:pt x="3683" y="1861"/>
                  <a:pt x="3684" y="1863"/>
                  <a:pt x="3685" y="1863"/>
                </a:cubicBezTo>
                <a:close/>
                <a:moveTo>
                  <a:pt x="3773" y="1862"/>
                </a:moveTo>
                <a:cubicBezTo>
                  <a:pt x="3775" y="1862"/>
                  <a:pt x="3776" y="1861"/>
                  <a:pt x="3778" y="1860"/>
                </a:cubicBezTo>
                <a:cubicBezTo>
                  <a:pt x="3779" y="1859"/>
                  <a:pt x="3779" y="1858"/>
                  <a:pt x="3780" y="1857"/>
                </a:cubicBezTo>
                <a:cubicBezTo>
                  <a:pt x="3780" y="1856"/>
                  <a:pt x="3780" y="1855"/>
                  <a:pt x="3779" y="1854"/>
                </a:cubicBezTo>
                <a:cubicBezTo>
                  <a:pt x="3779" y="1854"/>
                  <a:pt x="3778" y="1854"/>
                  <a:pt x="3778" y="1854"/>
                </a:cubicBezTo>
                <a:cubicBezTo>
                  <a:pt x="3773" y="1855"/>
                  <a:pt x="3769" y="1857"/>
                  <a:pt x="3764" y="1856"/>
                </a:cubicBezTo>
                <a:cubicBezTo>
                  <a:pt x="3759" y="1855"/>
                  <a:pt x="3754" y="1855"/>
                  <a:pt x="3749" y="1854"/>
                </a:cubicBezTo>
                <a:cubicBezTo>
                  <a:pt x="3748" y="1854"/>
                  <a:pt x="3748" y="1854"/>
                  <a:pt x="3747" y="1854"/>
                </a:cubicBezTo>
                <a:cubicBezTo>
                  <a:pt x="3743" y="1854"/>
                  <a:pt x="3740" y="1855"/>
                  <a:pt x="3737" y="1858"/>
                </a:cubicBezTo>
                <a:cubicBezTo>
                  <a:pt x="3736" y="1858"/>
                  <a:pt x="3736" y="1860"/>
                  <a:pt x="3736" y="1861"/>
                </a:cubicBezTo>
                <a:cubicBezTo>
                  <a:pt x="3736" y="1861"/>
                  <a:pt x="3737" y="1863"/>
                  <a:pt x="3738" y="1863"/>
                </a:cubicBezTo>
                <a:cubicBezTo>
                  <a:pt x="3742" y="1864"/>
                  <a:pt x="3746" y="1865"/>
                  <a:pt x="3751" y="1865"/>
                </a:cubicBezTo>
                <a:cubicBezTo>
                  <a:pt x="3758" y="1864"/>
                  <a:pt x="3766" y="1863"/>
                  <a:pt x="3773" y="1862"/>
                </a:cubicBezTo>
                <a:close/>
                <a:moveTo>
                  <a:pt x="2610" y="551"/>
                </a:moveTo>
                <a:cubicBezTo>
                  <a:pt x="2610" y="553"/>
                  <a:pt x="2610" y="554"/>
                  <a:pt x="2609" y="557"/>
                </a:cubicBezTo>
                <a:cubicBezTo>
                  <a:pt x="2610" y="559"/>
                  <a:pt x="2610" y="561"/>
                  <a:pt x="2611" y="564"/>
                </a:cubicBezTo>
                <a:cubicBezTo>
                  <a:pt x="2612" y="567"/>
                  <a:pt x="2616" y="568"/>
                  <a:pt x="2619" y="567"/>
                </a:cubicBezTo>
                <a:cubicBezTo>
                  <a:pt x="2626" y="565"/>
                  <a:pt x="2629" y="560"/>
                  <a:pt x="2630" y="554"/>
                </a:cubicBezTo>
                <a:cubicBezTo>
                  <a:pt x="2630" y="553"/>
                  <a:pt x="2630" y="552"/>
                  <a:pt x="2629" y="551"/>
                </a:cubicBezTo>
                <a:cubicBezTo>
                  <a:pt x="2626" y="547"/>
                  <a:pt x="2621" y="546"/>
                  <a:pt x="2616" y="546"/>
                </a:cubicBezTo>
                <a:cubicBezTo>
                  <a:pt x="2614" y="546"/>
                  <a:pt x="2611" y="549"/>
                  <a:pt x="2610" y="551"/>
                </a:cubicBezTo>
                <a:close/>
                <a:moveTo>
                  <a:pt x="1156" y="672"/>
                </a:moveTo>
                <a:cubicBezTo>
                  <a:pt x="1156" y="671"/>
                  <a:pt x="1156" y="669"/>
                  <a:pt x="1156" y="669"/>
                </a:cubicBezTo>
                <a:cubicBezTo>
                  <a:pt x="1155" y="668"/>
                  <a:pt x="1154" y="667"/>
                  <a:pt x="1154" y="666"/>
                </a:cubicBezTo>
                <a:cubicBezTo>
                  <a:pt x="1152" y="666"/>
                  <a:pt x="1150" y="666"/>
                  <a:pt x="1150" y="666"/>
                </a:cubicBezTo>
                <a:cubicBezTo>
                  <a:pt x="1147" y="666"/>
                  <a:pt x="1144" y="666"/>
                  <a:pt x="1142" y="666"/>
                </a:cubicBezTo>
                <a:cubicBezTo>
                  <a:pt x="1141" y="667"/>
                  <a:pt x="1139" y="667"/>
                  <a:pt x="1138" y="668"/>
                </a:cubicBezTo>
                <a:cubicBezTo>
                  <a:pt x="1135" y="670"/>
                  <a:pt x="1133" y="672"/>
                  <a:pt x="1131" y="675"/>
                </a:cubicBezTo>
                <a:cubicBezTo>
                  <a:pt x="1130" y="676"/>
                  <a:pt x="1129" y="678"/>
                  <a:pt x="1130" y="679"/>
                </a:cubicBezTo>
                <a:cubicBezTo>
                  <a:pt x="1131" y="681"/>
                  <a:pt x="1131" y="682"/>
                  <a:pt x="1133" y="683"/>
                </a:cubicBezTo>
                <a:cubicBezTo>
                  <a:pt x="1136" y="683"/>
                  <a:pt x="1138" y="683"/>
                  <a:pt x="1140" y="683"/>
                </a:cubicBezTo>
                <a:cubicBezTo>
                  <a:pt x="1146" y="681"/>
                  <a:pt x="1151" y="677"/>
                  <a:pt x="1156" y="672"/>
                </a:cubicBezTo>
                <a:close/>
                <a:moveTo>
                  <a:pt x="3197" y="268"/>
                </a:moveTo>
                <a:cubicBezTo>
                  <a:pt x="3197" y="272"/>
                  <a:pt x="3199" y="274"/>
                  <a:pt x="3203" y="275"/>
                </a:cubicBezTo>
                <a:cubicBezTo>
                  <a:pt x="3204" y="275"/>
                  <a:pt x="3206" y="275"/>
                  <a:pt x="3208" y="276"/>
                </a:cubicBezTo>
                <a:cubicBezTo>
                  <a:pt x="3208" y="276"/>
                  <a:pt x="3209" y="276"/>
                  <a:pt x="3209" y="276"/>
                </a:cubicBezTo>
                <a:cubicBezTo>
                  <a:pt x="3214" y="276"/>
                  <a:pt x="3216" y="273"/>
                  <a:pt x="3216" y="269"/>
                </a:cubicBezTo>
                <a:cubicBezTo>
                  <a:pt x="3215" y="265"/>
                  <a:pt x="3214" y="262"/>
                  <a:pt x="3212" y="260"/>
                </a:cubicBezTo>
                <a:cubicBezTo>
                  <a:pt x="3211" y="258"/>
                  <a:pt x="3209" y="257"/>
                  <a:pt x="3207" y="258"/>
                </a:cubicBezTo>
                <a:cubicBezTo>
                  <a:pt x="3204" y="259"/>
                  <a:pt x="3202" y="260"/>
                  <a:pt x="3199" y="261"/>
                </a:cubicBezTo>
                <a:cubicBezTo>
                  <a:pt x="3197" y="262"/>
                  <a:pt x="3196" y="264"/>
                  <a:pt x="3197" y="266"/>
                </a:cubicBezTo>
                <a:cubicBezTo>
                  <a:pt x="3197" y="267"/>
                  <a:pt x="3197" y="267"/>
                  <a:pt x="3197" y="268"/>
                </a:cubicBezTo>
                <a:close/>
                <a:moveTo>
                  <a:pt x="1302" y="964"/>
                </a:moveTo>
                <a:cubicBezTo>
                  <a:pt x="1301" y="965"/>
                  <a:pt x="1300" y="965"/>
                  <a:pt x="1299" y="965"/>
                </a:cubicBezTo>
                <a:cubicBezTo>
                  <a:pt x="1298" y="966"/>
                  <a:pt x="1298" y="968"/>
                  <a:pt x="1300" y="969"/>
                </a:cubicBezTo>
                <a:cubicBezTo>
                  <a:pt x="1301" y="970"/>
                  <a:pt x="1301" y="971"/>
                  <a:pt x="1302" y="972"/>
                </a:cubicBezTo>
                <a:cubicBezTo>
                  <a:pt x="1305" y="975"/>
                  <a:pt x="1308" y="978"/>
                  <a:pt x="1312" y="980"/>
                </a:cubicBezTo>
                <a:cubicBezTo>
                  <a:pt x="1316" y="981"/>
                  <a:pt x="1320" y="982"/>
                  <a:pt x="1324" y="983"/>
                </a:cubicBezTo>
                <a:cubicBezTo>
                  <a:pt x="1325" y="983"/>
                  <a:pt x="1326" y="983"/>
                  <a:pt x="1326" y="983"/>
                </a:cubicBezTo>
                <a:cubicBezTo>
                  <a:pt x="1327" y="983"/>
                  <a:pt x="1328" y="982"/>
                  <a:pt x="1328" y="981"/>
                </a:cubicBezTo>
                <a:cubicBezTo>
                  <a:pt x="1328" y="981"/>
                  <a:pt x="1328" y="980"/>
                  <a:pt x="1328" y="980"/>
                </a:cubicBezTo>
                <a:cubicBezTo>
                  <a:pt x="1322" y="971"/>
                  <a:pt x="1313" y="966"/>
                  <a:pt x="1302" y="964"/>
                </a:cubicBezTo>
                <a:close/>
                <a:moveTo>
                  <a:pt x="2531" y="1241"/>
                </a:moveTo>
                <a:cubicBezTo>
                  <a:pt x="2535" y="1240"/>
                  <a:pt x="2538" y="1239"/>
                  <a:pt x="2541" y="1237"/>
                </a:cubicBezTo>
                <a:cubicBezTo>
                  <a:pt x="2545" y="1235"/>
                  <a:pt x="2546" y="1231"/>
                  <a:pt x="2548" y="1227"/>
                </a:cubicBezTo>
                <a:cubicBezTo>
                  <a:pt x="2547" y="1227"/>
                  <a:pt x="2547" y="1226"/>
                  <a:pt x="2546" y="1226"/>
                </a:cubicBezTo>
                <a:cubicBezTo>
                  <a:pt x="2542" y="1226"/>
                  <a:pt x="2538" y="1227"/>
                  <a:pt x="2533" y="1228"/>
                </a:cubicBezTo>
                <a:cubicBezTo>
                  <a:pt x="2530" y="1228"/>
                  <a:pt x="2526" y="1230"/>
                  <a:pt x="2523" y="1232"/>
                </a:cubicBezTo>
                <a:cubicBezTo>
                  <a:pt x="2521" y="1233"/>
                  <a:pt x="2521" y="1236"/>
                  <a:pt x="2523" y="1238"/>
                </a:cubicBezTo>
                <a:cubicBezTo>
                  <a:pt x="2525" y="1241"/>
                  <a:pt x="2528" y="1242"/>
                  <a:pt x="2531" y="1241"/>
                </a:cubicBezTo>
                <a:close/>
                <a:moveTo>
                  <a:pt x="971" y="188"/>
                </a:moveTo>
                <a:cubicBezTo>
                  <a:pt x="970" y="188"/>
                  <a:pt x="970" y="187"/>
                  <a:pt x="970" y="187"/>
                </a:cubicBezTo>
                <a:cubicBezTo>
                  <a:pt x="969" y="187"/>
                  <a:pt x="968" y="186"/>
                  <a:pt x="967" y="186"/>
                </a:cubicBezTo>
                <a:cubicBezTo>
                  <a:pt x="958" y="188"/>
                  <a:pt x="951" y="192"/>
                  <a:pt x="944" y="197"/>
                </a:cubicBezTo>
                <a:cubicBezTo>
                  <a:pt x="942" y="199"/>
                  <a:pt x="942" y="202"/>
                  <a:pt x="945" y="204"/>
                </a:cubicBezTo>
                <a:cubicBezTo>
                  <a:pt x="947" y="205"/>
                  <a:pt x="949" y="206"/>
                  <a:pt x="951" y="205"/>
                </a:cubicBezTo>
                <a:cubicBezTo>
                  <a:pt x="958" y="200"/>
                  <a:pt x="964" y="195"/>
                  <a:pt x="970" y="190"/>
                </a:cubicBezTo>
                <a:cubicBezTo>
                  <a:pt x="971" y="189"/>
                  <a:pt x="970" y="189"/>
                  <a:pt x="971" y="188"/>
                </a:cubicBezTo>
                <a:close/>
                <a:moveTo>
                  <a:pt x="2214" y="1130"/>
                </a:moveTo>
                <a:cubicBezTo>
                  <a:pt x="2215" y="1129"/>
                  <a:pt x="2216" y="1127"/>
                  <a:pt x="2216" y="1126"/>
                </a:cubicBezTo>
                <a:cubicBezTo>
                  <a:pt x="2217" y="1123"/>
                  <a:pt x="2217" y="1119"/>
                  <a:pt x="2217" y="1117"/>
                </a:cubicBezTo>
                <a:cubicBezTo>
                  <a:pt x="2217" y="1115"/>
                  <a:pt x="2217" y="1114"/>
                  <a:pt x="2217" y="1113"/>
                </a:cubicBezTo>
                <a:cubicBezTo>
                  <a:pt x="2217" y="1112"/>
                  <a:pt x="2217" y="1112"/>
                  <a:pt x="2217" y="1111"/>
                </a:cubicBezTo>
                <a:cubicBezTo>
                  <a:pt x="2216" y="1109"/>
                  <a:pt x="2214" y="1107"/>
                  <a:pt x="2212" y="1108"/>
                </a:cubicBezTo>
                <a:cubicBezTo>
                  <a:pt x="2210" y="1109"/>
                  <a:pt x="2208" y="1110"/>
                  <a:pt x="2206" y="1111"/>
                </a:cubicBezTo>
                <a:cubicBezTo>
                  <a:pt x="2204" y="1113"/>
                  <a:pt x="2203" y="1115"/>
                  <a:pt x="2203" y="1118"/>
                </a:cubicBezTo>
                <a:cubicBezTo>
                  <a:pt x="2204" y="1123"/>
                  <a:pt x="2205" y="1127"/>
                  <a:pt x="2208" y="1130"/>
                </a:cubicBezTo>
                <a:cubicBezTo>
                  <a:pt x="2209" y="1132"/>
                  <a:pt x="2213" y="1132"/>
                  <a:pt x="2214" y="1130"/>
                </a:cubicBezTo>
                <a:close/>
                <a:moveTo>
                  <a:pt x="3704" y="1612"/>
                </a:moveTo>
                <a:cubicBezTo>
                  <a:pt x="3704" y="1612"/>
                  <a:pt x="3704" y="1613"/>
                  <a:pt x="3704" y="1613"/>
                </a:cubicBezTo>
                <a:cubicBezTo>
                  <a:pt x="3704" y="1613"/>
                  <a:pt x="3705" y="1614"/>
                  <a:pt x="3705" y="1614"/>
                </a:cubicBezTo>
                <a:cubicBezTo>
                  <a:pt x="3706" y="1614"/>
                  <a:pt x="3706" y="1614"/>
                  <a:pt x="3707" y="1614"/>
                </a:cubicBezTo>
                <a:cubicBezTo>
                  <a:pt x="3712" y="1611"/>
                  <a:pt x="3717" y="1607"/>
                  <a:pt x="3720" y="1602"/>
                </a:cubicBezTo>
                <a:cubicBezTo>
                  <a:pt x="3724" y="1596"/>
                  <a:pt x="3728" y="1592"/>
                  <a:pt x="3734" y="1588"/>
                </a:cubicBezTo>
                <a:cubicBezTo>
                  <a:pt x="3735" y="1587"/>
                  <a:pt x="3735" y="1587"/>
                  <a:pt x="3733" y="1584"/>
                </a:cubicBezTo>
                <a:cubicBezTo>
                  <a:pt x="3730" y="1580"/>
                  <a:pt x="3728" y="1581"/>
                  <a:pt x="3726" y="1584"/>
                </a:cubicBezTo>
                <a:cubicBezTo>
                  <a:pt x="3720" y="1592"/>
                  <a:pt x="3713" y="1601"/>
                  <a:pt x="3705" y="1609"/>
                </a:cubicBezTo>
                <a:cubicBezTo>
                  <a:pt x="3705" y="1610"/>
                  <a:pt x="3704" y="1611"/>
                  <a:pt x="3704" y="1612"/>
                </a:cubicBezTo>
                <a:close/>
                <a:moveTo>
                  <a:pt x="3788" y="1585"/>
                </a:moveTo>
                <a:cubicBezTo>
                  <a:pt x="3787" y="1581"/>
                  <a:pt x="3784" y="1580"/>
                  <a:pt x="3781" y="1579"/>
                </a:cubicBezTo>
                <a:cubicBezTo>
                  <a:pt x="3781" y="1578"/>
                  <a:pt x="3781" y="1578"/>
                  <a:pt x="3781" y="1578"/>
                </a:cubicBezTo>
                <a:cubicBezTo>
                  <a:pt x="3781" y="1578"/>
                  <a:pt x="3781" y="1579"/>
                  <a:pt x="3781" y="1579"/>
                </a:cubicBezTo>
                <a:cubicBezTo>
                  <a:pt x="3781" y="1578"/>
                  <a:pt x="3781" y="1577"/>
                  <a:pt x="3781" y="1575"/>
                </a:cubicBezTo>
                <a:cubicBezTo>
                  <a:pt x="3781" y="1574"/>
                  <a:pt x="3781" y="1573"/>
                  <a:pt x="3780" y="1573"/>
                </a:cubicBezTo>
                <a:cubicBezTo>
                  <a:pt x="3776" y="1569"/>
                  <a:pt x="3771" y="1568"/>
                  <a:pt x="3766" y="1566"/>
                </a:cubicBezTo>
                <a:cubicBezTo>
                  <a:pt x="3765" y="1566"/>
                  <a:pt x="3764" y="1567"/>
                  <a:pt x="3764" y="1567"/>
                </a:cubicBezTo>
                <a:cubicBezTo>
                  <a:pt x="3765" y="1573"/>
                  <a:pt x="3765" y="1578"/>
                  <a:pt x="3765" y="1583"/>
                </a:cubicBezTo>
                <a:cubicBezTo>
                  <a:pt x="3765" y="1585"/>
                  <a:pt x="3767" y="1585"/>
                  <a:pt x="3769" y="1586"/>
                </a:cubicBezTo>
                <a:cubicBezTo>
                  <a:pt x="3771" y="1587"/>
                  <a:pt x="3773" y="1587"/>
                  <a:pt x="3775" y="1585"/>
                </a:cubicBezTo>
                <a:cubicBezTo>
                  <a:pt x="3776" y="1584"/>
                  <a:pt x="3777" y="1583"/>
                  <a:pt x="3778" y="1582"/>
                </a:cubicBezTo>
                <a:cubicBezTo>
                  <a:pt x="3778" y="1582"/>
                  <a:pt x="3778" y="1582"/>
                  <a:pt x="3778" y="1582"/>
                </a:cubicBezTo>
                <a:cubicBezTo>
                  <a:pt x="3778" y="1582"/>
                  <a:pt x="3778" y="1582"/>
                  <a:pt x="3778" y="1582"/>
                </a:cubicBezTo>
                <a:cubicBezTo>
                  <a:pt x="3777" y="1586"/>
                  <a:pt x="3777" y="1590"/>
                  <a:pt x="3774" y="1594"/>
                </a:cubicBezTo>
                <a:cubicBezTo>
                  <a:pt x="3771" y="1598"/>
                  <a:pt x="3771" y="1600"/>
                  <a:pt x="3776" y="1603"/>
                </a:cubicBezTo>
                <a:cubicBezTo>
                  <a:pt x="3777" y="1604"/>
                  <a:pt x="3779" y="1605"/>
                  <a:pt x="3781" y="1606"/>
                </a:cubicBezTo>
                <a:cubicBezTo>
                  <a:pt x="3782" y="1607"/>
                  <a:pt x="3784" y="1606"/>
                  <a:pt x="3785" y="1604"/>
                </a:cubicBezTo>
                <a:cubicBezTo>
                  <a:pt x="3786" y="1601"/>
                  <a:pt x="3788" y="1598"/>
                  <a:pt x="3787" y="1595"/>
                </a:cubicBezTo>
                <a:cubicBezTo>
                  <a:pt x="3788" y="1595"/>
                  <a:pt x="3788" y="1595"/>
                  <a:pt x="3788" y="1595"/>
                </a:cubicBezTo>
                <a:cubicBezTo>
                  <a:pt x="3788" y="1595"/>
                  <a:pt x="3788" y="1595"/>
                  <a:pt x="3788" y="1595"/>
                </a:cubicBezTo>
                <a:cubicBezTo>
                  <a:pt x="3788" y="1595"/>
                  <a:pt x="3788" y="1595"/>
                  <a:pt x="3788" y="1595"/>
                </a:cubicBezTo>
                <a:cubicBezTo>
                  <a:pt x="3785" y="1592"/>
                  <a:pt x="3785" y="1589"/>
                  <a:pt x="3788" y="1585"/>
                </a:cubicBezTo>
                <a:close/>
                <a:moveTo>
                  <a:pt x="1058" y="1475"/>
                </a:moveTo>
                <a:cubicBezTo>
                  <a:pt x="1056" y="1475"/>
                  <a:pt x="1053" y="1475"/>
                  <a:pt x="1050" y="1476"/>
                </a:cubicBezTo>
                <a:cubicBezTo>
                  <a:pt x="1049" y="1476"/>
                  <a:pt x="1048" y="1478"/>
                  <a:pt x="1049" y="1479"/>
                </a:cubicBezTo>
                <a:cubicBezTo>
                  <a:pt x="1054" y="1486"/>
                  <a:pt x="1060" y="1489"/>
                  <a:pt x="1068" y="1486"/>
                </a:cubicBezTo>
                <a:cubicBezTo>
                  <a:pt x="1070" y="1485"/>
                  <a:pt x="1071" y="1485"/>
                  <a:pt x="1073" y="1484"/>
                </a:cubicBezTo>
                <a:cubicBezTo>
                  <a:pt x="1074" y="1484"/>
                  <a:pt x="1075" y="1481"/>
                  <a:pt x="1074" y="1480"/>
                </a:cubicBezTo>
                <a:cubicBezTo>
                  <a:pt x="1070" y="1475"/>
                  <a:pt x="1065" y="1474"/>
                  <a:pt x="1058" y="1475"/>
                </a:cubicBezTo>
                <a:close/>
                <a:moveTo>
                  <a:pt x="133" y="551"/>
                </a:moveTo>
                <a:cubicBezTo>
                  <a:pt x="137" y="551"/>
                  <a:pt x="139" y="546"/>
                  <a:pt x="139" y="542"/>
                </a:cubicBezTo>
                <a:cubicBezTo>
                  <a:pt x="138" y="541"/>
                  <a:pt x="135" y="538"/>
                  <a:pt x="133" y="538"/>
                </a:cubicBezTo>
                <a:cubicBezTo>
                  <a:pt x="129" y="539"/>
                  <a:pt x="125" y="540"/>
                  <a:pt x="120" y="541"/>
                </a:cubicBezTo>
                <a:cubicBezTo>
                  <a:pt x="119" y="541"/>
                  <a:pt x="119" y="542"/>
                  <a:pt x="119" y="543"/>
                </a:cubicBezTo>
                <a:cubicBezTo>
                  <a:pt x="119" y="545"/>
                  <a:pt x="119" y="547"/>
                  <a:pt x="121" y="549"/>
                </a:cubicBezTo>
                <a:cubicBezTo>
                  <a:pt x="125" y="552"/>
                  <a:pt x="129" y="552"/>
                  <a:pt x="133" y="551"/>
                </a:cubicBezTo>
                <a:close/>
                <a:moveTo>
                  <a:pt x="2801" y="411"/>
                </a:moveTo>
                <a:cubicBezTo>
                  <a:pt x="2805" y="413"/>
                  <a:pt x="2812" y="411"/>
                  <a:pt x="2814" y="406"/>
                </a:cubicBezTo>
                <a:cubicBezTo>
                  <a:pt x="2815" y="405"/>
                  <a:pt x="2814" y="405"/>
                  <a:pt x="2815" y="404"/>
                </a:cubicBezTo>
                <a:cubicBezTo>
                  <a:pt x="2813" y="400"/>
                  <a:pt x="2811" y="398"/>
                  <a:pt x="2807" y="395"/>
                </a:cubicBezTo>
                <a:cubicBezTo>
                  <a:pt x="2807" y="395"/>
                  <a:pt x="2805" y="395"/>
                  <a:pt x="2804" y="395"/>
                </a:cubicBezTo>
                <a:cubicBezTo>
                  <a:pt x="2798" y="396"/>
                  <a:pt x="2796" y="400"/>
                  <a:pt x="2798" y="407"/>
                </a:cubicBezTo>
                <a:cubicBezTo>
                  <a:pt x="2799" y="408"/>
                  <a:pt x="2800" y="410"/>
                  <a:pt x="2801" y="411"/>
                </a:cubicBezTo>
                <a:close/>
                <a:moveTo>
                  <a:pt x="2408" y="1227"/>
                </a:moveTo>
                <a:cubicBezTo>
                  <a:pt x="2407" y="1228"/>
                  <a:pt x="2406" y="1229"/>
                  <a:pt x="2406" y="1230"/>
                </a:cubicBezTo>
                <a:cubicBezTo>
                  <a:pt x="2406" y="1231"/>
                  <a:pt x="2406" y="1232"/>
                  <a:pt x="2407" y="1233"/>
                </a:cubicBezTo>
                <a:cubicBezTo>
                  <a:pt x="2412" y="1234"/>
                  <a:pt x="2418" y="1235"/>
                  <a:pt x="2423" y="1237"/>
                </a:cubicBezTo>
                <a:cubicBezTo>
                  <a:pt x="2423" y="1237"/>
                  <a:pt x="2424" y="1237"/>
                  <a:pt x="2424" y="1237"/>
                </a:cubicBezTo>
                <a:cubicBezTo>
                  <a:pt x="2429" y="1236"/>
                  <a:pt x="2433" y="1235"/>
                  <a:pt x="2437" y="1235"/>
                </a:cubicBezTo>
                <a:cubicBezTo>
                  <a:pt x="2438" y="1235"/>
                  <a:pt x="2439" y="1234"/>
                  <a:pt x="2439" y="1234"/>
                </a:cubicBezTo>
                <a:cubicBezTo>
                  <a:pt x="2438" y="1233"/>
                  <a:pt x="2438" y="1232"/>
                  <a:pt x="2438" y="1231"/>
                </a:cubicBezTo>
                <a:cubicBezTo>
                  <a:pt x="2434" y="1228"/>
                  <a:pt x="2430" y="1227"/>
                  <a:pt x="2425" y="1227"/>
                </a:cubicBezTo>
                <a:cubicBezTo>
                  <a:pt x="2420" y="1227"/>
                  <a:pt x="2416" y="1227"/>
                  <a:pt x="2411" y="1226"/>
                </a:cubicBezTo>
                <a:cubicBezTo>
                  <a:pt x="2410" y="1226"/>
                  <a:pt x="2409" y="1227"/>
                  <a:pt x="2408" y="1227"/>
                </a:cubicBezTo>
                <a:close/>
                <a:moveTo>
                  <a:pt x="1217" y="1476"/>
                </a:moveTo>
                <a:cubicBezTo>
                  <a:pt x="1215" y="1475"/>
                  <a:pt x="1213" y="1475"/>
                  <a:pt x="1210" y="1475"/>
                </a:cubicBezTo>
                <a:cubicBezTo>
                  <a:pt x="1207" y="1475"/>
                  <a:pt x="1204" y="1475"/>
                  <a:pt x="1201" y="1476"/>
                </a:cubicBezTo>
                <a:cubicBezTo>
                  <a:pt x="1200" y="1477"/>
                  <a:pt x="1199" y="1479"/>
                  <a:pt x="1198" y="1480"/>
                </a:cubicBezTo>
                <a:cubicBezTo>
                  <a:pt x="1198" y="1481"/>
                  <a:pt x="1199" y="1483"/>
                  <a:pt x="1200" y="1484"/>
                </a:cubicBezTo>
                <a:cubicBezTo>
                  <a:pt x="1201" y="1484"/>
                  <a:pt x="1202" y="1485"/>
                  <a:pt x="1203" y="1485"/>
                </a:cubicBezTo>
                <a:cubicBezTo>
                  <a:pt x="1209" y="1486"/>
                  <a:pt x="1215" y="1485"/>
                  <a:pt x="1220" y="1482"/>
                </a:cubicBezTo>
                <a:cubicBezTo>
                  <a:pt x="1221" y="1481"/>
                  <a:pt x="1221" y="1480"/>
                  <a:pt x="1221" y="1479"/>
                </a:cubicBezTo>
                <a:cubicBezTo>
                  <a:pt x="1219" y="1478"/>
                  <a:pt x="1218" y="1476"/>
                  <a:pt x="1217" y="1476"/>
                </a:cubicBezTo>
                <a:close/>
                <a:moveTo>
                  <a:pt x="3744" y="1543"/>
                </a:moveTo>
                <a:cubicBezTo>
                  <a:pt x="3743" y="1543"/>
                  <a:pt x="3742" y="1545"/>
                  <a:pt x="3742" y="1545"/>
                </a:cubicBezTo>
                <a:cubicBezTo>
                  <a:pt x="3744" y="1550"/>
                  <a:pt x="3746" y="1556"/>
                  <a:pt x="3749" y="1560"/>
                </a:cubicBezTo>
                <a:cubicBezTo>
                  <a:pt x="3751" y="1562"/>
                  <a:pt x="3755" y="1562"/>
                  <a:pt x="3756" y="1559"/>
                </a:cubicBezTo>
                <a:cubicBezTo>
                  <a:pt x="3758" y="1556"/>
                  <a:pt x="3758" y="1552"/>
                  <a:pt x="3756" y="1549"/>
                </a:cubicBezTo>
                <a:cubicBezTo>
                  <a:pt x="3755" y="1546"/>
                  <a:pt x="3753" y="1544"/>
                  <a:pt x="3751" y="1542"/>
                </a:cubicBezTo>
                <a:cubicBezTo>
                  <a:pt x="3749" y="1542"/>
                  <a:pt x="3746" y="1541"/>
                  <a:pt x="3744" y="1543"/>
                </a:cubicBezTo>
                <a:close/>
                <a:moveTo>
                  <a:pt x="3725" y="1876"/>
                </a:moveTo>
                <a:cubicBezTo>
                  <a:pt x="3731" y="1877"/>
                  <a:pt x="3735" y="1881"/>
                  <a:pt x="3740" y="1883"/>
                </a:cubicBezTo>
                <a:cubicBezTo>
                  <a:pt x="3741" y="1884"/>
                  <a:pt x="3743" y="1883"/>
                  <a:pt x="3745" y="1883"/>
                </a:cubicBezTo>
                <a:cubicBezTo>
                  <a:pt x="3747" y="1883"/>
                  <a:pt x="3748" y="1880"/>
                  <a:pt x="3747" y="1878"/>
                </a:cubicBezTo>
                <a:cubicBezTo>
                  <a:pt x="3747" y="1877"/>
                  <a:pt x="3746" y="1876"/>
                  <a:pt x="3746" y="1875"/>
                </a:cubicBezTo>
                <a:cubicBezTo>
                  <a:pt x="3742" y="1871"/>
                  <a:pt x="3736" y="1869"/>
                  <a:pt x="3729" y="1869"/>
                </a:cubicBezTo>
                <a:cubicBezTo>
                  <a:pt x="3729" y="1870"/>
                  <a:pt x="3727" y="1870"/>
                  <a:pt x="3726" y="1870"/>
                </a:cubicBezTo>
                <a:cubicBezTo>
                  <a:pt x="3725" y="1871"/>
                  <a:pt x="3725" y="1872"/>
                  <a:pt x="3724" y="1873"/>
                </a:cubicBezTo>
                <a:cubicBezTo>
                  <a:pt x="3724" y="1874"/>
                  <a:pt x="3725" y="1876"/>
                  <a:pt x="3725" y="1876"/>
                </a:cubicBezTo>
                <a:close/>
                <a:moveTo>
                  <a:pt x="1121" y="187"/>
                </a:moveTo>
                <a:cubicBezTo>
                  <a:pt x="1122" y="188"/>
                  <a:pt x="1124" y="187"/>
                  <a:pt x="1125" y="186"/>
                </a:cubicBezTo>
                <a:cubicBezTo>
                  <a:pt x="1128" y="181"/>
                  <a:pt x="1128" y="175"/>
                  <a:pt x="1129" y="168"/>
                </a:cubicBezTo>
                <a:cubicBezTo>
                  <a:pt x="1129" y="167"/>
                  <a:pt x="1129" y="165"/>
                  <a:pt x="1129" y="164"/>
                </a:cubicBezTo>
                <a:cubicBezTo>
                  <a:pt x="1129" y="163"/>
                  <a:pt x="1128" y="162"/>
                  <a:pt x="1127" y="162"/>
                </a:cubicBezTo>
                <a:cubicBezTo>
                  <a:pt x="1126" y="162"/>
                  <a:pt x="1125" y="162"/>
                  <a:pt x="1124" y="163"/>
                </a:cubicBezTo>
                <a:cubicBezTo>
                  <a:pt x="1122" y="168"/>
                  <a:pt x="1120" y="172"/>
                  <a:pt x="1118" y="176"/>
                </a:cubicBezTo>
                <a:cubicBezTo>
                  <a:pt x="1118" y="178"/>
                  <a:pt x="1118" y="181"/>
                  <a:pt x="1118" y="183"/>
                </a:cubicBezTo>
                <a:cubicBezTo>
                  <a:pt x="1118" y="184"/>
                  <a:pt x="1120" y="185"/>
                  <a:pt x="1121" y="187"/>
                </a:cubicBezTo>
                <a:close/>
                <a:moveTo>
                  <a:pt x="4221" y="1815"/>
                </a:moveTo>
                <a:cubicBezTo>
                  <a:pt x="4220" y="1815"/>
                  <a:pt x="4220" y="1815"/>
                  <a:pt x="4219" y="1815"/>
                </a:cubicBezTo>
                <a:cubicBezTo>
                  <a:pt x="4218" y="1816"/>
                  <a:pt x="4217" y="1818"/>
                  <a:pt x="4218" y="1819"/>
                </a:cubicBezTo>
                <a:cubicBezTo>
                  <a:pt x="4218" y="1825"/>
                  <a:pt x="4222" y="1828"/>
                  <a:pt x="4224" y="1832"/>
                </a:cubicBezTo>
                <a:cubicBezTo>
                  <a:pt x="4226" y="1834"/>
                  <a:pt x="4230" y="1834"/>
                  <a:pt x="4232" y="1832"/>
                </a:cubicBezTo>
                <a:cubicBezTo>
                  <a:pt x="4234" y="1831"/>
                  <a:pt x="4235" y="1827"/>
                  <a:pt x="4233" y="1825"/>
                </a:cubicBezTo>
                <a:cubicBezTo>
                  <a:pt x="4230" y="1821"/>
                  <a:pt x="4225" y="1818"/>
                  <a:pt x="4221" y="1815"/>
                </a:cubicBezTo>
                <a:close/>
                <a:moveTo>
                  <a:pt x="1174" y="682"/>
                </a:moveTo>
                <a:cubicBezTo>
                  <a:pt x="1169" y="685"/>
                  <a:pt x="1166" y="691"/>
                  <a:pt x="1168" y="697"/>
                </a:cubicBezTo>
                <a:cubicBezTo>
                  <a:pt x="1169" y="698"/>
                  <a:pt x="1170" y="699"/>
                  <a:pt x="1171" y="700"/>
                </a:cubicBezTo>
                <a:cubicBezTo>
                  <a:pt x="1173" y="699"/>
                  <a:pt x="1174" y="699"/>
                  <a:pt x="1174" y="699"/>
                </a:cubicBezTo>
                <a:cubicBezTo>
                  <a:pt x="1176" y="696"/>
                  <a:pt x="1178" y="694"/>
                  <a:pt x="1180" y="691"/>
                </a:cubicBezTo>
                <a:cubicBezTo>
                  <a:pt x="1181" y="690"/>
                  <a:pt x="1181" y="689"/>
                  <a:pt x="1181" y="688"/>
                </a:cubicBezTo>
                <a:cubicBezTo>
                  <a:pt x="1182" y="686"/>
                  <a:pt x="1182" y="683"/>
                  <a:pt x="1180" y="682"/>
                </a:cubicBezTo>
                <a:cubicBezTo>
                  <a:pt x="1178" y="681"/>
                  <a:pt x="1176" y="680"/>
                  <a:pt x="1174" y="682"/>
                </a:cubicBezTo>
                <a:close/>
                <a:moveTo>
                  <a:pt x="4059" y="577"/>
                </a:moveTo>
                <a:cubicBezTo>
                  <a:pt x="4058" y="578"/>
                  <a:pt x="4056" y="579"/>
                  <a:pt x="4055" y="581"/>
                </a:cubicBezTo>
                <a:cubicBezTo>
                  <a:pt x="4053" y="583"/>
                  <a:pt x="4052" y="585"/>
                  <a:pt x="4053" y="588"/>
                </a:cubicBezTo>
                <a:cubicBezTo>
                  <a:pt x="4054" y="592"/>
                  <a:pt x="4056" y="595"/>
                  <a:pt x="4057" y="599"/>
                </a:cubicBezTo>
                <a:cubicBezTo>
                  <a:pt x="4057" y="599"/>
                  <a:pt x="4057" y="599"/>
                  <a:pt x="4058" y="599"/>
                </a:cubicBezTo>
                <a:cubicBezTo>
                  <a:pt x="4058" y="599"/>
                  <a:pt x="4059" y="599"/>
                  <a:pt x="4059" y="598"/>
                </a:cubicBezTo>
                <a:cubicBezTo>
                  <a:pt x="4060" y="594"/>
                  <a:pt x="4063" y="591"/>
                  <a:pt x="4065" y="587"/>
                </a:cubicBezTo>
                <a:cubicBezTo>
                  <a:pt x="4067" y="584"/>
                  <a:pt x="4066" y="581"/>
                  <a:pt x="4064" y="578"/>
                </a:cubicBezTo>
                <a:cubicBezTo>
                  <a:pt x="4062" y="577"/>
                  <a:pt x="4060" y="577"/>
                  <a:pt x="4059" y="577"/>
                </a:cubicBezTo>
                <a:close/>
                <a:moveTo>
                  <a:pt x="1294" y="1033"/>
                </a:moveTo>
                <a:cubicBezTo>
                  <a:pt x="1294" y="1033"/>
                  <a:pt x="1294" y="1033"/>
                  <a:pt x="1294" y="1033"/>
                </a:cubicBezTo>
                <a:cubicBezTo>
                  <a:pt x="1294" y="1033"/>
                  <a:pt x="1294" y="1033"/>
                  <a:pt x="1294" y="1033"/>
                </a:cubicBezTo>
                <a:cubicBezTo>
                  <a:pt x="1294" y="1033"/>
                  <a:pt x="1294" y="1033"/>
                  <a:pt x="1294" y="1033"/>
                </a:cubicBezTo>
                <a:cubicBezTo>
                  <a:pt x="1294" y="1033"/>
                  <a:pt x="1294" y="1033"/>
                  <a:pt x="1294" y="1033"/>
                </a:cubicBezTo>
                <a:close/>
                <a:moveTo>
                  <a:pt x="1304" y="1039"/>
                </a:moveTo>
                <a:cubicBezTo>
                  <a:pt x="1306" y="1039"/>
                  <a:pt x="1308" y="1039"/>
                  <a:pt x="1310" y="1039"/>
                </a:cubicBezTo>
                <a:cubicBezTo>
                  <a:pt x="1311" y="1029"/>
                  <a:pt x="1312" y="1032"/>
                  <a:pt x="1304" y="1028"/>
                </a:cubicBezTo>
                <a:cubicBezTo>
                  <a:pt x="1299" y="1026"/>
                  <a:pt x="1295" y="1025"/>
                  <a:pt x="1291" y="1021"/>
                </a:cubicBezTo>
                <a:cubicBezTo>
                  <a:pt x="1291" y="1021"/>
                  <a:pt x="1290" y="1021"/>
                  <a:pt x="1289" y="1022"/>
                </a:cubicBezTo>
                <a:cubicBezTo>
                  <a:pt x="1288" y="1022"/>
                  <a:pt x="1288" y="1023"/>
                  <a:pt x="1289" y="1023"/>
                </a:cubicBezTo>
                <a:cubicBezTo>
                  <a:pt x="1290" y="1026"/>
                  <a:pt x="1292" y="1030"/>
                  <a:pt x="1294" y="1033"/>
                </a:cubicBezTo>
                <a:cubicBezTo>
                  <a:pt x="1296" y="1033"/>
                  <a:pt x="1298" y="1034"/>
                  <a:pt x="1299" y="1034"/>
                </a:cubicBezTo>
                <a:cubicBezTo>
                  <a:pt x="1302" y="1035"/>
                  <a:pt x="1303" y="1037"/>
                  <a:pt x="1304" y="1039"/>
                </a:cubicBezTo>
                <a:close/>
                <a:moveTo>
                  <a:pt x="1304" y="1039"/>
                </a:moveTo>
                <a:cubicBezTo>
                  <a:pt x="1303" y="1039"/>
                  <a:pt x="1303" y="1039"/>
                  <a:pt x="1303" y="1039"/>
                </a:cubicBezTo>
                <a:cubicBezTo>
                  <a:pt x="1304" y="1039"/>
                  <a:pt x="1304" y="1040"/>
                  <a:pt x="1304" y="1040"/>
                </a:cubicBezTo>
                <a:cubicBezTo>
                  <a:pt x="1304" y="1040"/>
                  <a:pt x="1304" y="1040"/>
                  <a:pt x="1304" y="1040"/>
                </a:cubicBezTo>
                <a:cubicBezTo>
                  <a:pt x="1304" y="1040"/>
                  <a:pt x="1304" y="1039"/>
                  <a:pt x="1304" y="1039"/>
                </a:cubicBezTo>
                <a:close/>
                <a:moveTo>
                  <a:pt x="3993" y="977"/>
                </a:moveTo>
                <a:cubicBezTo>
                  <a:pt x="3998" y="970"/>
                  <a:pt x="4003" y="964"/>
                  <a:pt x="4009" y="959"/>
                </a:cubicBezTo>
                <a:cubicBezTo>
                  <a:pt x="4009" y="958"/>
                  <a:pt x="4009" y="957"/>
                  <a:pt x="4009" y="956"/>
                </a:cubicBezTo>
                <a:cubicBezTo>
                  <a:pt x="4008" y="955"/>
                  <a:pt x="4008" y="955"/>
                  <a:pt x="4008" y="955"/>
                </a:cubicBezTo>
                <a:cubicBezTo>
                  <a:pt x="4005" y="954"/>
                  <a:pt x="4004" y="957"/>
                  <a:pt x="4002" y="957"/>
                </a:cubicBezTo>
                <a:cubicBezTo>
                  <a:pt x="3999" y="959"/>
                  <a:pt x="3996" y="960"/>
                  <a:pt x="3995" y="963"/>
                </a:cubicBezTo>
                <a:cubicBezTo>
                  <a:pt x="3994" y="966"/>
                  <a:pt x="3992" y="969"/>
                  <a:pt x="3991" y="972"/>
                </a:cubicBezTo>
                <a:cubicBezTo>
                  <a:pt x="3990" y="973"/>
                  <a:pt x="3990" y="974"/>
                  <a:pt x="3990" y="975"/>
                </a:cubicBezTo>
                <a:cubicBezTo>
                  <a:pt x="3990" y="976"/>
                  <a:pt x="3991" y="977"/>
                  <a:pt x="3992" y="977"/>
                </a:cubicBezTo>
                <a:cubicBezTo>
                  <a:pt x="3992" y="978"/>
                  <a:pt x="3993" y="977"/>
                  <a:pt x="3993" y="977"/>
                </a:cubicBezTo>
                <a:close/>
                <a:moveTo>
                  <a:pt x="3839" y="1790"/>
                </a:moveTo>
                <a:cubicBezTo>
                  <a:pt x="3840" y="1790"/>
                  <a:pt x="3840" y="1788"/>
                  <a:pt x="3840" y="1787"/>
                </a:cubicBezTo>
                <a:cubicBezTo>
                  <a:pt x="3840" y="1786"/>
                  <a:pt x="3840" y="1785"/>
                  <a:pt x="3839" y="1785"/>
                </a:cubicBezTo>
                <a:cubicBezTo>
                  <a:pt x="3835" y="1780"/>
                  <a:pt x="3828" y="1780"/>
                  <a:pt x="3824" y="1785"/>
                </a:cubicBezTo>
                <a:cubicBezTo>
                  <a:pt x="3823" y="1786"/>
                  <a:pt x="3823" y="1788"/>
                  <a:pt x="3824" y="1789"/>
                </a:cubicBezTo>
                <a:cubicBezTo>
                  <a:pt x="3827" y="1792"/>
                  <a:pt x="3831" y="1794"/>
                  <a:pt x="3835" y="1793"/>
                </a:cubicBezTo>
                <a:cubicBezTo>
                  <a:pt x="3837" y="1792"/>
                  <a:pt x="3838" y="1791"/>
                  <a:pt x="3839" y="1790"/>
                </a:cubicBezTo>
                <a:close/>
                <a:moveTo>
                  <a:pt x="1913" y="394"/>
                </a:moveTo>
                <a:cubicBezTo>
                  <a:pt x="1912" y="396"/>
                  <a:pt x="1912" y="397"/>
                  <a:pt x="1912" y="399"/>
                </a:cubicBezTo>
                <a:cubicBezTo>
                  <a:pt x="1911" y="402"/>
                  <a:pt x="1912" y="404"/>
                  <a:pt x="1915" y="406"/>
                </a:cubicBezTo>
                <a:cubicBezTo>
                  <a:pt x="1918" y="407"/>
                  <a:pt x="1921" y="408"/>
                  <a:pt x="1924" y="406"/>
                </a:cubicBezTo>
                <a:cubicBezTo>
                  <a:pt x="1924" y="405"/>
                  <a:pt x="1924" y="405"/>
                  <a:pt x="1925" y="405"/>
                </a:cubicBezTo>
                <a:cubicBezTo>
                  <a:pt x="1925" y="404"/>
                  <a:pt x="1925" y="403"/>
                  <a:pt x="1925" y="403"/>
                </a:cubicBezTo>
                <a:cubicBezTo>
                  <a:pt x="1924" y="400"/>
                  <a:pt x="1923" y="397"/>
                  <a:pt x="1921" y="394"/>
                </a:cubicBezTo>
                <a:cubicBezTo>
                  <a:pt x="1920" y="391"/>
                  <a:pt x="1915" y="391"/>
                  <a:pt x="1913" y="394"/>
                </a:cubicBezTo>
                <a:close/>
                <a:moveTo>
                  <a:pt x="41" y="716"/>
                </a:moveTo>
                <a:cubicBezTo>
                  <a:pt x="40" y="716"/>
                  <a:pt x="39" y="716"/>
                  <a:pt x="38" y="717"/>
                </a:cubicBezTo>
                <a:cubicBezTo>
                  <a:pt x="34" y="721"/>
                  <a:pt x="30" y="725"/>
                  <a:pt x="26" y="730"/>
                </a:cubicBezTo>
                <a:cubicBezTo>
                  <a:pt x="26" y="730"/>
                  <a:pt x="26" y="731"/>
                  <a:pt x="26" y="731"/>
                </a:cubicBezTo>
                <a:cubicBezTo>
                  <a:pt x="27" y="731"/>
                  <a:pt x="27" y="732"/>
                  <a:pt x="28" y="732"/>
                </a:cubicBezTo>
                <a:cubicBezTo>
                  <a:pt x="34" y="732"/>
                  <a:pt x="39" y="729"/>
                  <a:pt x="44" y="725"/>
                </a:cubicBezTo>
                <a:cubicBezTo>
                  <a:pt x="45" y="724"/>
                  <a:pt x="45" y="722"/>
                  <a:pt x="45" y="721"/>
                </a:cubicBezTo>
                <a:cubicBezTo>
                  <a:pt x="45" y="719"/>
                  <a:pt x="43" y="716"/>
                  <a:pt x="41" y="716"/>
                </a:cubicBezTo>
                <a:close/>
                <a:moveTo>
                  <a:pt x="1242" y="98"/>
                </a:moveTo>
                <a:cubicBezTo>
                  <a:pt x="1243" y="100"/>
                  <a:pt x="1245" y="100"/>
                  <a:pt x="1246" y="99"/>
                </a:cubicBezTo>
                <a:cubicBezTo>
                  <a:pt x="1249" y="96"/>
                  <a:pt x="1251" y="93"/>
                  <a:pt x="1252" y="89"/>
                </a:cubicBezTo>
                <a:cubicBezTo>
                  <a:pt x="1253" y="88"/>
                  <a:pt x="1252" y="87"/>
                  <a:pt x="1252" y="86"/>
                </a:cubicBezTo>
                <a:cubicBezTo>
                  <a:pt x="1250" y="84"/>
                  <a:pt x="1248" y="84"/>
                  <a:pt x="1246" y="83"/>
                </a:cubicBezTo>
                <a:cubicBezTo>
                  <a:pt x="1241" y="84"/>
                  <a:pt x="1236" y="89"/>
                  <a:pt x="1240" y="94"/>
                </a:cubicBezTo>
                <a:cubicBezTo>
                  <a:pt x="1241" y="95"/>
                  <a:pt x="1241" y="97"/>
                  <a:pt x="1242" y="98"/>
                </a:cubicBezTo>
                <a:close/>
                <a:moveTo>
                  <a:pt x="1247" y="223"/>
                </a:moveTo>
                <a:cubicBezTo>
                  <a:pt x="1247" y="224"/>
                  <a:pt x="1248" y="224"/>
                  <a:pt x="1248" y="224"/>
                </a:cubicBezTo>
                <a:cubicBezTo>
                  <a:pt x="1251" y="226"/>
                  <a:pt x="1253" y="226"/>
                  <a:pt x="1256" y="225"/>
                </a:cubicBezTo>
                <a:cubicBezTo>
                  <a:pt x="1258" y="224"/>
                  <a:pt x="1260" y="221"/>
                  <a:pt x="1260" y="219"/>
                </a:cubicBezTo>
                <a:cubicBezTo>
                  <a:pt x="1261" y="215"/>
                  <a:pt x="1257" y="211"/>
                  <a:pt x="1253" y="211"/>
                </a:cubicBezTo>
                <a:cubicBezTo>
                  <a:pt x="1252" y="211"/>
                  <a:pt x="1251" y="212"/>
                  <a:pt x="1251" y="213"/>
                </a:cubicBezTo>
                <a:cubicBezTo>
                  <a:pt x="1248" y="216"/>
                  <a:pt x="1247" y="219"/>
                  <a:pt x="1247" y="223"/>
                </a:cubicBezTo>
                <a:close/>
                <a:moveTo>
                  <a:pt x="17" y="726"/>
                </a:moveTo>
                <a:cubicBezTo>
                  <a:pt x="16" y="726"/>
                  <a:pt x="14" y="726"/>
                  <a:pt x="13" y="726"/>
                </a:cubicBezTo>
                <a:cubicBezTo>
                  <a:pt x="8" y="729"/>
                  <a:pt x="4" y="733"/>
                  <a:pt x="1" y="738"/>
                </a:cubicBezTo>
                <a:cubicBezTo>
                  <a:pt x="0" y="739"/>
                  <a:pt x="0" y="740"/>
                  <a:pt x="1" y="741"/>
                </a:cubicBezTo>
                <a:cubicBezTo>
                  <a:pt x="2" y="741"/>
                  <a:pt x="2" y="741"/>
                  <a:pt x="3" y="741"/>
                </a:cubicBezTo>
                <a:cubicBezTo>
                  <a:pt x="9" y="738"/>
                  <a:pt x="14" y="735"/>
                  <a:pt x="19" y="730"/>
                </a:cubicBezTo>
                <a:cubicBezTo>
                  <a:pt x="19" y="729"/>
                  <a:pt x="19" y="729"/>
                  <a:pt x="19" y="728"/>
                </a:cubicBezTo>
                <a:cubicBezTo>
                  <a:pt x="18" y="727"/>
                  <a:pt x="18" y="726"/>
                  <a:pt x="17" y="726"/>
                </a:cubicBezTo>
                <a:close/>
                <a:moveTo>
                  <a:pt x="3482" y="176"/>
                </a:moveTo>
                <a:cubicBezTo>
                  <a:pt x="3480" y="176"/>
                  <a:pt x="3478" y="176"/>
                  <a:pt x="3477" y="177"/>
                </a:cubicBezTo>
                <a:cubicBezTo>
                  <a:pt x="3476" y="178"/>
                  <a:pt x="3475" y="180"/>
                  <a:pt x="3475" y="181"/>
                </a:cubicBezTo>
                <a:cubicBezTo>
                  <a:pt x="3476" y="186"/>
                  <a:pt x="3478" y="189"/>
                  <a:pt x="3483" y="191"/>
                </a:cubicBezTo>
                <a:cubicBezTo>
                  <a:pt x="3484" y="191"/>
                  <a:pt x="3486" y="191"/>
                  <a:pt x="3487" y="189"/>
                </a:cubicBezTo>
                <a:cubicBezTo>
                  <a:pt x="3487" y="188"/>
                  <a:pt x="3488" y="186"/>
                  <a:pt x="3488" y="185"/>
                </a:cubicBezTo>
                <a:cubicBezTo>
                  <a:pt x="3488" y="181"/>
                  <a:pt x="3485" y="178"/>
                  <a:pt x="3482" y="176"/>
                </a:cubicBezTo>
                <a:close/>
                <a:moveTo>
                  <a:pt x="1155" y="170"/>
                </a:moveTo>
                <a:cubicBezTo>
                  <a:pt x="1157" y="174"/>
                  <a:pt x="1159" y="176"/>
                  <a:pt x="1164" y="176"/>
                </a:cubicBezTo>
                <a:cubicBezTo>
                  <a:pt x="1166" y="176"/>
                  <a:pt x="1169" y="174"/>
                  <a:pt x="1168" y="171"/>
                </a:cubicBezTo>
                <a:cubicBezTo>
                  <a:pt x="1168" y="166"/>
                  <a:pt x="1164" y="163"/>
                  <a:pt x="1160" y="163"/>
                </a:cubicBezTo>
                <a:cubicBezTo>
                  <a:pt x="1157" y="163"/>
                  <a:pt x="1154" y="167"/>
                  <a:pt x="1155" y="170"/>
                </a:cubicBezTo>
                <a:close/>
                <a:moveTo>
                  <a:pt x="1052" y="136"/>
                </a:moveTo>
                <a:cubicBezTo>
                  <a:pt x="1052" y="137"/>
                  <a:pt x="1052" y="137"/>
                  <a:pt x="1052" y="137"/>
                </a:cubicBezTo>
                <a:cubicBezTo>
                  <a:pt x="1053" y="136"/>
                  <a:pt x="1053" y="136"/>
                  <a:pt x="1053" y="136"/>
                </a:cubicBezTo>
                <a:cubicBezTo>
                  <a:pt x="1052" y="138"/>
                  <a:pt x="1051" y="141"/>
                  <a:pt x="1051" y="143"/>
                </a:cubicBezTo>
                <a:cubicBezTo>
                  <a:pt x="1049" y="145"/>
                  <a:pt x="1050" y="148"/>
                  <a:pt x="1051" y="150"/>
                </a:cubicBezTo>
                <a:cubicBezTo>
                  <a:pt x="1053" y="153"/>
                  <a:pt x="1055" y="155"/>
                  <a:pt x="1056" y="157"/>
                </a:cubicBezTo>
                <a:cubicBezTo>
                  <a:pt x="1058" y="159"/>
                  <a:pt x="1060" y="160"/>
                  <a:pt x="1062" y="160"/>
                </a:cubicBezTo>
                <a:cubicBezTo>
                  <a:pt x="1064" y="160"/>
                  <a:pt x="1066" y="161"/>
                  <a:pt x="1068" y="161"/>
                </a:cubicBezTo>
                <a:cubicBezTo>
                  <a:pt x="1072" y="161"/>
                  <a:pt x="1076" y="159"/>
                  <a:pt x="1078" y="156"/>
                </a:cubicBezTo>
                <a:cubicBezTo>
                  <a:pt x="1081" y="154"/>
                  <a:pt x="1083" y="151"/>
                  <a:pt x="1083" y="148"/>
                </a:cubicBezTo>
                <a:cubicBezTo>
                  <a:pt x="1083" y="145"/>
                  <a:pt x="1085" y="144"/>
                  <a:pt x="1087" y="143"/>
                </a:cubicBezTo>
                <a:cubicBezTo>
                  <a:pt x="1090" y="142"/>
                  <a:pt x="1092" y="140"/>
                  <a:pt x="1094" y="139"/>
                </a:cubicBezTo>
                <a:cubicBezTo>
                  <a:pt x="1095" y="138"/>
                  <a:pt x="1095" y="137"/>
                  <a:pt x="1094" y="136"/>
                </a:cubicBezTo>
                <a:cubicBezTo>
                  <a:pt x="1094" y="135"/>
                  <a:pt x="1093" y="134"/>
                  <a:pt x="1092" y="134"/>
                </a:cubicBezTo>
                <a:cubicBezTo>
                  <a:pt x="1085" y="131"/>
                  <a:pt x="1078" y="130"/>
                  <a:pt x="1071" y="130"/>
                </a:cubicBezTo>
                <a:cubicBezTo>
                  <a:pt x="1066" y="129"/>
                  <a:pt x="1060" y="130"/>
                  <a:pt x="1056" y="133"/>
                </a:cubicBezTo>
                <a:cubicBezTo>
                  <a:pt x="1056" y="133"/>
                  <a:pt x="1056" y="133"/>
                  <a:pt x="1056" y="133"/>
                </a:cubicBezTo>
                <a:cubicBezTo>
                  <a:pt x="1056" y="133"/>
                  <a:pt x="1056" y="133"/>
                  <a:pt x="1056" y="133"/>
                </a:cubicBezTo>
                <a:cubicBezTo>
                  <a:pt x="1055" y="130"/>
                  <a:pt x="1055" y="127"/>
                  <a:pt x="1055" y="124"/>
                </a:cubicBezTo>
                <a:cubicBezTo>
                  <a:pt x="1055" y="122"/>
                  <a:pt x="1052" y="121"/>
                  <a:pt x="1050" y="121"/>
                </a:cubicBezTo>
                <a:cubicBezTo>
                  <a:pt x="1047" y="122"/>
                  <a:pt x="1046" y="123"/>
                  <a:pt x="1045" y="125"/>
                </a:cubicBezTo>
                <a:cubicBezTo>
                  <a:pt x="1044" y="128"/>
                  <a:pt x="1044" y="131"/>
                  <a:pt x="1046" y="133"/>
                </a:cubicBezTo>
                <a:cubicBezTo>
                  <a:pt x="1047" y="136"/>
                  <a:pt x="1050" y="136"/>
                  <a:pt x="1052" y="136"/>
                </a:cubicBezTo>
                <a:close/>
                <a:moveTo>
                  <a:pt x="4057" y="839"/>
                </a:moveTo>
                <a:cubicBezTo>
                  <a:pt x="4061" y="834"/>
                  <a:pt x="4062" y="828"/>
                  <a:pt x="4062" y="822"/>
                </a:cubicBezTo>
                <a:cubicBezTo>
                  <a:pt x="4062" y="822"/>
                  <a:pt x="4061" y="821"/>
                  <a:pt x="4061" y="821"/>
                </a:cubicBezTo>
                <a:cubicBezTo>
                  <a:pt x="4060" y="821"/>
                  <a:pt x="4059" y="821"/>
                  <a:pt x="4058" y="822"/>
                </a:cubicBezTo>
                <a:cubicBezTo>
                  <a:pt x="4058" y="822"/>
                  <a:pt x="4057" y="822"/>
                  <a:pt x="4057" y="823"/>
                </a:cubicBezTo>
                <a:cubicBezTo>
                  <a:pt x="4055" y="827"/>
                  <a:pt x="4053" y="831"/>
                  <a:pt x="4051" y="836"/>
                </a:cubicBezTo>
                <a:cubicBezTo>
                  <a:pt x="4051" y="837"/>
                  <a:pt x="4052" y="838"/>
                  <a:pt x="4053" y="840"/>
                </a:cubicBezTo>
                <a:cubicBezTo>
                  <a:pt x="4053" y="840"/>
                  <a:pt x="4054" y="840"/>
                  <a:pt x="4054" y="840"/>
                </a:cubicBezTo>
                <a:cubicBezTo>
                  <a:pt x="4055" y="840"/>
                  <a:pt x="4056" y="839"/>
                  <a:pt x="4057" y="839"/>
                </a:cubicBezTo>
                <a:close/>
                <a:moveTo>
                  <a:pt x="1138" y="831"/>
                </a:moveTo>
                <a:cubicBezTo>
                  <a:pt x="1142" y="830"/>
                  <a:pt x="1145" y="829"/>
                  <a:pt x="1147" y="825"/>
                </a:cubicBezTo>
                <a:cubicBezTo>
                  <a:pt x="1147" y="824"/>
                  <a:pt x="1147" y="823"/>
                  <a:pt x="1147" y="822"/>
                </a:cubicBezTo>
                <a:cubicBezTo>
                  <a:pt x="1146" y="820"/>
                  <a:pt x="1144" y="818"/>
                  <a:pt x="1142" y="819"/>
                </a:cubicBezTo>
                <a:cubicBezTo>
                  <a:pt x="1140" y="820"/>
                  <a:pt x="1138" y="820"/>
                  <a:pt x="1136" y="821"/>
                </a:cubicBezTo>
                <a:cubicBezTo>
                  <a:pt x="1133" y="822"/>
                  <a:pt x="1133" y="824"/>
                  <a:pt x="1133" y="826"/>
                </a:cubicBezTo>
                <a:cubicBezTo>
                  <a:pt x="1133" y="827"/>
                  <a:pt x="1133" y="827"/>
                  <a:pt x="1133" y="828"/>
                </a:cubicBezTo>
                <a:cubicBezTo>
                  <a:pt x="1133" y="830"/>
                  <a:pt x="1136" y="832"/>
                  <a:pt x="1138" y="831"/>
                </a:cubicBezTo>
                <a:close/>
                <a:moveTo>
                  <a:pt x="3394" y="154"/>
                </a:moveTo>
                <a:cubicBezTo>
                  <a:pt x="3394" y="155"/>
                  <a:pt x="3395" y="155"/>
                  <a:pt x="3395" y="155"/>
                </a:cubicBezTo>
                <a:cubicBezTo>
                  <a:pt x="3396" y="154"/>
                  <a:pt x="3397" y="153"/>
                  <a:pt x="3397" y="152"/>
                </a:cubicBezTo>
                <a:cubicBezTo>
                  <a:pt x="3397" y="151"/>
                  <a:pt x="3397" y="149"/>
                  <a:pt x="3396" y="148"/>
                </a:cubicBezTo>
                <a:cubicBezTo>
                  <a:pt x="3395" y="143"/>
                  <a:pt x="3393" y="140"/>
                  <a:pt x="3388" y="138"/>
                </a:cubicBezTo>
                <a:cubicBezTo>
                  <a:pt x="3387" y="138"/>
                  <a:pt x="3386" y="137"/>
                  <a:pt x="3385" y="137"/>
                </a:cubicBezTo>
                <a:cubicBezTo>
                  <a:pt x="3384" y="136"/>
                  <a:pt x="3383" y="136"/>
                  <a:pt x="3382" y="137"/>
                </a:cubicBezTo>
                <a:cubicBezTo>
                  <a:pt x="3382" y="138"/>
                  <a:pt x="3382" y="138"/>
                  <a:pt x="3382" y="139"/>
                </a:cubicBezTo>
                <a:cubicBezTo>
                  <a:pt x="3386" y="144"/>
                  <a:pt x="3390" y="149"/>
                  <a:pt x="3394" y="154"/>
                </a:cubicBezTo>
                <a:close/>
                <a:moveTo>
                  <a:pt x="1116" y="319"/>
                </a:moveTo>
                <a:cubicBezTo>
                  <a:pt x="1118" y="319"/>
                  <a:pt x="1120" y="317"/>
                  <a:pt x="1122" y="316"/>
                </a:cubicBezTo>
                <a:cubicBezTo>
                  <a:pt x="1122" y="316"/>
                  <a:pt x="1122" y="314"/>
                  <a:pt x="1122" y="313"/>
                </a:cubicBezTo>
                <a:cubicBezTo>
                  <a:pt x="1122" y="313"/>
                  <a:pt x="1122" y="313"/>
                  <a:pt x="1121" y="312"/>
                </a:cubicBezTo>
                <a:cubicBezTo>
                  <a:pt x="1117" y="311"/>
                  <a:pt x="1113" y="312"/>
                  <a:pt x="1108" y="312"/>
                </a:cubicBezTo>
                <a:cubicBezTo>
                  <a:pt x="1105" y="312"/>
                  <a:pt x="1103" y="315"/>
                  <a:pt x="1102" y="318"/>
                </a:cubicBezTo>
                <a:cubicBezTo>
                  <a:pt x="1107" y="319"/>
                  <a:pt x="1111" y="320"/>
                  <a:pt x="1116" y="319"/>
                </a:cubicBezTo>
                <a:close/>
                <a:moveTo>
                  <a:pt x="1078" y="262"/>
                </a:moveTo>
                <a:cubicBezTo>
                  <a:pt x="1081" y="262"/>
                  <a:pt x="1084" y="261"/>
                  <a:pt x="1085" y="259"/>
                </a:cubicBezTo>
                <a:cubicBezTo>
                  <a:pt x="1086" y="256"/>
                  <a:pt x="1086" y="254"/>
                  <a:pt x="1085" y="251"/>
                </a:cubicBezTo>
                <a:cubicBezTo>
                  <a:pt x="1084" y="250"/>
                  <a:pt x="1083" y="250"/>
                  <a:pt x="1082" y="250"/>
                </a:cubicBezTo>
                <a:cubicBezTo>
                  <a:pt x="1079" y="251"/>
                  <a:pt x="1075" y="254"/>
                  <a:pt x="1074" y="257"/>
                </a:cubicBezTo>
                <a:cubicBezTo>
                  <a:pt x="1074" y="259"/>
                  <a:pt x="1076" y="261"/>
                  <a:pt x="1078" y="262"/>
                </a:cubicBezTo>
                <a:close/>
                <a:moveTo>
                  <a:pt x="2189" y="277"/>
                </a:moveTo>
                <a:cubicBezTo>
                  <a:pt x="2188" y="278"/>
                  <a:pt x="2187" y="278"/>
                  <a:pt x="2187" y="279"/>
                </a:cubicBezTo>
                <a:cubicBezTo>
                  <a:pt x="2188" y="287"/>
                  <a:pt x="2192" y="292"/>
                  <a:pt x="2198" y="296"/>
                </a:cubicBezTo>
                <a:cubicBezTo>
                  <a:pt x="2198" y="296"/>
                  <a:pt x="2199" y="296"/>
                  <a:pt x="2199" y="295"/>
                </a:cubicBezTo>
                <a:cubicBezTo>
                  <a:pt x="2200" y="295"/>
                  <a:pt x="2200" y="294"/>
                  <a:pt x="2200" y="294"/>
                </a:cubicBezTo>
                <a:cubicBezTo>
                  <a:pt x="2198" y="288"/>
                  <a:pt x="2193" y="283"/>
                  <a:pt x="2190" y="277"/>
                </a:cubicBezTo>
                <a:cubicBezTo>
                  <a:pt x="2190" y="277"/>
                  <a:pt x="2189" y="277"/>
                  <a:pt x="2189" y="277"/>
                </a:cubicBezTo>
                <a:close/>
                <a:moveTo>
                  <a:pt x="1200" y="659"/>
                </a:moveTo>
                <a:cubicBezTo>
                  <a:pt x="1199" y="660"/>
                  <a:pt x="1199" y="663"/>
                  <a:pt x="1201" y="666"/>
                </a:cubicBezTo>
                <a:cubicBezTo>
                  <a:pt x="1202" y="667"/>
                  <a:pt x="1202" y="667"/>
                  <a:pt x="1203" y="668"/>
                </a:cubicBezTo>
                <a:cubicBezTo>
                  <a:pt x="1205" y="669"/>
                  <a:pt x="1206" y="669"/>
                  <a:pt x="1208" y="668"/>
                </a:cubicBezTo>
                <a:cubicBezTo>
                  <a:pt x="1209" y="667"/>
                  <a:pt x="1210" y="666"/>
                  <a:pt x="1211" y="665"/>
                </a:cubicBezTo>
                <a:cubicBezTo>
                  <a:pt x="1211" y="662"/>
                  <a:pt x="1210" y="661"/>
                  <a:pt x="1208" y="660"/>
                </a:cubicBezTo>
                <a:cubicBezTo>
                  <a:pt x="1205" y="658"/>
                  <a:pt x="1203" y="657"/>
                  <a:pt x="1200" y="659"/>
                </a:cubicBezTo>
                <a:close/>
                <a:moveTo>
                  <a:pt x="1096" y="887"/>
                </a:moveTo>
                <a:cubicBezTo>
                  <a:pt x="1094" y="887"/>
                  <a:pt x="1093" y="889"/>
                  <a:pt x="1093" y="890"/>
                </a:cubicBezTo>
                <a:cubicBezTo>
                  <a:pt x="1092" y="891"/>
                  <a:pt x="1093" y="893"/>
                  <a:pt x="1094" y="893"/>
                </a:cubicBezTo>
                <a:cubicBezTo>
                  <a:pt x="1096" y="894"/>
                  <a:pt x="1099" y="895"/>
                  <a:pt x="1100" y="895"/>
                </a:cubicBezTo>
                <a:cubicBezTo>
                  <a:pt x="1102" y="895"/>
                  <a:pt x="1102" y="895"/>
                  <a:pt x="1103" y="895"/>
                </a:cubicBezTo>
                <a:cubicBezTo>
                  <a:pt x="1104" y="895"/>
                  <a:pt x="1105" y="894"/>
                  <a:pt x="1106" y="894"/>
                </a:cubicBezTo>
                <a:cubicBezTo>
                  <a:pt x="1107" y="893"/>
                  <a:pt x="1106" y="891"/>
                  <a:pt x="1106" y="889"/>
                </a:cubicBezTo>
                <a:cubicBezTo>
                  <a:pt x="1103" y="886"/>
                  <a:pt x="1099" y="885"/>
                  <a:pt x="1096" y="887"/>
                </a:cubicBezTo>
                <a:close/>
                <a:moveTo>
                  <a:pt x="3786" y="754"/>
                </a:moveTo>
                <a:cubicBezTo>
                  <a:pt x="3783" y="752"/>
                  <a:pt x="3780" y="754"/>
                  <a:pt x="3778" y="757"/>
                </a:cubicBezTo>
                <a:cubicBezTo>
                  <a:pt x="3777" y="759"/>
                  <a:pt x="3779" y="762"/>
                  <a:pt x="3782" y="763"/>
                </a:cubicBezTo>
                <a:cubicBezTo>
                  <a:pt x="3783" y="763"/>
                  <a:pt x="3784" y="763"/>
                  <a:pt x="3786" y="764"/>
                </a:cubicBezTo>
                <a:cubicBezTo>
                  <a:pt x="3787" y="763"/>
                  <a:pt x="3788" y="762"/>
                  <a:pt x="3789" y="761"/>
                </a:cubicBezTo>
                <a:cubicBezTo>
                  <a:pt x="3791" y="759"/>
                  <a:pt x="3789" y="755"/>
                  <a:pt x="3786" y="754"/>
                </a:cubicBezTo>
                <a:close/>
                <a:moveTo>
                  <a:pt x="3909" y="2301"/>
                </a:moveTo>
                <a:cubicBezTo>
                  <a:pt x="3908" y="2302"/>
                  <a:pt x="3908" y="2303"/>
                  <a:pt x="3908" y="2304"/>
                </a:cubicBezTo>
                <a:cubicBezTo>
                  <a:pt x="3908" y="2305"/>
                  <a:pt x="3909" y="2305"/>
                  <a:pt x="3909" y="2305"/>
                </a:cubicBezTo>
                <a:cubicBezTo>
                  <a:pt x="3911" y="2306"/>
                  <a:pt x="3913" y="2306"/>
                  <a:pt x="3914" y="2307"/>
                </a:cubicBezTo>
                <a:cubicBezTo>
                  <a:pt x="3917" y="2307"/>
                  <a:pt x="3918" y="2307"/>
                  <a:pt x="3919" y="2306"/>
                </a:cubicBezTo>
                <a:cubicBezTo>
                  <a:pt x="3919" y="2306"/>
                  <a:pt x="3920" y="2306"/>
                  <a:pt x="3920" y="2306"/>
                </a:cubicBezTo>
                <a:cubicBezTo>
                  <a:pt x="3921" y="2306"/>
                  <a:pt x="3922" y="2305"/>
                  <a:pt x="3923" y="2304"/>
                </a:cubicBezTo>
                <a:cubicBezTo>
                  <a:pt x="3922" y="2303"/>
                  <a:pt x="3922" y="2301"/>
                  <a:pt x="3921" y="2301"/>
                </a:cubicBezTo>
                <a:cubicBezTo>
                  <a:pt x="3917" y="2298"/>
                  <a:pt x="3912" y="2298"/>
                  <a:pt x="3909" y="2301"/>
                </a:cubicBezTo>
                <a:close/>
                <a:moveTo>
                  <a:pt x="2896" y="392"/>
                </a:moveTo>
                <a:cubicBezTo>
                  <a:pt x="2895" y="392"/>
                  <a:pt x="2894" y="392"/>
                  <a:pt x="2893" y="392"/>
                </a:cubicBezTo>
                <a:cubicBezTo>
                  <a:pt x="2890" y="393"/>
                  <a:pt x="2889" y="400"/>
                  <a:pt x="2891" y="402"/>
                </a:cubicBezTo>
                <a:cubicBezTo>
                  <a:pt x="2893" y="404"/>
                  <a:pt x="2896" y="405"/>
                  <a:pt x="2899" y="404"/>
                </a:cubicBezTo>
                <a:cubicBezTo>
                  <a:pt x="2899" y="404"/>
                  <a:pt x="2900" y="403"/>
                  <a:pt x="2901" y="402"/>
                </a:cubicBezTo>
                <a:cubicBezTo>
                  <a:pt x="2901" y="398"/>
                  <a:pt x="2899" y="395"/>
                  <a:pt x="2896" y="392"/>
                </a:cubicBezTo>
                <a:close/>
                <a:moveTo>
                  <a:pt x="3940" y="1817"/>
                </a:moveTo>
                <a:cubicBezTo>
                  <a:pt x="3939" y="1818"/>
                  <a:pt x="3938" y="1818"/>
                  <a:pt x="3938" y="1818"/>
                </a:cubicBezTo>
                <a:cubicBezTo>
                  <a:pt x="3936" y="1821"/>
                  <a:pt x="3934" y="1825"/>
                  <a:pt x="3934" y="1830"/>
                </a:cubicBezTo>
                <a:cubicBezTo>
                  <a:pt x="3934" y="1830"/>
                  <a:pt x="3935" y="1831"/>
                  <a:pt x="3936" y="1832"/>
                </a:cubicBezTo>
                <a:cubicBezTo>
                  <a:pt x="3936" y="1832"/>
                  <a:pt x="3937" y="1832"/>
                  <a:pt x="3937" y="1832"/>
                </a:cubicBezTo>
                <a:cubicBezTo>
                  <a:pt x="3942" y="1830"/>
                  <a:pt x="3944" y="1825"/>
                  <a:pt x="3942" y="1819"/>
                </a:cubicBezTo>
                <a:cubicBezTo>
                  <a:pt x="3942" y="1818"/>
                  <a:pt x="3941" y="1817"/>
                  <a:pt x="3940" y="1817"/>
                </a:cubicBezTo>
                <a:close/>
                <a:moveTo>
                  <a:pt x="3887" y="1907"/>
                </a:moveTo>
                <a:cubicBezTo>
                  <a:pt x="3889" y="1908"/>
                  <a:pt x="3891" y="1906"/>
                  <a:pt x="3893" y="1903"/>
                </a:cubicBezTo>
                <a:cubicBezTo>
                  <a:pt x="3893" y="1902"/>
                  <a:pt x="3893" y="1900"/>
                  <a:pt x="3891" y="1899"/>
                </a:cubicBezTo>
                <a:cubicBezTo>
                  <a:pt x="3890" y="1899"/>
                  <a:pt x="3888" y="1899"/>
                  <a:pt x="3887" y="1899"/>
                </a:cubicBezTo>
                <a:cubicBezTo>
                  <a:pt x="3885" y="1899"/>
                  <a:pt x="3882" y="1899"/>
                  <a:pt x="3880" y="1900"/>
                </a:cubicBezTo>
                <a:cubicBezTo>
                  <a:pt x="3880" y="1900"/>
                  <a:pt x="3879" y="1901"/>
                  <a:pt x="3879" y="1902"/>
                </a:cubicBezTo>
                <a:cubicBezTo>
                  <a:pt x="3878" y="1903"/>
                  <a:pt x="3879" y="1904"/>
                  <a:pt x="3879" y="1904"/>
                </a:cubicBezTo>
                <a:cubicBezTo>
                  <a:pt x="3882" y="1906"/>
                  <a:pt x="3884" y="1907"/>
                  <a:pt x="3887" y="1907"/>
                </a:cubicBezTo>
                <a:close/>
                <a:moveTo>
                  <a:pt x="265" y="630"/>
                </a:moveTo>
                <a:cubicBezTo>
                  <a:pt x="263" y="633"/>
                  <a:pt x="259" y="635"/>
                  <a:pt x="259" y="639"/>
                </a:cubicBezTo>
                <a:cubicBezTo>
                  <a:pt x="262" y="640"/>
                  <a:pt x="266" y="640"/>
                  <a:pt x="269" y="639"/>
                </a:cubicBezTo>
                <a:cubicBezTo>
                  <a:pt x="270" y="639"/>
                  <a:pt x="271" y="638"/>
                  <a:pt x="272" y="637"/>
                </a:cubicBezTo>
                <a:cubicBezTo>
                  <a:pt x="273" y="636"/>
                  <a:pt x="273" y="633"/>
                  <a:pt x="271" y="631"/>
                </a:cubicBezTo>
                <a:cubicBezTo>
                  <a:pt x="270" y="630"/>
                  <a:pt x="267" y="629"/>
                  <a:pt x="265" y="630"/>
                </a:cubicBezTo>
                <a:close/>
                <a:moveTo>
                  <a:pt x="259" y="639"/>
                </a:moveTo>
                <a:cubicBezTo>
                  <a:pt x="256" y="641"/>
                  <a:pt x="254" y="642"/>
                  <a:pt x="251" y="642"/>
                </a:cubicBezTo>
                <a:cubicBezTo>
                  <a:pt x="248" y="641"/>
                  <a:pt x="246" y="642"/>
                  <a:pt x="244" y="645"/>
                </a:cubicBezTo>
                <a:cubicBezTo>
                  <a:pt x="244" y="646"/>
                  <a:pt x="243" y="646"/>
                  <a:pt x="242" y="647"/>
                </a:cubicBezTo>
                <a:cubicBezTo>
                  <a:pt x="242" y="647"/>
                  <a:pt x="241" y="647"/>
                  <a:pt x="241" y="647"/>
                </a:cubicBezTo>
                <a:cubicBezTo>
                  <a:pt x="229" y="648"/>
                  <a:pt x="227" y="651"/>
                  <a:pt x="226" y="662"/>
                </a:cubicBezTo>
                <a:cubicBezTo>
                  <a:pt x="226" y="664"/>
                  <a:pt x="227" y="665"/>
                  <a:pt x="229" y="666"/>
                </a:cubicBezTo>
                <a:cubicBezTo>
                  <a:pt x="230" y="667"/>
                  <a:pt x="230" y="669"/>
                  <a:pt x="231" y="670"/>
                </a:cubicBezTo>
                <a:cubicBezTo>
                  <a:pt x="232" y="671"/>
                  <a:pt x="233" y="671"/>
                  <a:pt x="234" y="671"/>
                </a:cubicBezTo>
                <a:cubicBezTo>
                  <a:pt x="239" y="666"/>
                  <a:pt x="246" y="662"/>
                  <a:pt x="253" y="659"/>
                </a:cubicBezTo>
                <a:cubicBezTo>
                  <a:pt x="256" y="658"/>
                  <a:pt x="258" y="654"/>
                  <a:pt x="262" y="653"/>
                </a:cubicBezTo>
                <a:cubicBezTo>
                  <a:pt x="264" y="652"/>
                  <a:pt x="265" y="648"/>
                  <a:pt x="265" y="645"/>
                </a:cubicBezTo>
                <a:cubicBezTo>
                  <a:pt x="264" y="644"/>
                  <a:pt x="263" y="643"/>
                  <a:pt x="262" y="642"/>
                </a:cubicBezTo>
                <a:cubicBezTo>
                  <a:pt x="260" y="641"/>
                  <a:pt x="259" y="640"/>
                  <a:pt x="259" y="639"/>
                </a:cubicBezTo>
                <a:cubicBezTo>
                  <a:pt x="259" y="639"/>
                  <a:pt x="259" y="639"/>
                  <a:pt x="259" y="639"/>
                </a:cubicBezTo>
                <a:cubicBezTo>
                  <a:pt x="258" y="639"/>
                  <a:pt x="258" y="639"/>
                  <a:pt x="258" y="639"/>
                </a:cubicBezTo>
                <a:lnTo>
                  <a:pt x="259" y="639"/>
                </a:lnTo>
                <a:close/>
                <a:moveTo>
                  <a:pt x="4246" y="2579"/>
                </a:moveTo>
                <a:cubicBezTo>
                  <a:pt x="4244" y="2582"/>
                  <a:pt x="4241" y="2585"/>
                  <a:pt x="4241" y="2589"/>
                </a:cubicBezTo>
                <a:cubicBezTo>
                  <a:pt x="4241" y="2589"/>
                  <a:pt x="4242" y="2590"/>
                  <a:pt x="4242" y="2590"/>
                </a:cubicBezTo>
                <a:cubicBezTo>
                  <a:pt x="4244" y="2589"/>
                  <a:pt x="4246" y="2589"/>
                  <a:pt x="4248" y="2588"/>
                </a:cubicBezTo>
                <a:cubicBezTo>
                  <a:pt x="4251" y="2586"/>
                  <a:pt x="4252" y="2583"/>
                  <a:pt x="4250" y="2580"/>
                </a:cubicBezTo>
                <a:cubicBezTo>
                  <a:pt x="4249" y="2578"/>
                  <a:pt x="4247" y="2578"/>
                  <a:pt x="4246" y="2579"/>
                </a:cubicBezTo>
                <a:close/>
                <a:moveTo>
                  <a:pt x="1270" y="1592"/>
                </a:moveTo>
                <a:cubicBezTo>
                  <a:pt x="1270" y="1594"/>
                  <a:pt x="1271" y="1596"/>
                  <a:pt x="1274" y="1596"/>
                </a:cubicBezTo>
                <a:cubicBezTo>
                  <a:pt x="1277" y="1596"/>
                  <a:pt x="1279" y="1594"/>
                  <a:pt x="1279" y="1591"/>
                </a:cubicBezTo>
                <a:cubicBezTo>
                  <a:pt x="1280" y="1588"/>
                  <a:pt x="1278" y="1585"/>
                  <a:pt x="1275" y="1585"/>
                </a:cubicBezTo>
                <a:cubicBezTo>
                  <a:pt x="1273" y="1585"/>
                  <a:pt x="1271" y="1586"/>
                  <a:pt x="1270" y="1588"/>
                </a:cubicBezTo>
                <a:cubicBezTo>
                  <a:pt x="1270" y="1589"/>
                  <a:pt x="1270" y="1590"/>
                  <a:pt x="1270" y="1592"/>
                </a:cubicBezTo>
                <a:close/>
                <a:moveTo>
                  <a:pt x="2600" y="143"/>
                </a:moveTo>
                <a:cubicBezTo>
                  <a:pt x="2601" y="142"/>
                  <a:pt x="2602" y="141"/>
                  <a:pt x="2603" y="139"/>
                </a:cubicBezTo>
                <a:cubicBezTo>
                  <a:pt x="2604" y="136"/>
                  <a:pt x="2602" y="133"/>
                  <a:pt x="2600" y="133"/>
                </a:cubicBezTo>
                <a:cubicBezTo>
                  <a:pt x="2597" y="132"/>
                  <a:pt x="2595" y="133"/>
                  <a:pt x="2593" y="134"/>
                </a:cubicBezTo>
                <a:cubicBezTo>
                  <a:pt x="2591" y="136"/>
                  <a:pt x="2591" y="139"/>
                  <a:pt x="2593" y="141"/>
                </a:cubicBezTo>
                <a:cubicBezTo>
                  <a:pt x="2595" y="143"/>
                  <a:pt x="2597" y="144"/>
                  <a:pt x="2600" y="143"/>
                </a:cubicBezTo>
                <a:close/>
                <a:moveTo>
                  <a:pt x="2838" y="1560"/>
                </a:moveTo>
                <a:cubicBezTo>
                  <a:pt x="2836" y="1559"/>
                  <a:pt x="2834" y="1559"/>
                  <a:pt x="2834" y="1558"/>
                </a:cubicBezTo>
                <a:cubicBezTo>
                  <a:pt x="2832" y="1558"/>
                  <a:pt x="2831" y="1558"/>
                  <a:pt x="2831" y="1559"/>
                </a:cubicBezTo>
                <a:cubicBezTo>
                  <a:pt x="2830" y="1559"/>
                  <a:pt x="2828" y="1560"/>
                  <a:pt x="2827" y="1561"/>
                </a:cubicBezTo>
                <a:cubicBezTo>
                  <a:pt x="2826" y="1563"/>
                  <a:pt x="2829" y="1565"/>
                  <a:pt x="2831" y="1565"/>
                </a:cubicBezTo>
                <a:cubicBezTo>
                  <a:pt x="2834" y="1566"/>
                  <a:pt x="2837" y="1565"/>
                  <a:pt x="2839" y="1562"/>
                </a:cubicBezTo>
                <a:cubicBezTo>
                  <a:pt x="2840" y="1561"/>
                  <a:pt x="2839" y="1560"/>
                  <a:pt x="2838" y="1560"/>
                </a:cubicBezTo>
                <a:close/>
                <a:moveTo>
                  <a:pt x="1254" y="506"/>
                </a:moveTo>
                <a:cubicBezTo>
                  <a:pt x="1253" y="507"/>
                  <a:pt x="1252" y="507"/>
                  <a:pt x="1251" y="508"/>
                </a:cubicBezTo>
                <a:cubicBezTo>
                  <a:pt x="1248" y="510"/>
                  <a:pt x="1244" y="510"/>
                  <a:pt x="1243" y="513"/>
                </a:cubicBezTo>
                <a:cubicBezTo>
                  <a:pt x="1242" y="514"/>
                  <a:pt x="1242" y="515"/>
                  <a:pt x="1242" y="516"/>
                </a:cubicBezTo>
                <a:cubicBezTo>
                  <a:pt x="1242" y="516"/>
                  <a:pt x="1243" y="517"/>
                  <a:pt x="1244" y="517"/>
                </a:cubicBezTo>
                <a:cubicBezTo>
                  <a:pt x="1245" y="517"/>
                  <a:pt x="1247" y="517"/>
                  <a:pt x="1248" y="517"/>
                </a:cubicBezTo>
                <a:cubicBezTo>
                  <a:pt x="1251" y="515"/>
                  <a:pt x="1253" y="513"/>
                  <a:pt x="1256" y="511"/>
                </a:cubicBezTo>
                <a:cubicBezTo>
                  <a:pt x="1257" y="509"/>
                  <a:pt x="1257" y="507"/>
                  <a:pt x="1256" y="506"/>
                </a:cubicBezTo>
                <a:cubicBezTo>
                  <a:pt x="1256" y="506"/>
                  <a:pt x="1255" y="505"/>
                  <a:pt x="1254" y="506"/>
                </a:cubicBezTo>
                <a:close/>
                <a:moveTo>
                  <a:pt x="4378" y="1961"/>
                </a:moveTo>
                <a:cubicBezTo>
                  <a:pt x="4376" y="1958"/>
                  <a:pt x="4374" y="1956"/>
                  <a:pt x="4371" y="1954"/>
                </a:cubicBezTo>
                <a:cubicBezTo>
                  <a:pt x="4371" y="1955"/>
                  <a:pt x="4369" y="1956"/>
                  <a:pt x="4369" y="1956"/>
                </a:cubicBezTo>
                <a:cubicBezTo>
                  <a:pt x="4369" y="1959"/>
                  <a:pt x="4369" y="1962"/>
                  <a:pt x="4370" y="1964"/>
                </a:cubicBezTo>
                <a:cubicBezTo>
                  <a:pt x="4370" y="1966"/>
                  <a:pt x="4373" y="1967"/>
                  <a:pt x="4375" y="1966"/>
                </a:cubicBezTo>
                <a:cubicBezTo>
                  <a:pt x="4377" y="1965"/>
                  <a:pt x="4378" y="1963"/>
                  <a:pt x="4378" y="1961"/>
                </a:cubicBezTo>
                <a:close/>
                <a:moveTo>
                  <a:pt x="1293" y="555"/>
                </a:moveTo>
                <a:cubicBezTo>
                  <a:pt x="1294" y="554"/>
                  <a:pt x="1294" y="553"/>
                  <a:pt x="1295" y="552"/>
                </a:cubicBezTo>
                <a:cubicBezTo>
                  <a:pt x="1295" y="551"/>
                  <a:pt x="1295" y="550"/>
                  <a:pt x="1294" y="549"/>
                </a:cubicBezTo>
                <a:cubicBezTo>
                  <a:pt x="1293" y="547"/>
                  <a:pt x="1290" y="546"/>
                  <a:pt x="1287" y="546"/>
                </a:cubicBezTo>
                <a:cubicBezTo>
                  <a:pt x="1286" y="546"/>
                  <a:pt x="1285" y="547"/>
                  <a:pt x="1284" y="549"/>
                </a:cubicBezTo>
                <a:cubicBezTo>
                  <a:pt x="1283" y="551"/>
                  <a:pt x="1284" y="552"/>
                  <a:pt x="1285" y="553"/>
                </a:cubicBezTo>
                <a:cubicBezTo>
                  <a:pt x="1288" y="555"/>
                  <a:pt x="1290" y="556"/>
                  <a:pt x="1293" y="555"/>
                </a:cubicBezTo>
                <a:close/>
                <a:moveTo>
                  <a:pt x="4307" y="1873"/>
                </a:moveTo>
                <a:cubicBezTo>
                  <a:pt x="4307" y="1873"/>
                  <a:pt x="4308" y="1873"/>
                  <a:pt x="4308" y="1873"/>
                </a:cubicBezTo>
                <a:cubicBezTo>
                  <a:pt x="4309" y="1872"/>
                  <a:pt x="4309" y="1872"/>
                  <a:pt x="4309" y="1871"/>
                </a:cubicBezTo>
                <a:cubicBezTo>
                  <a:pt x="4308" y="1870"/>
                  <a:pt x="4307" y="1868"/>
                  <a:pt x="4306" y="1866"/>
                </a:cubicBezTo>
                <a:cubicBezTo>
                  <a:pt x="4306" y="1866"/>
                  <a:pt x="4305" y="1866"/>
                  <a:pt x="4305" y="1866"/>
                </a:cubicBezTo>
                <a:cubicBezTo>
                  <a:pt x="4304" y="1864"/>
                  <a:pt x="4302" y="1862"/>
                  <a:pt x="4301" y="1860"/>
                </a:cubicBezTo>
                <a:cubicBezTo>
                  <a:pt x="4300" y="1859"/>
                  <a:pt x="4299" y="1859"/>
                  <a:pt x="4298" y="1859"/>
                </a:cubicBezTo>
                <a:cubicBezTo>
                  <a:pt x="4297" y="1858"/>
                  <a:pt x="4297" y="1862"/>
                  <a:pt x="4298" y="1863"/>
                </a:cubicBezTo>
                <a:cubicBezTo>
                  <a:pt x="4299" y="1868"/>
                  <a:pt x="4303" y="1871"/>
                  <a:pt x="4307" y="1873"/>
                </a:cubicBezTo>
                <a:close/>
                <a:moveTo>
                  <a:pt x="2553" y="171"/>
                </a:moveTo>
                <a:cubicBezTo>
                  <a:pt x="2552" y="171"/>
                  <a:pt x="2550" y="170"/>
                  <a:pt x="2549" y="170"/>
                </a:cubicBezTo>
                <a:cubicBezTo>
                  <a:pt x="2548" y="170"/>
                  <a:pt x="2547" y="170"/>
                  <a:pt x="2546" y="171"/>
                </a:cubicBezTo>
                <a:cubicBezTo>
                  <a:pt x="2545" y="171"/>
                  <a:pt x="2544" y="172"/>
                  <a:pt x="2544" y="173"/>
                </a:cubicBezTo>
                <a:cubicBezTo>
                  <a:pt x="2544" y="174"/>
                  <a:pt x="2544" y="175"/>
                  <a:pt x="2545" y="176"/>
                </a:cubicBezTo>
                <a:cubicBezTo>
                  <a:pt x="2550" y="176"/>
                  <a:pt x="2553" y="178"/>
                  <a:pt x="2557" y="179"/>
                </a:cubicBezTo>
                <a:cubicBezTo>
                  <a:pt x="2557" y="177"/>
                  <a:pt x="2557" y="176"/>
                  <a:pt x="2557" y="175"/>
                </a:cubicBezTo>
                <a:cubicBezTo>
                  <a:pt x="2557" y="172"/>
                  <a:pt x="2557" y="172"/>
                  <a:pt x="2553" y="171"/>
                </a:cubicBezTo>
                <a:close/>
                <a:moveTo>
                  <a:pt x="2557" y="179"/>
                </a:moveTo>
                <a:cubicBezTo>
                  <a:pt x="2557" y="179"/>
                  <a:pt x="2557" y="179"/>
                  <a:pt x="2557" y="180"/>
                </a:cubicBezTo>
                <a:cubicBezTo>
                  <a:pt x="2557" y="180"/>
                  <a:pt x="2557" y="180"/>
                  <a:pt x="2558" y="180"/>
                </a:cubicBezTo>
                <a:cubicBezTo>
                  <a:pt x="2558" y="179"/>
                  <a:pt x="2558" y="179"/>
                  <a:pt x="2558" y="179"/>
                </a:cubicBezTo>
                <a:cubicBezTo>
                  <a:pt x="2557" y="179"/>
                  <a:pt x="2557" y="179"/>
                  <a:pt x="2557" y="179"/>
                </a:cubicBezTo>
                <a:close/>
                <a:moveTo>
                  <a:pt x="2982" y="222"/>
                </a:moveTo>
                <a:cubicBezTo>
                  <a:pt x="2987" y="222"/>
                  <a:pt x="2990" y="219"/>
                  <a:pt x="2991" y="215"/>
                </a:cubicBezTo>
                <a:cubicBezTo>
                  <a:pt x="2990" y="214"/>
                  <a:pt x="2990" y="213"/>
                  <a:pt x="2989" y="212"/>
                </a:cubicBezTo>
                <a:cubicBezTo>
                  <a:pt x="2989" y="212"/>
                  <a:pt x="2988" y="212"/>
                  <a:pt x="2988" y="212"/>
                </a:cubicBezTo>
                <a:cubicBezTo>
                  <a:pt x="2986" y="214"/>
                  <a:pt x="2983" y="215"/>
                  <a:pt x="2981" y="217"/>
                </a:cubicBezTo>
                <a:cubicBezTo>
                  <a:pt x="2981" y="217"/>
                  <a:pt x="2980" y="219"/>
                  <a:pt x="2980" y="220"/>
                </a:cubicBezTo>
                <a:cubicBezTo>
                  <a:pt x="2980" y="220"/>
                  <a:pt x="2981" y="222"/>
                  <a:pt x="2982" y="222"/>
                </a:cubicBezTo>
                <a:close/>
                <a:moveTo>
                  <a:pt x="3065" y="146"/>
                </a:moveTo>
                <a:cubicBezTo>
                  <a:pt x="3066" y="145"/>
                  <a:pt x="3066" y="145"/>
                  <a:pt x="3066" y="144"/>
                </a:cubicBezTo>
                <a:cubicBezTo>
                  <a:pt x="3066" y="144"/>
                  <a:pt x="3065" y="142"/>
                  <a:pt x="3065" y="142"/>
                </a:cubicBezTo>
                <a:cubicBezTo>
                  <a:pt x="3061" y="141"/>
                  <a:pt x="3056" y="144"/>
                  <a:pt x="3052" y="141"/>
                </a:cubicBezTo>
                <a:cubicBezTo>
                  <a:pt x="3052" y="141"/>
                  <a:pt x="3051" y="142"/>
                  <a:pt x="3051" y="142"/>
                </a:cubicBezTo>
                <a:cubicBezTo>
                  <a:pt x="3051" y="143"/>
                  <a:pt x="3051" y="143"/>
                  <a:pt x="3051" y="144"/>
                </a:cubicBezTo>
                <a:cubicBezTo>
                  <a:pt x="3055" y="148"/>
                  <a:pt x="3060" y="149"/>
                  <a:pt x="3065" y="146"/>
                </a:cubicBezTo>
                <a:close/>
                <a:moveTo>
                  <a:pt x="1436" y="2177"/>
                </a:moveTo>
                <a:cubicBezTo>
                  <a:pt x="1436" y="2177"/>
                  <a:pt x="1436" y="2177"/>
                  <a:pt x="1436" y="2177"/>
                </a:cubicBezTo>
                <a:cubicBezTo>
                  <a:pt x="1436" y="2177"/>
                  <a:pt x="1436" y="2177"/>
                  <a:pt x="1436" y="2177"/>
                </a:cubicBezTo>
                <a:cubicBezTo>
                  <a:pt x="1436" y="2177"/>
                  <a:pt x="1436" y="2177"/>
                  <a:pt x="1436" y="2177"/>
                </a:cubicBezTo>
                <a:cubicBezTo>
                  <a:pt x="1436" y="2177"/>
                  <a:pt x="1436" y="2177"/>
                  <a:pt x="1436" y="2177"/>
                </a:cubicBezTo>
                <a:close/>
                <a:moveTo>
                  <a:pt x="1426" y="2184"/>
                </a:moveTo>
                <a:cubicBezTo>
                  <a:pt x="1424" y="2186"/>
                  <a:pt x="1423" y="2188"/>
                  <a:pt x="1421" y="2190"/>
                </a:cubicBezTo>
                <a:cubicBezTo>
                  <a:pt x="1420" y="2191"/>
                  <a:pt x="1420" y="2192"/>
                  <a:pt x="1420" y="2194"/>
                </a:cubicBezTo>
                <a:cubicBezTo>
                  <a:pt x="1429" y="2192"/>
                  <a:pt x="1434" y="2187"/>
                  <a:pt x="1436" y="2179"/>
                </a:cubicBezTo>
                <a:cubicBezTo>
                  <a:pt x="1436" y="2178"/>
                  <a:pt x="1436" y="2178"/>
                  <a:pt x="1436" y="2177"/>
                </a:cubicBezTo>
                <a:cubicBezTo>
                  <a:pt x="1435" y="2178"/>
                  <a:pt x="1433" y="2178"/>
                  <a:pt x="1432" y="2179"/>
                </a:cubicBezTo>
                <a:cubicBezTo>
                  <a:pt x="1430" y="2181"/>
                  <a:pt x="1428" y="2182"/>
                  <a:pt x="1426" y="2184"/>
                </a:cubicBezTo>
                <a:close/>
                <a:moveTo>
                  <a:pt x="1426" y="2184"/>
                </a:moveTo>
                <a:cubicBezTo>
                  <a:pt x="1426" y="2184"/>
                  <a:pt x="1426" y="2184"/>
                  <a:pt x="1426" y="2184"/>
                </a:cubicBezTo>
                <a:cubicBezTo>
                  <a:pt x="1426" y="2184"/>
                  <a:pt x="1426" y="2184"/>
                  <a:pt x="1426" y="2184"/>
                </a:cubicBezTo>
                <a:cubicBezTo>
                  <a:pt x="1426" y="2184"/>
                  <a:pt x="1426" y="2184"/>
                  <a:pt x="1426" y="2184"/>
                </a:cubicBezTo>
                <a:cubicBezTo>
                  <a:pt x="1426" y="2184"/>
                  <a:pt x="1426" y="2184"/>
                  <a:pt x="1426" y="2184"/>
                </a:cubicBezTo>
                <a:close/>
                <a:moveTo>
                  <a:pt x="1741" y="73"/>
                </a:moveTo>
                <a:cubicBezTo>
                  <a:pt x="1742" y="73"/>
                  <a:pt x="1743" y="73"/>
                  <a:pt x="1745" y="74"/>
                </a:cubicBezTo>
                <a:cubicBezTo>
                  <a:pt x="1745" y="73"/>
                  <a:pt x="1747" y="72"/>
                  <a:pt x="1747" y="71"/>
                </a:cubicBezTo>
                <a:cubicBezTo>
                  <a:pt x="1748" y="68"/>
                  <a:pt x="1747" y="65"/>
                  <a:pt x="1744" y="65"/>
                </a:cubicBezTo>
                <a:cubicBezTo>
                  <a:pt x="1742" y="64"/>
                  <a:pt x="1741" y="65"/>
                  <a:pt x="1739" y="68"/>
                </a:cubicBezTo>
                <a:cubicBezTo>
                  <a:pt x="1738" y="69"/>
                  <a:pt x="1739" y="72"/>
                  <a:pt x="1741" y="73"/>
                </a:cubicBezTo>
                <a:close/>
                <a:moveTo>
                  <a:pt x="3812" y="1767"/>
                </a:moveTo>
                <a:cubicBezTo>
                  <a:pt x="3812" y="1767"/>
                  <a:pt x="3812" y="1767"/>
                  <a:pt x="3812" y="1767"/>
                </a:cubicBezTo>
                <a:cubicBezTo>
                  <a:pt x="3815" y="1767"/>
                  <a:pt x="3817" y="1767"/>
                  <a:pt x="3819" y="1767"/>
                </a:cubicBezTo>
                <a:cubicBezTo>
                  <a:pt x="3819" y="1767"/>
                  <a:pt x="3820" y="1766"/>
                  <a:pt x="3821" y="1765"/>
                </a:cubicBezTo>
                <a:cubicBezTo>
                  <a:pt x="3820" y="1765"/>
                  <a:pt x="3820" y="1764"/>
                  <a:pt x="3819" y="1764"/>
                </a:cubicBezTo>
                <a:cubicBezTo>
                  <a:pt x="3815" y="1764"/>
                  <a:pt x="3810" y="1763"/>
                  <a:pt x="3805" y="1763"/>
                </a:cubicBezTo>
                <a:cubicBezTo>
                  <a:pt x="3805" y="1763"/>
                  <a:pt x="3804" y="1764"/>
                  <a:pt x="3803" y="1765"/>
                </a:cubicBezTo>
                <a:cubicBezTo>
                  <a:pt x="3803" y="1766"/>
                  <a:pt x="3803" y="1767"/>
                  <a:pt x="3805" y="1767"/>
                </a:cubicBezTo>
                <a:cubicBezTo>
                  <a:pt x="3807" y="1767"/>
                  <a:pt x="3810" y="1767"/>
                  <a:pt x="3812" y="1767"/>
                </a:cubicBezTo>
                <a:close/>
                <a:moveTo>
                  <a:pt x="4294" y="1878"/>
                </a:moveTo>
                <a:cubicBezTo>
                  <a:pt x="4295" y="1878"/>
                  <a:pt x="4296" y="1877"/>
                  <a:pt x="4297" y="1877"/>
                </a:cubicBezTo>
                <a:cubicBezTo>
                  <a:pt x="4297" y="1876"/>
                  <a:pt x="4297" y="1874"/>
                  <a:pt x="4296" y="1874"/>
                </a:cubicBezTo>
                <a:cubicBezTo>
                  <a:pt x="4294" y="1871"/>
                  <a:pt x="4291" y="1870"/>
                  <a:pt x="4288" y="1870"/>
                </a:cubicBezTo>
                <a:cubicBezTo>
                  <a:pt x="4287" y="1870"/>
                  <a:pt x="4286" y="1870"/>
                  <a:pt x="4285" y="1871"/>
                </a:cubicBezTo>
                <a:cubicBezTo>
                  <a:pt x="4284" y="1872"/>
                  <a:pt x="4285" y="1874"/>
                  <a:pt x="4286" y="1875"/>
                </a:cubicBezTo>
                <a:cubicBezTo>
                  <a:pt x="4288" y="1877"/>
                  <a:pt x="4291" y="1878"/>
                  <a:pt x="4294" y="1878"/>
                </a:cubicBezTo>
                <a:close/>
                <a:moveTo>
                  <a:pt x="3977" y="996"/>
                </a:moveTo>
                <a:cubicBezTo>
                  <a:pt x="3976" y="996"/>
                  <a:pt x="3976" y="996"/>
                  <a:pt x="3976" y="996"/>
                </a:cubicBezTo>
                <a:cubicBezTo>
                  <a:pt x="3976" y="996"/>
                  <a:pt x="3976" y="997"/>
                  <a:pt x="3976" y="997"/>
                </a:cubicBezTo>
                <a:cubicBezTo>
                  <a:pt x="3976" y="997"/>
                  <a:pt x="3976" y="997"/>
                  <a:pt x="3977" y="997"/>
                </a:cubicBezTo>
                <a:cubicBezTo>
                  <a:pt x="3977" y="997"/>
                  <a:pt x="3977" y="996"/>
                  <a:pt x="3977" y="996"/>
                </a:cubicBezTo>
                <a:close/>
                <a:moveTo>
                  <a:pt x="3984" y="982"/>
                </a:moveTo>
                <a:cubicBezTo>
                  <a:pt x="3983" y="982"/>
                  <a:pt x="3982" y="981"/>
                  <a:pt x="3981" y="982"/>
                </a:cubicBezTo>
                <a:cubicBezTo>
                  <a:pt x="3980" y="982"/>
                  <a:pt x="3979" y="983"/>
                  <a:pt x="3979" y="984"/>
                </a:cubicBezTo>
                <a:cubicBezTo>
                  <a:pt x="3977" y="988"/>
                  <a:pt x="3976" y="992"/>
                  <a:pt x="3977" y="996"/>
                </a:cubicBezTo>
                <a:cubicBezTo>
                  <a:pt x="3981" y="992"/>
                  <a:pt x="3984" y="988"/>
                  <a:pt x="3985" y="983"/>
                </a:cubicBezTo>
                <a:cubicBezTo>
                  <a:pt x="3985" y="983"/>
                  <a:pt x="3984" y="982"/>
                  <a:pt x="3984" y="982"/>
                </a:cubicBezTo>
                <a:close/>
                <a:moveTo>
                  <a:pt x="2523" y="200"/>
                </a:moveTo>
                <a:cubicBezTo>
                  <a:pt x="2523" y="201"/>
                  <a:pt x="2524" y="202"/>
                  <a:pt x="2524" y="203"/>
                </a:cubicBezTo>
                <a:cubicBezTo>
                  <a:pt x="2527" y="205"/>
                  <a:pt x="2531" y="204"/>
                  <a:pt x="2533" y="202"/>
                </a:cubicBezTo>
                <a:cubicBezTo>
                  <a:pt x="2533" y="201"/>
                  <a:pt x="2533" y="201"/>
                  <a:pt x="2533" y="200"/>
                </a:cubicBezTo>
                <a:cubicBezTo>
                  <a:pt x="2532" y="199"/>
                  <a:pt x="2531" y="197"/>
                  <a:pt x="2530" y="195"/>
                </a:cubicBezTo>
                <a:cubicBezTo>
                  <a:pt x="2528" y="194"/>
                  <a:pt x="2526" y="195"/>
                  <a:pt x="2524" y="196"/>
                </a:cubicBezTo>
                <a:cubicBezTo>
                  <a:pt x="2524" y="198"/>
                  <a:pt x="2523" y="199"/>
                  <a:pt x="2523" y="200"/>
                </a:cubicBezTo>
                <a:close/>
                <a:moveTo>
                  <a:pt x="2597" y="187"/>
                </a:moveTo>
                <a:cubicBezTo>
                  <a:pt x="2598" y="189"/>
                  <a:pt x="2600" y="191"/>
                  <a:pt x="2602" y="191"/>
                </a:cubicBezTo>
                <a:cubicBezTo>
                  <a:pt x="2605" y="191"/>
                  <a:pt x="2607" y="189"/>
                  <a:pt x="2606" y="186"/>
                </a:cubicBezTo>
                <a:cubicBezTo>
                  <a:pt x="2606" y="184"/>
                  <a:pt x="2604" y="182"/>
                  <a:pt x="2602" y="182"/>
                </a:cubicBezTo>
                <a:cubicBezTo>
                  <a:pt x="2599" y="182"/>
                  <a:pt x="2597" y="185"/>
                  <a:pt x="2597" y="187"/>
                </a:cubicBezTo>
                <a:close/>
                <a:moveTo>
                  <a:pt x="3435" y="1719"/>
                </a:moveTo>
                <a:cubicBezTo>
                  <a:pt x="3435" y="1718"/>
                  <a:pt x="3434" y="1718"/>
                  <a:pt x="3434" y="1719"/>
                </a:cubicBezTo>
                <a:cubicBezTo>
                  <a:pt x="3433" y="1719"/>
                  <a:pt x="3432" y="1720"/>
                  <a:pt x="3432" y="1721"/>
                </a:cubicBezTo>
                <a:cubicBezTo>
                  <a:pt x="3432" y="1724"/>
                  <a:pt x="3434" y="1726"/>
                  <a:pt x="3437" y="1728"/>
                </a:cubicBezTo>
                <a:cubicBezTo>
                  <a:pt x="3437" y="1728"/>
                  <a:pt x="3438" y="1729"/>
                  <a:pt x="3438" y="1728"/>
                </a:cubicBezTo>
                <a:cubicBezTo>
                  <a:pt x="3439" y="1728"/>
                  <a:pt x="3439" y="1727"/>
                  <a:pt x="3440" y="1726"/>
                </a:cubicBezTo>
                <a:cubicBezTo>
                  <a:pt x="3440" y="1723"/>
                  <a:pt x="3438" y="1720"/>
                  <a:pt x="3435" y="1719"/>
                </a:cubicBezTo>
                <a:close/>
                <a:moveTo>
                  <a:pt x="2543" y="187"/>
                </a:moveTo>
                <a:cubicBezTo>
                  <a:pt x="2543" y="188"/>
                  <a:pt x="2544" y="190"/>
                  <a:pt x="2544" y="190"/>
                </a:cubicBezTo>
                <a:cubicBezTo>
                  <a:pt x="2545" y="191"/>
                  <a:pt x="2546" y="191"/>
                  <a:pt x="2547" y="191"/>
                </a:cubicBezTo>
                <a:cubicBezTo>
                  <a:pt x="2551" y="189"/>
                  <a:pt x="2554" y="186"/>
                  <a:pt x="2556" y="183"/>
                </a:cubicBezTo>
                <a:cubicBezTo>
                  <a:pt x="2553" y="183"/>
                  <a:pt x="2550" y="183"/>
                  <a:pt x="2546" y="183"/>
                </a:cubicBezTo>
                <a:cubicBezTo>
                  <a:pt x="2544" y="183"/>
                  <a:pt x="2543" y="185"/>
                  <a:pt x="2543" y="187"/>
                </a:cubicBezTo>
                <a:close/>
                <a:moveTo>
                  <a:pt x="354" y="596"/>
                </a:moveTo>
                <a:cubicBezTo>
                  <a:pt x="355" y="596"/>
                  <a:pt x="355" y="596"/>
                  <a:pt x="355" y="596"/>
                </a:cubicBezTo>
                <a:cubicBezTo>
                  <a:pt x="355" y="596"/>
                  <a:pt x="355" y="596"/>
                  <a:pt x="354" y="596"/>
                </a:cubicBezTo>
                <a:cubicBezTo>
                  <a:pt x="354" y="596"/>
                  <a:pt x="354" y="596"/>
                  <a:pt x="354" y="596"/>
                </a:cubicBezTo>
                <a:cubicBezTo>
                  <a:pt x="354" y="596"/>
                  <a:pt x="354" y="596"/>
                  <a:pt x="354" y="596"/>
                </a:cubicBezTo>
                <a:close/>
                <a:moveTo>
                  <a:pt x="4020" y="949"/>
                </a:moveTo>
                <a:cubicBezTo>
                  <a:pt x="4024" y="946"/>
                  <a:pt x="4026" y="943"/>
                  <a:pt x="4025" y="938"/>
                </a:cubicBezTo>
                <a:cubicBezTo>
                  <a:pt x="4025" y="938"/>
                  <a:pt x="4025" y="937"/>
                  <a:pt x="4024" y="937"/>
                </a:cubicBezTo>
                <a:cubicBezTo>
                  <a:pt x="4024" y="937"/>
                  <a:pt x="4023" y="937"/>
                  <a:pt x="4023" y="937"/>
                </a:cubicBezTo>
                <a:cubicBezTo>
                  <a:pt x="4020" y="940"/>
                  <a:pt x="4018" y="943"/>
                  <a:pt x="4017" y="947"/>
                </a:cubicBezTo>
                <a:cubicBezTo>
                  <a:pt x="4017" y="947"/>
                  <a:pt x="4018" y="948"/>
                  <a:pt x="4018" y="948"/>
                </a:cubicBezTo>
                <a:cubicBezTo>
                  <a:pt x="4019" y="948"/>
                  <a:pt x="4019" y="949"/>
                  <a:pt x="4020" y="949"/>
                </a:cubicBezTo>
                <a:close/>
                <a:moveTo>
                  <a:pt x="2015" y="840"/>
                </a:moveTo>
                <a:cubicBezTo>
                  <a:pt x="2015" y="840"/>
                  <a:pt x="2015" y="840"/>
                  <a:pt x="2015" y="841"/>
                </a:cubicBezTo>
                <a:cubicBezTo>
                  <a:pt x="2015" y="841"/>
                  <a:pt x="2015" y="841"/>
                  <a:pt x="2015" y="841"/>
                </a:cubicBezTo>
                <a:cubicBezTo>
                  <a:pt x="2015" y="841"/>
                  <a:pt x="2015" y="841"/>
                  <a:pt x="2015" y="841"/>
                </a:cubicBezTo>
                <a:cubicBezTo>
                  <a:pt x="2015" y="841"/>
                  <a:pt x="2015" y="841"/>
                  <a:pt x="2015" y="840"/>
                </a:cubicBezTo>
                <a:close/>
                <a:moveTo>
                  <a:pt x="2024" y="832"/>
                </a:moveTo>
                <a:cubicBezTo>
                  <a:pt x="2024" y="831"/>
                  <a:pt x="2024" y="830"/>
                  <a:pt x="2022" y="829"/>
                </a:cubicBezTo>
                <a:cubicBezTo>
                  <a:pt x="2022" y="829"/>
                  <a:pt x="2021" y="829"/>
                  <a:pt x="2021" y="829"/>
                </a:cubicBezTo>
                <a:cubicBezTo>
                  <a:pt x="2018" y="830"/>
                  <a:pt x="2016" y="831"/>
                  <a:pt x="2015" y="834"/>
                </a:cubicBezTo>
                <a:cubicBezTo>
                  <a:pt x="2015" y="836"/>
                  <a:pt x="2015" y="838"/>
                  <a:pt x="2015" y="840"/>
                </a:cubicBezTo>
                <a:cubicBezTo>
                  <a:pt x="2016" y="840"/>
                  <a:pt x="2017" y="840"/>
                  <a:pt x="2018" y="839"/>
                </a:cubicBezTo>
                <a:cubicBezTo>
                  <a:pt x="2021" y="838"/>
                  <a:pt x="2023" y="835"/>
                  <a:pt x="2024" y="832"/>
                </a:cubicBezTo>
                <a:close/>
                <a:moveTo>
                  <a:pt x="3575" y="1775"/>
                </a:moveTo>
                <a:cubicBezTo>
                  <a:pt x="3574" y="1775"/>
                  <a:pt x="3574" y="1776"/>
                  <a:pt x="3574" y="1776"/>
                </a:cubicBezTo>
                <a:cubicBezTo>
                  <a:pt x="3573" y="1778"/>
                  <a:pt x="3572" y="1779"/>
                  <a:pt x="3573" y="1781"/>
                </a:cubicBezTo>
                <a:cubicBezTo>
                  <a:pt x="3574" y="1783"/>
                  <a:pt x="3576" y="1784"/>
                  <a:pt x="3578" y="1783"/>
                </a:cubicBezTo>
                <a:cubicBezTo>
                  <a:pt x="3580" y="1783"/>
                  <a:pt x="3581" y="1782"/>
                  <a:pt x="3582" y="1782"/>
                </a:cubicBezTo>
                <a:cubicBezTo>
                  <a:pt x="3582" y="1780"/>
                  <a:pt x="3583" y="1780"/>
                  <a:pt x="3582" y="1779"/>
                </a:cubicBezTo>
                <a:cubicBezTo>
                  <a:pt x="3582" y="1776"/>
                  <a:pt x="3577" y="1774"/>
                  <a:pt x="3575" y="1775"/>
                </a:cubicBezTo>
                <a:close/>
                <a:moveTo>
                  <a:pt x="4280" y="1855"/>
                </a:moveTo>
                <a:cubicBezTo>
                  <a:pt x="4282" y="1856"/>
                  <a:pt x="4283" y="1856"/>
                  <a:pt x="4283" y="1854"/>
                </a:cubicBezTo>
                <a:cubicBezTo>
                  <a:pt x="4283" y="1853"/>
                  <a:pt x="4283" y="1852"/>
                  <a:pt x="4283" y="1851"/>
                </a:cubicBezTo>
                <a:cubicBezTo>
                  <a:pt x="4281" y="1848"/>
                  <a:pt x="4277" y="1846"/>
                  <a:pt x="4274" y="1845"/>
                </a:cubicBezTo>
                <a:cubicBezTo>
                  <a:pt x="4273" y="1846"/>
                  <a:pt x="4273" y="1846"/>
                  <a:pt x="4272" y="1846"/>
                </a:cubicBezTo>
                <a:cubicBezTo>
                  <a:pt x="4272" y="1847"/>
                  <a:pt x="4272" y="1847"/>
                  <a:pt x="4272" y="1848"/>
                </a:cubicBezTo>
                <a:cubicBezTo>
                  <a:pt x="4274" y="1851"/>
                  <a:pt x="4277" y="1853"/>
                  <a:pt x="4280" y="1855"/>
                </a:cubicBezTo>
                <a:close/>
                <a:moveTo>
                  <a:pt x="1016" y="466"/>
                </a:moveTo>
                <a:cubicBezTo>
                  <a:pt x="1014" y="467"/>
                  <a:pt x="1012" y="468"/>
                  <a:pt x="1011" y="469"/>
                </a:cubicBezTo>
                <a:cubicBezTo>
                  <a:pt x="1009" y="471"/>
                  <a:pt x="1008" y="473"/>
                  <a:pt x="1009" y="475"/>
                </a:cubicBezTo>
                <a:cubicBezTo>
                  <a:pt x="1009" y="476"/>
                  <a:pt x="1010" y="477"/>
                  <a:pt x="1012" y="476"/>
                </a:cubicBezTo>
                <a:cubicBezTo>
                  <a:pt x="1015" y="474"/>
                  <a:pt x="1017" y="472"/>
                  <a:pt x="1018" y="468"/>
                </a:cubicBezTo>
                <a:cubicBezTo>
                  <a:pt x="1018" y="468"/>
                  <a:pt x="1018" y="467"/>
                  <a:pt x="1018" y="467"/>
                </a:cubicBezTo>
                <a:cubicBezTo>
                  <a:pt x="1017" y="467"/>
                  <a:pt x="1017" y="466"/>
                  <a:pt x="1016" y="466"/>
                </a:cubicBezTo>
                <a:close/>
                <a:moveTo>
                  <a:pt x="3455" y="1754"/>
                </a:moveTo>
                <a:cubicBezTo>
                  <a:pt x="3454" y="1754"/>
                  <a:pt x="3453" y="1754"/>
                  <a:pt x="3452" y="1755"/>
                </a:cubicBezTo>
                <a:cubicBezTo>
                  <a:pt x="3450" y="1755"/>
                  <a:pt x="3450" y="1756"/>
                  <a:pt x="3451" y="1757"/>
                </a:cubicBezTo>
                <a:cubicBezTo>
                  <a:pt x="3452" y="1760"/>
                  <a:pt x="3453" y="1762"/>
                  <a:pt x="3456" y="1763"/>
                </a:cubicBezTo>
                <a:cubicBezTo>
                  <a:pt x="3457" y="1763"/>
                  <a:pt x="3457" y="1763"/>
                  <a:pt x="3458" y="1763"/>
                </a:cubicBezTo>
                <a:cubicBezTo>
                  <a:pt x="3458" y="1762"/>
                  <a:pt x="3459" y="1761"/>
                  <a:pt x="3459" y="1760"/>
                </a:cubicBezTo>
                <a:cubicBezTo>
                  <a:pt x="3459" y="1757"/>
                  <a:pt x="3457" y="1755"/>
                  <a:pt x="3455" y="1754"/>
                </a:cubicBezTo>
                <a:close/>
                <a:moveTo>
                  <a:pt x="1302" y="740"/>
                </a:moveTo>
                <a:cubicBezTo>
                  <a:pt x="1301" y="741"/>
                  <a:pt x="1300" y="743"/>
                  <a:pt x="1299" y="744"/>
                </a:cubicBezTo>
                <a:cubicBezTo>
                  <a:pt x="1298" y="744"/>
                  <a:pt x="1298" y="745"/>
                  <a:pt x="1298" y="746"/>
                </a:cubicBezTo>
                <a:cubicBezTo>
                  <a:pt x="1299" y="746"/>
                  <a:pt x="1300" y="747"/>
                  <a:pt x="1301" y="747"/>
                </a:cubicBezTo>
                <a:cubicBezTo>
                  <a:pt x="1303" y="746"/>
                  <a:pt x="1304" y="746"/>
                  <a:pt x="1305" y="745"/>
                </a:cubicBezTo>
                <a:cubicBezTo>
                  <a:pt x="1306" y="744"/>
                  <a:pt x="1306" y="743"/>
                  <a:pt x="1306" y="742"/>
                </a:cubicBezTo>
                <a:cubicBezTo>
                  <a:pt x="1305" y="740"/>
                  <a:pt x="1303" y="739"/>
                  <a:pt x="1302" y="740"/>
                </a:cubicBezTo>
                <a:close/>
                <a:moveTo>
                  <a:pt x="4306" y="1886"/>
                </a:moveTo>
                <a:cubicBezTo>
                  <a:pt x="4305" y="1887"/>
                  <a:pt x="4306" y="1888"/>
                  <a:pt x="4306" y="1888"/>
                </a:cubicBezTo>
                <a:cubicBezTo>
                  <a:pt x="4307" y="1891"/>
                  <a:pt x="4309" y="1892"/>
                  <a:pt x="4312" y="1893"/>
                </a:cubicBezTo>
                <a:cubicBezTo>
                  <a:pt x="4313" y="1893"/>
                  <a:pt x="4315" y="1892"/>
                  <a:pt x="4316" y="1891"/>
                </a:cubicBezTo>
                <a:cubicBezTo>
                  <a:pt x="4315" y="1890"/>
                  <a:pt x="4316" y="1889"/>
                  <a:pt x="4315" y="1889"/>
                </a:cubicBezTo>
                <a:cubicBezTo>
                  <a:pt x="4314" y="1887"/>
                  <a:pt x="4311" y="1886"/>
                  <a:pt x="4308" y="1885"/>
                </a:cubicBezTo>
                <a:cubicBezTo>
                  <a:pt x="4307" y="1885"/>
                  <a:pt x="4306" y="1885"/>
                  <a:pt x="4306" y="1886"/>
                </a:cubicBezTo>
                <a:close/>
                <a:moveTo>
                  <a:pt x="1148" y="210"/>
                </a:moveTo>
                <a:cubicBezTo>
                  <a:pt x="1148" y="210"/>
                  <a:pt x="1147" y="210"/>
                  <a:pt x="1147" y="209"/>
                </a:cubicBezTo>
                <a:cubicBezTo>
                  <a:pt x="1144" y="209"/>
                  <a:pt x="1140" y="209"/>
                  <a:pt x="1138" y="211"/>
                </a:cubicBezTo>
                <a:cubicBezTo>
                  <a:pt x="1137" y="212"/>
                  <a:pt x="1137" y="213"/>
                  <a:pt x="1138" y="214"/>
                </a:cubicBezTo>
                <a:cubicBezTo>
                  <a:pt x="1139" y="215"/>
                  <a:pt x="1140" y="215"/>
                  <a:pt x="1142" y="216"/>
                </a:cubicBezTo>
                <a:cubicBezTo>
                  <a:pt x="1144" y="215"/>
                  <a:pt x="1146" y="213"/>
                  <a:pt x="1148" y="212"/>
                </a:cubicBezTo>
                <a:cubicBezTo>
                  <a:pt x="1148" y="212"/>
                  <a:pt x="1148" y="211"/>
                  <a:pt x="1148" y="210"/>
                </a:cubicBezTo>
                <a:close/>
                <a:moveTo>
                  <a:pt x="1142" y="216"/>
                </a:moveTo>
                <a:cubicBezTo>
                  <a:pt x="1141" y="216"/>
                  <a:pt x="1141" y="216"/>
                  <a:pt x="1141" y="216"/>
                </a:cubicBezTo>
                <a:cubicBezTo>
                  <a:pt x="1141" y="216"/>
                  <a:pt x="1141" y="216"/>
                  <a:pt x="1141" y="216"/>
                </a:cubicBezTo>
                <a:cubicBezTo>
                  <a:pt x="1141" y="216"/>
                  <a:pt x="1142" y="216"/>
                  <a:pt x="1142" y="216"/>
                </a:cubicBezTo>
                <a:cubicBezTo>
                  <a:pt x="1142" y="216"/>
                  <a:pt x="1142" y="216"/>
                  <a:pt x="1142" y="216"/>
                </a:cubicBezTo>
                <a:close/>
                <a:moveTo>
                  <a:pt x="1160" y="585"/>
                </a:moveTo>
                <a:cubicBezTo>
                  <a:pt x="1160" y="585"/>
                  <a:pt x="1159" y="586"/>
                  <a:pt x="1159" y="587"/>
                </a:cubicBezTo>
                <a:cubicBezTo>
                  <a:pt x="1158" y="587"/>
                  <a:pt x="1158" y="589"/>
                  <a:pt x="1159" y="590"/>
                </a:cubicBezTo>
                <a:cubicBezTo>
                  <a:pt x="1160" y="591"/>
                  <a:pt x="1161" y="593"/>
                  <a:pt x="1163" y="594"/>
                </a:cubicBezTo>
                <a:cubicBezTo>
                  <a:pt x="1163" y="595"/>
                  <a:pt x="1164" y="595"/>
                  <a:pt x="1164" y="595"/>
                </a:cubicBezTo>
                <a:cubicBezTo>
                  <a:pt x="1166" y="594"/>
                  <a:pt x="1166" y="593"/>
                  <a:pt x="1166" y="592"/>
                </a:cubicBezTo>
                <a:cubicBezTo>
                  <a:pt x="1165" y="589"/>
                  <a:pt x="1164" y="586"/>
                  <a:pt x="1160" y="585"/>
                </a:cubicBezTo>
                <a:close/>
                <a:moveTo>
                  <a:pt x="1346" y="716"/>
                </a:moveTo>
                <a:cubicBezTo>
                  <a:pt x="1345" y="716"/>
                  <a:pt x="1344" y="716"/>
                  <a:pt x="1343" y="717"/>
                </a:cubicBezTo>
                <a:cubicBezTo>
                  <a:pt x="1342" y="718"/>
                  <a:pt x="1341" y="719"/>
                  <a:pt x="1341" y="721"/>
                </a:cubicBezTo>
                <a:cubicBezTo>
                  <a:pt x="1341" y="722"/>
                  <a:pt x="1342" y="724"/>
                  <a:pt x="1342" y="725"/>
                </a:cubicBezTo>
                <a:cubicBezTo>
                  <a:pt x="1343" y="726"/>
                  <a:pt x="1345" y="726"/>
                  <a:pt x="1345" y="726"/>
                </a:cubicBezTo>
                <a:cubicBezTo>
                  <a:pt x="1346" y="725"/>
                  <a:pt x="1347" y="724"/>
                  <a:pt x="1348" y="722"/>
                </a:cubicBezTo>
                <a:cubicBezTo>
                  <a:pt x="1347" y="721"/>
                  <a:pt x="1347" y="719"/>
                  <a:pt x="1347" y="717"/>
                </a:cubicBezTo>
                <a:cubicBezTo>
                  <a:pt x="1347" y="717"/>
                  <a:pt x="1346" y="716"/>
                  <a:pt x="1346" y="716"/>
                </a:cubicBezTo>
                <a:close/>
                <a:moveTo>
                  <a:pt x="4189" y="1787"/>
                </a:moveTo>
                <a:cubicBezTo>
                  <a:pt x="4188" y="1792"/>
                  <a:pt x="4190" y="1797"/>
                  <a:pt x="4192" y="1802"/>
                </a:cubicBezTo>
                <a:cubicBezTo>
                  <a:pt x="4192" y="1802"/>
                  <a:pt x="4193" y="1802"/>
                  <a:pt x="4194" y="1802"/>
                </a:cubicBezTo>
                <a:cubicBezTo>
                  <a:pt x="4195" y="1802"/>
                  <a:pt x="4196" y="1800"/>
                  <a:pt x="4196" y="1799"/>
                </a:cubicBezTo>
                <a:cubicBezTo>
                  <a:pt x="4195" y="1794"/>
                  <a:pt x="4193" y="1790"/>
                  <a:pt x="4189" y="1787"/>
                </a:cubicBezTo>
                <a:close/>
                <a:moveTo>
                  <a:pt x="2560" y="106"/>
                </a:moveTo>
                <a:cubicBezTo>
                  <a:pt x="2562" y="106"/>
                  <a:pt x="2562" y="106"/>
                  <a:pt x="2563" y="106"/>
                </a:cubicBezTo>
                <a:cubicBezTo>
                  <a:pt x="2565" y="107"/>
                  <a:pt x="2567" y="104"/>
                  <a:pt x="2566" y="102"/>
                </a:cubicBezTo>
                <a:cubicBezTo>
                  <a:pt x="2565" y="101"/>
                  <a:pt x="2563" y="100"/>
                  <a:pt x="2562" y="100"/>
                </a:cubicBezTo>
                <a:cubicBezTo>
                  <a:pt x="2560" y="99"/>
                  <a:pt x="2557" y="102"/>
                  <a:pt x="2558" y="103"/>
                </a:cubicBezTo>
                <a:cubicBezTo>
                  <a:pt x="2559" y="105"/>
                  <a:pt x="2560" y="106"/>
                  <a:pt x="2560" y="106"/>
                </a:cubicBezTo>
                <a:close/>
                <a:moveTo>
                  <a:pt x="2602" y="106"/>
                </a:moveTo>
                <a:cubicBezTo>
                  <a:pt x="2604" y="106"/>
                  <a:pt x="2606" y="104"/>
                  <a:pt x="2605" y="103"/>
                </a:cubicBezTo>
                <a:cubicBezTo>
                  <a:pt x="2604" y="101"/>
                  <a:pt x="2603" y="101"/>
                  <a:pt x="2602" y="101"/>
                </a:cubicBezTo>
                <a:cubicBezTo>
                  <a:pt x="2600" y="101"/>
                  <a:pt x="2598" y="103"/>
                  <a:pt x="2599" y="104"/>
                </a:cubicBezTo>
                <a:cubicBezTo>
                  <a:pt x="2600" y="105"/>
                  <a:pt x="2601" y="106"/>
                  <a:pt x="2602" y="106"/>
                </a:cubicBezTo>
                <a:close/>
                <a:moveTo>
                  <a:pt x="1020" y="168"/>
                </a:moveTo>
                <a:cubicBezTo>
                  <a:pt x="1020" y="169"/>
                  <a:pt x="1021" y="170"/>
                  <a:pt x="1021" y="171"/>
                </a:cubicBezTo>
                <a:cubicBezTo>
                  <a:pt x="1022" y="172"/>
                  <a:pt x="1024" y="173"/>
                  <a:pt x="1025" y="173"/>
                </a:cubicBezTo>
                <a:cubicBezTo>
                  <a:pt x="1027" y="173"/>
                  <a:pt x="1028" y="172"/>
                  <a:pt x="1028" y="170"/>
                </a:cubicBezTo>
                <a:cubicBezTo>
                  <a:pt x="1028" y="169"/>
                  <a:pt x="1028" y="168"/>
                  <a:pt x="1027" y="167"/>
                </a:cubicBezTo>
                <a:cubicBezTo>
                  <a:pt x="1026" y="167"/>
                  <a:pt x="1024" y="166"/>
                  <a:pt x="1023" y="166"/>
                </a:cubicBezTo>
                <a:cubicBezTo>
                  <a:pt x="1022" y="166"/>
                  <a:pt x="1020" y="167"/>
                  <a:pt x="1020" y="168"/>
                </a:cubicBezTo>
                <a:close/>
                <a:moveTo>
                  <a:pt x="3534" y="1725"/>
                </a:moveTo>
                <a:cubicBezTo>
                  <a:pt x="3534" y="1725"/>
                  <a:pt x="3534" y="1724"/>
                  <a:pt x="3534" y="1724"/>
                </a:cubicBezTo>
                <a:cubicBezTo>
                  <a:pt x="3534" y="1723"/>
                  <a:pt x="3533" y="1722"/>
                  <a:pt x="3532" y="1721"/>
                </a:cubicBezTo>
                <a:cubicBezTo>
                  <a:pt x="3531" y="1721"/>
                  <a:pt x="3530" y="1721"/>
                  <a:pt x="3529" y="1721"/>
                </a:cubicBezTo>
                <a:cubicBezTo>
                  <a:pt x="3527" y="1721"/>
                  <a:pt x="3525" y="1721"/>
                  <a:pt x="3524" y="1721"/>
                </a:cubicBezTo>
                <a:cubicBezTo>
                  <a:pt x="3526" y="1723"/>
                  <a:pt x="3529" y="1725"/>
                  <a:pt x="3531" y="1726"/>
                </a:cubicBezTo>
                <a:cubicBezTo>
                  <a:pt x="3532" y="1726"/>
                  <a:pt x="3533" y="1725"/>
                  <a:pt x="3534" y="1725"/>
                </a:cubicBezTo>
                <a:close/>
                <a:moveTo>
                  <a:pt x="3889" y="1740"/>
                </a:moveTo>
                <a:cubicBezTo>
                  <a:pt x="3889" y="1741"/>
                  <a:pt x="3889" y="1741"/>
                  <a:pt x="3889" y="1742"/>
                </a:cubicBezTo>
                <a:cubicBezTo>
                  <a:pt x="3889" y="1742"/>
                  <a:pt x="3890" y="1743"/>
                  <a:pt x="3891" y="1743"/>
                </a:cubicBezTo>
                <a:cubicBezTo>
                  <a:pt x="3892" y="1744"/>
                  <a:pt x="3895" y="1743"/>
                  <a:pt x="3897" y="1743"/>
                </a:cubicBezTo>
                <a:cubicBezTo>
                  <a:pt x="3897" y="1743"/>
                  <a:pt x="3897" y="1742"/>
                  <a:pt x="3898" y="1742"/>
                </a:cubicBezTo>
                <a:cubicBezTo>
                  <a:pt x="3897" y="1741"/>
                  <a:pt x="3898" y="1741"/>
                  <a:pt x="3897" y="1740"/>
                </a:cubicBezTo>
                <a:cubicBezTo>
                  <a:pt x="3895" y="1738"/>
                  <a:pt x="3892" y="1737"/>
                  <a:pt x="3889" y="1740"/>
                </a:cubicBezTo>
                <a:close/>
                <a:moveTo>
                  <a:pt x="2882" y="310"/>
                </a:moveTo>
                <a:cubicBezTo>
                  <a:pt x="2882" y="312"/>
                  <a:pt x="2883" y="313"/>
                  <a:pt x="2885" y="313"/>
                </a:cubicBezTo>
                <a:cubicBezTo>
                  <a:pt x="2886" y="314"/>
                  <a:pt x="2888" y="312"/>
                  <a:pt x="2888" y="310"/>
                </a:cubicBezTo>
                <a:cubicBezTo>
                  <a:pt x="2888" y="309"/>
                  <a:pt x="2887" y="307"/>
                  <a:pt x="2886" y="306"/>
                </a:cubicBezTo>
                <a:cubicBezTo>
                  <a:pt x="2885" y="305"/>
                  <a:pt x="2882" y="308"/>
                  <a:pt x="2882" y="310"/>
                </a:cubicBezTo>
                <a:close/>
                <a:moveTo>
                  <a:pt x="1161" y="269"/>
                </a:moveTo>
                <a:cubicBezTo>
                  <a:pt x="1162" y="269"/>
                  <a:pt x="1163" y="269"/>
                  <a:pt x="1165" y="268"/>
                </a:cubicBezTo>
                <a:cubicBezTo>
                  <a:pt x="1161" y="265"/>
                  <a:pt x="1156" y="265"/>
                  <a:pt x="1152" y="266"/>
                </a:cubicBezTo>
                <a:cubicBezTo>
                  <a:pt x="1154" y="272"/>
                  <a:pt x="1154" y="272"/>
                  <a:pt x="1161" y="269"/>
                </a:cubicBezTo>
                <a:close/>
                <a:moveTo>
                  <a:pt x="1152" y="266"/>
                </a:moveTo>
                <a:cubicBezTo>
                  <a:pt x="1152" y="266"/>
                  <a:pt x="1152" y="265"/>
                  <a:pt x="1152" y="265"/>
                </a:cubicBezTo>
                <a:cubicBezTo>
                  <a:pt x="1151" y="265"/>
                  <a:pt x="1151" y="265"/>
                  <a:pt x="1151" y="265"/>
                </a:cubicBezTo>
                <a:cubicBezTo>
                  <a:pt x="1151" y="265"/>
                  <a:pt x="1151" y="266"/>
                  <a:pt x="1151" y="266"/>
                </a:cubicBezTo>
                <a:cubicBezTo>
                  <a:pt x="1151" y="266"/>
                  <a:pt x="1152" y="266"/>
                  <a:pt x="1152" y="266"/>
                </a:cubicBezTo>
                <a:close/>
                <a:moveTo>
                  <a:pt x="3796" y="1592"/>
                </a:moveTo>
                <a:cubicBezTo>
                  <a:pt x="3795" y="1593"/>
                  <a:pt x="3793" y="1594"/>
                  <a:pt x="3791" y="1595"/>
                </a:cubicBezTo>
                <a:cubicBezTo>
                  <a:pt x="3794" y="1600"/>
                  <a:pt x="3795" y="1600"/>
                  <a:pt x="3798" y="1599"/>
                </a:cubicBezTo>
                <a:cubicBezTo>
                  <a:pt x="3800" y="1598"/>
                  <a:pt x="3802" y="1595"/>
                  <a:pt x="3801" y="1594"/>
                </a:cubicBezTo>
                <a:cubicBezTo>
                  <a:pt x="3800" y="1593"/>
                  <a:pt x="3798" y="1592"/>
                  <a:pt x="3796" y="1592"/>
                </a:cubicBezTo>
                <a:close/>
                <a:moveTo>
                  <a:pt x="3794" y="1583"/>
                </a:moveTo>
                <a:cubicBezTo>
                  <a:pt x="3794" y="1583"/>
                  <a:pt x="3794" y="1582"/>
                  <a:pt x="3794" y="1582"/>
                </a:cubicBezTo>
                <a:cubicBezTo>
                  <a:pt x="3793" y="1581"/>
                  <a:pt x="3792" y="1581"/>
                  <a:pt x="3791" y="1582"/>
                </a:cubicBezTo>
                <a:cubicBezTo>
                  <a:pt x="3790" y="1583"/>
                  <a:pt x="3789" y="1584"/>
                  <a:pt x="3788" y="1585"/>
                </a:cubicBezTo>
                <a:cubicBezTo>
                  <a:pt x="3788" y="1588"/>
                  <a:pt x="3788" y="1592"/>
                  <a:pt x="3788" y="1595"/>
                </a:cubicBezTo>
                <a:cubicBezTo>
                  <a:pt x="3789" y="1595"/>
                  <a:pt x="3790" y="1595"/>
                  <a:pt x="3791" y="1595"/>
                </a:cubicBezTo>
                <a:cubicBezTo>
                  <a:pt x="3792" y="1593"/>
                  <a:pt x="3793" y="1590"/>
                  <a:pt x="3793" y="1588"/>
                </a:cubicBezTo>
                <a:cubicBezTo>
                  <a:pt x="3794" y="1587"/>
                  <a:pt x="3794" y="1585"/>
                  <a:pt x="3794" y="1583"/>
                </a:cubicBezTo>
                <a:close/>
                <a:moveTo>
                  <a:pt x="3788" y="1585"/>
                </a:moveTo>
                <a:cubicBezTo>
                  <a:pt x="3788" y="1585"/>
                  <a:pt x="3788" y="1585"/>
                  <a:pt x="3788" y="1585"/>
                </a:cubicBezTo>
                <a:cubicBezTo>
                  <a:pt x="3788" y="1585"/>
                  <a:pt x="3788" y="1585"/>
                  <a:pt x="3788" y="1585"/>
                </a:cubicBezTo>
                <a:cubicBezTo>
                  <a:pt x="3788" y="1585"/>
                  <a:pt x="3788" y="1585"/>
                  <a:pt x="3788" y="1585"/>
                </a:cubicBezTo>
                <a:cubicBezTo>
                  <a:pt x="3788" y="1585"/>
                  <a:pt x="3788" y="1585"/>
                  <a:pt x="3788" y="1585"/>
                </a:cubicBezTo>
                <a:close/>
                <a:moveTo>
                  <a:pt x="3791" y="1595"/>
                </a:moveTo>
                <a:cubicBezTo>
                  <a:pt x="3791" y="1595"/>
                  <a:pt x="3791" y="1595"/>
                  <a:pt x="3791" y="1595"/>
                </a:cubicBezTo>
                <a:cubicBezTo>
                  <a:pt x="3791" y="1595"/>
                  <a:pt x="3791" y="1595"/>
                  <a:pt x="3791" y="1595"/>
                </a:cubicBezTo>
                <a:cubicBezTo>
                  <a:pt x="3791" y="1595"/>
                  <a:pt x="3791" y="1595"/>
                  <a:pt x="3791" y="1595"/>
                </a:cubicBezTo>
                <a:close/>
                <a:moveTo>
                  <a:pt x="1280" y="1528"/>
                </a:moveTo>
                <a:cubicBezTo>
                  <a:pt x="1280" y="1528"/>
                  <a:pt x="1278" y="1527"/>
                  <a:pt x="1278" y="1528"/>
                </a:cubicBezTo>
                <a:cubicBezTo>
                  <a:pt x="1277" y="1528"/>
                  <a:pt x="1276" y="1530"/>
                  <a:pt x="1277" y="1530"/>
                </a:cubicBezTo>
                <a:cubicBezTo>
                  <a:pt x="1277" y="1532"/>
                  <a:pt x="1278" y="1533"/>
                  <a:pt x="1280" y="1534"/>
                </a:cubicBezTo>
                <a:cubicBezTo>
                  <a:pt x="1280" y="1534"/>
                  <a:pt x="1281" y="1533"/>
                  <a:pt x="1283" y="1532"/>
                </a:cubicBezTo>
                <a:cubicBezTo>
                  <a:pt x="1282" y="1531"/>
                  <a:pt x="1281" y="1529"/>
                  <a:pt x="1280" y="1528"/>
                </a:cubicBezTo>
                <a:close/>
                <a:moveTo>
                  <a:pt x="1278" y="1506"/>
                </a:moveTo>
                <a:cubicBezTo>
                  <a:pt x="1278" y="1505"/>
                  <a:pt x="1277" y="1504"/>
                  <a:pt x="1276" y="1504"/>
                </a:cubicBezTo>
                <a:cubicBezTo>
                  <a:pt x="1274" y="1504"/>
                  <a:pt x="1272" y="1505"/>
                  <a:pt x="1271" y="1507"/>
                </a:cubicBezTo>
                <a:cubicBezTo>
                  <a:pt x="1271" y="1508"/>
                  <a:pt x="1272" y="1510"/>
                  <a:pt x="1272" y="1510"/>
                </a:cubicBezTo>
                <a:cubicBezTo>
                  <a:pt x="1275" y="1511"/>
                  <a:pt x="1278" y="1509"/>
                  <a:pt x="1278" y="1506"/>
                </a:cubicBezTo>
                <a:close/>
                <a:moveTo>
                  <a:pt x="1217" y="655"/>
                </a:moveTo>
                <a:cubicBezTo>
                  <a:pt x="1216" y="656"/>
                  <a:pt x="1215" y="657"/>
                  <a:pt x="1215" y="658"/>
                </a:cubicBezTo>
                <a:cubicBezTo>
                  <a:pt x="1216" y="660"/>
                  <a:pt x="1217" y="662"/>
                  <a:pt x="1220" y="662"/>
                </a:cubicBezTo>
                <a:cubicBezTo>
                  <a:pt x="1221" y="663"/>
                  <a:pt x="1222" y="661"/>
                  <a:pt x="1223" y="661"/>
                </a:cubicBezTo>
                <a:cubicBezTo>
                  <a:pt x="1223" y="660"/>
                  <a:pt x="1223" y="659"/>
                  <a:pt x="1223" y="659"/>
                </a:cubicBezTo>
                <a:cubicBezTo>
                  <a:pt x="1222" y="656"/>
                  <a:pt x="1220" y="655"/>
                  <a:pt x="1217" y="655"/>
                </a:cubicBezTo>
                <a:close/>
                <a:moveTo>
                  <a:pt x="1060" y="1379"/>
                </a:moveTo>
                <a:cubicBezTo>
                  <a:pt x="1059" y="1379"/>
                  <a:pt x="1057" y="1382"/>
                  <a:pt x="1057" y="1384"/>
                </a:cubicBezTo>
                <a:cubicBezTo>
                  <a:pt x="1057" y="1385"/>
                  <a:pt x="1059" y="1386"/>
                  <a:pt x="1060" y="1387"/>
                </a:cubicBezTo>
                <a:cubicBezTo>
                  <a:pt x="1062" y="1387"/>
                  <a:pt x="1063" y="1385"/>
                  <a:pt x="1063" y="1384"/>
                </a:cubicBezTo>
                <a:cubicBezTo>
                  <a:pt x="1063" y="1381"/>
                  <a:pt x="1062" y="1379"/>
                  <a:pt x="1060" y="1379"/>
                </a:cubicBezTo>
                <a:close/>
                <a:moveTo>
                  <a:pt x="1075" y="1361"/>
                </a:moveTo>
                <a:cubicBezTo>
                  <a:pt x="1078" y="1358"/>
                  <a:pt x="1077" y="1354"/>
                  <a:pt x="1073" y="1352"/>
                </a:cubicBezTo>
                <a:cubicBezTo>
                  <a:pt x="1073" y="1352"/>
                  <a:pt x="1072" y="1352"/>
                  <a:pt x="1072" y="1352"/>
                </a:cubicBezTo>
                <a:cubicBezTo>
                  <a:pt x="1071" y="1355"/>
                  <a:pt x="1072" y="1358"/>
                  <a:pt x="1073" y="1361"/>
                </a:cubicBezTo>
                <a:cubicBezTo>
                  <a:pt x="1074" y="1361"/>
                  <a:pt x="1075" y="1361"/>
                  <a:pt x="1075" y="1361"/>
                </a:cubicBezTo>
                <a:close/>
                <a:moveTo>
                  <a:pt x="1055" y="1352"/>
                </a:moveTo>
                <a:cubicBezTo>
                  <a:pt x="1054" y="1352"/>
                  <a:pt x="1054" y="1354"/>
                  <a:pt x="1054" y="1355"/>
                </a:cubicBezTo>
                <a:cubicBezTo>
                  <a:pt x="1055" y="1355"/>
                  <a:pt x="1055" y="1355"/>
                  <a:pt x="1056" y="1355"/>
                </a:cubicBezTo>
                <a:cubicBezTo>
                  <a:pt x="1058" y="1356"/>
                  <a:pt x="1060" y="1355"/>
                  <a:pt x="1062" y="1353"/>
                </a:cubicBezTo>
                <a:cubicBezTo>
                  <a:pt x="1062" y="1353"/>
                  <a:pt x="1062" y="1352"/>
                  <a:pt x="1062" y="1352"/>
                </a:cubicBezTo>
                <a:cubicBezTo>
                  <a:pt x="1062" y="1351"/>
                  <a:pt x="1061" y="1351"/>
                  <a:pt x="1061" y="1351"/>
                </a:cubicBezTo>
                <a:cubicBezTo>
                  <a:pt x="1059" y="1350"/>
                  <a:pt x="1056" y="1350"/>
                  <a:pt x="1055" y="1352"/>
                </a:cubicBezTo>
                <a:close/>
                <a:moveTo>
                  <a:pt x="1120" y="1439"/>
                </a:moveTo>
                <a:cubicBezTo>
                  <a:pt x="1120" y="1439"/>
                  <a:pt x="1121" y="1439"/>
                  <a:pt x="1121" y="1438"/>
                </a:cubicBezTo>
                <a:cubicBezTo>
                  <a:pt x="1121" y="1438"/>
                  <a:pt x="1120" y="1436"/>
                  <a:pt x="1120" y="1436"/>
                </a:cubicBezTo>
                <a:cubicBezTo>
                  <a:pt x="1119" y="1435"/>
                  <a:pt x="1117" y="1435"/>
                  <a:pt x="1116" y="1436"/>
                </a:cubicBezTo>
                <a:cubicBezTo>
                  <a:pt x="1115" y="1436"/>
                  <a:pt x="1114" y="1438"/>
                  <a:pt x="1114" y="1438"/>
                </a:cubicBezTo>
                <a:cubicBezTo>
                  <a:pt x="1114" y="1439"/>
                  <a:pt x="1116" y="1440"/>
                  <a:pt x="1117" y="1440"/>
                </a:cubicBezTo>
                <a:cubicBezTo>
                  <a:pt x="1118" y="1440"/>
                  <a:pt x="1119" y="1440"/>
                  <a:pt x="1120" y="1439"/>
                </a:cubicBezTo>
                <a:close/>
                <a:moveTo>
                  <a:pt x="4181" y="1783"/>
                </a:moveTo>
                <a:cubicBezTo>
                  <a:pt x="4181" y="1784"/>
                  <a:pt x="4181" y="1784"/>
                  <a:pt x="4181" y="1784"/>
                </a:cubicBezTo>
                <a:cubicBezTo>
                  <a:pt x="4181" y="1784"/>
                  <a:pt x="4181" y="1784"/>
                  <a:pt x="4182" y="1784"/>
                </a:cubicBezTo>
                <a:cubicBezTo>
                  <a:pt x="4182" y="1784"/>
                  <a:pt x="4181" y="1784"/>
                  <a:pt x="4181" y="1783"/>
                </a:cubicBezTo>
                <a:cubicBezTo>
                  <a:pt x="4181" y="1783"/>
                  <a:pt x="4181" y="1783"/>
                  <a:pt x="4181" y="1783"/>
                </a:cubicBezTo>
                <a:close/>
                <a:moveTo>
                  <a:pt x="4169" y="1777"/>
                </a:moveTo>
                <a:cubicBezTo>
                  <a:pt x="4172" y="1781"/>
                  <a:pt x="4176" y="1784"/>
                  <a:pt x="4181" y="1783"/>
                </a:cubicBezTo>
                <a:cubicBezTo>
                  <a:pt x="4178" y="1778"/>
                  <a:pt x="4174" y="1777"/>
                  <a:pt x="4169" y="1777"/>
                </a:cubicBezTo>
                <a:close/>
                <a:moveTo>
                  <a:pt x="3847" y="1750"/>
                </a:moveTo>
                <a:cubicBezTo>
                  <a:pt x="3848" y="1749"/>
                  <a:pt x="3849" y="1748"/>
                  <a:pt x="3851" y="1747"/>
                </a:cubicBezTo>
                <a:cubicBezTo>
                  <a:pt x="3851" y="1747"/>
                  <a:pt x="3851" y="1747"/>
                  <a:pt x="3851" y="1748"/>
                </a:cubicBezTo>
                <a:cubicBezTo>
                  <a:pt x="3851" y="1747"/>
                  <a:pt x="3851" y="1747"/>
                  <a:pt x="3851" y="1747"/>
                </a:cubicBezTo>
                <a:cubicBezTo>
                  <a:pt x="3852" y="1747"/>
                  <a:pt x="3853" y="1747"/>
                  <a:pt x="3854" y="1747"/>
                </a:cubicBezTo>
                <a:cubicBezTo>
                  <a:pt x="3853" y="1744"/>
                  <a:pt x="3852" y="1742"/>
                  <a:pt x="3852" y="1739"/>
                </a:cubicBezTo>
                <a:cubicBezTo>
                  <a:pt x="3852" y="1738"/>
                  <a:pt x="3852" y="1736"/>
                  <a:pt x="3854" y="1735"/>
                </a:cubicBezTo>
                <a:cubicBezTo>
                  <a:pt x="3854" y="1735"/>
                  <a:pt x="3855" y="1735"/>
                  <a:pt x="3855" y="1735"/>
                </a:cubicBezTo>
                <a:cubicBezTo>
                  <a:pt x="3858" y="1734"/>
                  <a:pt x="3861" y="1733"/>
                  <a:pt x="3859" y="1729"/>
                </a:cubicBezTo>
                <a:cubicBezTo>
                  <a:pt x="3859" y="1728"/>
                  <a:pt x="3860" y="1726"/>
                  <a:pt x="3861" y="1725"/>
                </a:cubicBezTo>
                <a:cubicBezTo>
                  <a:pt x="3862" y="1723"/>
                  <a:pt x="3864" y="1722"/>
                  <a:pt x="3864" y="1720"/>
                </a:cubicBezTo>
                <a:cubicBezTo>
                  <a:pt x="3864" y="1719"/>
                  <a:pt x="3863" y="1717"/>
                  <a:pt x="3862" y="1717"/>
                </a:cubicBezTo>
                <a:cubicBezTo>
                  <a:pt x="3861" y="1716"/>
                  <a:pt x="3859" y="1716"/>
                  <a:pt x="3858" y="1716"/>
                </a:cubicBezTo>
                <a:cubicBezTo>
                  <a:pt x="3856" y="1716"/>
                  <a:pt x="3855" y="1716"/>
                  <a:pt x="3854" y="1714"/>
                </a:cubicBezTo>
                <a:cubicBezTo>
                  <a:pt x="3853" y="1713"/>
                  <a:pt x="3853" y="1712"/>
                  <a:pt x="3856" y="1711"/>
                </a:cubicBezTo>
                <a:cubicBezTo>
                  <a:pt x="3857" y="1710"/>
                  <a:pt x="3858" y="1710"/>
                  <a:pt x="3859" y="1709"/>
                </a:cubicBezTo>
                <a:cubicBezTo>
                  <a:pt x="3859" y="1708"/>
                  <a:pt x="3859" y="1707"/>
                  <a:pt x="3859" y="1706"/>
                </a:cubicBezTo>
                <a:cubicBezTo>
                  <a:pt x="3859" y="1706"/>
                  <a:pt x="3858" y="1705"/>
                  <a:pt x="3858" y="1706"/>
                </a:cubicBezTo>
                <a:cubicBezTo>
                  <a:pt x="3846" y="1709"/>
                  <a:pt x="3843" y="1715"/>
                  <a:pt x="3844" y="1726"/>
                </a:cubicBezTo>
                <a:cubicBezTo>
                  <a:pt x="3844" y="1729"/>
                  <a:pt x="3845" y="1731"/>
                  <a:pt x="3845" y="1733"/>
                </a:cubicBezTo>
                <a:cubicBezTo>
                  <a:pt x="3846" y="1737"/>
                  <a:pt x="3847" y="1740"/>
                  <a:pt x="3847" y="1744"/>
                </a:cubicBezTo>
                <a:cubicBezTo>
                  <a:pt x="3847" y="1744"/>
                  <a:pt x="3847" y="1744"/>
                  <a:pt x="3847" y="1744"/>
                </a:cubicBezTo>
                <a:cubicBezTo>
                  <a:pt x="3847" y="1744"/>
                  <a:pt x="3847" y="1744"/>
                  <a:pt x="3847" y="1744"/>
                </a:cubicBezTo>
                <a:cubicBezTo>
                  <a:pt x="3846" y="1744"/>
                  <a:pt x="3845" y="1744"/>
                  <a:pt x="3845" y="1745"/>
                </a:cubicBezTo>
                <a:cubicBezTo>
                  <a:pt x="3843" y="1746"/>
                  <a:pt x="3842" y="1747"/>
                  <a:pt x="3843" y="1748"/>
                </a:cubicBezTo>
                <a:cubicBezTo>
                  <a:pt x="3844" y="1750"/>
                  <a:pt x="3845" y="1751"/>
                  <a:pt x="3847" y="1750"/>
                </a:cubicBezTo>
                <a:close/>
                <a:moveTo>
                  <a:pt x="3367" y="1549"/>
                </a:moveTo>
                <a:cubicBezTo>
                  <a:pt x="3366" y="1548"/>
                  <a:pt x="3365" y="1549"/>
                  <a:pt x="3365" y="1550"/>
                </a:cubicBezTo>
                <a:cubicBezTo>
                  <a:pt x="3364" y="1551"/>
                  <a:pt x="3364" y="1552"/>
                  <a:pt x="3364" y="1554"/>
                </a:cubicBezTo>
                <a:cubicBezTo>
                  <a:pt x="3364" y="1554"/>
                  <a:pt x="3364" y="1555"/>
                  <a:pt x="3364" y="1556"/>
                </a:cubicBezTo>
                <a:cubicBezTo>
                  <a:pt x="3365" y="1557"/>
                  <a:pt x="3365" y="1558"/>
                  <a:pt x="3366" y="1559"/>
                </a:cubicBezTo>
                <a:cubicBezTo>
                  <a:pt x="3367" y="1558"/>
                  <a:pt x="3367" y="1557"/>
                  <a:pt x="3368" y="1556"/>
                </a:cubicBezTo>
                <a:cubicBezTo>
                  <a:pt x="3368" y="1554"/>
                  <a:pt x="3368" y="1552"/>
                  <a:pt x="3367" y="1550"/>
                </a:cubicBezTo>
                <a:cubicBezTo>
                  <a:pt x="3367" y="1549"/>
                  <a:pt x="3367" y="1549"/>
                  <a:pt x="3367" y="1549"/>
                </a:cubicBezTo>
                <a:close/>
                <a:moveTo>
                  <a:pt x="3896" y="1843"/>
                </a:moveTo>
                <a:cubicBezTo>
                  <a:pt x="3895" y="1844"/>
                  <a:pt x="3894" y="1845"/>
                  <a:pt x="3894" y="1847"/>
                </a:cubicBezTo>
                <a:cubicBezTo>
                  <a:pt x="3894" y="1848"/>
                  <a:pt x="3895" y="1849"/>
                  <a:pt x="3896" y="1849"/>
                </a:cubicBezTo>
                <a:cubicBezTo>
                  <a:pt x="3896" y="1850"/>
                  <a:pt x="3897" y="1849"/>
                  <a:pt x="3897" y="1849"/>
                </a:cubicBezTo>
                <a:cubicBezTo>
                  <a:pt x="3899" y="1848"/>
                  <a:pt x="3901" y="1847"/>
                  <a:pt x="3900" y="1844"/>
                </a:cubicBezTo>
                <a:cubicBezTo>
                  <a:pt x="3900" y="1843"/>
                  <a:pt x="3899" y="1842"/>
                  <a:pt x="3899" y="1841"/>
                </a:cubicBezTo>
                <a:cubicBezTo>
                  <a:pt x="3898" y="1841"/>
                  <a:pt x="3896" y="1842"/>
                  <a:pt x="3896" y="1843"/>
                </a:cubicBezTo>
                <a:close/>
                <a:moveTo>
                  <a:pt x="2849" y="409"/>
                </a:moveTo>
                <a:cubicBezTo>
                  <a:pt x="2850" y="409"/>
                  <a:pt x="2850" y="409"/>
                  <a:pt x="2850" y="408"/>
                </a:cubicBezTo>
                <a:cubicBezTo>
                  <a:pt x="2850" y="407"/>
                  <a:pt x="2850" y="405"/>
                  <a:pt x="2849" y="404"/>
                </a:cubicBezTo>
                <a:cubicBezTo>
                  <a:pt x="2849" y="403"/>
                  <a:pt x="2848" y="402"/>
                  <a:pt x="2847" y="402"/>
                </a:cubicBezTo>
                <a:cubicBezTo>
                  <a:pt x="2846" y="402"/>
                  <a:pt x="2845" y="403"/>
                  <a:pt x="2845" y="404"/>
                </a:cubicBezTo>
                <a:cubicBezTo>
                  <a:pt x="2844" y="406"/>
                  <a:pt x="2845" y="408"/>
                  <a:pt x="2846" y="409"/>
                </a:cubicBezTo>
                <a:cubicBezTo>
                  <a:pt x="2847" y="410"/>
                  <a:pt x="2848" y="410"/>
                  <a:pt x="2849" y="409"/>
                </a:cubicBezTo>
                <a:close/>
                <a:moveTo>
                  <a:pt x="1274" y="509"/>
                </a:moveTo>
                <a:cubicBezTo>
                  <a:pt x="1274" y="509"/>
                  <a:pt x="1272" y="508"/>
                  <a:pt x="1271" y="508"/>
                </a:cubicBezTo>
                <a:cubicBezTo>
                  <a:pt x="1270" y="508"/>
                  <a:pt x="1268" y="509"/>
                  <a:pt x="1268" y="511"/>
                </a:cubicBezTo>
                <a:cubicBezTo>
                  <a:pt x="1268" y="512"/>
                  <a:pt x="1269" y="513"/>
                  <a:pt x="1270" y="514"/>
                </a:cubicBezTo>
                <a:cubicBezTo>
                  <a:pt x="1271" y="514"/>
                  <a:pt x="1273" y="514"/>
                  <a:pt x="1273" y="513"/>
                </a:cubicBezTo>
                <a:cubicBezTo>
                  <a:pt x="1274" y="512"/>
                  <a:pt x="1274" y="510"/>
                  <a:pt x="1274" y="509"/>
                </a:cubicBezTo>
                <a:close/>
                <a:moveTo>
                  <a:pt x="3783" y="1218"/>
                </a:moveTo>
                <a:cubicBezTo>
                  <a:pt x="3784" y="1217"/>
                  <a:pt x="3782" y="1215"/>
                  <a:pt x="3781" y="1215"/>
                </a:cubicBezTo>
                <a:cubicBezTo>
                  <a:pt x="3780" y="1216"/>
                  <a:pt x="3779" y="1216"/>
                  <a:pt x="3778" y="1216"/>
                </a:cubicBezTo>
                <a:cubicBezTo>
                  <a:pt x="3776" y="1217"/>
                  <a:pt x="3776" y="1219"/>
                  <a:pt x="3776" y="1220"/>
                </a:cubicBezTo>
                <a:cubicBezTo>
                  <a:pt x="3777" y="1221"/>
                  <a:pt x="3778" y="1221"/>
                  <a:pt x="3779" y="1221"/>
                </a:cubicBezTo>
                <a:cubicBezTo>
                  <a:pt x="3782" y="1221"/>
                  <a:pt x="3783" y="1220"/>
                  <a:pt x="3783" y="1218"/>
                </a:cubicBezTo>
                <a:close/>
                <a:moveTo>
                  <a:pt x="3628" y="2117"/>
                </a:moveTo>
                <a:cubicBezTo>
                  <a:pt x="3627" y="2116"/>
                  <a:pt x="3626" y="2116"/>
                  <a:pt x="3625" y="2116"/>
                </a:cubicBezTo>
                <a:cubicBezTo>
                  <a:pt x="3624" y="2117"/>
                  <a:pt x="3623" y="2118"/>
                  <a:pt x="3623" y="2119"/>
                </a:cubicBezTo>
                <a:cubicBezTo>
                  <a:pt x="3624" y="2121"/>
                  <a:pt x="3625" y="2122"/>
                  <a:pt x="3626" y="2124"/>
                </a:cubicBezTo>
                <a:cubicBezTo>
                  <a:pt x="3627" y="2124"/>
                  <a:pt x="3628" y="2124"/>
                  <a:pt x="3629" y="2124"/>
                </a:cubicBezTo>
                <a:cubicBezTo>
                  <a:pt x="3629" y="2122"/>
                  <a:pt x="3629" y="2119"/>
                  <a:pt x="3628" y="2117"/>
                </a:cubicBezTo>
                <a:close/>
                <a:moveTo>
                  <a:pt x="3626" y="2124"/>
                </a:moveTo>
                <a:cubicBezTo>
                  <a:pt x="3626" y="2124"/>
                  <a:pt x="3626" y="2124"/>
                  <a:pt x="3626" y="2124"/>
                </a:cubicBezTo>
                <a:cubicBezTo>
                  <a:pt x="3626" y="2124"/>
                  <a:pt x="3626" y="2124"/>
                  <a:pt x="3626" y="2124"/>
                </a:cubicBezTo>
                <a:cubicBezTo>
                  <a:pt x="3626" y="2124"/>
                  <a:pt x="3626" y="2124"/>
                  <a:pt x="3626" y="2124"/>
                </a:cubicBezTo>
                <a:cubicBezTo>
                  <a:pt x="3626" y="2124"/>
                  <a:pt x="3626" y="2124"/>
                  <a:pt x="3626" y="2124"/>
                </a:cubicBezTo>
                <a:close/>
                <a:moveTo>
                  <a:pt x="2524" y="196"/>
                </a:moveTo>
                <a:cubicBezTo>
                  <a:pt x="2524" y="196"/>
                  <a:pt x="2524" y="196"/>
                  <a:pt x="2524" y="196"/>
                </a:cubicBezTo>
                <a:cubicBezTo>
                  <a:pt x="2524" y="196"/>
                  <a:pt x="2524" y="196"/>
                  <a:pt x="2524" y="196"/>
                </a:cubicBezTo>
                <a:cubicBezTo>
                  <a:pt x="2524" y="196"/>
                  <a:pt x="2525" y="196"/>
                  <a:pt x="2525" y="196"/>
                </a:cubicBezTo>
                <a:cubicBezTo>
                  <a:pt x="2524" y="196"/>
                  <a:pt x="2524" y="196"/>
                  <a:pt x="2524" y="196"/>
                </a:cubicBezTo>
                <a:close/>
                <a:moveTo>
                  <a:pt x="2519" y="190"/>
                </a:moveTo>
                <a:cubicBezTo>
                  <a:pt x="2518" y="190"/>
                  <a:pt x="2517" y="191"/>
                  <a:pt x="2517" y="191"/>
                </a:cubicBezTo>
                <a:cubicBezTo>
                  <a:pt x="2517" y="193"/>
                  <a:pt x="2518" y="195"/>
                  <a:pt x="2518" y="195"/>
                </a:cubicBezTo>
                <a:cubicBezTo>
                  <a:pt x="2520" y="196"/>
                  <a:pt x="2522" y="196"/>
                  <a:pt x="2524" y="196"/>
                </a:cubicBezTo>
                <a:cubicBezTo>
                  <a:pt x="2523" y="194"/>
                  <a:pt x="2523" y="192"/>
                  <a:pt x="2522" y="191"/>
                </a:cubicBezTo>
                <a:cubicBezTo>
                  <a:pt x="2522" y="190"/>
                  <a:pt x="2520" y="190"/>
                  <a:pt x="2519" y="190"/>
                </a:cubicBezTo>
                <a:close/>
                <a:moveTo>
                  <a:pt x="3739" y="1563"/>
                </a:moveTo>
                <a:cubicBezTo>
                  <a:pt x="3738" y="1563"/>
                  <a:pt x="3737" y="1562"/>
                  <a:pt x="3735" y="1561"/>
                </a:cubicBezTo>
                <a:cubicBezTo>
                  <a:pt x="3734" y="1561"/>
                  <a:pt x="3733" y="1562"/>
                  <a:pt x="3733" y="1564"/>
                </a:cubicBezTo>
                <a:cubicBezTo>
                  <a:pt x="3733" y="1565"/>
                  <a:pt x="3733" y="1566"/>
                  <a:pt x="3734" y="1567"/>
                </a:cubicBezTo>
                <a:cubicBezTo>
                  <a:pt x="3735" y="1568"/>
                  <a:pt x="3739" y="1566"/>
                  <a:pt x="3739" y="1563"/>
                </a:cubicBezTo>
                <a:close/>
                <a:moveTo>
                  <a:pt x="3825" y="1850"/>
                </a:moveTo>
                <a:cubicBezTo>
                  <a:pt x="3826" y="1850"/>
                  <a:pt x="3827" y="1850"/>
                  <a:pt x="3828" y="1850"/>
                </a:cubicBezTo>
                <a:cubicBezTo>
                  <a:pt x="3829" y="1849"/>
                  <a:pt x="3829" y="1848"/>
                  <a:pt x="3830" y="1848"/>
                </a:cubicBezTo>
                <a:cubicBezTo>
                  <a:pt x="3830" y="1847"/>
                  <a:pt x="3829" y="1846"/>
                  <a:pt x="3828" y="1846"/>
                </a:cubicBezTo>
                <a:cubicBezTo>
                  <a:pt x="3828" y="1845"/>
                  <a:pt x="3827" y="1845"/>
                  <a:pt x="3826" y="1846"/>
                </a:cubicBezTo>
                <a:cubicBezTo>
                  <a:pt x="3826" y="1846"/>
                  <a:pt x="3825" y="1846"/>
                  <a:pt x="3825" y="1846"/>
                </a:cubicBezTo>
                <a:cubicBezTo>
                  <a:pt x="3823" y="1846"/>
                  <a:pt x="3822" y="1846"/>
                  <a:pt x="3821" y="1848"/>
                </a:cubicBezTo>
                <a:cubicBezTo>
                  <a:pt x="3821" y="1849"/>
                  <a:pt x="3822" y="1850"/>
                  <a:pt x="3825" y="1850"/>
                </a:cubicBezTo>
                <a:close/>
                <a:moveTo>
                  <a:pt x="1942" y="149"/>
                </a:moveTo>
                <a:cubicBezTo>
                  <a:pt x="1943" y="148"/>
                  <a:pt x="1943" y="147"/>
                  <a:pt x="1944" y="145"/>
                </a:cubicBezTo>
                <a:cubicBezTo>
                  <a:pt x="1944" y="144"/>
                  <a:pt x="1943" y="143"/>
                  <a:pt x="1943" y="142"/>
                </a:cubicBezTo>
                <a:cubicBezTo>
                  <a:pt x="1942" y="141"/>
                  <a:pt x="1939" y="143"/>
                  <a:pt x="1939" y="144"/>
                </a:cubicBezTo>
                <a:cubicBezTo>
                  <a:pt x="1939" y="147"/>
                  <a:pt x="1940" y="148"/>
                  <a:pt x="1942" y="149"/>
                </a:cubicBezTo>
                <a:close/>
                <a:moveTo>
                  <a:pt x="2689" y="1896"/>
                </a:moveTo>
                <a:cubicBezTo>
                  <a:pt x="2689" y="1895"/>
                  <a:pt x="2689" y="1893"/>
                  <a:pt x="2687" y="1892"/>
                </a:cubicBezTo>
                <a:cubicBezTo>
                  <a:pt x="2686" y="1891"/>
                  <a:pt x="2684" y="1893"/>
                  <a:pt x="2684" y="1895"/>
                </a:cubicBezTo>
                <a:cubicBezTo>
                  <a:pt x="2685" y="1896"/>
                  <a:pt x="2685" y="1897"/>
                  <a:pt x="2686" y="1897"/>
                </a:cubicBezTo>
                <a:cubicBezTo>
                  <a:pt x="2687" y="1898"/>
                  <a:pt x="2688" y="1898"/>
                  <a:pt x="2689" y="1896"/>
                </a:cubicBezTo>
                <a:close/>
                <a:moveTo>
                  <a:pt x="1935" y="259"/>
                </a:moveTo>
                <a:cubicBezTo>
                  <a:pt x="1934" y="259"/>
                  <a:pt x="1933" y="261"/>
                  <a:pt x="1933" y="262"/>
                </a:cubicBezTo>
                <a:cubicBezTo>
                  <a:pt x="1933" y="263"/>
                  <a:pt x="1934" y="264"/>
                  <a:pt x="1934" y="264"/>
                </a:cubicBezTo>
                <a:cubicBezTo>
                  <a:pt x="1935" y="264"/>
                  <a:pt x="1936" y="264"/>
                  <a:pt x="1937" y="264"/>
                </a:cubicBezTo>
                <a:cubicBezTo>
                  <a:pt x="1937" y="263"/>
                  <a:pt x="1938" y="261"/>
                  <a:pt x="1938" y="260"/>
                </a:cubicBezTo>
                <a:cubicBezTo>
                  <a:pt x="1937" y="258"/>
                  <a:pt x="1937" y="258"/>
                  <a:pt x="1935" y="259"/>
                </a:cubicBezTo>
                <a:close/>
                <a:moveTo>
                  <a:pt x="2366" y="1184"/>
                </a:moveTo>
                <a:cubicBezTo>
                  <a:pt x="2366" y="1184"/>
                  <a:pt x="2365" y="1183"/>
                  <a:pt x="2365" y="1183"/>
                </a:cubicBezTo>
                <a:cubicBezTo>
                  <a:pt x="2364" y="1182"/>
                  <a:pt x="2363" y="1182"/>
                  <a:pt x="2362" y="1183"/>
                </a:cubicBezTo>
                <a:cubicBezTo>
                  <a:pt x="2362" y="1184"/>
                  <a:pt x="2361" y="1185"/>
                  <a:pt x="2361" y="1186"/>
                </a:cubicBezTo>
                <a:cubicBezTo>
                  <a:pt x="2361" y="1186"/>
                  <a:pt x="2362" y="1188"/>
                  <a:pt x="2363" y="1188"/>
                </a:cubicBezTo>
                <a:cubicBezTo>
                  <a:pt x="2365" y="1188"/>
                  <a:pt x="2367" y="1188"/>
                  <a:pt x="2369" y="1188"/>
                </a:cubicBezTo>
                <a:cubicBezTo>
                  <a:pt x="2369" y="1187"/>
                  <a:pt x="2369" y="1186"/>
                  <a:pt x="2369" y="1185"/>
                </a:cubicBezTo>
                <a:cubicBezTo>
                  <a:pt x="2368" y="1185"/>
                  <a:pt x="2367" y="1184"/>
                  <a:pt x="2366" y="1184"/>
                </a:cubicBezTo>
                <a:close/>
                <a:moveTo>
                  <a:pt x="2369" y="1188"/>
                </a:moveTo>
                <a:cubicBezTo>
                  <a:pt x="2369" y="1189"/>
                  <a:pt x="2369" y="1189"/>
                  <a:pt x="2369" y="1189"/>
                </a:cubicBezTo>
                <a:cubicBezTo>
                  <a:pt x="2369" y="1188"/>
                  <a:pt x="2369" y="1188"/>
                  <a:pt x="2369" y="1188"/>
                </a:cubicBezTo>
                <a:cubicBezTo>
                  <a:pt x="2369" y="1188"/>
                  <a:pt x="2369" y="1188"/>
                  <a:pt x="2369" y="1188"/>
                </a:cubicBezTo>
                <a:cubicBezTo>
                  <a:pt x="2369" y="1188"/>
                  <a:pt x="2369" y="1188"/>
                  <a:pt x="2369" y="1188"/>
                </a:cubicBezTo>
                <a:close/>
                <a:moveTo>
                  <a:pt x="3986" y="2394"/>
                </a:moveTo>
                <a:cubicBezTo>
                  <a:pt x="3986" y="2393"/>
                  <a:pt x="3986" y="2392"/>
                  <a:pt x="3987" y="2391"/>
                </a:cubicBezTo>
                <a:cubicBezTo>
                  <a:pt x="3987" y="2391"/>
                  <a:pt x="3987" y="2390"/>
                  <a:pt x="3987" y="2390"/>
                </a:cubicBezTo>
                <a:cubicBezTo>
                  <a:pt x="3986" y="2389"/>
                  <a:pt x="3986" y="2387"/>
                  <a:pt x="3985" y="2387"/>
                </a:cubicBezTo>
                <a:cubicBezTo>
                  <a:pt x="3984" y="2387"/>
                  <a:pt x="3983" y="2388"/>
                  <a:pt x="3982" y="2389"/>
                </a:cubicBezTo>
                <a:cubicBezTo>
                  <a:pt x="3982" y="2390"/>
                  <a:pt x="3981" y="2391"/>
                  <a:pt x="3981" y="2393"/>
                </a:cubicBezTo>
                <a:cubicBezTo>
                  <a:pt x="3981" y="2394"/>
                  <a:pt x="3982" y="2395"/>
                  <a:pt x="3983" y="2395"/>
                </a:cubicBezTo>
                <a:cubicBezTo>
                  <a:pt x="3984" y="2396"/>
                  <a:pt x="3985" y="2395"/>
                  <a:pt x="3986" y="2394"/>
                </a:cubicBezTo>
                <a:close/>
                <a:moveTo>
                  <a:pt x="3850" y="1764"/>
                </a:moveTo>
                <a:cubicBezTo>
                  <a:pt x="3850" y="1763"/>
                  <a:pt x="3851" y="1762"/>
                  <a:pt x="3852" y="1762"/>
                </a:cubicBezTo>
                <a:cubicBezTo>
                  <a:pt x="3852" y="1761"/>
                  <a:pt x="3852" y="1761"/>
                  <a:pt x="3852" y="1760"/>
                </a:cubicBezTo>
                <a:cubicBezTo>
                  <a:pt x="3851" y="1759"/>
                  <a:pt x="3849" y="1758"/>
                  <a:pt x="3848" y="1758"/>
                </a:cubicBezTo>
                <a:cubicBezTo>
                  <a:pt x="3846" y="1759"/>
                  <a:pt x="3845" y="1761"/>
                  <a:pt x="3845" y="1762"/>
                </a:cubicBezTo>
                <a:cubicBezTo>
                  <a:pt x="3846" y="1763"/>
                  <a:pt x="3848" y="1764"/>
                  <a:pt x="3850" y="1764"/>
                </a:cubicBezTo>
                <a:close/>
                <a:moveTo>
                  <a:pt x="1157" y="2417"/>
                </a:moveTo>
                <a:cubicBezTo>
                  <a:pt x="1157" y="2417"/>
                  <a:pt x="1158" y="2417"/>
                  <a:pt x="1158" y="2417"/>
                </a:cubicBezTo>
                <a:cubicBezTo>
                  <a:pt x="1159" y="2417"/>
                  <a:pt x="1159" y="2416"/>
                  <a:pt x="1159" y="2416"/>
                </a:cubicBezTo>
                <a:cubicBezTo>
                  <a:pt x="1159" y="2414"/>
                  <a:pt x="1158" y="2412"/>
                  <a:pt x="1156" y="2411"/>
                </a:cubicBezTo>
                <a:cubicBezTo>
                  <a:pt x="1156" y="2411"/>
                  <a:pt x="1154" y="2412"/>
                  <a:pt x="1154" y="2412"/>
                </a:cubicBezTo>
                <a:cubicBezTo>
                  <a:pt x="1153" y="2414"/>
                  <a:pt x="1154" y="2416"/>
                  <a:pt x="1157" y="2417"/>
                </a:cubicBezTo>
                <a:close/>
                <a:moveTo>
                  <a:pt x="3959" y="1940"/>
                </a:moveTo>
                <a:cubicBezTo>
                  <a:pt x="3960" y="1941"/>
                  <a:pt x="3962" y="1941"/>
                  <a:pt x="3962" y="1942"/>
                </a:cubicBezTo>
                <a:cubicBezTo>
                  <a:pt x="3964" y="1941"/>
                  <a:pt x="3965" y="1941"/>
                  <a:pt x="3965" y="1940"/>
                </a:cubicBezTo>
                <a:cubicBezTo>
                  <a:pt x="3965" y="1940"/>
                  <a:pt x="3965" y="1938"/>
                  <a:pt x="3964" y="1938"/>
                </a:cubicBezTo>
                <a:cubicBezTo>
                  <a:pt x="3964" y="1937"/>
                  <a:pt x="3963" y="1937"/>
                  <a:pt x="3962" y="1937"/>
                </a:cubicBezTo>
                <a:cubicBezTo>
                  <a:pt x="3960" y="1936"/>
                  <a:pt x="3959" y="1938"/>
                  <a:pt x="3959" y="1940"/>
                </a:cubicBezTo>
                <a:close/>
                <a:moveTo>
                  <a:pt x="1716" y="94"/>
                </a:moveTo>
                <a:cubicBezTo>
                  <a:pt x="1716" y="94"/>
                  <a:pt x="1717" y="93"/>
                  <a:pt x="1717" y="93"/>
                </a:cubicBezTo>
                <a:cubicBezTo>
                  <a:pt x="1717" y="90"/>
                  <a:pt x="1716" y="88"/>
                  <a:pt x="1714" y="88"/>
                </a:cubicBezTo>
                <a:cubicBezTo>
                  <a:pt x="1713" y="88"/>
                  <a:pt x="1713" y="88"/>
                  <a:pt x="1713" y="89"/>
                </a:cubicBezTo>
                <a:cubicBezTo>
                  <a:pt x="1711" y="90"/>
                  <a:pt x="1712" y="91"/>
                  <a:pt x="1713" y="93"/>
                </a:cubicBezTo>
                <a:cubicBezTo>
                  <a:pt x="1714" y="93"/>
                  <a:pt x="1715" y="94"/>
                  <a:pt x="1716" y="94"/>
                </a:cubicBezTo>
                <a:close/>
                <a:moveTo>
                  <a:pt x="4380" y="1981"/>
                </a:moveTo>
                <a:cubicBezTo>
                  <a:pt x="4381" y="1981"/>
                  <a:pt x="4382" y="1981"/>
                  <a:pt x="4383" y="1980"/>
                </a:cubicBezTo>
                <a:cubicBezTo>
                  <a:pt x="4383" y="1980"/>
                  <a:pt x="4383" y="1979"/>
                  <a:pt x="4383" y="1978"/>
                </a:cubicBezTo>
                <a:cubicBezTo>
                  <a:pt x="4382" y="1977"/>
                  <a:pt x="4381" y="1976"/>
                  <a:pt x="4380" y="1974"/>
                </a:cubicBezTo>
                <a:cubicBezTo>
                  <a:pt x="4380" y="1974"/>
                  <a:pt x="4379" y="1974"/>
                  <a:pt x="4379" y="1974"/>
                </a:cubicBezTo>
                <a:cubicBezTo>
                  <a:pt x="4379" y="1974"/>
                  <a:pt x="4378" y="1974"/>
                  <a:pt x="4378" y="1975"/>
                </a:cubicBezTo>
                <a:cubicBezTo>
                  <a:pt x="4377" y="1978"/>
                  <a:pt x="4378" y="1981"/>
                  <a:pt x="4380" y="1981"/>
                </a:cubicBezTo>
                <a:close/>
                <a:moveTo>
                  <a:pt x="2644" y="490"/>
                </a:moveTo>
                <a:cubicBezTo>
                  <a:pt x="2643" y="491"/>
                  <a:pt x="2642" y="491"/>
                  <a:pt x="2641" y="492"/>
                </a:cubicBezTo>
                <a:cubicBezTo>
                  <a:pt x="2641" y="492"/>
                  <a:pt x="2641" y="493"/>
                  <a:pt x="2641" y="493"/>
                </a:cubicBezTo>
                <a:cubicBezTo>
                  <a:pt x="2643" y="495"/>
                  <a:pt x="2644" y="496"/>
                  <a:pt x="2646" y="497"/>
                </a:cubicBezTo>
                <a:cubicBezTo>
                  <a:pt x="2646" y="498"/>
                  <a:pt x="2648" y="498"/>
                  <a:pt x="2649" y="498"/>
                </a:cubicBezTo>
                <a:cubicBezTo>
                  <a:pt x="2650" y="497"/>
                  <a:pt x="2650" y="495"/>
                  <a:pt x="2649" y="494"/>
                </a:cubicBezTo>
                <a:cubicBezTo>
                  <a:pt x="2647" y="492"/>
                  <a:pt x="2646" y="490"/>
                  <a:pt x="2644" y="490"/>
                </a:cubicBezTo>
                <a:close/>
                <a:moveTo>
                  <a:pt x="3584" y="1679"/>
                </a:moveTo>
                <a:cubicBezTo>
                  <a:pt x="3583" y="1678"/>
                  <a:pt x="3582" y="1677"/>
                  <a:pt x="3581" y="1677"/>
                </a:cubicBezTo>
                <a:cubicBezTo>
                  <a:pt x="3579" y="1677"/>
                  <a:pt x="3578" y="1679"/>
                  <a:pt x="3579" y="1681"/>
                </a:cubicBezTo>
                <a:cubicBezTo>
                  <a:pt x="3579" y="1681"/>
                  <a:pt x="3580" y="1682"/>
                  <a:pt x="3581" y="1682"/>
                </a:cubicBezTo>
                <a:cubicBezTo>
                  <a:pt x="3582" y="1683"/>
                  <a:pt x="3584" y="1681"/>
                  <a:pt x="3584" y="1679"/>
                </a:cubicBezTo>
                <a:close/>
                <a:moveTo>
                  <a:pt x="3795" y="1537"/>
                </a:moveTo>
                <a:cubicBezTo>
                  <a:pt x="3794" y="1537"/>
                  <a:pt x="3793" y="1537"/>
                  <a:pt x="3793" y="1538"/>
                </a:cubicBezTo>
                <a:cubicBezTo>
                  <a:pt x="3791" y="1539"/>
                  <a:pt x="3792" y="1541"/>
                  <a:pt x="3794" y="1541"/>
                </a:cubicBezTo>
                <a:cubicBezTo>
                  <a:pt x="3795" y="1541"/>
                  <a:pt x="3795" y="1540"/>
                  <a:pt x="3796" y="1540"/>
                </a:cubicBezTo>
                <a:cubicBezTo>
                  <a:pt x="3797" y="1538"/>
                  <a:pt x="3796" y="1537"/>
                  <a:pt x="3795" y="1537"/>
                </a:cubicBezTo>
                <a:close/>
                <a:moveTo>
                  <a:pt x="1282" y="1542"/>
                </a:moveTo>
                <a:cubicBezTo>
                  <a:pt x="1282" y="1541"/>
                  <a:pt x="1281" y="1541"/>
                  <a:pt x="1280" y="1541"/>
                </a:cubicBezTo>
                <a:cubicBezTo>
                  <a:pt x="1279" y="1541"/>
                  <a:pt x="1279" y="1542"/>
                  <a:pt x="1279" y="1542"/>
                </a:cubicBezTo>
                <a:cubicBezTo>
                  <a:pt x="1278" y="1543"/>
                  <a:pt x="1279" y="1544"/>
                  <a:pt x="1280" y="1544"/>
                </a:cubicBezTo>
                <a:cubicBezTo>
                  <a:pt x="1280" y="1544"/>
                  <a:pt x="1281" y="1543"/>
                  <a:pt x="1282" y="1542"/>
                </a:cubicBezTo>
                <a:close/>
                <a:moveTo>
                  <a:pt x="4244" y="1833"/>
                </a:moveTo>
                <a:cubicBezTo>
                  <a:pt x="4244" y="1833"/>
                  <a:pt x="4244" y="1833"/>
                  <a:pt x="4244" y="1833"/>
                </a:cubicBezTo>
                <a:cubicBezTo>
                  <a:pt x="4244" y="1833"/>
                  <a:pt x="4244" y="1833"/>
                  <a:pt x="4244" y="1833"/>
                </a:cubicBezTo>
                <a:cubicBezTo>
                  <a:pt x="4244" y="1833"/>
                  <a:pt x="4244" y="1833"/>
                  <a:pt x="4244" y="1833"/>
                </a:cubicBezTo>
                <a:cubicBezTo>
                  <a:pt x="4244" y="1833"/>
                  <a:pt x="4244" y="1833"/>
                  <a:pt x="4244" y="1833"/>
                </a:cubicBezTo>
                <a:close/>
                <a:moveTo>
                  <a:pt x="4251" y="1840"/>
                </a:moveTo>
                <a:cubicBezTo>
                  <a:pt x="4251" y="1840"/>
                  <a:pt x="4252" y="1839"/>
                  <a:pt x="4253" y="1838"/>
                </a:cubicBezTo>
                <a:cubicBezTo>
                  <a:pt x="4253" y="1838"/>
                  <a:pt x="4253" y="1837"/>
                  <a:pt x="4252" y="1837"/>
                </a:cubicBezTo>
                <a:cubicBezTo>
                  <a:pt x="4251" y="1834"/>
                  <a:pt x="4248" y="1832"/>
                  <a:pt x="4244" y="1833"/>
                </a:cubicBezTo>
                <a:cubicBezTo>
                  <a:pt x="4245" y="1837"/>
                  <a:pt x="4247" y="1839"/>
                  <a:pt x="4251" y="1840"/>
                </a:cubicBezTo>
                <a:close/>
                <a:moveTo>
                  <a:pt x="1182" y="258"/>
                </a:moveTo>
                <a:cubicBezTo>
                  <a:pt x="1180" y="258"/>
                  <a:pt x="1179" y="260"/>
                  <a:pt x="1179" y="262"/>
                </a:cubicBezTo>
                <a:cubicBezTo>
                  <a:pt x="1179" y="263"/>
                  <a:pt x="1180" y="263"/>
                  <a:pt x="1180" y="264"/>
                </a:cubicBezTo>
                <a:cubicBezTo>
                  <a:pt x="1182" y="264"/>
                  <a:pt x="1185" y="261"/>
                  <a:pt x="1184" y="259"/>
                </a:cubicBezTo>
                <a:cubicBezTo>
                  <a:pt x="1183" y="259"/>
                  <a:pt x="1183" y="258"/>
                  <a:pt x="1182" y="258"/>
                </a:cubicBezTo>
                <a:close/>
                <a:moveTo>
                  <a:pt x="3838" y="1307"/>
                </a:moveTo>
                <a:cubicBezTo>
                  <a:pt x="3838" y="1307"/>
                  <a:pt x="3838" y="1306"/>
                  <a:pt x="3837" y="1306"/>
                </a:cubicBezTo>
                <a:cubicBezTo>
                  <a:pt x="3836" y="1305"/>
                  <a:pt x="3835" y="1305"/>
                  <a:pt x="3834" y="1306"/>
                </a:cubicBezTo>
                <a:cubicBezTo>
                  <a:pt x="3833" y="1307"/>
                  <a:pt x="3833" y="1310"/>
                  <a:pt x="3834" y="1310"/>
                </a:cubicBezTo>
                <a:cubicBezTo>
                  <a:pt x="3835" y="1309"/>
                  <a:pt x="3836" y="1309"/>
                  <a:pt x="3837" y="1308"/>
                </a:cubicBezTo>
                <a:cubicBezTo>
                  <a:pt x="3837" y="1308"/>
                  <a:pt x="3838" y="1307"/>
                  <a:pt x="3838" y="1307"/>
                </a:cubicBezTo>
                <a:close/>
                <a:moveTo>
                  <a:pt x="1169" y="467"/>
                </a:moveTo>
                <a:cubicBezTo>
                  <a:pt x="1169" y="468"/>
                  <a:pt x="1170" y="470"/>
                  <a:pt x="1172" y="471"/>
                </a:cubicBezTo>
                <a:cubicBezTo>
                  <a:pt x="1175" y="471"/>
                  <a:pt x="1177" y="470"/>
                  <a:pt x="1178" y="467"/>
                </a:cubicBezTo>
                <a:cubicBezTo>
                  <a:pt x="1176" y="467"/>
                  <a:pt x="1174" y="466"/>
                  <a:pt x="1172" y="466"/>
                </a:cubicBezTo>
                <a:cubicBezTo>
                  <a:pt x="1171" y="466"/>
                  <a:pt x="1170" y="467"/>
                  <a:pt x="1169" y="467"/>
                </a:cubicBezTo>
                <a:close/>
                <a:moveTo>
                  <a:pt x="1178" y="467"/>
                </a:moveTo>
                <a:cubicBezTo>
                  <a:pt x="1178" y="467"/>
                  <a:pt x="1178" y="467"/>
                  <a:pt x="1178" y="467"/>
                </a:cubicBezTo>
                <a:cubicBezTo>
                  <a:pt x="1178" y="467"/>
                  <a:pt x="1178" y="467"/>
                  <a:pt x="1178" y="467"/>
                </a:cubicBezTo>
                <a:cubicBezTo>
                  <a:pt x="1178" y="467"/>
                  <a:pt x="1178" y="467"/>
                  <a:pt x="1178" y="467"/>
                </a:cubicBezTo>
                <a:cubicBezTo>
                  <a:pt x="1178" y="467"/>
                  <a:pt x="1178" y="467"/>
                  <a:pt x="1178" y="467"/>
                </a:cubicBezTo>
                <a:close/>
                <a:moveTo>
                  <a:pt x="1430" y="257"/>
                </a:moveTo>
                <a:cubicBezTo>
                  <a:pt x="1429" y="255"/>
                  <a:pt x="1427" y="255"/>
                  <a:pt x="1425" y="255"/>
                </a:cubicBezTo>
                <a:cubicBezTo>
                  <a:pt x="1425" y="255"/>
                  <a:pt x="1424" y="256"/>
                  <a:pt x="1424" y="256"/>
                </a:cubicBezTo>
                <a:cubicBezTo>
                  <a:pt x="1424" y="257"/>
                  <a:pt x="1424" y="257"/>
                  <a:pt x="1424" y="258"/>
                </a:cubicBezTo>
                <a:cubicBezTo>
                  <a:pt x="1424" y="259"/>
                  <a:pt x="1426" y="260"/>
                  <a:pt x="1428" y="260"/>
                </a:cubicBezTo>
                <a:cubicBezTo>
                  <a:pt x="1428" y="260"/>
                  <a:pt x="1429" y="259"/>
                  <a:pt x="1430" y="258"/>
                </a:cubicBezTo>
                <a:cubicBezTo>
                  <a:pt x="1430" y="258"/>
                  <a:pt x="1430" y="257"/>
                  <a:pt x="1430" y="257"/>
                </a:cubicBezTo>
                <a:close/>
                <a:moveTo>
                  <a:pt x="3961" y="1763"/>
                </a:moveTo>
                <a:cubicBezTo>
                  <a:pt x="3962" y="1764"/>
                  <a:pt x="3962" y="1764"/>
                  <a:pt x="3963" y="1764"/>
                </a:cubicBezTo>
                <a:cubicBezTo>
                  <a:pt x="3964" y="1764"/>
                  <a:pt x="3966" y="1764"/>
                  <a:pt x="3967" y="1762"/>
                </a:cubicBezTo>
                <a:cubicBezTo>
                  <a:pt x="3966" y="1762"/>
                  <a:pt x="3964" y="1761"/>
                  <a:pt x="3963" y="1761"/>
                </a:cubicBezTo>
                <a:cubicBezTo>
                  <a:pt x="3962" y="1761"/>
                  <a:pt x="3962" y="1761"/>
                  <a:pt x="3961" y="1761"/>
                </a:cubicBezTo>
                <a:cubicBezTo>
                  <a:pt x="3961" y="1761"/>
                  <a:pt x="3960" y="1762"/>
                  <a:pt x="3960" y="1762"/>
                </a:cubicBezTo>
                <a:cubicBezTo>
                  <a:pt x="3960" y="1763"/>
                  <a:pt x="3961" y="1763"/>
                  <a:pt x="3961" y="1763"/>
                </a:cubicBezTo>
                <a:close/>
                <a:moveTo>
                  <a:pt x="2423" y="1156"/>
                </a:moveTo>
                <a:cubicBezTo>
                  <a:pt x="2424" y="1155"/>
                  <a:pt x="2424" y="1154"/>
                  <a:pt x="2422" y="1154"/>
                </a:cubicBezTo>
                <a:cubicBezTo>
                  <a:pt x="2422" y="1153"/>
                  <a:pt x="2421" y="1154"/>
                  <a:pt x="2421" y="1154"/>
                </a:cubicBezTo>
                <a:cubicBezTo>
                  <a:pt x="2420" y="1155"/>
                  <a:pt x="2420" y="1156"/>
                  <a:pt x="2421" y="1156"/>
                </a:cubicBezTo>
                <a:cubicBezTo>
                  <a:pt x="2422" y="1157"/>
                  <a:pt x="2422" y="1157"/>
                  <a:pt x="2423" y="1156"/>
                </a:cubicBezTo>
                <a:close/>
                <a:moveTo>
                  <a:pt x="2920" y="228"/>
                </a:moveTo>
                <a:cubicBezTo>
                  <a:pt x="2921" y="228"/>
                  <a:pt x="2922" y="228"/>
                  <a:pt x="2923" y="227"/>
                </a:cubicBezTo>
                <a:cubicBezTo>
                  <a:pt x="2924" y="225"/>
                  <a:pt x="2923" y="224"/>
                  <a:pt x="2921" y="223"/>
                </a:cubicBezTo>
                <a:cubicBezTo>
                  <a:pt x="2920" y="223"/>
                  <a:pt x="2919" y="223"/>
                  <a:pt x="2919" y="224"/>
                </a:cubicBezTo>
                <a:cubicBezTo>
                  <a:pt x="2918" y="226"/>
                  <a:pt x="2919" y="228"/>
                  <a:pt x="2920" y="228"/>
                </a:cubicBezTo>
                <a:close/>
                <a:moveTo>
                  <a:pt x="4255" y="1856"/>
                </a:moveTo>
                <a:cubicBezTo>
                  <a:pt x="4256" y="1856"/>
                  <a:pt x="4257" y="1856"/>
                  <a:pt x="4258" y="1855"/>
                </a:cubicBezTo>
                <a:cubicBezTo>
                  <a:pt x="4258" y="1855"/>
                  <a:pt x="4258" y="1853"/>
                  <a:pt x="4258" y="1853"/>
                </a:cubicBezTo>
                <a:cubicBezTo>
                  <a:pt x="4256" y="1850"/>
                  <a:pt x="4254" y="1850"/>
                  <a:pt x="4251" y="1850"/>
                </a:cubicBezTo>
                <a:cubicBezTo>
                  <a:pt x="4251" y="1853"/>
                  <a:pt x="4252" y="1855"/>
                  <a:pt x="4255" y="1856"/>
                </a:cubicBezTo>
                <a:close/>
                <a:moveTo>
                  <a:pt x="470" y="773"/>
                </a:moveTo>
                <a:cubicBezTo>
                  <a:pt x="470" y="773"/>
                  <a:pt x="471" y="772"/>
                  <a:pt x="471" y="771"/>
                </a:cubicBezTo>
                <a:cubicBezTo>
                  <a:pt x="471" y="769"/>
                  <a:pt x="469" y="768"/>
                  <a:pt x="468" y="768"/>
                </a:cubicBezTo>
                <a:cubicBezTo>
                  <a:pt x="467" y="768"/>
                  <a:pt x="467" y="770"/>
                  <a:pt x="468" y="772"/>
                </a:cubicBezTo>
                <a:cubicBezTo>
                  <a:pt x="468" y="773"/>
                  <a:pt x="469" y="773"/>
                  <a:pt x="470" y="773"/>
                </a:cubicBezTo>
                <a:close/>
                <a:moveTo>
                  <a:pt x="3434" y="203"/>
                </a:moveTo>
                <a:cubicBezTo>
                  <a:pt x="3435" y="206"/>
                  <a:pt x="3438" y="207"/>
                  <a:pt x="3441" y="207"/>
                </a:cubicBezTo>
                <a:cubicBezTo>
                  <a:pt x="3441" y="207"/>
                  <a:pt x="3442" y="206"/>
                  <a:pt x="3442" y="205"/>
                </a:cubicBezTo>
                <a:cubicBezTo>
                  <a:pt x="3442" y="205"/>
                  <a:pt x="3442" y="204"/>
                  <a:pt x="3441" y="204"/>
                </a:cubicBezTo>
                <a:cubicBezTo>
                  <a:pt x="3439" y="202"/>
                  <a:pt x="3437" y="202"/>
                  <a:pt x="3434" y="203"/>
                </a:cubicBezTo>
                <a:close/>
                <a:moveTo>
                  <a:pt x="3963" y="1753"/>
                </a:moveTo>
                <a:cubicBezTo>
                  <a:pt x="3963" y="1753"/>
                  <a:pt x="3964" y="1752"/>
                  <a:pt x="3964" y="1752"/>
                </a:cubicBezTo>
                <a:cubicBezTo>
                  <a:pt x="3964" y="1750"/>
                  <a:pt x="3962" y="1748"/>
                  <a:pt x="3960" y="1748"/>
                </a:cubicBezTo>
                <a:cubicBezTo>
                  <a:pt x="3959" y="1748"/>
                  <a:pt x="3958" y="1749"/>
                  <a:pt x="3958" y="1749"/>
                </a:cubicBezTo>
                <a:cubicBezTo>
                  <a:pt x="3959" y="1750"/>
                  <a:pt x="3959" y="1752"/>
                  <a:pt x="3960" y="1753"/>
                </a:cubicBezTo>
                <a:cubicBezTo>
                  <a:pt x="3961" y="1753"/>
                  <a:pt x="3962" y="1753"/>
                  <a:pt x="3963" y="1753"/>
                </a:cubicBezTo>
                <a:close/>
                <a:moveTo>
                  <a:pt x="1337" y="292"/>
                </a:moveTo>
                <a:cubicBezTo>
                  <a:pt x="1337" y="292"/>
                  <a:pt x="1337" y="292"/>
                  <a:pt x="1337" y="292"/>
                </a:cubicBezTo>
                <a:cubicBezTo>
                  <a:pt x="1337" y="292"/>
                  <a:pt x="1337" y="292"/>
                  <a:pt x="1337" y="292"/>
                </a:cubicBezTo>
                <a:cubicBezTo>
                  <a:pt x="1337" y="292"/>
                  <a:pt x="1337" y="292"/>
                  <a:pt x="1337" y="292"/>
                </a:cubicBezTo>
                <a:cubicBezTo>
                  <a:pt x="1337" y="292"/>
                  <a:pt x="1337" y="292"/>
                  <a:pt x="1337" y="292"/>
                </a:cubicBezTo>
                <a:close/>
                <a:moveTo>
                  <a:pt x="1333" y="293"/>
                </a:moveTo>
                <a:cubicBezTo>
                  <a:pt x="1331" y="295"/>
                  <a:pt x="1332" y="297"/>
                  <a:pt x="1333" y="297"/>
                </a:cubicBezTo>
                <a:cubicBezTo>
                  <a:pt x="1334" y="297"/>
                  <a:pt x="1336" y="297"/>
                  <a:pt x="1336" y="296"/>
                </a:cubicBezTo>
                <a:cubicBezTo>
                  <a:pt x="1336" y="295"/>
                  <a:pt x="1336" y="293"/>
                  <a:pt x="1337" y="292"/>
                </a:cubicBezTo>
                <a:cubicBezTo>
                  <a:pt x="1335" y="292"/>
                  <a:pt x="1334" y="292"/>
                  <a:pt x="1333" y="293"/>
                </a:cubicBezTo>
                <a:close/>
                <a:moveTo>
                  <a:pt x="4116" y="1766"/>
                </a:moveTo>
                <a:cubicBezTo>
                  <a:pt x="4116" y="1766"/>
                  <a:pt x="4116" y="1765"/>
                  <a:pt x="4116" y="1765"/>
                </a:cubicBezTo>
                <a:cubicBezTo>
                  <a:pt x="4115" y="1764"/>
                  <a:pt x="4113" y="1764"/>
                  <a:pt x="4111" y="1764"/>
                </a:cubicBezTo>
                <a:cubicBezTo>
                  <a:pt x="4111" y="1764"/>
                  <a:pt x="4110" y="1765"/>
                  <a:pt x="4110" y="1765"/>
                </a:cubicBezTo>
                <a:cubicBezTo>
                  <a:pt x="4110" y="1766"/>
                  <a:pt x="4110" y="1767"/>
                  <a:pt x="4111" y="1767"/>
                </a:cubicBezTo>
                <a:cubicBezTo>
                  <a:pt x="4113" y="1769"/>
                  <a:pt x="4115" y="1769"/>
                  <a:pt x="4116" y="1766"/>
                </a:cubicBezTo>
                <a:close/>
                <a:moveTo>
                  <a:pt x="4371" y="2055"/>
                </a:moveTo>
                <a:cubicBezTo>
                  <a:pt x="4371" y="2054"/>
                  <a:pt x="4370" y="2053"/>
                  <a:pt x="4370" y="2052"/>
                </a:cubicBezTo>
                <a:cubicBezTo>
                  <a:pt x="4369" y="2051"/>
                  <a:pt x="4368" y="2051"/>
                  <a:pt x="4368" y="2052"/>
                </a:cubicBezTo>
                <a:cubicBezTo>
                  <a:pt x="4367" y="2052"/>
                  <a:pt x="4367" y="2052"/>
                  <a:pt x="4367" y="2053"/>
                </a:cubicBezTo>
                <a:cubicBezTo>
                  <a:pt x="4367" y="2054"/>
                  <a:pt x="4367" y="2055"/>
                  <a:pt x="4368" y="2056"/>
                </a:cubicBezTo>
                <a:cubicBezTo>
                  <a:pt x="4369" y="2057"/>
                  <a:pt x="4370" y="2056"/>
                  <a:pt x="4371" y="2055"/>
                </a:cubicBezTo>
                <a:close/>
                <a:moveTo>
                  <a:pt x="1554" y="532"/>
                </a:moveTo>
                <a:cubicBezTo>
                  <a:pt x="1554" y="531"/>
                  <a:pt x="1553" y="531"/>
                  <a:pt x="1552" y="531"/>
                </a:cubicBezTo>
                <a:cubicBezTo>
                  <a:pt x="1551" y="531"/>
                  <a:pt x="1551" y="532"/>
                  <a:pt x="1551" y="532"/>
                </a:cubicBezTo>
                <a:cubicBezTo>
                  <a:pt x="1551" y="533"/>
                  <a:pt x="1551" y="534"/>
                  <a:pt x="1551" y="535"/>
                </a:cubicBezTo>
                <a:cubicBezTo>
                  <a:pt x="1552" y="535"/>
                  <a:pt x="1554" y="536"/>
                  <a:pt x="1555" y="536"/>
                </a:cubicBezTo>
                <a:cubicBezTo>
                  <a:pt x="1555" y="536"/>
                  <a:pt x="1555" y="535"/>
                  <a:pt x="1555" y="534"/>
                </a:cubicBezTo>
                <a:cubicBezTo>
                  <a:pt x="1555" y="533"/>
                  <a:pt x="1554" y="533"/>
                  <a:pt x="1554" y="532"/>
                </a:cubicBezTo>
                <a:close/>
                <a:moveTo>
                  <a:pt x="1164" y="2426"/>
                </a:moveTo>
                <a:cubicBezTo>
                  <a:pt x="1164" y="2425"/>
                  <a:pt x="1163" y="2424"/>
                  <a:pt x="1162" y="2424"/>
                </a:cubicBezTo>
                <a:cubicBezTo>
                  <a:pt x="1161" y="2424"/>
                  <a:pt x="1160" y="2425"/>
                  <a:pt x="1160" y="2426"/>
                </a:cubicBezTo>
                <a:cubicBezTo>
                  <a:pt x="1161" y="2428"/>
                  <a:pt x="1161" y="2430"/>
                  <a:pt x="1162" y="2432"/>
                </a:cubicBezTo>
                <a:cubicBezTo>
                  <a:pt x="1163" y="2431"/>
                  <a:pt x="1164" y="2430"/>
                  <a:pt x="1165" y="2429"/>
                </a:cubicBezTo>
                <a:cubicBezTo>
                  <a:pt x="1165" y="2428"/>
                  <a:pt x="1165" y="2426"/>
                  <a:pt x="1164" y="2426"/>
                </a:cubicBezTo>
                <a:close/>
                <a:moveTo>
                  <a:pt x="1162" y="2432"/>
                </a:moveTo>
                <a:cubicBezTo>
                  <a:pt x="1162" y="2432"/>
                  <a:pt x="1162" y="2432"/>
                  <a:pt x="1162" y="2432"/>
                </a:cubicBezTo>
                <a:cubicBezTo>
                  <a:pt x="1162" y="2432"/>
                  <a:pt x="1162" y="2432"/>
                  <a:pt x="1162" y="2432"/>
                </a:cubicBezTo>
                <a:cubicBezTo>
                  <a:pt x="1162" y="2432"/>
                  <a:pt x="1162" y="2432"/>
                  <a:pt x="1162" y="2432"/>
                </a:cubicBezTo>
                <a:cubicBezTo>
                  <a:pt x="1162" y="2432"/>
                  <a:pt x="1162" y="2432"/>
                  <a:pt x="1162" y="2432"/>
                </a:cubicBezTo>
                <a:close/>
                <a:moveTo>
                  <a:pt x="3085" y="177"/>
                </a:moveTo>
                <a:cubicBezTo>
                  <a:pt x="3086" y="177"/>
                  <a:pt x="3087" y="177"/>
                  <a:pt x="3087" y="176"/>
                </a:cubicBezTo>
                <a:cubicBezTo>
                  <a:pt x="3088" y="175"/>
                  <a:pt x="3088" y="173"/>
                  <a:pt x="3086" y="172"/>
                </a:cubicBezTo>
                <a:cubicBezTo>
                  <a:pt x="3085" y="171"/>
                  <a:pt x="3084" y="172"/>
                  <a:pt x="3083" y="173"/>
                </a:cubicBezTo>
                <a:cubicBezTo>
                  <a:pt x="3083" y="175"/>
                  <a:pt x="3083" y="176"/>
                  <a:pt x="3085" y="177"/>
                </a:cubicBezTo>
                <a:close/>
                <a:moveTo>
                  <a:pt x="1726" y="72"/>
                </a:moveTo>
                <a:cubicBezTo>
                  <a:pt x="1727" y="72"/>
                  <a:pt x="1728" y="71"/>
                  <a:pt x="1727" y="70"/>
                </a:cubicBezTo>
                <a:cubicBezTo>
                  <a:pt x="1727" y="69"/>
                  <a:pt x="1726" y="68"/>
                  <a:pt x="1725" y="68"/>
                </a:cubicBezTo>
                <a:cubicBezTo>
                  <a:pt x="1725" y="68"/>
                  <a:pt x="1724" y="68"/>
                  <a:pt x="1724" y="68"/>
                </a:cubicBezTo>
                <a:cubicBezTo>
                  <a:pt x="1723" y="69"/>
                  <a:pt x="1722" y="70"/>
                  <a:pt x="1723" y="71"/>
                </a:cubicBezTo>
                <a:cubicBezTo>
                  <a:pt x="1724" y="71"/>
                  <a:pt x="1725" y="72"/>
                  <a:pt x="1726" y="72"/>
                </a:cubicBezTo>
                <a:close/>
                <a:moveTo>
                  <a:pt x="2512" y="148"/>
                </a:moveTo>
                <a:cubicBezTo>
                  <a:pt x="2512" y="148"/>
                  <a:pt x="2513" y="147"/>
                  <a:pt x="2513" y="147"/>
                </a:cubicBezTo>
                <a:cubicBezTo>
                  <a:pt x="2513" y="146"/>
                  <a:pt x="2513" y="145"/>
                  <a:pt x="2511" y="145"/>
                </a:cubicBezTo>
                <a:cubicBezTo>
                  <a:pt x="2510" y="145"/>
                  <a:pt x="2510" y="145"/>
                  <a:pt x="2510" y="147"/>
                </a:cubicBezTo>
                <a:cubicBezTo>
                  <a:pt x="2510" y="148"/>
                  <a:pt x="2511" y="148"/>
                  <a:pt x="2512" y="148"/>
                </a:cubicBezTo>
                <a:close/>
                <a:moveTo>
                  <a:pt x="4036" y="2397"/>
                </a:moveTo>
                <a:cubicBezTo>
                  <a:pt x="4035" y="2397"/>
                  <a:pt x="4034" y="2399"/>
                  <a:pt x="4034" y="2399"/>
                </a:cubicBezTo>
                <a:cubicBezTo>
                  <a:pt x="4035" y="2400"/>
                  <a:pt x="4035" y="2401"/>
                  <a:pt x="4036" y="2402"/>
                </a:cubicBezTo>
                <a:cubicBezTo>
                  <a:pt x="4037" y="2402"/>
                  <a:pt x="4038" y="2402"/>
                  <a:pt x="4039" y="2401"/>
                </a:cubicBezTo>
                <a:cubicBezTo>
                  <a:pt x="4039" y="2400"/>
                  <a:pt x="4039" y="2399"/>
                  <a:pt x="4038" y="2398"/>
                </a:cubicBezTo>
                <a:cubicBezTo>
                  <a:pt x="4038" y="2397"/>
                  <a:pt x="4037" y="2396"/>
                  <a:pt x="4036" y="2397"/>
                </a:cubicBezTo>
                <a:close/>
                <a:moveTo>
                  <a:pt x="1167" y="2519"/>
                </a:moveTo>
                <a:cubicBezTo>
                  <a:pt x="1166" y="2520"/>
                  <a:pt x="1166" y="2522"/>
                  <a:pt x="1167" y="2523"/>
                </a:cubicBezTo>
                <a:cubicBezTo>
                  <a:pt x="1168" y="2524"/>
                  <a:pt x="1170" y="2524"/>
                  <a:pt x="1171" y="2524"/>
                </a:cubicBezTo>
                <a:cubicBezTo>
                  <a:pt x="1171" y="2522"/>
                  <a:pt x="1171" y="2520"/>
                  <a:pt x="1171" y="2518"/>
                </a:cubicBezTo>
                <a:cubicBezTo>
                  <a:pt x="1170" y="2518"/>
                  <a:pt x="1168" y="2519"/>
                  <a:pt x="1167" y="2519"/>
                </a:cubicBezTo>
                <a:close/>
                <a:moveTo>
                  <a:pt x="4161" y="1875"/>
                </a:moveTo>
                <a:cubicBezTo>
                  <a:pt x="4159" y="1871"/>
                  <a:pt x="4158" y="1870"/>
                  <a:pt x="4154" y="1871"/>
                </a:cubicBezTo>
                <a:cubicBezTo>
                  <a:pt x="4153" y="1872"/>
                  <a:pt x="4152" y="1872"/>
                  <a:pt x="4152" y="1872"/>
                </a:cubicBezTo>
                <a:cubicBezTo>
                  <a:pt x="4155" y="1873"/>
                  <a:pt x="4158" y="1874"/>
                  <a:pt x="4161" y="1876"/>
                </a:cubicBezTo>
                <a:cubicBezTo>
                  <a:pt x="4161" y="1876"/>
                  <a:pt x="4161" y="1875"/>
                  <a:pt x="4161" y="1875"/>
                </a:cubicBezTo>
                <a:close/>
                <a:moveTo>
                  <a:pt x="4152" y="1872"/>
                </a:moveTo>
                <a:cubicBezTo>
                  <a:pt x="4151" y="1872"/>
                  <a:pt x="4151" y="1872"/>
                  <a:pt x="4151" y="1872"/>
                </a:cubicBezTo>
                <a:cubicBezTo>
                  <a:pt x="4151" y="1872"/>
                  <a:pt x="4151" y="1873"/>
                  <a:pt x="4151" y="1873"/>
                </a:cubicBezTo>
                <a:cubicBezTo>
                  <a:pt x="4151" y="1873"/>
                  <a:pt x="4151" y="1873"/>
                  <a:pt x="4151" y="1873"/>
                </a:cubicBezTo>
                <a:cubicBezTo>
                  <a:pt x="4151" y="1873"/>
                  <a:pt x="4151" y="1873"/>
                  <a:pt x="4152" y="1872"/>
                </a:cubicBezTo>
                <a:close/>
                <a:moveTo>
                  <a:pt x="985" y="477"/>
                </a:moveTo>
                <a:cubicBezTo>
                  <a:pt x="985" y="477"/>
                  <a:pt x="986" y="478"/>
                  <a:pt x="986" y="478"/>
                </a:cubicBezTo>
                <a:cubicBezTo>
                  <a:pt x="988" y="478"/>
                  <a:pt x="989" y="477"/>
                  <a:pt x="989" y="476"/>
                </a:cubicBezTo>
                <a:cubicBezTo>
                  <a:pt x="989" y="475"/>
                  <a:pt x="988" y="474"/>
                  <a:pt x="987" y="474"/>
                </a:cubicBezTo>
                <a:cubicBezTo>
                  <a:pt x="985" y="475"/>
                  <a:pt x="985" y="476"/>
                  <a:pt x="985" y="477"/>
                </a:cubicBezTo>
                <a:close/>
                <a:moveTo>
                  <a:pt x="1912" y="1339"/>
                </a:moveTo>
                <a:cubicBezTo>
                  <a:pt x="1912" y="1339"/>
                  <a:pt x="1913" y="1339"/>
                  <a:pt x="1913" y="1339"/>
                </a:cubicBezTo>
                <a:cubicBezTo>
                  <a:pt x="1914" y="1338"/>
                  <a:pt x="1914" y="1338"/>
                  <a:pt x="1915" y="1337"/>
                </a:cubicBezTo>
                <a:cubicBezTo>
                  <a:pt x="1915" y="1336"/>
                  <a:pt x="1914" y="1335"/>
                  <a:pt x="1914" y="1335"/>
                </a:cubicBezTo>
                <a:cubicBezTo>
                  <a:pt x="1913" y="1335"/>
                  <a:pt x="1912" y="1336"/>
                  <a:pt x="1911" y="1337"/>
                </a:cubicBezTo>
                <a:cubicBezTo>
                  <a:pt x="1910" y="1338"/>
                  <a:pt x="1910" y="1339"/>
                  <a:pt x="1912" y="1339"/>
                </a:cubicBezTo>
                <a:close/>
                <a:moveTo>
                  <a:pt x="3822" y="1336"/>
                </a:moveTo>
                <a:cubicBezTo>
                  <a:pt x="3822" y="1336"/>
                  <a:pt x="3821" y="1335"/>
                  <a:pt x="3821" y="1335"/>
                </a:cubicBezTo>
                <a:cubicBezTo>
                  <a:pt x="3819" y="1335"/>
                  <a:pt x="3818" y="1336"/>
                  <a:pt x="3818" y="1338"/>
                </a:cubicBezTo>
                <a:cubicBezTo>
                  <a:pt x="3818" y="1338"/>
                  <a:pt x="3819" y="1339"/>
                  <a:pt x="3819" y="1339"/>
                </a:cubicBezTo>
                <a:cubicBezTo>
                  <a:pt x="3820" y="1339"/>
                  <a:pt x="3820" y="1339"/>
                  <a:pt x="3821" y="1339"/>
                </a:cubicBezTo>
                <a:cubicBezTo>
                  <a:pt x="3821" y="1338"/>
                  <a:pt x="3822" y="1337"/>
                  <a:pt x="3822" y="1336"/>
                </a:cubicBezTo>
                <a:close/>
                <a:moveTo>
                  <a:pt x="1096" y="1391"/>
                </a:moveTo>
                <a:cubicBezTo>
                  <a:pt x="1095" y="1390"/>
                  <a:pt x="1095" y="1390"/>
                  <a:pt x="1094" y="1389"/>
                </a:cubicBezTo>
                <a:cubicBezTo>
                  <a:pt x="1094" y="1390"/>
                  <a:pt x="1093" y="1391"/>
                  <a:pt x="1093" y="1391"/>
                </a:cubicBezTo>
                <a:cubicBezTo>
                  <a:pt x="1093" y="1392"/>
                  <a:pt x="1094" y="1392"/>
                  <a:pt x="1094" y="1392"/>
                </a:cubicBezTo>
                <a:cubicBezTo>
                  <a:pt x="1095" y="1393"/>
                  <a:pt x="1096" y="1392"/>
                  <a:pt x="1096" y="1391"/>
                </a:cubicBezTo>
                <a:close/>
                <a:moveTo>
                  <a:pt x="1064" y="1397"/>
                </a:moveTo>
                <a:cubicBezTo>
                  <a:pt x="1065" y="1397"/>
                  <a:pt x="1065" y="1396"/>
                  <a:pt x="1066" y="1395"/>
                </a:cubicBezTo>
                <a:cubicBezTo>
                  <a:pt x="1065" y="1394"/>
                  <a:pt x="1065" y="1393"/>
                  <a:pt x="1064" y="1393"/>
                </a:cubicBezTo>
                <a:cubicBezTo>
                  <a:pt x="1063" y="1393"/>
                  <a:pt x="1062" y="1394"/>
                  <a:pt x="1062" y="1395"/>
                </a:cubicBezTo>
                <a:cubicBezTo>
                  <a:pt x="1062" y="1396"/>
                  <a:pt x="1063" y="1398"/>
                  <a:pt x="1064" y="1397"/>
                </a:cubicBezTo>
                <a:close/>
                <a:moveTo>
                  <a:pt x="1109" y="1414"/>
                </a:moveTo>
                <a:cubicBezTo>
                  <a:pt x="1109" y="1414"/>
                  <a:pt x="1109" y="1413"/>
                  <a:pt x="1109" y="1413"/>
                </a:cubicBezTo>
                <a:cubicBezTo>
                  <a:pt x="1109" y="1413"/>
                  <a:pt x="1108" y="1413"/>
                  <a:pt x="1108" y="1413"/>
                </a:cubicBezTo>
                <a:cubicBezTo>
                  <a:pt x="1108" y="1413"/>
                  <a:pt x="1108" y="1413"/>
                  <a:pt x="1108" y="1414"/>
                </a:cubicBezTo>
                <a:cubicBezTo>
                  <a:pt x="1108" y="1414"/>
                  <a:pt x="1109" y="1414"/>
                  <a:pt x="1109" y="1414"/>
                </a:cubicBezTo>
                <a:close/>
                <a:moveTo>
                  <a:pt x="1112" y="1417"/>
                </a:moveTo>
                <a:cubicBezTo>
                  <a:pt x="1112" y="1416"/>
                  <a:pt x="1113" y="1416"/>
                  <a:pt x="1113" y="1416"/>
                </a:cubicBezTo>
                <a:cubicBezTo>
                  <a:pt x="1113" y="1414"/>
                  <a:pt x="1113" y="1414"/>
                  <a:pt x="1111" y="1414"/>
                </a:cubicBezTo>
                <a:cubicBezTo>
                  <a:pt x="1111" y="1413"/>
                  <a:pt x="1110" y="1414"/>
                  <a:pt x="1109" y="1414"/>
                </a:cubicBezTo>
                <a:cubicBezTo>
                  <a:pt x="1109" y="1415"/>
                  <a:pt x="1109" y="1415"/>
                  <a:pt x="1109" y="1416"/>
                </a:cubicBezTo>
                <a:cubicBezTo>
                  <a:pt x="1110" y="1417"/>
                  <a:pt x="1111" y="1418"/>
                  <a:pt x="1112" y="1417"/>
                </a:cubicBezTo>
                <a:close/>
                <a:moveTo>
                  <a:pt x="1538" y="491"/>
                </a:moveTo>
                <a:cubicBezTo>
                  <a:pt x="1538" y="490"/>
                  <a:pt x="1537" y="489"/>
                  <a:pt x="1537" y="488"/>
                </a:cubicBezTo>
                <a:cubicBezTo>
                  <a:pt x="1536" y="489"/>
                  <a:pt x="1535" y="489"/>
                  <a:pt x="1535" y="490"/>
                </a:cubicBezTo>
                <a:cubicBezTo>
                  <a:pt x="1534" y="491"/>
                  <a:pt x="1534" y="492"/>
                  <a:pt x="1535" y="492"/>
                </a:cubicBezTo>
                <a:cubicBezTo>
                  <a:pt x="1536" y="493"/>
                  <a:pt x="1538" y="492"/>
                  <a:pt x="1538" y="491"/>
                </a:cubicBezTo>
                <a:close/>
                <a:moveTo>
                  <a:pt x="989" y="1427"/>
                </a:moveTo>
                <a:cubicBezTo>
                  <a:pt x="988" y="1428"/>
                  <a:pt x="989" y="1429"/>
                  <a:pt x="990" y="1430"/>
                </a:cubicBezTo>
                <a:cubicBezTo>
                  <a:pt x="991" y="1430"/>
                  <a:pt x="992" y="1430"/>
                  <a:pt x="993" y="1428"/>
                </a:cubicBezTo>
                <a:cubicBezTo>
                  <a:pt x="992" y="1427"/>
                  <a:pt x="992" y="1426"/>
                  <a:pt x="992" y="1426"/>
                </a:cubicBezTo>
                <a:cubicBezTo>
                  <a:pt x="991" y="1425"/>
                  <a:pt x="989" y="1426"/>
                  <a:pt x="989" y="1427"/>
                </a:cubicBezTo>
                <a:close/>
                <a:moveTo>
                  <a:pt x="1300" y="1551"/>
                </a:moveTo>
                <a:cubicBezTo>
                  <a:pt x="1300" y="1552"/>
                  <a:pt x="1300" y="1553"/>
                  <a:pt x="1301" y="1553"/>
                </a:cubicBezTo>
                <a:cubicBezTo>
                  <a:pt x="1302" y="1553"/>
                  <a:pt x="1302" y="1552"/>
                  <a:pt x="1303" y="1552"/>
                </a:cubicBezTo>
                <a:cubicBezTo>
                  <a:pt x="1303" y="1551"/>
                  <a:pt x="1302" y="1550"/>
                  <a:pt x="1301" y="1550"/>
                </a:cubicBezTo>
                <a:cubicBezTo>
                  <a:pt x="1301" y="1550"/>
                  <a:pt x="1300" y="1550"/>
                  <a:pt x="1300" y="1551"/>
                </a:cubicBezTo>
                <a:close/>
                <a:moveTo>
                  <a:pt x="1263" y="497"/>
                </a:moveTo>
                <a:cubicBezTo>
                  <a:pt x="1262" y="496"/>
                  <a:pt x="1261" y="496"/>
                  <a:pt x="1260" y="497"/>
                </a:cubicBezTo>
                <a:cubicBezTo>
                  <a:pt x="1260" y="497"/>
                  <a:pt x="1260" y="498"/>
                  <a:pt x="1259" y="498"/>
                </a:cubicBezTo>
                <a:cubicBezTo>
                  <a:pt x="1260" y="499"/>
                  <a:pt x="1261" y="499"/>
                  <a:pt x="1261" y="499"/>
                </a:cubicBezTo>
                <a:cubicBezTo>
                  <a:pt x="1263" y="499"/>
                  <a:pt x="1263" y="498"/>
                  <a:pt x="1263" y="497"/>
                </a:cubicBezTo>
                <a:close/>
                <a:moveTo>
                  <a:pt x="3767" y="1560"/>
                </a:moveTo>
                <a:cubicBezTo>
                  <a:pt x="3767" y="1559"/>
                  <a:pt x="3766" y="1559"/>
                  <a:pt x="3766" y="1558"/>
                </a:cubicBezTo>
                <a:cubicBezTo>
                  <a:pt x="3765" y="1559"/>
                  <a:pt x="3765" y="1559"/>
                  <a:pt x="3764" y="1560"/>
                </a:cubicBezTo>
                <a:cubicBezTo>
                  <a:pt x="3765" y="1560"/>
                  <a:pt x="3765" y="1561"/>
                  <a:pt x="3766" y="1561"/>
                </a:cubicBezTo>
                <a:cubicBezTo>
                  <a:pt x="3766" y="1561"/>
                  <a:pt x="3767" y="1560"/>
                  <a:pt x="3767" y="1560"/>
                </a:cubicBezTo>
                <a:close/>
                <a:moveTo>
                  <a:pt x="3362" y="1569"/>
                </a:moveTo>
                <a:cubicBezTo>
                  <a:pt x="3361" y="1570"/>
                  <a:pt x="3362" y="1573"/>
                  <a:pt x="3363" y="1572"/>
                </a:cubicBezTo>
                <a:cubicBezTo>
                  <a:pt x="3363" y="1572"/>
                  <a:pt x="3364" y="1572"/>
                  <a:pt x="3364" y="1571"/>
                </a:cubicBezTo>
                <a:cubicBezTo>
                  <a:pt x="3364" y="1570"/>
                  <a:pt x="3364" y="1569"/>
                  <a:pt x="3363" y="1569"/>
                </a:cubicBezTo>
                <a:cubicBezTo>
                  <a:pt x="3363" y="1568"/>
                  <a:pt x="3362" y="1568"/>
                  <a:pt x="3362" y="1569"/>
                </a:cubicBezTo>
                <a:close/>
                <a:moveTo>
                  <a:pt x="3771" y="1643"/>
                </a:moveTo>
                <a:cubicBezTo>
                  <a:pt x="3770" y="1642"/>
                  <a:pt x="3769" y="1642"/>
                  <a:pt x="3768" y="1642"/>
                </a:cubicBezTo>
                <a:cubicBezTo>
                  <a:pt x="3767" y="1643"/>
                  <a:pt x="3766" y="1644"/>
                  <a:pt x="3767" y="1645"/>
                </a:cubicBezTo>
                <a:cubicBezTo>
                  <a:pt x="3768" y="1645"/>
                  <a:pt x="3769" y="1646"/>
                  <a:pt x="3770" y="1646"/>
                </a:cubicBezTo>
                <a:cubicBezTo>
                  <a:pt x="3770" y="1645"/>
                  <a:pt x="3771" y="1644"/>
                  <a:pt x="3771" y="1643"/>
                </a:cubicBezTo>
                <a:close/>
                <a:moveTo>
                  <a:pt x="3881" y="1763"/>
                </a:moveTo>
                <a:cubicBezTo>
                  <a:pt x="3880" y="1764"/>
                  <a:pt x="3879" y="1764"/>
                  <a:pt x="3879" y="1765"/>
                </a:cubicBezTo>
                <a:cubicBezTo>
                  <a:pt x="3878" y="1766"/>
                  <a:pt x="3879" y="1766"/>
                  <a:pt x="3880" y="1767"/>
                </a:cubicBezTo>
                <a:cubicBezTo>
                  <a:pt x="3882" y="1767"/>
                  <a:pt x="3883" y="1766"/>
                  <a:pt x="3883" y="1765"/>
                </a:cubicBezTo>
                <a:cubicBezTo>
                  <a:pt x="3883" y="1764"/>
                  <a:pt x="3882" y="1764"/>
                  <a:pt x="3881" y="1763"/>
                </a:cubicBezTo>
                <a:close/>
                <a:moveTo>
                  <a:pt x="1929" y="317"/>
                </a:moveTo>
                <a:cubicBezTo>
                  <a:pt x="1930" y="316"/>
                  <a:pt x="1930" y="316"/>
                  <a:pt x="1931" y="315"/>
                </a:cubicBezTo>
                <a:cubicBezTo>
                  <a:pt x="1931" y="315"/>
                  <a:pt x="1930" y="314"/>
                  <a:pt x="1930" y="314"/>
                </a:cubicBezTo>
                <a:cubicBezTo>
                  <a:pt x="1930" y="315"/>
                  <a:pt x="1929" y="315"/>
                  <a:pt x="1928" y="316"/>
                </a:cubicBezTo>
                <a:cubicBezTo>
                  <a:pt x="1928" y="316"/>
                  <a:pt x="1929" y="316"/>
                  <a:pt x="1929" y="317"/>
                </a:cubicBezTo>
                <a:close/>
                <a:moveTo>
                  <a:pt x="3806" y="1855"/>
                </a:moveTo>
                <a:cubicBezTo>
                  <a:pt x="3806" y="1855"/>
                  <a:pt x="3806" y="1854"/>
                  <a:pt x="3805" y="1854"/>
                </a:cubicBezTo>
                <a:cubicBezTo>
                  <a:pt x="3803" y="1854"/>
                  <a:pt x="3802" y="1854"/>
                  <a:pt x="3802" y="1856"/>
                </a:cubicBezTo>
                <a:cubicBezTo>
                  <a:pt x="3802" y="1856"/>
                  <a:pt x="3803" y="1857"/>
                  <a:pt x="3803" y="1858"/>
                </a:cubicBezTo>
                <a:cubicBezTo>
                  <a:pt x="3805" y="1858"/>
                  <a:pt x="3807" y="1856"/>
                  <a:pt x="3806" y="1855"/>
                </a:cubicBezTo>
                <a:close/>
                <a:moveTo>
                  <a:pt x="4166" y="1879"/>
                </a:moveTo>
                <a:cubicBezTo>
                  <a:pt x="4166" y="1878"/>
                  <a:pt x="4166" y="1878"/>
                  <a:pt x="4165" y="1878"/>
                </a:cubicBezTo>
                <a:cubicBezTo>
                  <a:pt x="4164" y="1877"/>
                  <a:pt x="4163" y="1877"/>
                  <a:pt x="4162" y="1877"/>
                </a:cubicBezTo>
                <a:cubicBezTo>
                  <a:pt x="4163" y="1878"/>
                  <a:pt x="4163" y="1879"/>
                  <a:pt x="4164" y="1880"/>
                </a:cubicBezTo>
                <a:cubicBezTo>
                  <a:pt x="4165" y="1881"/>
                  <a:pt x="4166" y="1880"/>
                  <a:pt x="4166" y="1879"/>
                </a:cubicBezTo>
                <a:close/>
                <a:moveTo>
                  <a:pt x="4162" y="1877"/>
                </a:moveTo>
                <a:cubicBezTo>
                  <a:pt x="4162" y="1877"/>
                  <a:pt x="4162" y="1876"/>
                  <a:pt x="4161" y="1876"/>
                </a:cubicBezTo>
                <a:cubicBezTo>
                  <a:pt x="4161" y="1876"/>
                  <a:pt x="4161" y="1876"/>
                  <a:pt x="4161" y="1876"/>
                </a:cubicBezTo>
                <a:cubicBezTo>
                  <a:pt x="4161" y="1876"/>
                  <a:pt x="4161" y="1876"/>
                  <a:pt x="4161" y="1877"/>
                </a:cubicBezTo>
                <a:cubicBezTo>
                  <a:pt x="4161" y="1877"/>
                  <a:pt x="4162" y="1877"/>
                  <a:pt x="4162" y="1877"/>
                </a:cubicBezTo>
                <a:close/>
                <a:moveTo>
                  <a:pt x="3993" y="1982"/>
                </a:moveTo>
                <a:cubicBezTo>
                  <a:pt x="3993" y="1982"/>
                  <a:pt x="3993" y="1982"/>
                  <a:pt x="3992" y="1982"/>
                </a:cubicBezTo>
                <a:cubicBezTo>
                  <a:pt x="3992" y="1982"/>
                  <a:pt x="3992" y="1982"/>
                  <a:pt x="3992" y="1982"/>
                </a:cubicBezTo>
                <a:cubicBezTo>
                  <a:pt x="3993" y="1982"/>
                  <a:pt x="3993" y="1982"/>
                  <a:pt x="3993" y="1982"/>
                </a:cubicBezTo>
                <a:cubicBezTo>
                  <a:pt x="3993" y="1982"/>
                  <a:pt x="3993" y="1982"/>
                  <a:pt x="3993" y="1982"/>
                </a:cubicBezTo>
                <a:close/>
                <a:moveTo>
                  <a:pt x="3997" y="1978"/>
                </a:moveTo>
                <a:cubicBezTo>
                  <a:pt x="3997" y="1978"/>
                  <a:pt x="3996" y="1978"/>
                  <a:pt x="3996" y="1979"/>
                </a:cubicBezTo>
                <a:cubicBezTo>
                  <a:pt x="3995" y="1980"/>
                  <a:pt x="3994" y="1981"/>
                  <a:pt x="3993" y="1982"/>
                </a:cubicBezTo>
                <a:cubicBezTo>
                  <a:pt x="3994" y="1981"/>
                  <a:pt x="3996" y="1981"/>
                  <a:pt x="3997" y="1981"/>
                </a:cubicBezTo>
                <a:cubicBezTo>
                  <a:pt x="3998" y="1980"/>
                  <a:pt x="3998" y="1979"/>
                  <a:pt x="3997" y="1978"/>
                </a:cubicBezTo>
                <a:close/>
                <a:moveTo>
                  <a:pt x="3624" y="2125"/>
                </a:moveTo>
                <a:cubicBezTo>
                  <a:pt x="3621" y="2126"/>
                  <a:pt x="3621" y="2128"/>
                  <a:pt x="3623" y="2130"/>
                </a:cubicBezTo>
                <a:cubicBezTo>
                  <a:pt x="3624" y="2130"/>
                  <a:pt x="3625" y="2131"/>
                  <a:pt x="3626" y="2131"/>
                </a:cubicBezTo>
                <a:cubicBezTo>
                  <a:pt x="3626" y="2129"/>
                  <a:pt x="3626" y="2127"/>
                  <a:pt x="3626" y="2124"/>
                </a:cubicBezTo>
                <a:cubicBezTo>
                  <a:pt x="3625" y="2124"/>
                  <a:pt x="3625" y="2124"/>
                  <a:pt x="3624" y="2125"/>
                </a:cubicBezTo>
                <a:close/>
                <a:moveTo>
                  <a:pt x="1955" y="142"/>
                </a:moveTo>
                <a:cubicBezTo>
                  <a:pt x="1955" y="141"/>
                  <a:pt x="1954" y="140"/>
                  <a:pt x="1953" y="139"/>
                </a:cubicBezTo>
                <a:cubicBezTo>
                  <a:pt x="1953" y="140"/>
                  <a:pt x="1952" y="141"/>
                  <a:pt x="1952" y="142"/>
                </a:cubicBezTo>
                <a:cubicBezTo>
                  <a:pt x="1952" y="143"/>
                  <a:pt x="1953" y="143"/>
                  <a:pt x="1954" y="144"/>
                </a:cubicBezTo>
                <a:cubicBezTo>
                  <a:pt x="1954" y="143"/>
                  <a:pt x="1955" y="142"/>
                  <a:pt x="1955" y="142"/>
                </a:cubicBezTo>
                <a:close/>
                <a:moveTo>
                  <a:pt x="2576" y="138"/>
                </a:moveTo>
                <a:cubicBezTo>
                  <a:pt x="2575" y="137"/>
                  <a:pt x="2574" y="137"/>
                  <a:pt x="2573" y="137"/>
                </a:cubicBezTo>
                <a:cubicBezTo>
                  <a:pt x="2572" y="137"/>
                  <a:pt x="2571" y="138"/>
                  <a:pt x="2572" y="139"/>
                </a:cubicBezTo>
                <a:cubicBezTo>
                  <a:pt x="2572" y="141"/>
                  <a:pt x="2573" y="142"/>
                  <a:pt x="2574" y="143"/>
                </a:cubicBezTo>
                <a:cubicBezTo>
                  <a:pt x="2575" y="143"/>
                  <a:pt x="2576" y="143"/>
                  <a:pt x="2577" y="143"/>
                </a:cubicBezTo>
                <a:cubicBezTo>
                  <a:pt x="2577" y="141"/>
                  <a:pt x="2577" y="139"/>
                  <a:pt x="2576" y="138"/>
                </a:cubicBezTo>
                <a:close/>
                <a:moveTo>
                  <a:pt x="1114" y="348"/>
                </a:moveTo>
                <a:cubicBezTo>
                  <a:pt x="1114" y="349"/>
                  <a:pt x="1112" y="349"/>
                  <a:pt x="1112" y="350"/>
                </a:cubicBezTo>
                <a:cubicBezTo>
                  <a:pt x="1112" y="351"/>
                  <a:pt x="1112" y="352"/>
                  <a:pt x="1113" y="353"/>
                </a:cubicBezTo>
                <a:cubicBezTo>
                  <a:pt x="1114" y="354"/>
                  <a:pt x="1116" y="352"/>
                  <a:pt x="1116" y="350"/>
                </a:cubicBezTo>
                <a:cubicBezTo>
                  <a:pt x="1116" y="350"/>
                  <a:pt x="1115" y="349"/>
                  <a:pt x="1114" y="348"/>
                </a:cubicBezTo>
                <a:close/>
                <a:moveTo>
                  <a:pt x="2849" y="389"/>
                </a:moveTo>
                <a:cubicBezTo>
                  <a:pt x="2849" y="389"/>
                  <a:pt x="2850" y="388"/>
                  <a:pt x="2851" y="388"/>
                </a:cubicBezTo>
                <a:cubicBezTo>
                  <a:pt x="2851" y="388"/>
                  <a:pt x="2851" y="387"/>
                  <a:pt x="2851" y="386"/>
                </a:cubicBezTo>
                <a:cubicBezTo>
                  <a:pt x="2851" y="386"/>
                  <a:pt x="2850" y="385"/>
                  <a:pt x="2850" y="385"/>
                </a:cubicBezTo>
                <a:cubicBezTo>
                  <a:pt x="2849" y="386"/>
                  <a:pt x="2848" y="386"/>
                  <a:pt x="2848" y="387"/>
                </a:cubicBezTo>
                <a:cubicBezTo>
                  <a:pt x="2847" y="388"/>
                  <a:pt x="2847" y="389"/>
                  <a:pt x="2849" y="389"/>
                </a:cubicBezTo>
                <a:close/>
                <a:moveTo>
                  <a:pt x="366" y="594"/>
                </a:moveTo>
                <a:cubicBezTo>
                  <a:pt x="366" y="594"/>
                  <a:pt x="365" y="595"/>
                  <a:pt x="365" y="595"/>
                </a:cubicBezTo>
                <a:cubicBezTo>
                  <a:pt x="365" y="597"/>
                  <a:pt x="366" y="599"/>
                  <a:pt x="367" y="598"/>
                </a:cubicBezTo>
                <a:cubicBezTo>
                  <a:pt x="368" y="598"/>
                  <a:pt x="368" y="597"/>
                  <a:pt x="369" y="597"/>
                </a:cubicBezTo>
                <a:cubicBezTo>
                  <a:pt x="369" y="595"/>
                  <a:pt x="367" y="593"/>
                  <a:pt x="366" y="594"/>
                </a:cubicBezTo>
                <a:close/>
                <a:moveTo>
                  <a:pt x="2242" y="603"/>
                </a:moveTo>
                <a:cubicBezTo>
                  <a:pt x="2242" y="604"/>
                  <a:pt x="2243" y="603"/>
                  <a:pt x="2243" y="603"/>
                </a:cubicBezTo>
                <a:cubicBezTo>
                  <a:pt x="2244" y="602"/>
                  <a:pt x="2245" y="601"/>
                  <a:pt x="2246" y="600"/>
                </a:cubicBezTo>
                <a:cubicBezTo>
                  <a:pt x="2245" y="600"/>
                  <a:pt x="2243" y="601"/>
                  <a:pt x="2242" y="601"/>
                </a:cubicBezTo>
                <a:cubicBezTo>
                  <a:pt x="2241" y="602"/>
                  <a:pt x="2241" y="603"/>
                  <a:pt x="2242" y="603"/>
                </a:cubicBezTo>
                <a:close/>
                <a:moveTo>
                  <a:pt x="2246" y="600"/>
                </a:moveTo>
                <a:cubicBezTo>
                  <a:pt x="2246" y="600"/>
                  <a:pt x="2246" y="600"/>
                  <a:pt x="2247" y="600"/>
                </a:cubicBezTo>
                <a:cubicBezTo>
                  <a:pt x="2247" y="600"/>
                  <a:pt x="2247" y="599"/>
                  <a:pt x="2247" y="599"/>
                </a:cubicBezTo>
                <a:cubicBezTo>
                  <a:pt x="2247" y="599"/>
                  <a:pt x="2247" y="599"/>
                  <a:pt x="2246" y="599"/>
                </a:cubicBezTo>
                <a:cubicBezTo>
                  <a:pt x="2246" y="599"/>
                  <a:pt x="2246" y="600"/>
                  <a:pt x="2246" y="600"/>
                </a:cubicBezTo>
                <a:close/>
                <a:moveTo>
                  <a:pt x="2490" y="668"/>
                </a:moveTo>
                <a:cubicBezTo>
                  <a:pt x="2490" y="668"/>
                  <a:pt x="2491" y="669"/>
                  <a:pt x="2491" y="670"/>
                </a:cubicBezTo>
                <a:cubicBezTo>
                  <a:pt x="2492" y="669"/>
                  <a:pt x="2493" y="669"/>
                  <a:pt x="2493" y="669"/>
                </a:cubicBezTo>
                <a:cubicBezTo>
                  <a:pt x="2493" y="668"/>
                  <a:pt x="2492" y="667"/>
                  <a:pt x="2491" y="667"/>
                </a:cubicBezTo>
                <a:cubicBezTo>
                  <a:pt x="2490" y="667"/>
                  <a:pt x="2490" y="667"/>
                  <a:pt x="2490" y="668"/>
                </a:cubicBezTo>
                <a:close/>
                <a:moveTo>
                  <a:pt x="1288" y="685"/>
                </a:moveTo>
                <a:cubicBezTo>
                  <a:pt x="1287" y="686"/>
                  <a:pt x="1286" y="687"/>
                  <a:pt x="1286" y="687"/>
                </a:cubicBezTo>
                <a:cubicBezTo>
                  <a:pt x="1286" y="688"/>
                  <a:pt x="1287" y="689"/>
                  <a:pt x="1287" y="690"/>
                </a:cubicBezTo>
                <a:cubicBezTo>
                  <a:pt x="1288" y="690"/>
                  <a:pt x="1289" y="690"/>
                  <a:pt x="1290" y="689"/>
                </a:cubicBezTo>
                <a:cubicBezTo>
                  <a:pt x="1290" y="688"/>
                  <a:pt x="1290" y="687"/>
                  <a:pt x="1290" y="686"/>
                </a:cubicBezTo>
                <a:cubicBezTo>
                  <a:pt x="1289" y="686"/>
                  <a:pt x="1288" y="685"/>
                  <a:pt x="1288" y="685"/>
                </a:cubicBezTo>
                <a:close/>
                <a:moveTo>
                  <a:pt x="2998" y="232"/>
                </a:moveTo>
                <a:cubicBezTo>
                  <a:pt x="2997" y="232"/>
                  <a:pt x="2997" y="233"/>
                  <a:pt x="2997" y="233"/>
                </a:cubicBezTo>
                <a:cubicBezTo>
                  <a:pt x="2996" y="234"/>
                  <a:pt x="2997" y="235"/>
                  <a:pt x="2998" y="235"/>
                </a:cubicBezTo>
                <a:cubicBezTo>
                  <a:pt x="2999" y="235"/>
                  <a:pt x="3000" y="234"/>
                  <a:pt x="3000" y="233"/>
                </a:cubicBezTo>
                <a:cubicBezTo>
                  <a:pt x="3000" y="232"/>
                  <a:pt x="2999" y="231"/>
                  <a:pt x="2998" y="232"/>
                </a:cubicBezTo>
                <a:close/>
                <a:moveTo>
                  <a:pt x="4050" y="822"/>
                </a:moveTo>
                <a:cubicBezTo>
                  <a:pt x="4050" y="821"/>
                  <a:pt x="4049" y="821"/>
                  <a:pt x="4049" y="821"/>
                </a:cubicBezTo>
                <a:cubicBezTo>
                  <a:pt x="4048" y="821"/>
                  <a:pt x="4048" y="821"/>
                  <a:pt x="4048" y="821"/>
                </a:cubicBezTo>
                <a:cubicBezTo>
                  <a:pt x="4048" y="821"/>
                  <a:pt x="4048" y="822"/>
                  <a:pt x="4048" y="822"/>
                </a:cubicBezTo>
                <a:cubicBezTo>
                  <a:pt x="4049" y="823"/>
                  <a:pt x="4049" y="823"/>
                  <a:pt x="4050" y="822"/>
                </a:cubicBezTo>
                <a:close/>
                <a:moveTo>
                  <a:pt x="3918" y="1126"/>
                </a:moveTo>
                <a:cubicBezTo>
                  <a:pt x="3919" y="1125"/>
                  <a:pt x="3920" y="1125"/>
                  <a:pt x="3920" y="1124"/>
                </a:cubicBezTo>
                <a:cubicBezTo>
                  <a:pt x="3920" y="1123"/>
                  <a:pt x="3919" y="1122"/>
                  <a:pt x="3919" y="1122"/>
                </a:cubicBezTo>
                <a:cubicBezTo>
                  <a:pt x="3918" y="1122"/>
                  <a:pt x="3917" y="1123"/>
                  <a:pt x="3917" y="1124"/>
                </a:cubicBezTo>
                <a:cubicBezTo>
                  <a:pt x="3917" y="1125"/>
                  <a:pt x="3918" y="1125"/>
                  <a:pt x="3918" y="1126"/>
                </a:cubicBezTo>
                <a:close/>
                <a:moveTo>
                  <a:pt x="2135" y="1165"/>
                </a:moveTo>
                <a:cubicBezTo>
                  <a:pt x="2136" y="1165"/>
                  <a:pt x="2136" y="1163"/>
                  <a:pt x="2136" y="1163"/>
                </a:cubicBezTo>
                <a:cubicBezTo>
                  <a:pt x="2136" y="1162"/>
                  <a:pt x="2135" y="1161"/>
                  <a:pt x="2134" y="1161"/>
                </a:cubicBezTo>
                <a:cubicBezTo>
                  <a:pt x="2133" y="1161"/>
                  <a:pt x="2131" y="1163"/>
                  <a:pt x="2132" y="1164"/>
                </a:cubicBezTo>
                <a:cubicBezTo>
                  <a:pt x="2133" y="1165"/>
                  <a:pt x="2134" y="1165"/>
                  <a:pt x="2135" y="1165"/>
                </a:cubicBezTo>
                <a:close/>
                <a:moveTo>
                  <a:pt x="2461" y="1220"/>
                </a:moveTo>
                <a:cubicBezTo>
                  <a:pt x="2461" y="1220"/>
                  <a:pt x="2462" y="1220"/>
                  <a:pt x="2462" y="1219"/>
                </a:cubicBezTo>
                <a:cubicBezTo>
                  <a:pt x="2463" y="1219"/>
                  <a:pt x="2463" y="1218"/>
                  <a:pt x="2464" y="1217"/>
                </a:cubicBezTo>
                <a:cubicBezTo>
                  <a:pt x="2463" y="1216"/>
                  <a:pt x="2462" y="1215"/>
                  <a:pt x="2462" y="1216"/>
                </a:cubicBezTo>
                <a:cubicBezTo>
                  <a:pt x="2460" y="1216"/>
                  <a:pt x="2459" y="1217"/>
                  <a:pt x="2459" y="1219"/>
                </a:cubicBezTo>
                <a:cubicBezTo>
                  <a:pt x="2460" y="1219"/>
                  <a:pt x="2460" y="1220"/>
                  <a:pt x="2461" y="1220"/>
                </a:cubicBezTo>
                <a:close/>
                <a:moveTo>
                  <a:pt x="910" y="1311"/>
                </a:moveTo>
                <a:cubicBezTo>
                  <a:pt x="910" y="1311"/>
                  <a:pt x="910" y="1311"/>
                  <a:pt x="910" y="1310"/>
                </a:cubicBezTo>
                <a:cubicBezTo>
                  <a:pt x="910" y="1310"/>
                  <a:pt x="910" y="1311"/>
                  <a:pt x="910" y="1311"/>
                </a:cubicBezTo>
                <a:cubicBezTo>
                  <a:pt x="910" y="1311"/>
                  <a:pt x="910" y="1311"/>
                  <a:pt x="910" y="1311"/>
                </a:cubicBezTo>
                <a:cubicBezTo>
                  <a:pt x="910" y="1311"/>
                  <a:pt x="910" y="1311"/>
                  <a:pt x="910" y="1311"/>
                </a:cubicBezTo>
                <a:close/>
                <a:moveTo>
                  <a:pt x="913" y="1314"/>
                </a:moveTo>
                <a:cubicBezTo>
                  <a:pt x="914" y="1315"/>
                  <a:pt x="915" y="1315"/>
                  <a:pt x="915" y="1313"/>
                </a:cubicBezTo>
                <a:cubicBezTo>
                  <a:pt x="915" y="1313"/>
                  <a:pt x="915" y="1312"/>
                  <a:pt x="915" y="1312"/>
                </a:cubicBezTo>
                <a:cubicBezTo>
                  <a:pt x="913" y="1311"/>
                  <a:pt x="912" y="1311"/>
                  <a:pt x="910" y="1311"/>
                </a:cubicBezTo>
                <a:cubicBezTo>
                  <a:pt x="910" y="1313"/>
                  <a:pt x="911" y="1314"/>
                  <a:pt x="913" y="1314"/>
                </a:cubicBezTo>
                <a:close/>
                <a:moveTo>
                  <a:pt x="1154" y="302"/>
                </a:moveTo>
                <a:cubicBezTo>
                  <a:pt x="1154" y="302"/>
                  <a:pt x="1154" y="302"/>
                  <a:pt x="1154" y="301"/>
                </a:cubicBezTo>
                <a:cubicBezTo>
                  <a:pt x="1154" y="301"/>
                  <a:pt x="1153" y="301"/>
                  <a:pt x="1153" y="301"/>
                </a:cubicBezTo>
                <a:cubicBezTo>
                  <a:pt x="1152" y="302"/>
                  <a:pt x="1153" y="302"/>
                  <a:pt x="1154" y="302"/>
                </a:cubicBezTo>
                <a:close/>
                <a:moveTo>
                  <a:pt x="1009" y="304"/>
                </a:moveTo>
                <a:cubicBezTo>
                  <a:pt x="1009" y="304"/>
                  <a:pt x="1010" y="304"/>
                  <a:pt x="1010" y="304"/>
                </a:cubicBezTo>
                <a:cubicBezTo>
                  <a:pt x="1010" y="303"/>
                  <a:pt x="1010" y="303"/>
                  <a:pt x="1010" y="303"/>
                </a:cubicBezTo>
                <a:cubicBezTo>
                  <a:pt x="1009" y="303"/>
                  <a:pt x="1009" y="303"/>
                  <a:pt x="1009" y="304"/>
                </a:cubicBezTo>
                <a:close/>
                <a:moveTo>
                  <a:pt x="3773" y="757"/>
                </a:moveTo>
                <a:cubicBezTo>
                  <a:pt x="3773" y="758"/>
                  <a:pt x="3772" y="758"/>
                  <a:pt x="3772" y="759"/>
                </a:cubicBezTo>
                <a:cubicBezTo>
                  <a:pt x="3772" y="759"/>
                  <a:pt x="3773" y="760"/>
                  <a:pt x="3773" y="760"/>
                </a:cubicBezTo>
                <a:cubicBezTo>
                  <a:pt x="3774" y="760"/>
                  <a:pt x="3774" y="759"/>
                  <a:pt x="3774" y="758"/>
                </a:cubicBezTo>
                <a:cubicBezTo>
                  <a:pt x="3774" y="757"/>
                  <a:pt x="3773" y="757"/>
                  <a:pt x="3773" y="757"/>
                </a:cubicBezTo>
                <a:close/>
                <a:moveTo>
                  <a:pt x="2930" y="326"/>
                </a:moveTo>
                <a:cubicBezTo>
                  <a:pt x="2930" y="325"/>
                  <a:pt x="2930" y="324"/>
                  <a:pt x="2929" y="324"/>
                </a:cubicBezTo>
                <a:cubicBezTo>
                  <a:pt x="2929" y="324"/>
                  <a:pt x="2929" y="325"/>
                  <a:pt x="2929" y="325"/>
                </a:cubicBezTo>
                <a:cubicBezTo>
                  <a:pt x="2929" y="326"/>
                  <a:pt x="2929" y="326"/>
                  <a:pt x="2930" y="326"/>
                </a:cubicBezTo>
                <a:close/>
                <a:moveTo>
                  <a:pt x="2929" y="337"/>
                </a:moveTo>
                <a:cubicBezTo>
                  <a:pt x="2927" y="336"/>
                  <a:pt x="2927" y="336"/>
                  <a:pt x="2927" y="336"/>
                </a:cubicBezTo>
                <a:cubicBezTo>
                  <a:pt x="2927" y="337"/>
                  <a:pt x="2927" y="337"/>
                  <a:pt x="2927" y="337"/>
                </a:cubicBezTo>
                <a:lnTo>
                  <a:pt x="2929" y="337"/>
                </a:lnTo>
                <a:close/>
                <a:moveTo>
                  <a:pt x="606" y="341"/>
                </a:moveTo>
                <a:cubicBezTo>
                  <a:pt x="606" y="341"/>
                  <a:pt x="606" y="341"/>
                  <a:pt x="606" y="341"/>
                </a:cubicBezTo>
                <a:cubicBezTo>
                  <a:pt x="606" y="341"/>
                  <a:pt x="606" y="341"/>
                  <a:pt x="606" y="341"/>
                </a:cubicBezTo>
                <a:cubicBezTo>
                  <a:pt x="606" y="342"/>
                  <a:pt x="606" y="342"/>
                  <a:pt x="606" y="342"/>
                </a:cubicBezTo>
                <a:cubicBezTo>
                  <a:pt x="606" y="342"/>
                  <a:pt x="606" y="341"/>
                  <a:pt x="606" y="341"/>
                </a:cubicBezTo>
                <a:close/>
                <a:moveTo>
                  <a:pt x="610" y="341"/>
                </a:moveTo>
                <a:cubicBezTo>
                  <a:pt x="610" y="341"/>
                  <a:pt x="610" y="340"/>
                  <a:pt x="610" y="340"/>
                </a:cubicBezTo>
                <a:cubicBezTo>
                  <a:pt x="609" y="340"/>
                  <a:pt x="608" y="339"/>
                  <a:pt x="608" y="339"/>
                </a:cubicBezTo>
                <a:cubicBezTo>
                  <a:pt x="607" y="340"/>
                  <a:pt x="607" y="341"/>
                  <a:pt x="606" y="341"/>
                </a:cubicBezTo>
                <a:cubicBezTo>
                  <a:pt x="607" y="341"/>
                  <a:pt x="608" y="342"/>
                  <a:pt x="609" y="341"/>
                </a:cubicBezTo>
                <a:cubicBezTo>
                  <a:pt x="609" y="341"/>
                  <a:pt x="610" y="341"/>
                  <a:pt x="610" y="341"/>
                </a:cubicBezTo>
                <a:close/>
                <a:moveTo>
                  <a:pt x="2872" y="341"/>
                </a:moveTo>
                <a:cubicBezTo>
                  <a:pt x="2872" y="342"/>
                  <a:pt x="2872" y="343"/>
                  <a:pt x="2873" y="343"/>
                </a:cubicBezTo>
                <a:cubicBezTo>
                  <a:pt x="2874" y="343"/>
                  <a:pt x="2874" y="343"/>
                  <a:pt x="2874" y="342"/>
                </a:cubicBezTo>
                <a:cubicBezTo>
                  <a:pt x="2875" y="341"/>
                  <a:pt x="2874" y="340"/>
                  <a:pt x="2873" y="340"/>
                </a:cubicBezTo>
                <a:cubicBezTo>
                  <a:pt x="2873" y="340"/>
                  <a:pt x="2872" y="340"/>
                  <a:pt x="2872" y="341"/>
                </a:cubicBezTo>
                <a:close/>
                <a:moveTo>
                  <a:pt x="2148" y="1157"/>
                </a:moveTo>
                <a:cubicBezTo>
                  <a:pt x="2148" y="1157"/>
                  <a:pt x="2148" y="1156"/>
                  <a:pt x="2148" y="1156"/>
                </a:cubicBezTo>
                <a:cubicBezTo>
                  <a:pt x="2147" y="1156"/>
                  <a:pt x="2147" y="1156"/>
                  <a:pt x="2146" y="1156"/>
                </a:cubicBezTo>
                <a:cubicBezTo>
                  <a:pt x="2145" y="1157"/>
                  <a:pt x="2145" y="1157"/>
                  <a:pt x="2147" y="1158"/>
                </a:cubicBezTo>
                <a:cubicBezTo>
                  <a:pt x="2147" y="1158"/>
                  <a:pt x="2148" y="1158"/>
                  <a:pt x="2148" y="1157"/>
                </a:cubicBezTo>
                <a:close/>
                <a:moveTo>
                  <a:pt x="1243" y="533"/>
                </a:moveTo>
                <a:cubicBezTo>
                  <a:pt x="1242" y="532"/>
                  <a:pt x="1242" y="532"/>
                  <a:pt x="1242" y="532"/>
                </a:cubicBezTo>
                <a:cubicBezTo>
                  <a:pt x="1242" y="533"/>
                  <a:pt x="1242" y="533"/>
                  <a:pt x="1242" y="533"/>
                </a:cubicBezTo>
                <a:lnTo>
                  <a:pt x="1243" y="533"/>
                </a:lnTo>
                <a:close/>
                <a:moveTo>
                  <a:pt x="2572" y="121"/>
                </a:moveTo>
                <a:cubicBezTo>
                  <a:pt x="2572" y="121"/>
                  <a:pt x="2573" y="121"/>
                  <a:pt x="2573" y="120"/>
                </a:cubicBezTo>
                <a:cubicBezTo>
                  <a:pt x="2574" y="119"/>
                  <a:pt x="2573" y="118"/>
                  <a:pt x="2572" y="118"/>
                </a:cubicBezTo>
                <a:cubicBezTo>
                  <a:pt x="2572" y="118"/>
                  <a:pt x="2571" y="118"/>
                  <a:pt x="2571" y="119"/>
                </a:cubicBezTo>
                <a:cubicBezTo>
                  <a:pt x="2570" y="120"/>
                  <a:pt x="2571" y="121"/>
                  <a:pt x="2572" y="121"/>
                </a:cubicBezTo>
                <a:close/>
                <a:moveTo>
                  <a:pt x="3813" y="1231"/>
                </a:moveTo>
                <a:cubicBezTo>
                  <a:pt x="3813" y="1231"/>
                  <a:pt x="3813" y="1230"/>
                  <a:pt x="3813" y="1230"/>
                </a:cubicBezTo>
                <a:cubicBezTo>
                  <a:pt x="3813" y="1230"/>
                  <a:pt x="3812" y="1230"/>
                  <a:pt x="3812" y="1230"/>
                </a:cubicBezTo>
                <a:cubicBezTo>
                  <a:pt x="3812" y="1231"/>
                  <a:pt x="3812" y="1231"/>
                  <a:pt x="3812" y="1231"/>
                </a:cubicBezTo>
                <a:cubicBezTo>
                  <a:pt x="3813" y="1231"/>
                  <a:pt x="3813" y="1231"/>
                  <a:pt x="3813" y="1231"/>
                </a:cubicBezTo>
                <a:close/>
                <a:moveTo>
                  <a:pt x="2917" y="353"/>
                </a:moveTo>
                <a:cubicBezTo>
                  <a:pt x="2917" y="353"/>
                  <a:pt x="2918" y="354"/>
                  <a:pt x="2918" y="354"/>
                </a:cubicBezTo>
                <a:cubicBezTo>
                  <a:pt x="2919" y="354"/>
                  <a:pt x="2919" y="353"/>
                  <a:pt x="2919" y="353"/>
                </a:cubicBezTo>
                <a:cubicBezTo>
                  <a:pt x="2918" y="352"/>
                  <a:pt x="2917" y="352"/>
                  <a:pt x="2917" y="353"/>
                </a:cubicBezTo>
                <a:close/>
                <a:moveTo>
                  <a:pt x="1896" y="355"/>
                </a:moveTo>
                <a:cubicBezTo>
                  <a:pt x="1896" y="361"/>
                  <a:pt x="1896" y="361"/>
                  <a:pt x="1896" y="361"/>
                </a:cubicBezTo>
                <a:cubicBezTo>
                  <a:pt x="1899" y="358"/>
                  <a:pt x="1899" y="358"/>
                  <a:pt x="1896" y="355"/>
                </a:cubicBezTo>
                <a:close/>
                <a:moveTo>
                  <a:pt x="1163" y="149"/>
                </a:moveTo>
                <a:cubicBezTo>
                  <a:pt x="1165" y="149"/>
                  <a:pt x="1165" y="148"/>
                  <a:pt x="1165" y="147"/>
                </a:cubicBezTo>
                <a:cubicBezTo>
                  <a:pt x="1164" y="147"/>
                  <a:pt x="1163" y="148"/>
                  <a:pt x="1163" y="148"/>
                </a:cubicBezTo>
                <a:cubicBezTo>
                  <a:pt x="1163" y="148"/>
                  <a:pt x="1163" y="149"/>
                  <a:pt x="1163" y="149"/>
                </a:cubicBezTo>
                <a:close/>
                <a:moveTo>
                  <a:pt x="2862" y="397"/>
                </a:moveTo>
                <a:cubicBezTo>
                  <a:pt x="2863" y="397"/>
                  <a:pt x="2863" y="397"/>
                  <a:pt x="2863" y="396"/>
                </a:cubicBezTo>
                <a:cubicBezTo>
                  <a:pt x="2863" y="396"/>
                  <a:pt x="2863" y="395"/>
                  <a:pt x="2862" y="395"/>
                </a:cubicBezTo>
                <a:cubicBezTo>
                  <a:pt x="2862" y="396"/>
                  <a:pt x="2861" y="396"/>
                  <a:pt x="2861" y="396"/>
                </a:cubicBezTo>
                <a:cubicBezTo>
                  <a:pt x="2861" y="396"/>
                  <a:pt x="2861" y="397"/>
                  <a:pt x="2862" y="397"/>
                </a:cubicBezTo>
                <a:close/>
                <a:moveTo>
                  <a:pt x="1944" y="153"/>
                </a:moveTo>
                <a:cubicBezTo>
                  <a:pt x="1945" y="153"/>
                  <a:pt x="1944" y="152"/>
                  <a:pt x="1944" y="152"/>
                </a:cubicBezTo>
                <a:cubicBezTo>
                  <a:pt x="1944" y="151"/>
                  <a:pt x="1943" y="151"/>
                  <a:pt x="1942" y="150"/>
                </a:cubicBezTo>
                <a:cubicBezTo>
                  <a:pt x="1943" y="151"/>
                  <a:pt x="1943" y="152"/>
                  <a:pt x="1943" y="152"/>
                </a:cubicBezTo>
                <a:cubicBezTo>
                  <a:pt x="1943" y="154"/>
                  <a:pt x="1944" y="154"/>
                  <a:pt x="1944" y="153"/>
                </a:cubicBezTo>
                <a:close/>
                <a:moveTo>
                  <a:pt x="1942" y="150"/>
                </a:moveTo>
                <a:cubicBezTo>
                  <a:pt x="1942" y="150"/>
                  <a:pt x="1942" y="150"/>
                  <a:pt x="1942" y="149"/>
                </a:cubicBezTo>
                <a:cubicBezTo>
                  <a:pt x="1942" y="149"/>
                  <a:pt x="1942" y="149"/>
                  <a:pt x="1942" y="149"/>
                </a:cubicBezTo>
                <a:cubicBezTo>
                  <a:pt x="1942" y="149"/>
                  <a:pt x="1942" y="149"/>
                  <a:pt x="1942" y="150"/>
                </a:cubicBezTo>
                <a:cubicBezTo>
                  <a:pt x="1942" y="150"/>
                  <a:pt x="1942" y="150"/>
                  <a:pt x="1942" y="150"/>
                </a:cubicBezTo>
                <a:close/>
                <a:moveTo>
                  <a:pt x="2726" y="539"/>
                </a:moveTo>
                <a:cubicBezTo>
                  <a:pt x="2727" y="538"/>
                  <a:pt x="2727" y="538"/>
                  <a:pt x="2727" y="538"/>
                </a:cubicBezTo>
                <a:cubicBezTo>
                  <a:pt x="2726" y="538"/>
                  <a:pt x="2726" y="538"/>
                  <a:pt x="2726" y="538"/>
                </a:cubicBezTo>
                <a:lnTo>
                  <a:pt x="2726" y="539"/>
                </a:lnTo>
                <a:close/>
                <a:moveTo>
                  <a:pt x="1035" y="422"/>
                </a:moveTo>
                <a:cubicBezTo>
                  <a:pt x="1035" y="422"/>
                  <a:pt x="1035" y="421"/>
                  <a:pt x="1035" y="421"/>
                </a:cubicBezTo>
                <a:cubicBezTo>
                  <a:pt x="1035" y="420"/>
                  <a:pt x="1035" y="420"/>
                  <a:pt x="1035" y="420"/>
                </a:cubicBezTo>
                <a:cubicBezTo>
                  <a:pt x="1034" y="420"/>
                  <a:pt x="1034" y="420"/>
                  <a:pt x="1034" y="420"/>
                </a:cubicBezTo>
                <a:cubicBezTo>
                  <a:pt x="1033" y="421"/>
                  <a:pt x="1034" y="422"/>
                  <a:pt x="1035" y="422"/>
                </a:cubicBezTo>
                <a:close/>
                <a:moveTo>
                  <a:pt x="1238" y="175"/>
                </a:moveTo>
                <a:cubicBezTo>
                  <a:pt x="1238" y="177"/>
                  <a:pt x="1239" y="177"/>
                  <a:pt x="1240" y="176"/>
                </a:cubicBezTo>
                <a:cubicBezTo>
                  <a:pt x="1240" y="176"/>
                  <a:pt x="1240" y="175"/>
                  <a:pt x="1240" y="175"/>
                </a:cubicBezTo>
                <a:cubicBezTo>
                  <a:pt x="1239" y="174"/>
                  <a:pt x="1239" y="174"/>
                  <a:pt x="1238" y="173"/>
                </a:cubicBezTo>
                <a:cubicBezTo>
                  <a:pt x="1238" y="174"/>
                  <a:pt x="1238" y="175"/>
                  <a:pt x="1238" y="175"/>
                </a:cubicBezTo>
                <a:close/>
                <a:moveTo>
                  <a:pt x="2560" y="182"/>
                </a:moveTo>
                <a:cubicBezTo>
                  <a:pt x="2561" y="182"/>
                  <a:pt x="2562" y="182"/>
                  <a:pt x="2563" y="181"/>
                </a:cubicBezTo>
                <a:cubicBezTo>
                  <a:pt x="2562" y="181"/>
                  <a:pt x="2561" y="180"/>
                  <a:pt x="2560" y="180"/>
                </a:cubicBezTo>
                <a:cubicBezTo>
                  <a:pt x="2559" y="179"/>
                  <a:pt x="2559" y="180"/>
                  <a:pt x="2558" y="180"/>
                </a:cubicBezTo>
                <a:cubicBezTo>
                  <a:pt x="2558" y="181"/>
                  <a:pt x="2558" y="182"/>
                  <a:pt x="2558" y="183"/>
                </a:cubicBezTo>
                <a:cubicBezTo>
                  <a:pt x="2558" y="183"/>
                  <a:pt x="2559" y="183"/>
                  <a:pt x="2560" y="182"/>
                </a:cubicBezTo>
                <a:close/>
                <a:moveTo>
                  <a:pt x="2556" y="183"/>
                </a:moveTo>
                <a:cubicBezTo>
                  <a:pt x="2557" y="183"/>
                  <a:pt x="2557" y="183"/>
                  <a:pt x="2557" y="183"/>
                </a:cubicBezTo>
                <a:cubicBezTo>
                  <a:pt x="2558" y="183"/>
                  <a:pt x="2558" y="183"/>
                  <a:pt x="2558" y="183"/>
                </a:cubicBezTo>
                <a:cubicBezTo>
                  <a:pt x="2557" y="183"/>
                  <a:pt x="2557" y="183"/>
                  <a:pt x="2557" y="183"/>
                </a:cubicBezTo>
                <a:cubicBezTo>
                  <a:pt x="2557" y="183"/>
                  <a:pt x="2557" y="183"/>
                  <a:pt x="2556" y="183"/>
                </a:cubicBezTo>
                <a:close/>
                <a:moveTo>
                  <a:pt x="3828" y="1232"/>
                </a:moveTo>
                <a:cubicBezTo>
                  <a:pt x="3828" y="1234"/>
                  <a:pt x="3829" y="1236"/>
                  <a:pt x="3831" y="1238"/>
                </a:cubicBezTo>
                <a:cubicBezTo>
                  <a:pt x="3830" y="1235"/>
                  <a:pt x="3830" y="1233"/>
                  <a:pt x="3828" y="1232"/>
                </a:cubicBezTo>
                <a:close/>
                <a:moveTo>
                  <a:pt x="1296" y="189"/>
                </a:moveTo>
                <a:cubicBezTo>
                  <a:pt x="1296" y="189"/>
                  <a:pt x="1296" y="188"/>
                  <a:pt x="1296" y="188"/>
                </a:cubicBezTo>
                <a:cubicBezTo>
                  <a:pt x="1295" y="188"/>
                  <a:pt x="1295" y="187"/>
                  <a:pt x="1294" y="187"/>
                </a:cubicBezTo>
                <a:cubicBezTo>
                  <a:pt x="1294" y="188"/>
                  <a:pt x="1294" y="189"/>
                  <a:pt x="1296" y="189"/>
                </a:cubicBezTo>
                <a:close/>
                <a:moveTo>
                  <a:pt x="4188" y="1786"/>
                </a:moveTo>
                <a:cubicBezTo>
                  <a:pt x="4186" y="1785"/>
                  <a:pt x="4184" y="1784"/>
                  <a:pt x="4182" y="1784"/>
                </a:cubicBezTo>
                <a:cubicBezTo>
                  <a:pt x="4183" y="1786"/>
                  <a:pt x="4185" y="1786"/>
                  <a:pt x="4188" y="1786"/>
                </a:cubicBezTo>
                <a:close/>
                <a:moveTo>
                  <a:pt x="4188" y="1786"/>
                </a:moveTo>
                <a:cubicBezTo>
                  <a:pt x="4188" y="1787"/>
                  <a:pt x="4188" y="1787"/>
                  <a:pt x="4188" y="1787"/>
                </a:cubicBezTo>
                <a:cubicBezTo>
                  <a:pt x="4188" y="1787"/>
                  <a:pt x="4189" y="1787"/>
                  <a:pt x="4189" y="1787"/>
                </a:cubicBezTo>
                <a:cubicBezTo>
                  <a:pt x="4189" y="1787"/>
                  <a:pt x="4189" y="1787"/>
                  <a:pt x="4189" y="1786"/>
                </a:cubicBezTo>
                <a:lnTo>
                  <a:pt x="4188" y="1786"/>
                </a:lnTo>
                <a:close/>
                <a:moveTo>
                  <a:pt x="2270" y="197"/>
                </a:moveTo>
                <a:cubicBezTo>
                  <a:pt x="2270" y="197"/>
                  <a:pt x="2270" y="196"/>
                  <a:pt x="2269" y="196"/>
                </a:cubicBezTo>
                <a:cubicBezTo>
                  <a:pt x="2268" y="196"/>
                  <a:pt x="2268" y="196"/>
                  <a:pt x="2267" y="196"/>
                </a:cubicBezTo>
                <a:cubicBezTo>
                  <a:pt x="2267" y="197"/>
                  <a:pt x="2268" y="198"/>
                  <a:pt x="2268" y="198"/>
                </a:cubicBezTo>
                <a:cubicBezTo>
                  <a:pt x="2269" y="199"/>
                  <a:pt x="2270" y="198"/>
                  <a:pt x="2270" y="197"/>
                </a:cubicBezTo>
                <a:close/>
                <a:moveTo>
                  <a:pt x="2267" y="196"/>
                </a:moveTo>
                <a:cubicBezTo>
                  <a:pt x="2267" y="196"/>
                  <a:pt x="2267" y="196"/>
                  <a:pt x="2266" y="196"/>
                </a:cubicBezTo>
                <a:cubicBezTo>
                  <a:pt x="2266" y="195"/>
                  <a:pt x="2266" y="195"/>
                  <a:pt x="2266" y="195"/>
                </a:cubicBezTo>
                <a:cubicBezTo>
                  <a:pt x="2266" y="196"/>
                  <a:pt x="2266" y="196"/>
                  <a:pt x="2266" y="196"/>
                </a:cubicBezTo>
                <a:cubicBezTo>
                  <a:pt x="2266" y="196"/>
                  <a:pt x="2266" y="196"/>
                  <a:pt x="2267" y="196"/>
                </a:cubicBezTo>
                <a:close/>
                <a:moveTo>
                  <a:pt x="3432" y="200"/>
                </a:moveTo>
                <a:cubicBezTo>
                  <a:pt x="3431" y="200"/>
                  <a:pt x="3430" y="200"/>
                  <a:pt x="3430" y="201"/>
                </a:cubicBezTo>
                <a:cubicBezTo>
                  <a:pt x="3430" y="202"/>
                  <a:pt x="3430" y="202"/>
                  <a:pt x="3431" y="202"/>
                </a:cubicBezTo>
                <a:cubicBezTo>
                  <a:pt x="3432" y="203"/>
                  <a:pt x="3433" y="202"/>
                  <a:pt x="3434" y="202"/>
                </a:cubicBezTo>
                <a:cubicBezTo>
                  <a:pt x="3434" y="201"/>
                  <a:pt x="3433" y="200"/>
                  <a:pt x="3432" y="200"/>
                </a:cubicBezTo>
                <a:close/>
                <a:moveTo>
                  <a:pt x="3434" y="202"/>
                </a:moveTo>
                <a:cubicBezTo>
                  <a:pt x="3434" y="203"/>
                  <a:pt x="3434" y="203"/>
                  <a:pt x="3434" y="203"/>
                </a:cubicBezTo>
                <a:cubicBezTo>
                  <a:pt x="3434" y="203"/>
                  <a:pt x="3434" y="203"/>
                  <a:pt x="3434" y="203"/>
                </a:cubicBezTo>
                <a:cubicBezTo>
                  <a:pt x="3434" y="203"/>
                  <a:pt x="3434" y="203"/>
                  <a:pt x="3434" y="202"/>
                </a:cubicBezTo>
                <a:close/>
                <a:moveTo>
                  <a:pt x="1012" y="451"/>
                </a:moveTo>
                <a:cubicBezTo>
                  <a:pt x="1012" y="451"/>
                  <a:pt x="1012" y="451"/>
                  <a:pt x="1013" y="450"/>
                </a:cubicBezTo>
                <a:cubicBezTo>
                  <a:pt x="1013" y="450"/>
                  <a:pt x="1012" y="450"/>
                  <a:pt x="1012" y="450"/>
                </a:cubicBezTo>
                <a:cubicBezTo>
                  <a:pt x="1012" y="450"/>
                  <a:pt x="1012" y="450"/>
                  <a:pt x="1012" y="450"/>
                </a:cubicBezTo>
                <a:cubicBezTo>
                  <a:pt x="1012" y="450"/>
                  <a:pt x="1012" y="451"/>
                  <a:pt x="1012" y="451"/>
                </a:cubicBezTo>
                <a:close/>
                <a:moveTo>
                  <a:pt x="1012" y="455"/>
                </a:moveTo>
                <a:cubicBezTo>
                  <a:pt x="1012" y="455"/>
                  <a:pt x="1012" y="454"/>
                  <a:pt x="1012" y="453"/>
                </a:cubicBezTo>
                <a:cubicBezTo>
                  <a:pt x="1012" y="452"/>
                  <a:pt x="1012" y="452"/>
                  <a:pt x="1012" y="451"/>
                </a:cubicBezTo>
                <a:cubicBezTo>
                  <a:pt x="1012" y="452"/>
                  <a:pt x="1011" y="452"/>
                  <a:pt x="1011" y="453"/>
                </a:cubicBezTo>
                <a:cubicBezTo>
                  <a:pt x="1010" y="454"/>
                  <a:pt x="1011" y="455"/>
                  <a:pt x="1012" y="455"/>
                </a:cubicBezTo>
                <a:close/>
                <a:moveTo>
                  <a:pt x="2057" y="817"/>
                </a:moveTo>
                <a:cubicBezTo>
                  <a:pt x="2057" y="816"/>
                  <a:pt x="2056" y="816"/>
                  <a:pt x="2056" y="817"/>
                </a:cubicBezTo>
                <a:cubicBezTo>
                  <a:pt x="2055" y="818"/>
                  <a:pt x="2056" y="818"/>
                  <a:pt x="2056" y="818"/>
                </a:cubicBezTo>
                <a:cubicBezTo>
                  <a:pt x="2056" y="818"/>
                  <a:pt x="2057" y="818"/>
                  <a:pt x="2057" y="817"/>
                </a:cubicBezTo>
                <a:close/>
                <a:moveTo>
                  <a:pt x="1275" y="1519"/>
                </a:moveTo>
                <a:cubicBezTo>
                  <a:pt x="1275" y="1520"/>
                  <a:pt x="1275" y="1521"/>
                  <a:pt x="1276" y="1521"/>
                </a:cubicBezTo>
                <a:cubicBezTo>
                  <a:pt x="1276" y="1521"/>
                  <a:pt x="1276" y="1520"/>
                  <a:pt x="1277" y="1520"/>
                </a:cubicBezTo>
                <a:cubicBezTo>
                  <a:pt x="1276" y="1519"/>
                  <a:pt x="1276" y="1519"/>
                  <a:pt x="1276" y="1519"/>
                </a:cubicBezTo>
                <a:cubicBezTo>
                  <a:pt x="1276" y="1518"/>
                  <a:pt x="1275" y="1519"/>
                  <a:pt x="1275" y="1519"/>
                </a:cubicBezTo>
                <a:close/>
                <a:moveTo>
                  <a:pt x="2369" y="1192"/>
                </a:moveTo>
                <a:cubicBezTo>
                  <a:pt x="2369" y="1192"/>
                  <a:pt x="2369" y="1192"/>
                  <a:pt x="2369" y="1192"/>
                </a:cubicBezTo>
                <a:cubicBezTo>
                  <a:pt x="2369" y="1192"/>
                  <a:pt x="2369" y="1192"/>
                  <a:pt x="2369" y="1192"/>
                </a:cubicBezTo>
                <a:cubicBezTo>
                  <a:pt x="2369" y="1192"/>
                  <a:pt x="2369" y="1192"/>
                  <a:pt x="2369" y="1191"/>
                </a:cubicBezTo>
                <a:cubicBezTo>
                  <a:pt x="2369" y="1192"/>
                  <a:pt x="2369" y="1192"/>
                  <a:pt x="2369" y="1192"/>
                </a:cubicBezTo>
                <a:close/>
                <a:moveTo>
                  <a:pt x="2366" y="1193"/>
                </a:moveTo>
                <a:cubicBezTo>
                  <a:pt x="2366" y="1193"/>
                  <a:pt x="2367" y="1194"/>
                  <a:pt x="2367" y="1194"/>
                </a:cubicBezTo>
                <a:cubicBezTo>
                  <a:pt x="2367" y="1193"/>
                  <a:pt x="2368" y="1192"/>
                  <a:pt x="2369" y="1192"/>
                </a:cubicBezTo>
                <a:cubicBezTo>
                  <a:pt x="2367" y="1192"/>
                  <a:pt x="2366" y="1192"/>
                  <a:pt x="2366" y="1193"/>
                </a:cubicBezTo>
                <a:close/>
                <a:moveTo>
                  <a:pt x="3845" y="1271"/>
                </a:moveTo>
                <a:cubicBezTo>
                  <a:pt x="3845" y="1272"/>
                  <a:pt x="3845" y="1272"/>
                  <a:pt x="3846" y="1273"/>
                </a:cubicBezTo>
                <a:cubicBezTo>
                  <a:pt x="3846" y="1272"/>
                  <a:pt x="3846" y="1272"/>
                  <a:pt x="3847" y="1272"/>
                </a:cubicBezTo>
                <a:cubicBezTo>
                  <a:pt x="3846" y="1270"/>
                  <a:pt x="3846" y="1270"/>
                  <a:pt x="3845" y="1271"/>
                </a:cubicBezTo>
                <a:close/>
                <a:moveTo>
                  <a:pt x="1548" y="480"/>
                </a:moveTo>
                <a:cubicBezTo>
                  <a:pt x="1548" y="481"/>
                  <a:pt x="1548" y="481"/>
                  <a:pt x="1548" y="481"/>
                </a:cubicBezTo>
                <a:cubicBezTo>
                  <a:pt x="1548" y="481"/>
                  <a:pt x="1548" y="481"/>
                  <a:pt x="1549" y="481"/>
                </a:cubicBezTo>
                <a:cubicBezTo>
                  <a:pt x="1549" y="480"/>
                  <a:pt x="1549" y="480"/>
                  <a:pt x="1549" y="480"/>
                </a:cubicBezTo>
                <a:cubicBezTo>
                  <a:pt x="1549" y="480"/>
                  <a:pt x="1548" y="480"/>
                  <a:pt x="1548" y="480"/>
                </a:cubicBezTo>
                <a:close/>
                <a:moveTo>
                  <a:pt x="1546" y="477"/>
                </a:moveTo>
                <a:cubicBezTo>
                  <a:pt x="1545" y="478"/>
                  <a:pt x="1544" y="478"/>
                  <a:pt x="1543" y="479"/>
                </a:cubicBezTo>
                <a:cubicBezTo>
                  <a:pt x="1544" y="479"/>
                  <a:pt x="1545" y="480"/>
                  <a:pt x="1546" y="480"/>
                </a:cubicBezTo>
                <a:cubicBezTo>
                  <a:pt x="1547" y="481"/>
                  <a:pt x="1547" y="480"/>
                  <a:pt x="1548" y="480"/>
                </a:cubicBezTo>
                <a:cubicBezTo>
                  <a:pt x="1548" y="479"/>
                  <a:pt x="1548" y="478"/>
                  <a:pt x="1548" y="477"/>
                </a:cubicBezTo>
                <a:cubicBezTo>
                  <a:pt x="1547" y="477"/>
                  <a:pt x="1547" y="477"/>
                  <a:pt x="1546" y="477"/>
                </a:cubicBezTo>
                <a:close/>
                <a:moveTo>
                  <a:pt x="1440" y="258"/>
                </a:moveTo>
                <a:cubicBezTo>
                  <a:pt x="1440" y="258"/>
                  <a:pt x="1440" y="258"/>
                  <a:pt x="1441" y="257"/>
                </a:cubicBezTo>
                <a:cubicBezTo>
                  <a:pt x="1440" y="257"/>
                  <a:pt x="1439" y="256"/>
                  <a:pt x="1438" y="256"/>
                </a:cubicBezTo>
                <a:cubicBezTo>
                  <a:pt x="1438" y="256"/>
                  <a:pt x="1437" y="257"/>
                  <a:pt x="1437" y="257"/>
                </a:cubicBezTo>
                <a:cubicBezTo>
                  <a:pt x="1438" y="258"/>
                  <a:pt x="1438" y="259"/>
                  <a:pt x="1440" y="258"/>
                </a:cubicBezTo>
                <a:close/>
                <a:moveTo>
                  <a:pt x="2429" y="1204"/>
                </a:moveTo>
                <a:cubicBezTo>
                  <a:pt x="2429" y="1203"/>
                  <a:pt x="2429" y="1203"/>
                  <a:pt x="2429" y="1203"/>
                </a:cubicBezTo>
                <a:cubicBezTo>
                  <a:pt x="2428" y="1203"/>
                  <a:pt x="2428" y="1203"/>
                  <a:pt x="2428" y="1203"/>
                </a:cubicBezTo>
                <a:lnTo>
                  <a:pt x="2429" y="1204"/>
                </a:lnTo>
                <a:close/>
                <a:moveTo>
                  <a:pt x="1097" y="1405"/>
                </a:moveTo>
                <a:cubicBezTo>
                  <a:pt x="1097" y="1405"/>
                  <a:pt x="1096" y="1406"/>
                  <a:pt x="1096" y="1406"/>
                </a:cubicBezTo>
                <a:cubicBezTo>
                  <a:pt x="1096" y="1406"/>
                  <a:pt x="1097" y="1407"/>
                  <a:pt x="1097" y="1407"/>
                </a:cubicBezTo>
                <a:cubicBezTo>
                  <a:pt x="1097" y="1407"/>
                  <a:pt x="1098" y="1407"/>
                  <a:pt x="1098" y="1406"/>
                </a:cubicBezTo>
                <a:cubicBezTo>
                  <a:pt x="1098" y="1406"/>
                  <a:pt x="1097" y="1405"/>
                  <a:pt x="1097" y="1405"/>
                </a:cubicBezTo>
                <a:close/>
                <a:moveTo>
                  <a:pt x="2230" y="1106"/>
                </a:moveTo>
                <a:cubicBezTo>
                  <a:pt x="2230" y="1106"/>
                  <a:pt x="2230" y="1106"/>
                  <a:pt x="2230" y="1106"/>
                </a:cubicBezTo>
                <a:cubicBezTo>
                  <a:pt x="2230" y="1106"/>
                  <a:pt x="2230" y="1106"/>
                  <a:pt x="2230" y="1106"/>
                </a:cubicBezTo>
                <a:cubicBezTo>
                  <a:pt x="2230" y="1106"/>
                  <a:pt x="2230" y="1106"/>
                  <a:pt x="2230" y="1105"/>
                </a:cubicBezTo>
                <a:cubicBezTo>
                  <a:pt x="2230" y="1106"/>
                  <a:pt x="2230" y="1106"/>
                  <a:pt x="2230" y="1106"/>
                </a:cubicBezTo>
                <a:close/>
                <a:moveTo>
                  <a:pt x="2227" y="1107"/>
                </a:moveTo>
                <a:cubicBezTo>
                  <a:pt x="2227" y="1107"/>
                  <a:pt x="2228" y="1108"/>
                  <a:pt x="2228" y="1107"/>
                </a:cubicBezTo>
                <a:cubicBezTo>
                  <a:pt x="2228" y="1107"/>
                  <a:pt x="2229" y="1106"/>
                  <a:pt x="2230" y="1106"/>
                </a:cubicBezTo>
                <a:cubicBezTo>
                  <a:pt x="2228" y="1106"/>
                  <a:pt x="2227" y="1106"/>
                  <a:pt x="2227" y="1107"/>
                </a:cubicBezTo>
                <a:close/>
                <a:moveTo>
                  <a:pt x="2330" y="274"/>
                </a:moveTo>
                <a:cubicBezTo>
                  <a:pt x="2330" y="275"/>
                  <a:pt x="2330" y="276"/>
                  <a:pt x="2331" y="277"/>
                </a:cubicBezTo>
                <a:cubicBezTo>
                  <a:pt x="2331" y="277"/>
                  <a:pt x="2332" y="277"/>
                  <a:pt x="2332" y="276"/>
                </a:cubicBezTo>
                <a:cubicBezTo>
                  <a:pt x="2332" y="275"/>
                  <a:pt x="2332" y="274"/>
                  <a:pt x="2331" y="273"/>
                </a:cubicBezTo>
                <a:cubicBezTo>
                  <a:pt x="2330" y="274"/>
                  <a:pt x="2330" y="274"/>
                  <a:pt x="2330" y="274"/>
                </a:cubicBezTo>
                <a:close/>
                <a:moveTo>
                  <a:pt x="2886" y="291"/>
                </a:moveTo>
                <a:cubicBezTo>
                  <a:pt x="2886" y="290"/>
                  <a:pt x="2886" y="290"/>
                  <a:pt x="2885" y="289"/>
                </a:cubicBezTo>
                <a:cubicBezTo>
                  <a:pt x="2885" y="289"/>
                  <a:pt x="2884" y="289"/>
                  <a:pt x="2884" y="289"/>
                </a:cubicBezTo>
                <a:cubicBezTo>
                  <a:pt x="2883" y="290"/>
                  <a:pt x="2883" y="291"/>
                  <a:pt x="2884" y="291"/>
                </a:cubicBezTo>
                <a:cubicBezTo>
                  <a:pt x="2885" y="291"/>
                  <a:pt x="2885" y="291"/>
                  <a:pt x="2886" y="291"/>
                </a:cubicBezTo>
                <a:close/>
                <a:moveTo>
                  <a:pt x="2875" y="294"/>
                </a:moveTo>
                <a:cubicBezTo>
                  <a:pt x="2875" y="294"/>
                  <a:pt x="2875" y="294"/>
                  <a:pt x="2876" y="294"/>
                </a:cubicBezTo>
                <a:cubicBezTo>
                  <a:pt x="2876" y="294"/>
                  <a:pt x="2876" y="294"/>
                  <a:pt x="2876" y="293"/>
                </a:cubicBezTo>
                <a:cubicBezTo>
                  <a:pt x="2875" y="292"/>
                  <a:pt x="2874" y="293"/>
                  <a:pt x="2875" y="294"/>
                </a:cubicBezTo>
                <a:close/>
                <a:moveTo>
                  <a:pt x="4074" y="1544"/>
                </a:moveTo>
                <a:cubicBezTo>
                  <a:pt x="4073" y="1544"/>
                  <a:pt x="4073" y="1543"/>
                  <a:pt x="4073" y="1543"/>
                </a:cubicBezTo>
                <a:cubicBezTo>
                  <a:pt x="4072" y="1543"/>
                  <a:pt x="4071" y="1543"/>
                  <a:pt x="4071" y="1544"/>
                </a:cubicBezTo>
                <a:cubicBezTo>
                  <a:pt x="4072" y="1545"/>
                  <a:pt x="4072" y="1545"/>
                  <a:pt x="4073" y="1545"/>
                </a:cubicBezTo>
                <a:cubicBezTo>
                  <a:pt x="4073" y="1544"/>
                  <a:pt x="4073" y="1544"/>
                  <a:pt x="4074" y="1544"/>
                </a:cubicBezTo>
                <a:close/>
                <a:moveTo>
                  <a:pt x="2025" y="878"/>
                </a:moveTo>
                <a:cubicBezTo>
                  <a:pt x="2025" y="878"/>
                  <a:pt x="2025" y="878"/>
                  <a:pt x="2025" y="878"/>
                </a:cubicBezTo>
                <a:cubicBezTo>
                  <a:pt x="2025" y="878"/>
                  <a:pt x="2025" y="878"/>
                  <a:pt x="2025" y="878"/>
                </a:cubicBezTo>
                <a:cubicBezTo>
                  <a:pt x="2025" y="878"/>
                  <a:pt x="2025" y="877"/>
                  <a:pt x="2025" y="877"/>
                </a:cubicBezTo>
                <a:cubicBezTo>
                  <a:pt x="2025" y="877"/>
                  <a:pt x="2025" y="878"/>
                  <a:pt x="2025" y="878"/>
                </a:cubicBezTo>
                <a:close/>
                <a:moveTo>
                  <a:pt x="2022" y="878"/>
                </a:moveTo>
                <a:cubicBezTo>
                  <a:pt x="2022" y="878"/>
                  <a:pt x="2021" y="878"/>
                  <a:pt x="2021" y="879"/>
                </a:cubicBezTo>
                <a:cubicBezTo>
                  <a:pt x="2021" y="880"/>
                  <a:pt x="2022" y="881"/>
                  <a:pt x="2023" y="880"/>
                </a:cubicBezTo>
                <a:cubicBezTo>
                  <a:pt x="2024" y="880"/>
                  <a:pt x="2024" y="879"/>
                  <a:pt x="2025" y="878"/>
                </a:cubicBezTo>
                <a:cubicBezTo>
                  <a:pt x="2024" y="878"/>
                  <a:pt x="2023" y="877"/>
                  <a:pt x="2022" y="878"/>
                </a:cubicBezTo>
                <a:close/>
                <a:moveTo>
                  <a:pt x="1271" y="1567"/>
                </a:moveTo>
                <a:cubicBezTo>
                  <a:pt x="1272" y="1568"/>
                  <a:pt x="1272" y="1568"/>
                  <a:pt x="1272" y="1567"/>
                </a:cubicBezTo>
                <a:cubicBezTo>
                  <a:pt x="1272" y="1566"/>
                  <a:pt x="1271" y="1566"/>
                  <a:pt x="1271" y="1566"/>
                </a:cubicBezTo>
                <a:cubicBezTo>
                  <a:pt x="1271" y="1566"/>
                  <a:pt x="1271" y="1567"/>
                  <a:pt x="1271" y="1567"/>
                </a:cubicBezTo>
                <a:close/>
                <a:moveTo>
                  <a:pt x="51" y="715"/>
                </a:moveTo>
                <a:cubicBezTo>
                  <a:pt x="51" y="715"/>
                  <a:pt x="52" y="715"/>
                  <a:pt x="52" y="716"/>
                </a:cubicBezTo>
                <a:cubicBezTo>
                  <a:pt x="52" y="716"/>
                  <a:pt x="52" y="715"/>
                  <a:pt x="53" y="715"/>
                </a:cubicBezTo>
                <a:cubicBezTo>
                  <a:pt x="53" y="714"/>
                  <a:pt x="52" y="714"/>
                  <a:pt x="52" y="713"/>
                </a:cubicBezTo>
                <a:cubicBezTo>
                  <a:pt x="52" y="714"/>
                  <a:pt x="51" y="714"/>
                  <a:pt x="51" y="715"/>
                </a:cubicBezTo>
                <a:close/>
                <a:moveTo>
                  <a:pt x="3362" y="1587"/>
                </a:moveTo>
                <a:cubicBezTo>
                  <a:pt x="3362" y="1587"/>
                  <a:pt x="3362" y="1588"/>
                  <a:pt x="3363" y="1588"/>
                </a:cubicBezTo>
                <a:cubicBezTo>
                  <a:pt x="3363" y="1588"/>
                  <a:pt x="3364" y="1587"/>
                  <a:pt x="3364" y="1587"/>
                </a:cubicBezTo>
                <a:cubicBezTo>
                  <a:pt x="3363" y="1586"/>
                  <a:pt x="3363" y="1585"/>
                  <a:pt x="3363" y="1585"/>
                </a:cubicBezTo>
                <a:cubicBezTo>
                  <a:pt x="3362" y="1585"/>
                  <a:pt x="3362" y="1586"/>
                  <a:pt x="3362" y="1587"/>
                </a:cubicBezTo>
                <a:close/>
                <a:moveTo>
                  <a:pt x="460" y="709"/>
                </a:moveTo>
                <a:cubicBezTo>
                  <a:pt x="460" y="709"/>
                  <a:pt x="460" y="708"/>
                  <a:pt x="460" y="708"/>
                </a:cubicBezTo>
                <a:cubicBezTo>
                  <a:pt x="460" y="707"/>
                  <a:pt x="460" y="706"/>
                  <a:pt x="460" y="706"/>
                </a:cubicBezTo>
                <a:cubicBezTo>
                  <a:pt x="459" y="706"/>
                  <a:pt x="459" y="707"/>
                  <a:pt x="459" y="707"/>
                </a:cubicBezTo>
                <a:cubicBezTo>
                  <a:pt x="458" y="709"/>
                  <a:pt x="458" y="709"/>
                  <a:pt x="460" y="709"/>
                </a:cubicBezTo>
                <a:close/>
                <a:moveTo>
                  <a:pt x="3698" y="1623"/>
                </a:moveTo>
                <a:cubicBezTo>
                  <a:pt x="3699" y="1624"/>
                  <a:pt x="3699" y="1624"/>
                  <a:pt x="3699" y="1624"/>
                </a:cubicBezTo>
                <a:cubicBezTo>
                  <a:pt x="3699" y="1623"/>
                  <a:pt x="3699" y="1623"/>
                  <a:pt x="3699" y="1623"/>
                </a:cubicBezTo>
                <a:lnTo>
                  <a:pt x="3698" y="1623"/>
                </a:lnTo>
                <a:close/>
                <a:moveTo>
                  <a:pt x="3383" y="1636"/>
                </a:moveTo>
                <a:cubicBezTo>
                  <a:pt x="3382" y="1636"/>
                  <a:pt x="3381" y="1637"/>
                  <a:pt x="3382" y="1638"/>
                </a:cubicBezTo>
                <a:cubicBezTo>
                  <a:pt x="3382" y="1639"/>
                  <a:pt x="3382" y="1639"/>
                  <a:pt x="3383" y="1639"/>
                </a:cubicBezTo>
                <a:cubicBezTo>
                  <a:pt x="3383" y="1639"/>
                  <a:pt x="3383" y="1638"/>
                  <a:pt x="3384" y="1637"/>
                </a:cubicBezTo>
                <a:cubicBezTo>
                  <a:pt x="3383" y="1637"/>
                  <a:pt x="3383" y="1636"/>
                  <a:pt x="3383" y="1636"/>
                </a:cubicBezTo>
                <a:close/>
                <a:moveTo>
                  <a:pt x="3755" y="1652"/>
                </a:moveTo>
                <a:cubicBezTo>
                  <a:pt x="3755" y="1652"/>
                  <a:pt x="3755" y="1653"/>
                  <a:pt x="3754" y="1653"/>
                </a:cubicBezTo>
                <a:cubicBezTo>
                  <a:pt x="3754" y="1653"/>
                  <a:pt x="3755" y="1654"/>
                  <a:pt x="3755" y="1654"/>
                </a:cubicBezTo>
                <a:cubicBezTo>
                  <a:pt x="3756" y="1654"/>
                  <a:pt x="3756" y="1653"/>
                  <a:pt x="3757" y="1653"/>
                </a:cubicBezTo>
                <a:cubicBezTo>
                  <a:pt x="3756" y="1653"/>
                  <a:pt x="3756" y="1652"/>
                  <a:pt x="3755" y="1652"/>
                </a:cubicBezTo>
                <a:close/>
                <a:moveTo>
                  <a:pt x="3742" y="1663"/>
                </a:moveTo>
                <a:cubicBezTo>
                  <a:pt x="3741" y="1662"/>
                  <a:pt x="3740" y="1662"/>
                  <a:pt x="3741" y="1663"/>
                </a:cubicBezTo>
                <a:cubicBezTo>
                  <a:pt x="3741" y="1664"/>
                  <a:pt x="3741" y="1664"/>
                  <a:pt x="3742" y="1664"/>
                </a:cubicBezTo>
                <a:cubicBezTo>
                  <a:pt x="3742" y="1664"/>
                  <a:pt x="3742" y="1663"/>
                  <a:pt x="3742" y="1663"/>
                </a:cubicBezTo>
                <a:close/>
                <a:moveTo>
                  <a:pt x="3835" y="1677"/>
                </a:moveTo>
                <a:cubicBezTo>
                  <a:pt x="3835" y="1677"/>
                  <a:pt x="3835" y="1678"/>
                  <a:pt x="3836" y="1678"/>
                </a:cubicBezTo>
                <a:cubicBezTo>
                  <a:pt x="3836" y="1678"/>
                  <a:pt x="3836" y="1678"/>
                  <a:pt x="3836" y="1677"/>
                </a:cubicBezTo>
                <a:cubicBezTo>
                  <a:pt x="3836" y="1676"/>
                  <a:pt x="3835" y="1676"/>
                  <a:pt x="3835" y="1677"/>
                </a:cubicBezTo>
                <a:close/>
                <a:moveTo>
                  <a:pt x="1426" y="1731"/>
                </a:moveTo>
                <a:cubicBezTo>
                  <a:pt x="1426" y="1731"/>
                  <a:pt x="1426" y="1731"/>
                  <a:pt x="1426" y="1730"/>
                </a:cubicBezTo>
                <a:cubicBezTo>
                  <a:pt x="1426" y="1731"/>
                  <a:pt x="1426" y="1731"/>
                  <a:pt x="1426" y="1731"/>
                </a:cubicBezTo>
                <a:cubicBezTo>
                  <a:pt x="1426" y="1731"/>
                  <a:pt x="1426" y="1731"/>
                  <a:pt x="1426" y="1731"/>
                </a:cubicBezTo>
                <a:cubicBezTo>
                  <a:pt x="1426" y="1731"/>
                  <a:pt x="1426" y="1731"/>
                  <a:pt x="1426" y="1731"/>
                </a:cubicBezTo>
                <a:close/>
                <a:moveTo>
                  <a:pt x="1432" y="1734"/>
                </a:moveTo>
                <a:cubicBezTo>
                  <a:pt x="1431" y="1731"/>
                  <a:pt x="1429" y="1731"/>
                  <a:pt x="1426" y="1731"/>
                </a:cubicBezTo>
                <a:cubicBezTo>
                  <a:pt x="1428" y="1734"/>
                  <a:pt x="1430" y="1734"/>
                  <a:pt x="1432" y="1734"/>
                </a:cubicBezTo>
                <a:close/>
                <a:moveTo>
                  <a:pt x="3534" y="1741"/>
                </a:moveTo>
                <a:cubicBezTo>
                  <a:pt x="3534" y="1742"/>
                  <a:pt x="3534" y="1743"/>
                  <a:pt x="3533" y="1744"/>
                </a:cubicBezTo>
                <a:cubicBezTo>
                  <a:pt x="3534" y="1744"/>
                  <a:pt x="3535" y="1744"/>
                  <a:pt x="3536" y="1744"/>
                </a:cubicBezTo>
                <a:cubicBezTo>
                  <a:pt x="3536" y="1744"/>
                  <a:pt x="3537" y="1743"/>
                  <a:pt x="3537" y="1743"/>
                </a:cubicBezTo>
                <a:cubicBezTo>
                  <a:pt x="3536" y="1741"/>
                  <a:pt x="3535" y="1741"/>
                  <a:pt x="3534" y="1741"/>
                </a:cubicBezTo>
                <a:close/>
                <a:moveTo>
                  <a:pt x="3532" y="1745"/>
                </a:moveTo>
                <a:cubicBezTo>
                  <a:pt x="3533" y="1744"/>
                  <a:pt x="3533" y="1744"/>
                  <a:pt x="3533" y="1744"/>
                </a:cubicBezTo>
                <a:cubicBezTo>
                  <a:pt x="3533" y="1744"/>
                  <a:pt x="3533" y="1744"/>
                  <a:pt x="3533" y="1744"/>
                </a:cubicBezTo>
                <a:cubicBezTo>
                  <a:pt x="3533" y="1744"/>
                  <a:pt x="3533" y="1744"/>
                  <a:pt x="3533" y="1744"/>
                </a:cubicBezTo>
                <a:cubicBezTo>
                  <a:pt x="3533" y="1744"/>
                  <a:pt x="3533" y="1744"/>
                  <a:pt x="3532" y="1745"/>
                </a:cubicBezTo>
                <a:close/>
                <a:moveTo>
                  <a:pt x="3532" y="1747"/>
                </a:moveTo>
                <a:cubicBezTo>
                  <a:pt x="3532" y="1746"/>
                  <a:pt x="3532" y="1746"/>
                  <a:pt x="3532" y="1745"/>
                </a:cubicBezTo>
                <a:cubicBezTo>
                  <a:pt x="3532" y="1745"/>
                  <a:pt x="3532" y="1746"/>
                  <a:pt x="3531" y="1746"/>
                </a:cubicBezTo>
                <a:cubicBezTo>
                  <a:pt x="3531" y="1746"/>
                  <a:pt x="3532" y="1747"/>
                  <a:pt x="3532" y="1747"/>
                </a:cubicBezTo>
                <a:close/>
                <a:moveTo>
                  <a:pt x="4156" y="1774"/>
                </a:moveTo>
                <a:cubicBezTo>
                  <a:pt x="4156" y="1775"/>
                  <a:pt x="4156" y="1776"/>
                  <a:pt x="4157" y="1775"/>
                </a:cubicBezTo>
                <a:cubicBezTo>
                  <a:pt x="4157" y="1775"/>
                  <a:pt x="4157" y="1775"/>
                  <a:pt x="4158" y="1774"/>
                </a:cubicBezTo>
                <a:cubicBezTo>
                  <a:pt x="4157" y="1774"/>
                  <a:pt x="4157" y="1774"/>
                  <a:pt x="4157" y="1773"/>
                </a:cubicBezTo>
                <a:cubicBezTo>
                  <a:pt x="4156" y="1774"/>
                  <a:pt x="4156" y="1774"/>
                  <a:pt x="4156" y="1774"/>
                </a:cubicBezTo>
                <a:close/>
                <a:moveTo>
                  <a:pt x="3474" y="1781"/>
                </a:moveTo>
                <a:cubicBezTo>
                  <a:pt x="3474" y="1781"/>
                  <a:pt x="3473" y="1782"/>
                  <a:pt x="3473" y="1782"/>
                </a:cubicBezTo>
                <a:cubicBezTo>
                  <a:pt x="3473" y="1782"/>
                  <a:pt x="3474" y="1783"/>
                  <a:pt x="3474" y="1783"/>
                </a:cubicBezTo>
                <a:cubicBezTo>
                  <a:pt x="3474" y="1783"/>
                  <a:pt x="3475" y="1782"/>
                  <a:pt x="3475" y="1782"/>
                </a:cubicBezTo>
                <a:cubicBezTo>
                  <a:pt x="3475" y="1782"/>
                  <a:pt x="3475" y="1781"/>
                  <a:pt x="3474" y="1781"/>
                </a:cubicBezTo>
                <a:close/>
                <a:moveTo>
                  <a:pt x="3765" y="1812"/>
                </a:moveTo>
                <a:cubicBezTo>
                  <a:pt x="3765" y="1814"/>
                  <a:pt x="3766" y="1814"/>
                  <a:pt x="3767" y="1814"/>
                </a:cubicBezTo>
                <a:cubicBezTo>
                  <a:pt x="3767" y="1814"/>
                  <a:pt x="3767" y="1813"/>
                  <a:pt x="3767" y="1813"/>
                </a:cubicBezTo>
                <a:cubicBezTo>
                  <a:pt x="3767" y="1812"/>
                  <a:pt x="3767" y="1812"/>
                  <a:pt x="3766" y="1811"/>
                </a:cubicBezTo>
                <a:cubicBezTo>
                  <a:pt x="3766" y="1812"/>
                  <a:pt x="3766" y="1812"/>
                  <a:pt x="3765" y="1812"/>
                </a:cubicBezTo>
                <a:close/>
                <a:moveTo>
                  <a:pt x="4123" y="1816"/>
                </a:moveTo>
                <a:cubicBezTo>
                  <a:pt x="4123" y="1816"/>
                  <a:pt x="4123" y="1817"/>
                  <a:pt x="4123" y="1817"/>
                </a:cubicBezTo>
                <a:cubicBezTo>
                  <a:pt x="4123" y="1817"/>
                  <a:pt x="4123" y="1817"/>
                  <a:pt x="4124" y="1817"/>
                </a:cubicBezTo>
                <a:cubicBezTo>
                  <a:pt x="4124" y="1817"/>
                  <a:pt x="4124" y="1817"/>
                  <a:pt x="4124" y="1816"/>
                </a:cubicBezTo>
                <a:cubicBezTo>
                  <a:pt x="4124" y="1816"/>
                  <a:pt x="4124" y="1816"/>
                  <a:pt x="4123" y="1816"/>
                </a:cubicBezTo>
                <a:close/>
                <a:moveTo>
                  <a:pt x="3746" y="1824"/>
                </a:moveTo>
                <a:cubicBezTo>
                  <a:pt x="3746" y="1824"/>
                  <a:pt x="3746" y="1824"/>
                  <a:pt x="3746" y="1825"/>
                </a:cubicBezTo>
                <a:cubicBezTo>
                  <a:pt x="3747" y="1825"/>
                  <a:pt x="3747" y="1825"/>
                  <a:pt x="3747" y="1825"/>
                </a:cubicBezTo>
                <a:cubicBezTo>
                  <a:pt x="3747" y="1824"/>
                  <a:pt x="3747" y="1824"/>
                  <a:pt x="3747" y="1823"/>
                </a:cubicBezTo>
                <a:cubicBezTo>
                  <a:pt x="3747" y="1823"/>
                  <a:pt x="3746" y="1823"/>
                  <a:pt x="3746" y="1824"/>
                </a:cubicBezTo>
                <a:close/>
                <a:moveTo>
                  <a:pt x="3788" y="1857"/>
                </a:moveTo>
                <a:cubicBezTo>
                  <a:pt x="3786" y="1858"/>
                  <a:pt x="3787" y="1859"/>
                  <a:pt x="3788" y="1859"/>
                </a:cubicBezTo>
                <a:cubicBezTo>
                  <a:pt x="3788" y="1859"/>
                  <a:pt x="3789" y="1859"/>
                  <a:pt x="3789" y="1858"/>
                </a:cubicBezTo>
                <a:cubicBezTo>
                  <a:pt x="3789" y="1858"/>
                  <a:pt x="3789" y="1858"/>
                  <a:pt x="3789" y="1857"/>
                </a:cubicBezTo>
                <a:cubicBezTo>
                  <a:pt x="3789" y="1857"/>
                  <a:pt x="3788" y="1857"/>
                  <a:pt x="3788" y="1857"/>
                </a:cubicBezTo>
                <a:close/>
                <a:moveTo>
                  <a:pt x="3780" y="1892"/>
                </a:moveTo>
                <a:cubicBezTo>
                  <a:pt x="3780" y="1891"/>
                  <a:pt x="3780" y="1891"/>
                  <a:pt x="3781" y="1890"/>
                </a:cubicBezTo>
                <a:cubicBezTo>
                  <a:pt x="3780" y="1890"/>
                  <a:pt x="3779" y="1890"/>
                  <a:pt x="3778" y="1890"/>
                </a:cubicBezTo>
                <a:cubicBezTo>
                  <a:pt x="3778" y="1890"/>
                  <a:pt x="3777" y="1891"/>
                  <a:pt x="3777" y="1891"/>
                </a:cubicBezTo>
                <a:cubicBezTo>
                  <a:pt x="3778" y="1892"/>
                  <a:pt x="3779" y="1893"/>
                  <a:pt x="3780" y="1892"/>
                </a:cubicBezTo>
                <a:close/>
                <a:moveTo>
                  <a:pt x="2712" y="1911"/>
                </a:moveTo>
                <a:cubicBezTo>
                  <a:pt x="2711" y="1912"/>
                  <a:pt x="2711" y="1912"/>
                  <a:pt x="2711" y="1912"/>
                </a:cubicBezTo>
                <a:cubicBezTo>
                  <a:pt x="2711" y="1912"/>
                  <a:pt x="2711" y="1913"/>
                  <a:pt x="2711" y="1913"/>
                </a:cubicBezTo>
                <a:cubicBezTo>
                  <a:pt x="2711" y="1913"/>
                  <a:pt x="2711" y="1913"/>
                  <a:pt x="2712" y="1913"/>
                </a:cubicBezTo>
                <a:cubicBezTo>
                  <a:pt x="2712" y="1912"/>
                  <a:pt x="2712" y="1912"/>
                  <a:pt x="2712" y="1911"/>
                </a:cubicBezTo>
                <a:close/>
                <a:moveTo>
                  <a:pt x="4389" y="1980"/>
                </a:moveTo>
                <a:cubicBezTo>
                  <a:pt x="4389" y="1980"/>
                  <a:pt x="4389" y="1979"/>
                  <a:pt x="4389" y="1979"/>
                </a:cubicBezTo>
                <a:cubicBezTo>
                  <a:pt x="4389" y="1978"/>
                  <a:pt x="4389" y="1978"/>
                  <a:pt x="4388" y="1978"/>
                </a:cubicBezTo>
                <a:cubicBezTo>
                  <a:pt x="4388" y="1978"/>
                  <a:pt x="4387" y="1978"/>
                  <a:pt x="4387" y="1978"/>
                </a:cubicBezTo>
                <a:cubicBezTo>
                  <a:pt x="4387" y="1980"/>
                  <a:pt x="4387" y="1980"/>
                  <a:pt x="4389" y="1980"/>
                </a:cubicBezTo>
                <a:close/>
                <a:moveTo>
                  <a:pt x="4389" y="2000"/>
                </a:moveTo>
                <a:cubicBezTo>
                  <a:pt x="4389" y="2000"/>
                  <a:pt x="4389" y="2001"/>
                  <a:pt x="4389" y="2001"/>
                </a:cubicBezTo>
                <a:cubicBezTo>
                  <a:pt x="4390" y="2001"/>
                  <a:pt x="4391" y="2001"/>
                  <a:pt x="4392" y="2000"/>
                </a:cubicBezTo>
                <a:cubicBezTo>
                  <a:pt x="4392" y="2000"/>
                  <a:pt x="4391" y="1999"/>
                  <a:pt x="4391" y="1999"/>
                </a:cubicBezTo>
                <a:cubicBezTo>
                  <a:pt x="4390" y="1999"/>
                  <a:pt x="4389" y="1999"/>
                  <a:pt x="4389" y="2000"/>
                </a:cubicBezTo>
                <a:close/>
                <a:moveTo>
                  <a:pt x="4398" y="2018"/>
                </a:moveTo>
                <a:cubicBezTo>
                  <a:pt x="4397" y="2018"/>
                  <a:pt x="4397" y="2018"/>
                  <a:pt x="4397" y="2018"/>
                </a:cubicBezTo>
                <a:cubicBezTo>
                  <a:pt x="4398" y="2019"/>
                  <a:pt x="4398" y="2019"/>
                  <a:pt x="4398" y="2019"/>
                </a:cubicBezTo>
                <a:lnTo>
                  <a:pt x="4398" y="2018"/>
                </a:lnTo>
                <a:close/>
                <a:moveTo>
                  <a:pt x="4378" y="2063"/>
                </a:moveTo>
                <a:cubicBezTo>
                  <a:pt x="4377" y="2063"/>
                  <a:pt x="4376" y="2064"/>
                  <a:pt x="4377" y="2065"/>
                </a:cubicBezTo>
                <a:cubicBezTo>
                  <a:pt x="4377" y="2065"/>
                  <a:pt x="4378" y="2066"/>
                  <a:pt x="4378" y="2066"/>
                </a:cubicBezTo>
                <a:cubicBezTo>
                  <a:pt x="4379" y="2066"/>
                  <a:pt x="4380" y="2065"/>
                  <a:pt x="4379" y="2064"/>
                </a:cubicBezTo>
                <a:cubicBezTo>
                  <a:pt x="4379" y="2063"/>
                  <a:pt x="4378" y="2063"/>
                  <a:pt x="4378" y="2063"/>
                </a:cubicBezTo>
                <a:close/>
                <a:moveTo>
                  <a:pt x="4035" y="2406"/>
                </a:moveTo>
                <a:cubicBezTo>
                  <a:pt x="4035" y="2406"/>
                  <a:pt x="4034" y="2407"/>
                  <a:pt x="4034" y="2407"/>
                </a:cubicBezTo>
                <a:cubicBezTo>
                  <a:pt x="4035" y="2408"/>
                  <a:pt x="4036" y="2409"/>
                  <a:pt x="4037" y="2408"/>
                </a:cubicBezTo>
                <a:cubicBezTo>
                  <a:pt x="4037" y="2408"/>
                  <a:pt x="4038" y="2407"/>
                  <a:pt x="4038" y="2407"/>
                </a:cubicBezTo>
                <a:cubicBezTo>
                  <a:pt x="4038" y="2406"/>
                  <a:pt x="4037" y="2405"/>
                  <a:pt x="4035" y="2406"/>
                </a:cubicBezTo>
                <a:close/>
                <a:moveTo>
                  <a:pt x="2043" y="909"/>
                </a:moveTo>
                <a:cubicBezTo>
                  <a:pt x="2043" y="909"/>
                  <a:pt x="2042" y="908"/>
                  <a:pt x="2042" y="908"/>
                </a:cubicBezTo>
                <a:cubicBezTo>
                  <a:pt x="2042" y="908"/>
                  <a:pt x="2041" y="908"/>
                  <a:pt x="2041" y="908"/>
                </a:cubicBezTo>
                <a:cubicBezTo>
                  <a:pt x="2040" y="909"/>
                  <a:pt x="2040" y="910"/>
                  <a:pt x="2042" y="910"/>
                </a:cubicBezTo>
                <a:cubicBezTo>
                  <a:pt x="2042" y="910"/>
                  <a:pt x="2042" y="909"/>
                  <a:pt x="2043" y="909"/>
                </a:cubicBezTo>
                <a:close/>
                <a:moveTo>
                  <a:pt x="2676" y="556"/>
                </a:moveTo>
                <a:cubicBezTo>
                  <a:pt x="2677" y="556"/>
                  <a:pt x="2677" y="555"/>
                  <a:pt x="2676" y="554"/>
                </a:cubicBezTo>
                <a:cubicBezTo>
                  <a:pt x="2676" y="554"/>
                  <a:pt x="2675" y="554"/>
                  <a:pt x="2675" y="554"/>
                </a:cubicBezTo>
                <a:cubicBezTo>
                  <a:pt x="2674" y="555"/>
                  <a:pt x="2674" y="556"/>
                  <a:pt x="2673" y="556"/>
                </a:cubicBezTo>
                <a:cubicBezTo>
                  <a:pt x="2674" y="556"/>
                  <a:pt x="2675" y="556"/>
                  <a:pt x="2676" y="556"/>
                </a:cubicBezTo>
                <a:close/>
                <a:moveTo>
                  <a:pt x="2673" y="556"/>
                </a:moveTo>
                <a:cubicBezTo>
                  <a:pt x="2673" y="556"/>
                  <a:pt x="2673" y="556"/>
                  <a:pt x="2673" y="556"/>
                </a:cubicBezTo>
                <a:cubicBezTo>
                  <a:pt x="2673" y="556"/>
                  <a:pt x="2673" y="557"/>
                  <a:pt x="2673" y="557"/>
                </a:cubicBezTo>
                <a:cubicBezTo>
                  <a:pt x="2673" y="557"/>
                  <a:pt x="2673" y="557"/>
                  <a:pt x="2673" y="557"/>
                </a:cubicBezTo>
                <a:cubicBezTo>
                  <a:pt x="2673" y="557"/>
                  <a:pt x="2673" y="556"/>
                  <a:pt x="2673" y="556"/>
                </a:cubicBezTo>
                <a:close/>
                <a:moveTo>
                  <a:pt x="2300" y="550"/>
                </a:moveTo>
                <a:cubicBezTo>
                  <a:pt x="2300" y="551"/>
                  <a:pt x="2301" y="551"/>
                  <a:pt x="2301" y="552"/>
                </a:cubicBezTo>
                <a:cubicBezTo>
                  <a:pt x="2301" y="551"/>
                  <a:pt x="2301" y="551"/>
                  <a:pt x="2302" y="551"/>
                </a:cubicBezTo>
                <a:cubicBezTo>
                  <a:pt x="2301" y="549"/>
                  <a:pt x="2301" y="549"/>
                  <a:pt x="2300" y="550"/>
                </a:cubicBezTo>
                <a:close/>
                <a:moveTo>
                  <a:pt x="1324" y="2603"/>
                </a:moveTo>
                <a:cubicBezTo>
                  <a:pt x="1324" y="2603"/>
                  <a:pt x="1324" y="2603"/>
                  <a:pt x="1325" y="2602"/>
                </a:cubicBezTo>
                <a:cubicBezTo>
                  <a:pt x="1324" y="2602"/>
                  <a:pt x="1324" y="2602"/>
                  <a:pt x="1324" y="2602"/>
                </a:cubicBezTo>
                <a:cubicBezTo>
                  <a:pt x="1322" y="2602"/>
                  <a:pt x="1322" y="2602"/>
                  <a:pt x="1324" y="2603"/>
                </a:cubicBezTo>
                <a:close/>
                <a:moveTo>
                  <a:pt x="1524" y="458"/>
                </a:moveTo>
                <a:cubicBezTo>
                  <a:pt x="1524" y="459"/>
                  <a:pt x="1524" y="460"/>
                  <a:pt x="1525" y="460"/>
                </a:cubicBezTo>
                <a:cubicBezTo>
                  <a:pt x="1525" y="459"/>
                  <a:pt x="1525" y="459"/>
                  <a:pt x="1525" y="458"/>
                </a:cubicBezTo>
                <a:cubicBezTo>
                  <a:pt x="1525" y="458"/>
                  <a:pt x="1525" y="458"/>
                  <a:pt x="1524" y="458"/>
                </a:cubicBezTo>
                <a:close/>
                <a:moveTo>
                  <a:pt x="1221" y="500"/>
                </a:moveTo>
                <a:cubicBezTo>
                  <a:pt x="1221" y="500"/>
                  <a:pt x="1221" y="500"/>
                  <a:pt x="1221" y="500"/>
                </a:cubicBezTo>
                <a:cubicBezTo>
                  <a:pt x="1221" y="501"/>
                  <a:pt x="1221" y="501"/>
                  <a:pt x="1221" y="501"/>
                </a:cubicBezTo>
                <a:cubicBezTo>
                  <a:pt x="1221" y="501"/>
                  <a:pt x="1221" y="501"/>
                  <a:pt x="1221" y="501"/>
                </a:cubicBezTo>
                <a:lnTo>
                  <a:pt x="1221" y="500"/>
                </a:lnTo>
                <a:close/>
                <a:moveTo>
                  <a:pt x="4004" y="506"/>
                </a:moveTo>
                <a:cubicBezTo>
                  <a:pt x="4004" y="506"/>
                  <a:pt x="4004" y="506"/>
                  <a:pt x="4003" y="507"/>
                </a:cubicBezTo>
                <a:cubicBezTo>
                  <a:pt x="4004" y="506"/>
                  <a:pt x="4004" y="506"/>
                  <a:pt x="4004" y="506"/>
                </a:cubicBezTo>
                <a:cubicBezTo>
                  <a:pt x="4004" y="506"/>
                  <a:pt x="4004" y="506"/>
                  <a:pt x="4004" y="506"/>
                </a:cubicBezTo>
                <a:close/>
                <a:moveTo>
                  <a:pt x="4003" y="507"/>
                </a:moveTo>
                <a:cubicBezTo>
                  <a:pt x="4003" y="507"/>
                  <a:pt x="4003" y="507"/>
                  <a:pt x="4002" y="507"/>
                </a:cubicBezTo>
                <a:cubicBezTo>
                  <a:pt x="4002" y="507"/>
                  <a:pt x="4002" y="507"/>
                  <a:pt x="4002" y="507"/>
                </a:cubicBezTo>
                <a:cubicBezTo>
                  <a:pt x="4003" y="507"/>
                  <a:pt x="4003" y="507"/>
                  <a:pt x="4003" y="507"/>
                </a:cubicBezTo>
                <a:cubicBezTo>
                  <a:pt x="4003" y="507"/>
                  <a:pt x="4003" y="507"/>
                  <a:pt x="4003" y="507"/>
                </a:cubicBezTo>
                <a:close/>
                <a:moveTo>
                  <a:pt x="2333" y="533"/>
                </a:moveTo>
                <a:cubicBezTo>
                  <a:pt x="2333" y="533"/>
                  <a:pt x="2332" y="533"/>
                  <a:pt x="2332" y="533"/>
                </a:cubicBezTo>
                <a:cubicBezTo>
                  <a:pt x="2332" y="533"/>
                  <a:pt x="2332" y="533"/>
                  <a:pt x="2332" y="534"/>
                </a:cubicBezTo>
                <a:cubicBezTo>
                  <a:pt x="2332" y="534"/>
                  <a:pt x="2332" y="534"/>
                  <a:pt x="2333" y="534"/>
                </a:cubicBezTo>
                <a:cubicBezTo>
                  <a:pt x="2333" y="533"/>
                  <a:pt x="2333" y="533"/>
                  <a:pt x="2333" y="533"/>
                </a:cubicBezTo>
                <a:close/>
                <a:moveTo>
                  <a:pt x="2333" y="532"/>
                </a:moveTo>
                <a:cubicBezTo>
                  <a:pt x="2333" y="533"/>
                  <a:pt x="2333" y="533"/>
                  <a:pt x="2333" y="533"/>
                </a:cubicBezTo>
                <a:cubicBezTo>
                  <a:pt x="2334" y="533"/>
                  <a:pt x="2334" y="533"/>
                  <a:pt x="2333" y="532"/>
                </a:cubicBezTo>
                <a:close/>
                <a:moveTo>
                  <a:pt x="2428" y="1148"/>
                </a:moveTo>
                <a:cubicBezTo>
                  <a:pt x="2428" y="1149"/>
                  <a:pt x="2428" y="1149"/>
                  <a:pt x="2428" y="1149"/>
                </a:cubicBezTo>
                <a:cubicBezTo>
                  <a:pt x="2428" y="1149"/>
                  <a:pt x="2429" y="1149"/>
                  <a:pt x="2429" y="1149"/>
                </a:cubicBezTo>
                <a:cubicBezTo>
                  <a:pt x="2429" y="1149"/>
                  <a:pt x="2429" y="1149"/>
                  <a:pt x="2428" y="1148"/>
                </a:cubicBezTo>
                <a:close/>
                <a:moveTo>
                  <a:pt x="2284" y="1223"/>
                </a:moveTo>
                <a:cubicBezTo>
                  <a:pt x="2285" y="1223"/>
                  <a:pt x="2285" y="1223"/>
                  <a:pt x="2285" y="1223"/>
                </a:cubicBezTo>
                <a:cubicBezTo>
                  <a:pt x="2285" y="1223"/>
                  <a:pt x="2285" y="1223"/>
                  <a:pt x="2285" y="1223"/>
                </a:cubicBezTo>
                <a:lnTo>
                  <a:pt x="2284" y="1223"/>
                </a:lnTo>
                <a:close/>
                <a:moveTo>
                  <a:pt x="1108" y="1413"/>
                </a:moveTo>
                <a:cubicBezTo>
                  <a:pt x="1108" y="1413"/>
                  <a:pt x="1108" y="1413"/>
                  <a:pt x="1108" y="1413"/>
                </a:cubicBezTo>
                <a:cubicBezTo>
                  <a:pt x="1108" y="1412"/>
                  <a:pt x="1108" y="1412"/>
                  <a:pt x="1108" y="1413"/>
                </a:cubicBezTo>
                <a:close/>
                <a:moveTo>
                  <a:pt x="1252" y="1481"/>
                </a:moveTo>
                <a:cubicBezTo>
                  <a:pt x="1253" y="1481"/>
                  <a:pt x="1253" y="1481"/>
                  <a:pt x="1253" y="1481"/>
                </a:cubicBezTo>
                <a:cubicBezTo>
                  <a:pt x="1253" y="1480"/>
                  <a:pt x="1253" y="1480"/>
                  <a:pt x="1253" y="1480"/>
                </a:cubicBezTo>
                <a:lnTo>
                  <a:pt x="1252" y="1481"/>
                </a:lnTo>
                <a:close/>
                <a:moveTo>
                  <a:pt x="2119" y="1174"/>
                </a:moveTo>
                <a:cubicBezTo>
                  <a:pt x="2120" y="1173"/>
                  <a:pt x="2120" y="1173"/>
                  <a:pt x="2120" y="1173"/>
                </a:cubicBezTo>
                <a:cubicBezTo>
                  <a:pt x="2119" y="1173"/>
                  <a:pt x="2119" y="1173"/>
                  <a:pt x="2119" y="1173"/>
                </a:cubicBezTo>
                <a:lnTo>
                  <a:pt x="2119" y="1174"/>
                </a:lnTo>
                <a:close/>
                <a:moveTo>
                  <a:pt x="1799" y="52"/>
                </a:moveTo>
                <a:cubicBezTo>
                  <a:pt x="1798" y="53"/>
                  <a:pt x="1799" y="53"/>
                  <a:pt x="1800" y="54"/>
                </a:cubicBezTo>
                <a:cubicBezTo>
                  <a:pt x="1800" y="53"/>
                  <a:pt x="1800" y="53"/>
                  <a:pt x="1800" y="53"/>
                </a:cubicBezTo>
                <a:cubicBezTo>
                  <a:pt x="1799" y="52"/>
                  <a:pt x="1799" y="52"/>
                  <a:pt x="1799" y="52"/>
                </a:cubicBezTo>
                <a:close/>
                <a:moveTo>
                  <a:pt x="3920" y="881"/>
                </a:moveTo>
                <a:cubicBezTo>
                  <a:pt x="3920" y="881"/>
                  <a:pt x="3920" y="881"/>
                  <a:pt x="3920" y="881"/>
                </a:cubicBezTo>
                <a:cubicBezTo>
                  <a:pt x="3920" y="881"/>
                  <a:pt x="3920" y="881"/>
                  <a:pt x="3920" y="881"/>
                </a:cubicBezTo>
                <a:cubicBezTo>
                  <a:pt x="3920" y="881"/>
                  <a:pt x="3920" y="881"/>
                  <a:pt x="3920" y="881"/>
                </a:cubicBezTo>
                <a:cubicBezTo>
                  <a:pt x="3920" y="881"/>
                  <a:pt x="3920" y="881"/>
                  <a:pt x="3920" y="881"/>
                </a:cubicBezTo>
                <a:close/>
                <a:moveTo>
                  <a:pt x="3923" y="884"/>
                </a:moveTo>
                <a:cubicBezTo>
                  <a:pt x="3923" y="882"/>
                  <a:pt x="3922" y="881"/>
                  <a:pt x="3920" y="881"/>
                </a:cubicBezTo>
                <a:cubicBezTo>
                  <a:pt x="3921" y="882"/>
                  <a:pt x="3921" y="883"/>
                  <a:pt x="3923" y="884"/>
                </a:cubicBezTo>
                <a:close/>
                <a:moveTo>
                  <a:pt x="136" y="703"/>
                </a:moveTo>
                <a:cubicBezTo>
                  <a:pt x="136" y="702"/>
                  <a:pt x="136" y="702"/>
                  <a:pt x="136" y="702"/>
                </a:cubicBezTo>
                <a:cubicBezTo>
                  <a:pt x="136" y="702"/>
                  <a:pt x="136" y="702"/>
                  <a:pt x="136" y="702"/>
                </a:cubicBezTo>
                <a:cubicBezTo>
                  <a:pt x="136" y="702"/>
                  <a:pt x="136" y="702"/>
                  <a:pt x="136" y="703"/>
                </a:cubicBezTo>
                <a:close/>
                <a:moveTo>
                  <a:pt x="135" y="703"/>
                </a:moveTo>
                <a:cubicBezTo>
                  <a:pt x="135" y="703"/>
                  <a:pt x="136" y="703"/>
                  <a:pt x="136" y="703"/>
                </a:cubicBezTo>
                <a:cubicBezTo>
                  <a:pt x="135" y="703"/>
                  <a:pt x="134" y="703"/>
                  <a:pt x="135" y="703"/>
                </a:cubicBezTo>
                <a:close/>
                <a:moveTo>
                  <a:pt x="3924" y="884"/>
                </a:moveTo>
                <a:cubicBezTo>
                  <a:pt x="3924" y="884"/>
                  <a:pt x="3924" y="884"/>
                  <a:pt x="3924" y="884"/>
                </a:cubicBezTo>
                <a:cubicBezTo>
                  <a:pt x="3923" y="884"/>
                  <a:pt x="3923" y="884"/>
                  <a:pt x="3923" y="884"/>
                </a:cubicBezTo>
                <a:cubicBezTo>
                  <a:pt x="3923" y="884"/>
                  <a:pt x="3923" y="884"/>
                  <a:pt x="3923" y="884"/>
                </a:cubicBezTo>
                <a:cubicBezTo>
                  <a:pt x="3923" y="884"/>
                  <a:pt x="3924" y="884"/>
                  <a:pt x="3924" y="884"/>
                </a:cubicBezTo>
                <a:close/>
                <a:moveTo>
                  <a:pt x="3926" y="887"/>
                </a:moveTo>
                <a:cubicBezTo>
                  <a:pt x="3926" y="886"/>
                  <a:pt x="3925" y="885"/>
                  <a:pt x="3924" y="884"/>
                </a:cubicBezTo>
                <a:cubicBezTo>
                  <a:pt x="3924" y="886"/>
                  <a:pt x="3925" y="886"/>
                  <a:pt x="3926" y="887"/>
                </a:cubicBezTo>
                <a:close/>
                <a:moveTo>
                  <a:pt x="3819" y="1689"/>
                </a:moveTo>
                <a:cubicBezTo>
                  <a:pt x="3819" y="1690"/>
                  <a:pt x="3819" y="1690"/>
                  <a:pt x="3819" y="1690"/>
                </a:cubicBezTo>
                <a:cubicBezTo>
                  <a:pt x="3819" y="1689"/>
                  <a:pt x="3819" y="1689"/>
                  <a:pt x="3819" y="1689"/>
                </a:cubicBezTo>
                <a:close/>
                <a:moveTo>
                  <a:pt x="3412" y="1700"/>
                </a:moveTo>
                <a:cubicBezTo>
                  <a:pt x="3413" y="1700"/>
                  <a:pt x="3413" y="1700"/>
                  <a:pt x="3413" y="1700"/>
                </a:cubicBezTo>
                <a:cubicBezTo>
                  <a:pt x="3412" y="1698"/>
                  <a:pt x="3412" y="1698"/>
                  <a:pt x="3412" y="1698"/>
                </a:cubicBezTo>
                <a:lnTo>
                  <a:pt x="3412" y="1700"/>
                </a:lnTo>
                <a:close/>
                <a:moveTo>
                  <a:pt x="3854" y="1748"/>
                </a:moveTo>
                <a:cubicBezTo>
                  <a:pt x="3854" y="1747"/>
                  <a:pt x="3854" y="1747"/>
                  <a:pt x="3854" y="1747"/>
                </a:cubicBezTo>
                <a:cubicBezTo>
                  <a:pt x="3854" y="1747"/>
                  <a:pt x="3854" y="1747"/>
                  <a:pt x="3854" y="1747"/>
                </a:cubicBezTo>
                <a:cubicBezTo>
                  <a:pt x="3854" y="1747"/>
                  <a:pt x="3854" y="1747"/>
                  <a:pt x="3854" y="1747"/>
                </a:cubicBezTo>
                <a:cubicBezTo>
                  <a:pt x="3854" y="1747"/>
                  <a:pt x="3854" y="1747"/>
                  <a:pt x="3854" y="1748"/>
                </a:cubicBezTo>
                <a:close/>
                <a:moveTo>
                  <a:pt x="3855" y="1748"/>
                </a:moveTo>
                <a:cubicBezTo>
                  <a:pt x="3855" y="1748"/>
                  <a:pt x="3855" y="1748"/>
                  <a:pt x="3854" y="1748"/>
                </a:cubicBezTo>
                <a:cubicBezTo>
                  <a:pt x="3854" y="1748"/>
                  <a:pt x="3855" y="1749"/>
                  <a:pt x="3855" y="1748"/>
                </a:cubicBezTo>
                <a:close/>
                <a:moveTo>
                  <a:pt x="189" y="669"/>
                </a:moveTo>
                <a:cubicBezTo>
                  <a:pt x="189" y="669"/>
                  <a:pt x="189" y="669"/>
                  <a:pt x="189" y="669"/>
                </a:cubicBezTo>
                <a:cubicBezTo>
                  <a:pt x="189" y="669"/>
                  <a:pt x="189" y="669"/>
                  <a:pt x="189" y="669"/>
                </a:cubicBezTo>
                <a:cubicBezTo>
                  <a:pt x="189" y="669"/>
                  <a:pt x="189" y="669"/>
                  <a:pt x="189" y="669"/>
                </a:cubicBezTo>
                <a:close/>
                <a:moveTo>
                  <a:pt x="1531" y="139"/>
                </a:moveTo>
                <a:cubicBezTo>
                  <a:pt x="1531" y="139"/>
                  <a:pt x="1532" y="140"/>
                  <a:pt x="1532" y="140"/>
                </a:cubicBezTo>
                <a:cubicBezTo>
                  <a:pt x="1532" y="140"/>
                  <a:pt x="1532" y="140"/>
                  <a:pt x="1532" y="140"/>
                </a:cubicBezTo>
                <a:cubicBezTo>
                  <a:pt x="1532" y="140"/>
                  <a:pt x="1532" y="140"/>
                  <a:pt x="1532" y="139"/>
                </a:cubicBezTo>
                <a:cubicBezTo>
                  <a:pt x="1532" y="139"/>
                  <a:pt x="1532" y="139"/>
                  <a:pt x="1531" y="139"/>
                </a:cubicBezTo>
                <a:close/>
                <a:moveTo>
                  <a:pt x="4167" y="1776"/>
                </a:moveTo>
                <a:cubicBezTo>
                  <a:pt x="4168" y="1777"/>
                  <a:pt x="4168" y="1777"/>
                  <a:pt x="4168" y="1777"/>
                </a:cubicBezTo>
                <a:cubicBezTo>
                  <a:pt x="4168" y="1777"/>
                  <a:pt x="4168" y="1777"/>
                  <a:pt x="4169" y="1777"/>
                </a:cubicBezTo>
                <a:cubicBezTo>
                  <a:pt x="4169" y="1777"/>
                  <a:pt x="4168" y="1777"/>
                  <a:pt x="4168" y="1777"/>
                </a:cubicBezTo>
                <a:lnTo>
                  <a:pt x="4167" y="1776"/>
                </a:lnTo>
                <a:close/>
                <a:moveTo>
                  <a:pt x="3764" y="1543"/>
                </a:moveTo>
                <a:cubicBezTo>
                  <a:pt x="3764" y="1542"/>
                  <a:pt x="3765" y="1542"/>
                  <a:pt x="3765" y="1542"/>
                </a:cubicBezTo>
                <a:cubicBezTo>
                  <a:pt x="3765" y="1542"/>
                  <a:pt x="3765" y="1542"/>
                  <a:pt x="3765" y="1542"/>
                </a:cubicBezTo>
                <a:cubicBezTo>
                  <a:pt x="3764" y="1542"/>
                  <a:pt x="3764" y="1542"/>
                  <a:pt x="3764" y="1542"/>
                </a:cubicBezTo>
                <a:cubicBezTo>
                  <a:pt x="3764" y="1542"/>
                  <a:pt x="3764" y="1542"/>
                  <a:pt x="3764" y="1543"/>
                </a:cubicBezTo>
                <a:close/>
                <a:moveTo>
                  <a:pt x="3764" y="1544"/>
                </a:moveTo>
                <a:cubicBezTo>
                  <a:pt x="3764" y="1544"/>
                  <a:pt x="3764" y="1543"/>
                  <a:pt x="3764" y="1543"/>
                </a:cubicBezTo>
                <a:cubicBezTo>
                  <a:pt x="3764" y="1543"/>
                  <a:pt x="3763" y="1543"/>
                  <a:pt x="3762" y="1543"/>
                </a:cubicBezTo>
                <a:cubicBezTo>
                  <a:pt x="3763" y="1544"/>
                  <a:pt x="3763" y="1544"/>
                  <a:pt x="3764" y="1544"/>
                </a:cubicBezTo>
                <a:close/>
                <a:moveTo>
                  <a:pt x="3927" y="888"/>
                </a:moveTo>
                <a:cubicBezTo>
                  <a:pt x="3927" y="888"/>
                  <a:pt x="3927" y="887"/>
                  <a:pt x="3927" y="887"/>
                </a:cubicBezTo>
                <a:cubicBezTo>
                  <a:pt x="3926" y="887"/>
                  <a:pt x="3926" y="887"/>
                  <a:pt x="3926" y="887"/>
                </a:cubicBezTo>
                <a:cubicBezTo>
                  <a:pt x="3926" y="887"/>
                  <a:pt x="3926" y="887"/>
                  <a:pt x="3926" y="887"/>
                </a:cubicBezTo>
                <a:cubicBezTo>
                  <a:pt x="3927" y="888"/>
                  <a:pt x="3927" y="888"/>
                  <a:pt x="3927" y="888"/>
                </a:cubicBezTo>
                <a:close/>
                <a:moveTo>
                  <a:pt x="4244" y="1833"/>
                </a:moveTo>
                <a:cubicBezTo>
                  <a:pt x="4244" y="1833"/>
                  <a:pt x="4244" y="1832"/>
                  <a:pt x="4244" y="1832"/>
                </a:cubicBezTo>
                <a:cubicBezTo>
                  <a:pt x="4244" y="1832"/>
                  <a:pt x="4243" y="1832"/>
                  <a:pt x="4243" y="1832"/>
                </a:cubicBezTo>
                <a:cubicBezTo>
                  <a:pt x="4242" y="1833"/>
                  <a:pt x="4243" y="1833"/>
                  <a:pt x="4244" y="1833"/>
                </a:cubicBezTo>
                <a:close/>
                <a:moveTo>
                  <a:pt x="2578" y="161"/>
                </a:moveTo>
                <a:cubicBezTo>
                  <a:pt x="2579" y="162"/>
                  <a:pt x="2579" y="162"/>
                  <a:pt x="2579" y="162"/>
                </a:cubicBezTo>
                <a:cubicBezTo>
                  <a:pt x="2579" y="161"/>
                  <a:pt x="2579" y="161"/>
                  <a:pt x="2579" y="161"/>
                </a:cubicBezTo>
                <a:lnTo>
                  <a:pt x="2578" y="161"/>
                </a:lnTo>
                <a:close/>
                <a:moveTo>
                  <a:pt x="4250" y="1849"/>
                </a:moveTo>
                <a:cubicBezTo>
                  <a:pt x="4251" y="1850"/>
                  <a:pt x="4251" y="1850"/>
                  <a:pt x="4251" y="1850"/>
                </a:cubicBezTo>
                <a:cubicBezTo>
                  <a:pt x="4251" y="1850"/>
                  <a:pt x="4251" y="1850"/>
                  <a:pt x="4251" y="1850"/>
                </a:cubicBezTo>
                <a:cubicBezTo>
                  <a:pt x="4251" y="1850"/>
                  <a:pt x="4251" y="1850"/>
                  <a:pt x="4251" y="1849"/>
                </a:cubicBezTo>
                <a:lnTo>
                  <a:pt x="4250" y="1849"/>
                </a:lnTo>
                <a:close/>
                <a:moveTo>
                  <a:pt x="3785" y="1886"/>
                </a:moveTo>
                <a:cubicBezTo>
                  <a:pt x="3785" y="1886"/>
                  <a:pt x="3785" y="1886"/>
                  <a:pt x="3785" y="1886"/>
                </a:cubicBezTo>
                <a:cubicBezTo>
                  <a:pt x="3785" y="1886"/>
                  <a:pt x="3785" y="1886"/>
                  <a:pt x="3784" y="1886"/>
                </a:cubicBezTo>
                <a:cubicBezTo>
                  <a:pt x="3783" y="1887"/>
                  <a:pt x="3782" y="1888"/>
                  <a:pt x="3781" y="1889"/>
                </a:cubicBezTo>
                <a:cubicBezTo>
                  <a:pt x="3781" y="1889"/>
                  <a:pt x="3781" y="1890"/>
                  <a:pt x="3781" y="1890"/>
                </a:cubicBezTo>
                <a:cubicBezTo>
                  <a:pt x="3781" y="1890"/>
                  <a:pt x="3781" y="1890"/>
                  <a:pt x="3781" y="1890"/>
                </a:cubicBezTo>
                <a:cubicBezTo>
                  <a:pt x="3782" y="1889"/>
                  <a:pt x="3784" y="1887"/>
                  <a:pt x="3785" y="1886"/>
                </a:cubicBezTo>
                <a:close/>
                <a:moveTo>
                  <a:pt x="2755" y="1919"/>
                </a:moveTo>
                <a:cubicBezTo>
                  <a:pt x="2756" y="1919"/>
                  <a:pt x="2756" y="1919"/>
                  <a:pt x="2756" y="1919"/>
                </a:cubicBezTo>
                <a:cubicBezTo>
                  <a:pt x="2756" y="1919"/>
                  <a:pt x="2756" y="1919"/>
                  <a:pt x="2756" y="1919"/>
                </a:cubicBezTo>
                <a:cubicBezTo>
                  <a:pt x="2756" y="1919"/>
                  <a:pt x="2756" y="1919"/>
                  <a:pt x="2756" y="1919"/>
                </a:cubicBezTo>
                <a:lnTo>
                  <a:pt x="2755" y="1919"/>
                </a:lnTo>
                <a:close/>
                <a:moveTo>
                  <a:pt x="1156" y="215"/>
                </a:moveTo>
                <a:cubicBezTo>
                  <a:pt x="1154" y="216"/>
                  <a:pt x="1154" y="216"/>
                  <a:pt x="1154" y="216"/>
                </a:cubicBezTo>
                <a:cubicBezTo>
                  <a:pt x="1155" y="216"/>
                  <a:pt x="1155" y="216"/>
                  <a:pt x="1155" y="216"/>
                </a:cubicBezTo>
                <a:cubicBezTo>
                  <a:pt x="1155" y="216"/>
                  <a:pt x="1155" y="216"/>
                  <a:pt x="1155" y="216"/>
                </a:cubicBezTo>
                <a:lnTo>
                  <a:pt x="1156" y="215"/>
                </a:lnTo>
                <a:close/>
                <a:moveTo>
                  <a:pt x="2330" y="218"/>
                </a:moveTo>
                <a:cubicBezTo>
                  <a:pt x="2330" y="218"/>
                  <a:pt x="2330" y="219"/>
                  <a:pt x="2329" y="219"/>
                </a:cubicBezTo>
                <a:cubicBezTo>
                  <a:pt x="2330" y="218"/>
                  <a:pt x="2330" y="218"/>
                  <a:pt x="2330" y="218"/>
                </a:cubicBezTo>
                <a:close/>
                <a:moveTo>
                  <a:pt x="2329" y="219"/>
                </a:moveTo>
                <a:cubicBezTo>
                  <a:pt x="2329" y="219"/>
                  <a:pt x="2329" y="219"/>
                  <a:pt x="2329" y="219"/>
                </a:cubicBezTo>
                <a:cubicBezTo>
                  <a:pt x="2329" y="219"/>
                  <a:pt x="2329" y="219"/>
                  <a:pt x="2329" y="219"/>
                </a:cubicBezTo>
                <a:cubicBezTo>
                  <a:pt x="2329" y="219"/>
                  <a:pt x="2329" y="220"/>
                  <a:pt x="2329" y="220"/>
                </a:cubicBezTo>
                <a:cubicBezTo>
                  <a:pt x="2329" y="219"/>
                  <a:pt x="2329" y="219"/>
                  <a:pt x="2329" y="219"/>
                </a:cubicBezTo>
                <a:close/>
                <a:moveTo>
                  <a:pt x="3007" y="226"/>
                </a:moveTo>
                <a:cubicBezTo>
                  <a:pt x="3008" y="226"/>
                  <a:pt x="3008" y="226"/>
                  <a:pt x="3008" y="226"/>
                </a:cubicBezTo>
                <a:cubicBezTo>
                  <a:pt x="3007" y="226"/>
                  <a:pt x="3007" y="226"/>
                  <a:pt x="3007" y="226"/>
                </a:cubicBezTo>
                <a:cubicBezTo>
                  <a:pt x="3006" y="225"/>
                  <a:pt x="3006" y="225"/>
                  <a:pt x="3006" y="225"/>
                </a:cubicBezTo>
                <a:lnTo>
                  <a:pt x="3007" y="226"/>
                </a:lnTo>
                <a:close/>
                <a:moveTo>
                  <a:pt x="351" y="597"/>
                </a:moveTo>
                <a:cubicBezTo>
                  <a:pt x="351" y="598"/>
                  <a:pt x="351" y="598"/>
                  <a:pt x="351" y="598"/>
                </a:cubicBezTo>
                <a:cubicBezTo>
                  <a:pt x="351" y="598"/>
                  <a:pt x="351" y="597"/>
                  <a:pt x="351" y="597"/>
                </a:cubicBezTo>
                <a:cubicBezTo>
                  <a:pt x="351" y="597"/>
                  <a:pt x="351" y="597"/>
                  <a:pt x="351" y="597"/>
                </a:cubicBezTo>
                <a:close/>
                <a:moveTo>
                  <a:pt x="351" y="598"/>
                </a:moveTo>
                <a:cubicBezTo>
                  <a:pt x="351" y="600"/>
                  <a:pt x="351" y="600"/>
                  <a:pt x="351" y="600"/>
                </a:cubicBezTo>
                <a:cubicBezTo>
                  <a:pt x="351" y="600"/>
                  <a:pt x="351" y="600"/>
                  <a:pt x="351" y="600"/>
                </a:cubicBezTo>
                <a:cubicBezTo>
                  <a:pt x="350" y="601"/>
                  <a:pt x="348" y="603"/>
                  <a:pt x="347" y="605"/>
                </a:cubicBezTo>
                <a:cubicBezTo>
                  <a:pt x="345" y="606"/>
                  <a:pt x="345" y="608"/>
                  <a:pt x="347" y="609"/>
                </a:cubicBezTo>
                <a:cubicBezTo>
                  <a:pt x="348" y="609"/>
                  <a:pt x="349" y="609"/>
                  <a:pt x="350" y="609"/>
                </a:cubicBezTo>
                <a:cubicBezTo>
                  <a:pt x="354" y="606"/>
                  <a:pt x="357" y="603"/>
                  <a:pt x="359" y="599"/>
                </a:cubicBezTo>
                <a:cubicBezTo>
                  <a:pt x="360" y="598"/>
                  <a:pt x="359" y="597"/>
                  <a:pt x="358" y="597"/>
                </a:cubicBezTo>
                <a:cubicBezTo>
                  <a:pt x="356" y="597"/>
                  <a:pt x="355" y="597"/>
                  <a:pt x="354" y="596"/>
                </a:cubicBezTo>
                <a:cubicBezTo>
                  <a:pt x="353" y="597"/>
                  <a:pt x="352" y="598"/>
                  <a:pt x="351" y="599"/>
                </a:cubicBezTo>
                <a:cubicBezTo>
                  <a:pt x="351" y="599"/>
                  <a:pt x="351" y="599"/>
                  <a:pt x="351" y="598"/>
                </a:cubicBezTo>
                <a:close/>
                <a:moveTo>
                  <a:pt x="3336" y="252"/>
                </a:moveTo>
                <a:cubicBezTo>
                  <a:pt x="3336" y="252"/>
                  <a:pt x="3337" y="251"/>
                  <a:pt x="3337" y="251"/>
                </a:cubicBezTo>
                <a:cubicBezTo>
                  <a:pt x="3337" y="250"/>
                  <a:pt x="3337" y="250"/>
                  <a:pt x="3336" y="250"/>
                </a:cubicBezTo>
                <a:cubicBezTo>
                  <a:pt x="3336" y="250"/>
                  <a:pt x="3335" y="250"/>
                  <a:pt x="3335" y="251"/>
                </a:cubicBezTo>
                <a:cubicBezTo>
                  <a:pt x="3335" y="251"/>
                  <a:pt x="3336" y="252"/>
                  <a:pt x="3336" y="252"/>
                </a:cubicBezTo>
                <a:close/>
                <a:moveTo>
                  <a:pt x="505" y="850"/>
                </a:moveTo>
                <a:cubicBezTo>
                  <a:pt x="505" y="850"/>
                  <a:pt x="506" y="850"/>
                  <a:pt x="506" y="851"/>
                </a:cubicBezTo>
                <a:cubicBezTo>
                  <a:pt x="506" y="850"/>
                  <a:pt x="507" y="848"/>
                  <a:pt x="505" y="850"/>
                </a:cubicBezTo>
                <a:close/>
                <a:moveTo>
                  <a:pt x="1406" y="587"/>
                </a:moveTo>
                <a:cubicBezTo>
                  <a:pt x="1406" y="588"/>
                  <a:pt x="1406" y="588"/>
                  <a:pt x="1406" y="589"/>
                </a:cubicBezTo>
                <a:cubicBezTo>
                  <a:pt x="1408" y="588"/>
                  <a:pt x="1408" y="588"/>
                  <a:pt x="1406" y="587"/>
                </a:cubicBezTo>
                <a:close/>
                <a:moveTo>
                  <a:pt x="3222" y="285"/>
                </a:moveTo>
                <a:cubicBezTo>
                  <a:pt x="3222" y="285"/>
                  <a:pt x="3222" y="285"/>
                  <a:pt x="3222" y="286"/>
                </a:cubicBezTo>
                <a:cubicBezTo>
                  <a:pt x="3222" y="286"/>
                  <a:pt x="3222" y="286"/>
                  <a:pt x="3222" y="286"/>
                </a:cubicBezTo>
                <a:cubicBezTo>
                  <a:pt x="3222" y="285"/>
                  <a:pt x="3222" y="285"/>
                  <a:pt x="3222" y="285"/>
                </a:cubicBezTo>
                <a:cubicBezTo>
                  <a:pt x="3222" y="285"/>
                  <a:pt x="3222" y="285"/>
                  <a:pt x="3222" y="285"/>
                </a:cubicBezTo>
                <a:close/>
                <a:moveTo>
                  <a:pt x="3221" y="285"/>
                </a:moveTo>
                <a:cubicBezTo>
                  <a:pt x="3221" y="285"/>
                  <a:pt x="3221" y="285"/>
                  <a:pt x="3222" y="285"/>
                </a:cubicBezTo>
                <a:cubicBezTo>
                  <a:pt x="3222" y="284"/>
                  <a:pt x="3221" y="284"/>
                  <a:pt x="3221" y="285"/>
                </a:cubicBezTo>
                <a:close/>
                <a:moveTo>
                  <a:pt x="1338" y="290"/>
                </a:moveTo>
                <a:cubicBezTo>
                  <a:pt x="1337" y="290"/>
                  <a:pt x="1337" y="291"/>
                  <a:pt x="1337" y="292"/>
                </a:cubicBezTo>
                <a:cubicBezTo>
                  <a:pt x="1338" y="291"/>
                  <a:pt x="1338" y="291"/>
                  <a:pt x="1339" y="291"/>
                </a:cubicBezTo>
                <a:cubicBezTo>
                  <a:pt x="1339" y="290"/>
                  <a:pt x="1338" y="290"/>
                  <a:pt x="1338" y="290"/>
                </a:cubicBezTo>
                <a:close/>
                <a:moveTo>
                  <a:pt x="1131" y="297"/>
                </a:moveTo>
                <a:cubicBezTo>
                  <a:pt x="1130" y="296"/>
                  <a:pt x="1130" y="296"/>
                  <a:pt x="1130" y="296"/>
                </a:cubicBezTo>
                <a:cubicBezTo>
                  <a:pt x="1130" y="297"/>
                  <a:pt x="1130" y="297"/>
                  <a:pt x="1130" y="297"/>
                </a:cubicBezTo>
                <a:lnTo>
                  <a:pt x="1131" y="297"/>
                </a:lnTo>
                <a:close/>
                <a:moveTo>
                  <a:pt x="2910" y="353"/>
                </a:moveTo>
                <a:cubicBezTo>
                  <a:pt x="2909" y="353"/>
                  <a:pt x="2909" y="353"/>
                  <a:pt x="2909" y="353"/>
                </a:cubicBezTo>
                <a:cubicBezTo>
                  <a:pt x="2910" y="354"/>
                  <a:pt x="2910" y="354"/>
                  <a:pt x="2910" y="354"/>
                </a:cubicBezTo>
                <a:lnTo>
                  <a:pt x="2910" y="353"/>
                </a:lnTo>
                <a:close/>
                <a:moveTo>
                  <a:pt x="1224" y="2597"/>
                </a:moveTo>
                <a:cubicBezTo>
                  <a:pt x="1224" y="2598"/>
                  <a:pt x="1224" y="2598"/>
                  <a:pt x="1225" y="2598"/>
                </a:cubicBezTo>
                <a:cubicBezTo>
                  <a:pt x="1225" y="2597"/>
                  <a:pt x="1225" y="2597"/>
                  <a:pt x="1225" y="2597"/>
                </a:cubicBezTo>
                <a:cubicBezTo>
                  <a:pt x="1224" y="2597"/>
                  <a:pt x="1224" y="2597"/>
                  <a:pt x="1224" y="2597"/>
                </a:cubicBezTo>
                <a:cubicBezTo>
                  <a:pt x="1224" y="2597"/>
                  <a:pt x="1224" y="2597"/>
                  <a:pt x="1224" y="2597"/>
                </a:cubicBezTo>
                <a:close/>
                <a:moveTo>
                  <a:pt x="1224" y="2597"/>
                </a:moveTo>
                <a:cubicBezTo>
                  <a:pt x="1221" y="2597"/>
                  <a:pt x="1221" y="2597"/>
                  <a:pt x="1221" y="2597"/>
                </a:cubicBezTo>
                <a:cubicBezTo>
                  <a:pt x="1222" y="2599"/>
                  <a:pt x="1223" y="2599"/>
                  <a:pt x="1224" y="2597"/>
                </a:cubicBezTo>
                <a:close/>
                <a:moveTo>
                  <a:pt x="2310" y="853"/>
                </a:moveTo>
                <a:cubicBezTo>
                  <a:pt x="2310" y="853"/>
                  <a:pt x="2311" y="854"/>
                  <a:pt x="2312" y="855"/>
                </a:cubicBezTo>
                <a:cubicBezTo>
                  <a:pt x="2313" y="856"/>
                  <a:pt x="2314" y="855"/>
                  <a:pt x="2316" y="853"/>
                </a:cubicBezTo>
                <a:cubicBezTo>
                  <a:pt x="2320" y="849"/>
                  <a:pt x="2320" y="843"/>
                  <a:pt x="2319" y="838"/>
                </a:cubicBezTo>
                <a:cubicBezTo>
                  <a:pt x="2316" y="838"/>
                  <a:pt x="2314" y="838"/>
                  <a:pt x="2312" y="840"/>
                </a:cubicBezTo>
                <a:cubicBezTo>
                  <a:pt x="2309" y="843"/>
                  <a:pt x="2308" y="846"/>
                  <a:pt x="2309" y="849"/>
                </a:cubicBezTo>
                <a:cubicBezTo>
                  <a:pt x="2309" y="851"/>
                  <a:pt x="2309" y="852"/>
                  <a:pt x="2310" y="853"/>
                </a:cubicBezTo>
                <a:close/>
                <a:moveTo>
                  <a:pt x="2326" y="788"/>
                </a:moveTo>
                <a:cubicBezTo>
                  <a:pt x="2326" y="788"/>
                  <a:pt x="2327" y="788"/>
                  <a:pt x="2327" y="788"/>
                </a:cubicBezTo>
                <a:cubicBezTo>
                  <a:pt x="2329" y="787"/>
                  <a:pt x="2329" y="785"/>
                  <a:pt x="2328" y="784"/>
                </a:cubicBezTo>
                <a:cubicBezTo>
                  <a:pt x="2328" y="782"/>
                  <a:pt x="2326" y="781"/>
                  <a:pt x="2325" y="781"/>
                </a:cubicBezTo>
                <a:cubicBezTo>
                  <a:pt x="2325" y="781"/>
                  <a:pt x="2324" y="781"/>
                  <a:pt x="2324" y="781"/>
                </a:cubicBezTo>
                <a:cubicBezTo>
                  <a:pt x="2322" y="782"/>
                  <a:pt x="2322" y="784"/>
                  <a:pt x="2322" y="786"/>
                </a:cubicBezTo>
                <a:cubicBezTo>
                  <a:pt x="2323" y="787"/>
                  <a:pt x="2324" y="788"/>
                  <a:pt x="2326" y="788"/>
                </a:cubicBezTo>
                <a:close/>
                <a:moveTo>
                  <a:pt x="2274" y="893"/>
                </a:moveTo>
                <a:cubicBezTo>
                  <a:pt x="2274" y="893"/>
                  <a:pt x="2275" y="892"/>
                  <a:pt x="2275" y="892"/>
                </a:cubicBezTo>
                <a:cubicBezTo>
                  <a:pt x="2274" y="891"/>
                  <a:pt x="2274" y="890"/>
                  <a:pt x="2274" y="889"/>
                </a:cubicBezTo>
                <a:cubicBezTo>
                  <a:pt x="2273" y="888"/>
                  <a:pt x="2272" y="888"/>
                  <a:pt x="2271" y="889"/>
                </a:cubicBezTo>
                <a:cubicBezTo>
                  <a:pt x="2271" y="890"/>
                  <a:pt x="2271" y="891"/>
                  <a:pt x="2271" y="892"/>
                </a:cubicBezTo>
                <a:cubicBezTo>
                  <a:pt x="2272" y="892"/>
                  <a:pt x="2273" y="892"/>
                  <a:pt x="2274" y="893"/>
                </a:cubicBezTo>
                <a:close/>
                <a:moveTo>
                  <a:pt x="2360" y="816"/>
                </a:moveTo>
                <a:cubicBezTo>
                  <a:pt x="2361" y="817"/>
                  <a:pt x="2362" y="816"/>
                  <a:pt x="2363" y="814"/>
                </a:cubicBezTo>
                <a:cubicBezTo>
                  <a:pt x="2363" y="814"/>
                  <a:pt x="2363" y="813"/>
                  <a:pt x="2363" y="813"/>
                </a:cubicBezTo>
                <a:cubicBezTo>
                  <a:pt x="2363" y="812"/>
                  <a:pt x="2361" y="811"/>
                  <a:pt x="2359" y="812"/>
                </a:cubicBezTo>
                <a:cubicBezTo>
                  <a:pt x="2359" y="812"/>
                  <a:pt x="2358" y="813"/>
                  <a:pt x="2358" y="814"/>
                </a:cubicBezTo>
                <a:cubicBezTo>
                  <a:pt x="2358" y="815"/>
                  <a:pt x="2359" y="816"/>
                  <a:pt x="2360" y="816"/>
                </a:cubicBezTo>
                <a:close/>
                <a:moveTo>
                  <a:pt x="2319" y="837"/>
                </a:moveTo>
                <a:cubicBezTo>
                  <a:pt x="2319" y="838"/>
                  <a:pt x="2319" y="838"/>
                  <a:pt x="2319" y="838"/>
                </a:cubicBezTo>
                <a:cubicBezTo>
                  <a:pt x="2319" y="838"/>
                  <a:pt x="2319" y="838"/>
                  <a:pt x="2319" y="838"/>
                </a:cubicBezTo>
                <a:cubicBezTo>
                  <a:pt x="2319" y="838"/>
                  <a:pt x="2319" y="838"/>
                  <a:pt x="2319" y="838"/>
                </a:cubicBezTo>
                <a:lnTo>
                  <a:pt x="2319" y="837"/>
                </a:lnTo>
                <a:close/>
                <a:moveTo>
                  <a:pt x="2355" y="832"/>
                </a:moveTo>
                <a:cubicBezTo>
                  <a:pt x="2356" y="831"/>
                  <a:pt x="2356" y="831"/>
                  <a:pt x="2356" y="831"/>
                </a:cubicBezTo>
                <a:cubicBezTo>
                  <a:pt x="2356" y="831"/>
                  <a:pt x="2356" y="831"/>
                  <a:pt x="2355" y="831"/>
                </a:cubicBezTo>
                <a:cubicBezTo>
                  <a:pt x="2355" y="831"/>
                  <a:pt x="2355" y="831"/>
                  <a:pt x="2355" y="831"/>
                </a:cubicBezTo>
                <a:lnTo>
                  <a:pt x="2355" y="832"/>
                </a:lnTo>
                <a:close/>
              </a:path>
            </a:pathLst>
          </a:custGeom>
          <a:solidFill>
            <a:srgbClr val="8282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37" name="Freeform 445"/>
          <p:cNvSpPr>
            <a:spLocks noEditPoints="1"/>
          </p:cNvSpPr>
          <p:nvPr/>
        </p:nvSpPr>
        <p:spPr bwMode="auto">
          <a:xfrm>
            <a:off x="-2690555" y="1594725"/>
            <a:ext cx="4273550" cy="2517052"/>
          </a:xfrm>
          <a:custGeom>
            <a:avLst/>
            <a:gdLst>
              <a:gd name="T0" fmla="*/ 3738 w 4455"/>
              <a:gd name="T1" fmla="*/ 1115 h 2623"/>
              <a:gd name="T2" fmla="*/ 4011 w 4455"/>
              <a:gd name="T3" fmla="*/ 515 h 2623"/>
              <a:gd name="T4" fmla="*/ 3906 w 4455"/>
              <a:gd name="T5" fmla="*/ 228 h 2623"/>
              <a:gd name="T6" fmla="*/ 3105 w 4455"/>
              <a:gd name="T7" fmla="*/ 210 h 2623"/>
              <a:gd name="T8" fmla="*/ 2810 w 4455"/>
              <a:gd name="T9" fmla="*/ 527 h 2623"/>
              <a:gd name="T10" fmla="*/ 2296 w 4455"/>
              <a:gd name="T11" fmla="*/ 560 h 2623"/>
              <a:gd name="T12" fmla="*/ 2373 w 4455"/>
              <a:gd name="T13" fmla="*/ 825 h 2623"/>
              <a:gd name="T14" fmla="*/ 2332 w 4455"/>
              <a:gd name="T15" fmla="*/ 1155 h 2623"/>
              <a:gd name="T16" fmla="*/ 1877 w 4455"/>
              <a:gd name="T17" fmla="*/ 1447 h 2623"/>
              <a:gd name="T18" fmla="*/ 2577 w 4455"/>
              <a:gd name="T19" fmla="*/ 1406 h 2623"/>
              <a:gd name="T20" fmla="*/ 3363 w 4455"/>
              <a:gd name="T21" fmla="*/ 1451 h 2623"/>
              <a:gd name="T22" fmla="*/ 2360 w 4455"/>
              <a:gd name="T23" fmla="*/ 536 h 2623"/>
              <a:gd name="T24" fmla="*/ 2551 w 4455"/>
              <a:gd name="T25" fmla="*/ 1715 h 2623"/>
              <a:gd name="T26" fmla="*/ 2693 w 4455"/>
              <a:gd name="T27" fmla="*/ 870 h 2623"/>
              <a:gd name="T28" fmla="*/ 3146 w 4455"/>
              <a:gd name="T29" fmla="*/ 271 h 2623"/>
              <a:gd name="T30" fmla="*/ 351 w 4455"/>
              <a:gd name="T31" fmla="*/ 597 h 2623"/>
              <a:gd name="T32" fmla="*/ 989 w 4455"/>
              <a:gd name="T33" fmla="*/ 1303 h 2623"/>
              <a:gd name="T34" fmla="*/ 1341 w 4455"/>
              <a:gd name="T35" fmla="*/ 746 h 2623"/>
              <a:gd name="T36" fmla="*/ 1125 w 4455"/>
              <a:gd name="T37" fmla="*/ 478 h 2623"/>
              <a:gd name="T38" fmla="*/ 741 w 4455"/>
              <a:gd name="T39" fmla="*/ 352 h 2623"/>
              <a:gd name="T40" fmla="*/ 177 w 4455"/>
              <a:gd name="T41" fmla="*/ 559 h 2623"/>
              <a:gd name="T42" fmla="*/ 493 w 4455"/>
              <a:gd name="T43" fmla="*/ 725 h 2623"/>
              <a:gd name="T44" fmla="*/ 627 w 4455"/>
              <a:gd name="T45" fmla="*/ 1387 h 2623"/>
              <a:gd name="T46" fmla="*/ 1161 w 4455"/>
              <a:gd name="T47" fmla="*/ 2501 h 2623"/>
              <a:gd name="T48" fmla="*/ 1343 w 4455"/>
              <a:gd name="T49" fmla="*/ 2236 h 2623"/>
              <a:gd name="T50" fmla="*/ 1036 w 4455"/>
              <a:gd name="T51" fmla="*/ 1018 h 2623"/>
              <a:gd name="T52" fmla="*/ 910 w 4455"/>
              <a:gd name="T53" fmla="*/ 954 h 2623"/>
              <a:gd name="T54" fmla="*/ 484 w 4455"/>
              <a:gd name="T55" fmla="*/ 736 h 2623"/>
              <a:gd name="T56" fmla="*/ 759 w 4455"/>
              <a:gd name="T57" fmla="*/ 656 h 2623"/>
              <a:gd name="T58" fmla="*/ 1434 w 4455"/>
              <a:gd name="T59" fmla="*/ 1762 h 2623"/>
              <a:gd name="T60" fmla="*/ 1894 w 4455"/>
              <a:gd name="T61" fmla="*/ 178 h 2623"/>
              <a:gd name="T62" fmla="*/ 1433 w 4455"/>
              <a:gd name="T63" fmla="*/ 220 h 2623"/>
              <a:gd name="T64" fmla="*/ 1519 w 4455"/>
              <a:gd name="T65" fmla="*/ 699 h 2623"/>
              <a:gd name="T66" fmla="*/ 3906 w 4455"/>
              <a:gd name="T67" fmla="*/ 1904 h 2623"/>
              <a:gd name="T68" fmla="*/ 1345 w 4455"/>
              <a:gd name="T69" fmla="*/ 159 h 2623"/>
              <a:gd name="T70" fmla="*/ 1482 w 4455"/>
              <a:gd name="T71" fmla="*/ 3 h 2623"/>
              <a:gd name="T72" fmla="*/ 1273 w 4455"/>
              <a:gd name="T73" fmla="*/ 498 h 2623"/>
              <a:gd name="T74" fmla="*/ 1221 w 4455"/>
              <a:gd name="T75" fmla="*/ 400 h 2623"/>
              <a:gd name="T76" fmla="*/ 1007 w 4455"/>
              <a:gd name="T77" fmla="*/ 314 h 2623"/>
              <a:gd name="T78" fmla="*/ 3594 w 4455"/>
              <a:gd name="T79" fmla="*/ 1719 h 2623"/>
              <a:gd name="T80" fmla="*/ 3898 w 4455"/>
              <a:gd name="T81" fmla="*/ 1152 h 2623"/>
              <a:gd name="T82" fmla="*/ 3549 w 4455"/>
              <a:gd name="T83" fmla="*/ 1820 h 2623"/>
              <a:gd name="T84" fmla="*/ 2277 w 4455"/>
              <a:gd name="T85" fmla="*/ 281 h 2623"/>
              <a:gd name="T86" fmla="*/ 1069 w 4455"/>
              <a:gd name="T87" fmla="*/ 225 h 2623"/>
              <a:gd name="T88" fmla="*/ 2867 w 4455"/>
              <a:gd name="T89" fmla="*/ 99 h 2623"/>
              <a:gd name="T90" fmla="*/ 3724 w 4455"/>
              <a:gd name="T91" fmla="*/ 1779 h 2623"/>
              <a:gd name="T92" fmla="*/ 2305 w 4455"/>
              <a:gd name="T93" fmla="*/ 256 h 2623"/>
              <a:gd name="T94" fmla="*/ 1168 w 4455"/>
              <a:gd name="T95" fmla="*/ 120 h 2623"/>
              <a:gd name="T96" fmla="*/ 3805 w 4455"/>
              <a:gd name="T97" fmla="*/ 1611 h 2623"/>
              <a:gd name="T98" fmla="*/ 2564 w 4455"/>
              <a:gd name="T99" fmla="*/ 147 h 2623"/>
              <a:gd name="T100" fmla="*/ 3801 w 4455"/>
              <a:gd name="T101" fmla="*/ 1569 h 2623"/>
              <a:gd name="T102" fmla="*/ 945 w 4455"/>
              <a:gd name="T103" fmla="*/ 204 h 2623"/>
              <a:gd name="T104" fmla="*/ 4008 w 4455"/>
              <a:gd name="T105" fmla="*/ 955 h 2623"/>
              <a:gd name="T106" fmla="*/ 3920 w 4455"/>
              <a:gd name="T107" fmla="*/ 2306 h 2623"/>
              <a:gd name="T108" fmla="*/ 3805 w 4455"/>
              <a:gd name="T109" fmla="*/ 1763 h 2623"/>
              <a:gd name="T110" fmla="*/ 1028 w 4455"/>
              <a:gd name="T111" fmla="*/ 170 h 2623"/>
              <a:gd name="T112" fmla="*/ 3778 w 4455"/>
              <a:gd name="T113" fmla="*/ 1216 h 2623"/>
              <a:gd name="T114" fmla="*/ 1178 w 4455"/>
              <a:gd name="T115" fmla="*/ 467 h 2623"/>
              <a:gd name="T116" fmla="*/ 1109 w 4455"/>
              <a:gd name="T117" fmla="*/ 1416 h 2623"/>
              <a:gd name="T118" fmla="*/ 910 w 4455"/>
              <a:gd name="T119" fmla="*/ 1311 h 2623"/>
              <a:gd name="T120" fmla="*/ 1277 w 4455"/>
              <a:gd name="T121" fmla="*/ 1520 h 2623"/>
              <a:gd name="T122" fmla="*/ 4124 w 4455"/>
              <a:gd name="T123" fmla="*/ 1817 h 2623"/>
              <a:gd name="T124" fmla="*/ 189 w 4455"/>
              <a:gd name="T125" fmla="*/ 669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55" h="2623">
                <a:moveTo>
                  <a:pt x="3416" y="1498"/>
                </a:moveTo>
                <a:cubicBezTo>
                  <a:pt x="3416" y="1498"/>
                  <a:pt x="3418" y="1497"/>
                  <a:pt x="3418" y="1498"/>
                </a:cubicBezTo>
                <a:cubicBezTo>
                  <a:pt x="3422" y="1501"/>
                  <a:pt x="3426" y="1503"/>
                  <a:pt x="3427" y="1508"/>
                </a:cubicBezTo>
                <a:cubicBezTo>
                  <a:pt x="3427" y="1512"/>
                  <a:pt x="3428" y="1515"/>
                  <a:pt x="3430" y="1519"/>
                </a:cubicBezTo>
                <a:cubicBezTo>
                  <a:pt x="3433" y="1528"/>
                  <a:pt x="3434" y="1538"/>
                  <a:pt x="3440" y="1547"/>
                </a:cubicBezTo>
                <a:cubicBezTo>
                  <a:pt x="3441" y="1548"/>
                  <a:pt x="3442" y="1551"/>
                  <a:pt x="3442" y="1553"/>
                </a:cubicBezTo>
                <a:cubicBezTo>
                  <a:pt x="3443" y="1555"/>
                  <a:pt x="3443" y="1557"/>
                  <a:pt x="3444" y="1559"/>
                </a:cubicBezTo>
                <a:cubicBezTo>
                  <a:pt x="3446" y="1567"/>
                  <a:pt x="3446" y="1575"/>
                  <a:pt x="3444" y="1583"/>
                </a:cubicBezTo>
                <a:cubicBezTo>
                  <a:pt x="3443" y="1586"/>
                  <a:pt x="3443" y="1588"/>
                  <a:pt x="3443" y="1590"/>
                </a:cubicBezTo>
                <a:cubicBezTo>
                  <a:pt x="3445" y="1596"/>
                  <a:pt x="3444" y="1602"/>
                  <a:pt x="3442" y="1608"/>
                </a:cubicBezTo>
                <a:cubicBezTo>
                  <a:pt x="3440" y="1614"/>
                  <a:pt x="3441" y="1620"/>
                  <a:pt x="3448" y="1622"/>
                </a:cubicBezTo>
                <a:cubicBezTo>
                  <a:pt x="3449" y="1623"/>
                  <a:pt x="3449" y="1623"/>
                  <a:pt x="3450" y="1623"/>
                </a:cubicBezTo>
                <a:cubicBezTo>
                  <a:pt x="3456" y="1631"/>
                  <a:pt x="3463" y="1640"/>
                  <a:pt x="3469" y="1648"/>
                </a:cubicBezTo>
                <a:cubicBezTo>
                  <a:pt x="3472" y="1652"/>
                  <a:pt x="3472" y="1657"/>
                  <a:pt x="3472" y="1662"/>
                </a:cubicBezTo>
                <a:cubicBezTo>
                  <a:pt x="3472" y="1663"/>
                  <a:pt x="3473" y="1664"/>
                  <a:pt x="3474" y="1665"/>
                </a:cubicBezTo>
                <a:cubicBezTo>
                  <a:pt x="3475" y="1668"/>
                  <a:pt x="3476" y="1671"/>
                  <a:pt x="3476" y="1675"/>
                </a:cubicBezTo>
                <a:cubicBezTo>
                  <a:pt x="3475" y="1678"/>
                  <a:pt x="3477" y="1681"/>
                  <a:pt x="3479" y="1684"/>
                </a:cubicBezTo>
                <a:cubicBezTo>
                  <a:pt x="3482" y="1687"/>
                  <a:pt x="3486" y="1691"/>
                  <a:pt x="3487" y="1696"/>
                </a:cubicBezTo>
                <a:cubicBezTo>
                  <a:pt x="3487" y="1697"/>
                  <a:pt x="3489" y="1698"/>
                  <a:pt x="3490" y="1699"/>
                </a:cubicBezTo>
                <a:cubicBezTo>
                  <a:pt x="3492" y="1701"/>
                  <a:pt x="3494" y="1702"/>
                  <a:pt x="3495" y="1704"/>
                </a:cubicBezTo>
                <a:cubicBezTo>
                  <a:pt x="3498" y="1708"/>
                  <a:pt x="3502" y="1710"/>
                  <a:pt x="3507" y="1713"/>
                </a:cubicBezTo>
                <a:cubicBezTo>
                  <a:pt x="3512" y="1715"/>
                  <a:pt x="3517" y="1718"/>
                  <a:pt x="3523" y="1721"/>
                </a:cubicBezTo>
                <a:cubicBezTo>
                  <a:pt x="3522" y="1721"/>
                  <a:pt x="3522" y="1721"/>
                  <a:pt x="3522" y="1721"/>
                </a:cubicBezTo>
                <a:cubicBezTo>
                  <a:pt x="3523" y="1721"/>
                  <a:pt x="3523" y="1721"/>
                  <a:pt x="3524" y="1721"/>
                </a:cubicBezTo>
                <a:cubicBezTo>
                  <a:pt x="3523" y="1721"/>
                  <a:pt x="3523" y="1721"/>
                  <a:pt x="3523" y="1721"/>
                </a:cubicBezTo>
                <a:cubicBezTo>
                  <a:pt x="3524" y="1720"/>
                  <a:pt x="3525" y="1719"/>
                  <a:pt x="3526" y="1718"/>
                </a:cubicBezTo>
                <a:cubicBezTo>
                  <a:pt x="3528" y="1717"/>
                  <a:pt x="3529" y="1715"/>
                  <a:pt x="3528" y="1712"/>
                </a:cubicBezTo>
                <a:cubicBezTo>
                  <a:pt x="3526" y="1708"/>
                  <a:pt x="3524" y="1703"/>
                  <a:pt x="3521" y="1699"/>
                </a:cubicBezTo>
                <a:cubicBezTo>
                  <a:pt x="3517" y="1695"/>
                  <a:pt x="3517" y="1690"/>
                  <a:pt x="3516" y="1684"/>
                </a:cubicBezTo>
                <a:cubicBezTo>
                  <a:pt x="3516" y="1681"/>
                  <a:pt x="3516" y="1678"/>
                  <a:pt x="3516" y="1674"/>
                </a:cubicBezTo>
                <a:cubicBezTo>
                  <a:pt x="3516" y="1670"/>
                  <a:pt x="3515" y="1667"/>
                  <a:pt x="3513" y="1664"/>
                </a:cubicBezTo>
                <a:cubicBezTo>
                  <a:pt x="3509" y="1659"/>
                  <a:pt x="3504" y="1654"/>
                  <a:pt x="3499" y="1650"/>
                </a:cubicBezTo>
                <a:cubicBezTo>
                  <a:pt x="3493" y="1647"/>
                  <a:pt x="3489" y="1641"/>
                  <a:pt x="3482" y="1638"/>
                </a:cubicBezTo>
                <a:cubicBezTo>
                  <a:pt x="3477" y="1636"/>
                  <a:pt x="3474" y="1632"/>
                  <a:pt x="3474" y="1626"/>
                </a:cubicBezTo>
                <a:cubicBezTo>
                  <a:pt x="3474" y="1623"/>
                  <a:pt x="3473" y="1620"/>
                  <a:pt x="3471" y="1618"/>
                </a:cubicBezTo>
                <a:cubicBezTo>
                  <a:pt x="3467" y="1614"/>
                  <a:pt x="3465" y="1610"/>
                  <a:pt x="3463" y="1605"/>
                </a:cubicBezTo>
                <a:cubicBezTo>
                  <a:pt x="3459" y="1604"/>
                  <a:pt x="3456" y="1601"/>
                  <a:pt x="3455" y="1596"/>
                </a:cubicBezTo>
                <a:cubicBezTo>
                  <a:pt x="3455" y="1593"/>
                  <a:pt x="3455" y="1590"/>
                  <a:pt x="3456" y="1587"/>
                </a:cubicBezTo>
                <a:cubicBezTo>
                  <a:pt x="3460" y="1575"/>
                  <a:pt x="3464" y="1563"/>
                  <a:pt x="3465" y="1550"/>
                </a:cubicBezTo>
                <a:cubicBezTo>
                  <a:pt x="3465" y="1549"/>
                  <a:pt x="3465" y="1549"/>
                  <a:pt x="3466" y="1548"/>
                </a:cubicBezTo>
                <a:cubicBezTo>
                  <a:pt x="3466" y="1548"/>
                  <a:pt x="3467" y="1547"/>
                  <a:pt x="3468" y="1547"/>
                </a:cubicBezTo>
                <a:cubicBezTo>
                  <a:pt x="3469" y="1547"/>
                  <a:pt x="3470" y="1547"/>
                  <a:pt x="3471" y="1548"/>
                </a:cubicBezTo>
                <a:cubicBezTo>
                  <a:pt x="3472" y="1548"/>
                  <a:pt x="3473" y="1550"/>
                  <a:pt x="3473" y="1551"/>
                </a:cubicBezTo>
                <a:cubicBezTo>
                  <a:pt x="3474" y="1557"/>
                  <a:pt x="3477" y="1559"/>
                  <a:pt x="3483" y="1559"/>
                </a:cubicBezTo>
                <a:cubicBezTo>
                  <a:pt x="3485" y="1559"/>
                  <a:pt x="3487" y="1559"/>
                  <a:pt x="3488" y="1560"/>
                </a:cubicBezTo>
                <a:cubicBezTo>
                  <a:pt x="3493" y="1564"/>
                  <a:pt x="3500" y="1567"/>
                  <a:pt x="3503" y="1574"/>
                </a:cubicBezTo>
                <a:cubicBezTo>
                  <a:pt x="3507" y="1582"/>
                  <a:pt x="3515" y="1587"/>
                  <a:pt x="3521" y="1593"/>
                </a:cubicBezTo>
                <a:cubicBezTo>
                  <a:pt x="3523" y="1592"/>
                  <a:pt x="3525" y="1591"/>
                  <a:pt x="3526" y="1591"/>
                </a:cubicBezTo>
                <a:cubicBezTo>
                  <a:pt x="3529" y="1593"/>
                  <a:pt x="3532" y="1594"/>
                  <a:pt x="3532" y="1600"/>
                </a:cubicBezTo>
                <a:cubicBezTo>
                  <a:pt x="3532" y="1604"/>
                  <a:pt x="3532" y="1608"/>
                  <a:pt x="3532" y="1613"/>
                </a:cubicBezTo>
                <a:cubicBezTo>
                  <a:pt x="3532" y="1614"/>
                  <a:pt x="3535" y="1615"/>
                  <a:pt x="3536" y="1614"/>
                </a:cubicBezTo>
                <a:cubicBezTo>
                  <a:pt x="3537" y="1614"/>
                  <a:pt x="3538" y="1614"/>
                  <a:pt x="3538" y="1614"/>
                </a:cubicBezTo>
                <a:cubicBezTo>
                  <a:pt x="3544" y="1607"/>
                  <a:pt x="3551" y="1601"/>
                  <a:pt x="3557" y="1595"/>
                </a:cubicBezTo>
                <a:cubicBezTo>
                  <a:pt x="3558" y="1594"/>
                  <a:pt x="3560" y="1592"/>
                  <a:pt x="3562" y="1592"/>
                </a:cubicBezTo>
                <a:cubicBezTo>
                  <a:pt x="3571" y="1590"/>
                  <a:pt x="3577" y="1584"/>
                  <a:pt x="3583" y="1579"/>
                </a:cubicBezTo>
                <a:cubicBezTo>
                  <a:pt x="3587" y="1575"/>
                  <a:pt x="3589" y="1571"/>
                  <a:pt x="3590" y="1566"/>
                </a:cubicBezTo>
                <a:cubicBezTo>
                  <a:pt x="3592" y="1558"/>
                  <a:pt x="3593" y="1551"/>
                  <a:pt x="3590" y="1543"/>
                </a:cubicBezTo>
                <a:cubicBezTo>
                  <a:pt x="3590" y="1543"/>
                  <a:pt x="3590" y="1542"/>
                  <a:pt x="3590" y="1542"/>
                </a:cubicBezTo>
                <a:cubicBezTo>
                  <a:pt x="3588" y="1532"/>
                  <a:pt x="3585" y="1523"/>
                  <a:pt x="3580" y="1514"/>
                </a:cubicBezTo>
                <a:cubicBezTo>
                  <a:pt x="3578" y="1510"/>
                  <a:pt x="3576" y="1507"/>
                  <a:pt x="3573" y="1505"/>
                </a:cubicBezTo>
                <a:cubicBezTo>
                  <a:pt x="3568" y="1499"/>
                  <a:pt x="3561" y="1495"/>
                  <a:pt x="3555" y="1491"/>
                </a:cubicBezTo>
                <a:cubicBezTo>
                  <a:pt x="3551" y="1488"/>
                  <a:pt x="3547" y="1485"/>
                  <a:pt x="3546" y="1479"/>
                </a:cubicBezTo>
                <a:cubicBezTo>
                  <a:pt x="3545" y="1477"/>
                  <a:pt x="3543" y="1475"/>
                  <a:pt x="3541" y="1473"/>
                </a:cubicBezTo>
                <a:cubicBezTo>
                  <a:pt x="3539" y="1471"/>
                  <a:pt x="3538" y="1470"/>
                  <a:pt x="3536" y="1468"/>
                </a:cubicBezTo>
                <a:cubicBezTo>
                  <a:pt x="3535" y="1468"/>
                  <a:pt x="3535" y="1466"/>
                  <a:pt x="3535" y="1466"/>
                </a:cubicBezTo>
                <a:cubicBezTo>
                  <a:pt x="3534" y="1460"/>
                  <a:pt x="3533" y="1453"/>
                  <a:pt x="3538" y="1449"/>
                </a:cubicBezTo>
                <a:cubicBezTo>
                  <a:pt x="3541" y="1447"/>
                  <a:pt x="3542" y="1444"/>
                  <a:pt x="3543" y="1440"/>
                </a:cubicBezTo>
                <a:cubicBezTo>
                  <a:pt x="3543" y="1438"/>
                  <a:pt x="3545" y="1436"/>
                  <a:pt x="3547" y="1435"/>
                </a:cubicBezTo>
                <a:cubicBezTo>
                  <a:pt x="3553" y="1431"/>
                  <a:pt x="3559" y="1428"/>
                  <a:pt x="3565" y="1425"/>
                </a:cubicBezTo>
                <a:cubicBezTo>
                  <a:pt x="3567" y="1424"/>
                  <a:pt x="3569" y="1424"/>
                  <a:pt x="3570" y="1424"/>
                </a:cubicBezTo>
                <a:cubicBezTo>
                  <a:pt x="3572" y="1425"/>
                  <a:pt x="3573" y="1426"/>
                  <a:pt x="3575" y="1426"/>
                </a:cubicBezTo>
                <a:cubicBezTo>
                  <a:pt x="3579" y="1427"/>
                  <a:pt x="3582" y="1428"/>
                  <a:pt x="3583" y="1433"/>
                </a:cubicBezTo>
                <a:cubicBezTo>
                  <a:pt x="3583" y="1436"/>
                  <a:pt x="3585" y="1439"/>
                  <a:pt x="3588" y="1441"/>
                </a:cubicBezTo>
                <a:cubicBezTo>
                  <a:pt x="3591" y="1443"/>
                  <a:pt x="3595" y="1442"/>
                  <a:pt x="3596" y="1438"/>
                </a:cubicBezTo>
                <a:cubicBezTo>
                  <a:pt x="3596" y="1437"/>
                  <a:pt x="3596" y="1435"/>
                  <a:pt x="3596" y="1433"/>
                </a:cubicBezTo>
                <a:cubicBezTo>
                  <a:pt x="3596" y="1434"/>
                  <a:pt x="3596" y="1434"/>
                  <a:pt x="3596" y="1434"/>
                </a:cubicBezTo>
                <a:cubicBezTo>
                  <a:pt x="3596" y="1433"/>
                  <a:pt x="3596" y="1433"/>
                  <a:pt x="3596" y="1433"/>
                </a:cubicBezTo>
                <a:cubicBezTo>
                  <a:pt x="3596" y="1433"/>
                  <a:pt x="3596" y="1433"/>
                  <a:pt x="3596" y="1433"/>
                </a:cubicBezTo>
                <a:cubicBezTo>
                  <a:pt x="3595" y="1432"/>
                  <a:pt x="3595" y="1432"/>
                  <a:pt x="3595" y="1431"/>
                </a:cubicBezTo>
                <a:cubicBezTo>
                  <a:pt x="3595" y="1430"/>
                  <a:pt x="3596" y="1429"/>
                  <a:pt x="3597" y="1428"/>
                </a:cubicBezTo>
                <a:cubicBezTo>
                  <a:pt x="3604" y="1427"/>
                  <a:pt x="3611" y="1423"/>
                  <a:pt x="3618" y="1421"/>
                </a:cubicBezTo>
                <a:cubicBezTo>
                  <a:pt x="3624" y="1419"/>
                  <a:pt x="3630" y="1415"/>
                  <a:pt x="3633" y="1409"/>
                </a:cubicBezTo>
                <a:cubicBezTo>
                  <a:pt x="3634" y="1407"/>
                  <a:pt x="3635" y="1407"/>
                  <a:pt x="3637" y="1408"/>
                </a:cubicBezTo>
                <a:cubicBezTo>
                  <a:pt x="3639" y="1409"/>
                  <a:pt x="3640" y="1410"/>
                  <a:pt x="3643" y="1409"/>
                </a:cubicBezTo>
                <a:cubicBezTo>
                  <a:pt x="3647" y="1407"/>
                  <a:pt x="3652" y="1406"/>
                  <a:pt x="3657" y="1405"/>
                </a:cubicBezTo>
                <a:cubicBezTo>
                  <a:pt x="3661" y="1405"/>
                  <a:pt x="3664" y="1403"/>
                  <a:pt x="3668" y="1402"/>
                </a:cubicBezTo>
                <a:cubicBezTo>
                  <a:pt x="3671" y="1400"/>
                  <a:pt x="3675" y="1398"/>
                  <a:pt x="3676" y="1394"/>
                </a:cubicBezTo>
                <a:cubicBezTo>
                  <a:pt x="3676" y="1392"/>
                  <a:pt x="3678" y="1392"/>
                  <a:pt x="3679" y="1391"/>
                </a:cubicBezTo>
                <a:cubicBezTo>
                  <a:pt x="3684" y="1387"/>
                  <a:pt x="3690" y="1384"/>
                  <a:pt x="3693" y="1378"/>
                </a:cubicBezTo>
                <a:cubicBezTo>
                  <a:pt x="3693" y="1377"/>
                  <a:pt x="3693" y="1376"/>
                  <a:pt x="3693" y="1376"/>
                </a:cubicBezTo>
                <a:cubicBezTo>
                  <a:pt x="3698" y="1374"/>
                  <a:pt x="3700" y="1369"/>
                  <a:pt x="3702" y="1365"/>
                </a:cubicBezTo>
                <a:cubicBezTo>
                  <a:pt x="3703" y="1363"/>
                  <a:pt x="3705" y="1363"/>
                  <a:pt x="3706" y="1362"/>
                </a:cubicBezTo>
                <a:cubicBezTo>
                  <a:pt x="3709" y="1361"/>
                  <a:pt x="3710" y="1360"/>
                  <a:pt x="3709" y="1357"/>
                </a:cubicBezTo>
                <a:cubicBezTo>
                  <a:pt x="3708" y="1353"/>
                  <a:pt x="3708" y="1349"/>
                  <a:pt x="3708" y="1344"/>
                </a:cubicBezTo>
                <a:cubicBezTo>
                  <a:pt x="3708" y="1342"/>
                  <a:pt x="3707" y="1339"/>
                  <a:pt x="3710" y="1338"/>
                </a:cubicBezTo>
                <a:cubicBezTo>
                  <a:pt x="3715" y="1335"/>
                  <a:pt x="3718" y="1330"/>
                  <a:pt x="3719" y="1324"/>
                </a:cubicBezTo>
                <a:cubicBezTo>
                  <a:pt x="3719" y="1321"/>
                  <a:pt x="3720" y="1318"/>
                  <a:pt x="3723" y="1315"/>
                </a:cubicBezTo>
                <a:cubicBezTo>
                  <a:pt x="3727" y="1312"/>
                  <a:pt x="3728" y="1309"/>
                  <a:pt x="3728" y="1304"/>
                </a:cubicBezTo>
                <a:cubicBezTo>
                  <a:pt x="3728" y="1301"/>
                  <a:pt x="3728" y="1298"/>
                  <a:pt x="3730" y="1296"/>
                </a:cubicBezTo>
                <a:cubicBezTo>
                  <a:pt x="3733" y="1291"/>
                  <a:pt x="3731" y="1288"/>
                  <a:pt x="3728" y="1284"/>
                </a:cubicBezTo>
                <a:cubicBezTo>
                  <a:pt x="3726" y="1282"/>
                  <a:pt x="3724" y="1281"/>
                  <a:pt x="3722" y="1279"/>
                </a:cubicBezTo>
                <a:cubicBezTo>
                  <a:pt x="3720" y="1277"/>
                  <a:pt x="3718" y="1277"/>
                  <a:pt x="3716" y="1278"/>
                </a:cubicBezTo>
                <a:cubicBezTo>
                  <a:pt x="3716" y="1278"/>
                  <a:pt x="3716" y="1278"/>
                  <a:pt x="3716" y="1278"/>
                </a:cubicBezTo>
                <a:cubicBezTo>
                  <a:pt x="3715" y="1278"/>
                  <a:pt x="3715" y="1278"/>
                  <a:pt x="3715" y="1278"/>
                </a:cubicBezTo>
                <a:cubicBezTo>
                  <a:pt x="3715" y="1278"/>
                  <a:pt x="3715" y="1278"/>
                  <a:pt x="3715" y="1278"/>
                </a:cubicBezTo>
                <a:cubicBezTo>
                  <a:pt x="3715" y="1278"/>
                  <a:pt x="3716" y="1278"/>
                  <a:pt x="3716" y="1278"/>
                </a:cubicBezTo>
                <a:cubicBezTo>
                  <a:pt x="3716" y="1276"/>
                  <a:pt x="3716" y="1274"/>
                  <a:pt x="3717" y="1273"/>
                </a:cubicBezTo>
                <a:cubicBezTo>
                  <a:pt x="3719" y="1271"/>
                  <a:pt x="3721" y="1270"/>
                  <a:pt x="3723" y="1268"/>
                </a:cubicBezTo>
                <a:cubicBezTo>
                  <a:pt x="3724" y="1266"/>
                  <a:pt x="3724" y="1264"/>
                  <a:pt x="3723" y="1262"/>
                </a:cubicBezTo>
                <a:cubicBezTo>
                  <a:pt x="3722" y="1259"/>
                  <a:pt x="3718" y="1257"/>
                  <a:pt x="3716" y="1255"/>
                </a:cubicBezTo>
                <a:cubicBezTo>
                  <a:pt x="3715" y="1255"/>
                  <a:pt x="3715" y="1255"/>
                  <a:pt x="3715" y="1255"/>
                </a:cubicBezTo>
                <a:cubicBezTo>
                  <a:pt x="3714" y="1254"/>
                  <a:pt x="3714" y="1254"/>
                  <a:pt x="3714" y="1254"/>
                </a:cubicBezTo>
                <a:cubicBezTo>
                  <a:pt x="3715" y="1254"/>
                  <a:pt x="3715" y="1254"/>
                  <a:pt x="3715" y="1254"/>
                </a:cubicBezTo>
                <a:cubicBezTo>
                  <a:pt x="3715" y="1254"/>
                  <a:pt x="3716" y="1255"/>
                  <a:pt x="3716" y="1255"/>
                </a:cubicBezTo>
                <a:cubicBezTo>
                  <a:pt x="3717" y="1254"/>
                  <a:pt x="3718" y="1254"/>
                  <a:pt x="3718" y="1254"/>
                </a:cubicBezTo>
                <a:cubicBezTo>
                  <a:pt x="3722" y="1252"/>
                  <a:pt x="3723" y="1249"/>
                  <a:pt x="3720" y="1246"/>
                </a:cubicBezTo>
                <a:cubicBezTo>
                  <a:pt x="3718" y="1244"/>
                  <a:pt x="3717" y="1242"/>
                  <a:pt x="3714" y="1240"/>
                </a:cubicBezTo>
                <a:cubicBezTo>
                  <a:pt x="3710" y="1238"/>
                  <a:pt x="3708" y="1235"/>
                  <a:pt x="3706" y="1231"/>
                </a:cubicBezTo>
                <a:cubicBezTo>
                  <a:pt x="3703" y="1225"/>
                  <a:pt x="3700" y="1220"/>
                  <a:pt x="3697" y="1215"/>
                </a:cubicBezTo>
                <a:cubicBezTo>
                  <a:pt x="3695" y="1211"/>
                  <a:pt x="3693" y="1208"/>
                  <a:pt x="3689" y="1207"/>
                </a:cubicBezTo>
                <a:cubicBezTo>
                  <a:pt x="3687" y="1206"/>
                  <a:pt x="3686" y="1204"/>
                  <a:pt x="3684" y="1203"/>
                </a:cubicBezTo>
                <a:cubicBezTo>
                  <a:pt x="3679" y="1201"/>
                  <a:pt x="3678" y="1197"/>
                  <a:pt x="3678" y="1192"/>
                </a:cubicBezTo>
                <a:cubicBezTo>
                  <a:pt x="3678" y="1189"/>
                  <a:pt x="3679" y="1186"/>
                  <a:pt x="3681" y="1183"/>
                </a:cubicBezTo>
                <a:cubicBezTo>
                  <a:pt x="3683" y="1181"/>
                  <a:pt x="3684" y="1179"/>
                  <a:pt x="3685" y="1176"/>
                </a:cubicBezTo>
                <a:cubicBezTo>
                  <a:pt x="3687" y="1171"/>
                  <a:pt x="3691" y="1168"/>
                  <a:pt x="3695" y="1166"/>
                </a:cubicBezTo>
                <a:cubicBezTo>
                  <a:pt x="3700" y="1163"/>
                  <a:pt x="3704" y="1161"/>
                  <a:pt x="3709" y="1161"/>
                </a:cubicBezTo>
                <a:cubicBezTo>
                  <a:pt x="3711" y="1161"/>
                  <a:pt x="3712" y="1159"/>
                  <a:pt x="3712" y="1158"/>
                </a:cubicBezTo>
                <a:cubicBezTo>
                  <a:pt x="3713" y="1156"/>
                  <a:pt x="3713" y="1154"/>
                  <a:pt x="3713" y="1153"/>
                </a:cubicBezTo>
                <a:cubicBezTo>
                  <a:pt x="3713" y="1150"/>
                  <a:pt x="3711" y="1147"/>
                  <a:pt x="3708" y="1147"/>
                </a:cubicBezTo>
                <a:cubicBezTo>
                  <a:pt x="3705" y="1147"/>
                  <a:pt x="3703" y="1147"/>
                  <a:pt x="3700" y="1147"/>
                </a:cubicBezTo>
                <a:cubicBezTo>
                  <a:pt x="3698" y="1147"/>
                  <a:pt x="3696" y="1147"/>
                  <a:pt x="3694" y="1146"/>
                </a:cubicBezTo>
                <a:cubicBezTo>
                  <a:pt x="3692" y="1146"/>
                  <a:pt x="3690" y="1144"/>
                  <a:pt x="3688" y="1143"/>
                </a:cubicBezTo>
                <a:cubicBezTo>
                  <a:pt x="3686" y="1142"/>
                  <a:pt x="3684" y="1143"/>
                  <a:pt x="3682" y="1144"/>
                </a:cubicBezTo>
                <a:cubicBezTo>
                  <a:pt x="3678" y="1146"/>
                  <a:pt x="3675" y="1149"/>
                  <a:pt x="3672" y="1153"/>
                </a:cubicBezTo>
                <a:cubicBezTo>
                  <a:pt x="3671" y="1154"/>
                  <a:pt x="3669" y="1154"/>
                  <a:pt x="3668" y="1155"/>
                </a:cubicBezTo>
                <a:cubicBezTo>
                  <a:pt x="3665" y="1156"/>
                  <a:pt x="3663" y="1154"/>
                  <a:pt x="3661" y="1151"/>
                </a:cubicBezTo>
                <a:cubicBezTo>
                  <a:pt x="3660" y="1147"/>
                  <a:pt x="3658" y="1144"/>
                  <a:pt x="3653" y="1142"/>
                </a:cubicBezTo>
                <a:cubicBezTo>
                  <a:pt x="3648" y="1141"/>
                  <a:pt x="3644" y="1137"/>
                  <a:pt x="3641" y="1133"/>
                </a:cubicBezTo>
                <a:cubicBezTo>
                  <a:pt x="3638" y="1130"/>
                  <a:pt x="3641" y="1123"/>
                  <a:pt x="3645" y="1123"/>
                </a:cubicBezTo>
                <a:cubicBezTo>
                  <a:pt x="3646" y="1122"/>
                  <a:pt x="3648" y="1122"/>
                  <a:pt x="3650" y="1122"/>
                </a:cubicBezTo>
                <a:cubicBezTo>
                  <a:pt x="3653" y="1122"/>
                  <a:pt x="3656" y="1120"/>
                  <a:pt x="3657" y="1117"/>
                </a:cubicBezTo>
                <a:cubicBezTo>
                  <a:pt x="3659" y="1110"/>
                  <a:pt x="3660" y="1104"/>
                  <a:pt x="3667" y="1101"/>
                </a:cubicBezTo>
                <a:cubicBezTo>
                  <a:pt x="3669" y="1100"/>
                  <a:pt x="3670" y="1097"/>
                  <a:pt x="3671" y="1095"/>
                </a:cubicBezTo>
                <a:cubicBezTo>
                  <a:pt x="3672" y="1092"/>
                  <a:pt x="3674" y="1089"/>
                  <a:pt x="3675" y="1087"/>
                </a:cubicBezTo>
                <a:cubicBezTo>
                  <a:pt x="3676" y="1085"/>
                  <a:pt x="3678" y="1084"/>
                  <a:pt x="3679" y="1084"/>
                </a:cubicBezTo>
                <a:cubicBezTo>
                  <a:pt x="3684" y="1083"/>
                  <a:pt x="3687" y="1085"/>
                  <a:pt x="3689" y="1088"/>
                </a:cubicBezTo>
                <a:cubicBezTo>
                  <a:pt x="3692" y="1091"/>
                  <a:pt x="3691" y="1093"/>
                  <a:pt x="3690" y="1096"/>
                </a:cubicBezTo>
                <a:cubicBezTo>
                  <a:pt x="3689" y="1097"/>
                  <a:pt x="3689" y="1098"/>
                  <a:pt x="3688" y="1099"/>
                </a:cubicBezTo>
                <a:cubicBezTo>
                  <a:pt x="3686" y="1102"/>
                  <a:pt x="3685" y="1106"/>
                  <a:pt x="3687" y="1110"/>
                </a:cubicBezTo>
                <a:cubicBezTo>
                  <a:pt x="3688" y="1111"/>
                  <a:pt x="3688" y="1113"/>
                  <a:pt x="3689" y="1114"/>
                </a:cubicBezTo>
                <a:cubicBezTo>
                  <a:pt x="3690" y="1117"/>
                  <a:pt x="3688" y="1118"/>
                  <a:pt x="3687" y="1120"/>
                </a:cubicBezTo>
                <a:cubicBezTo>
                  <a:pt x="3686" y="1120"/>
                  <a:pt x="3686" y="1121"/>
                  <a:pt x="3686" y="1121"/>
                </a:cubicBezTo>
                <a:cubicBezTo>
                  <a:pt x="3686" y="1122"/>
                  <a:pt x="3686" y="1124"/>
                  <a:pt x="3687" y="1124"/>
                </a:cubicBezTo>
                <a:cubicBezTo>
                  <a:pt x="3688" y="1125"/>
                  <a:pt x="3689" y="1125"/>
                  <a:pt x="3690" y="1125"/>
                </a:cubicBezTo>
                <a:cubicBezTo>
                  <a:pt x="3693" y="1123"/>
                  <a:pt x="3696" y="1121"/>
                  <a:pt x="3698" y="1117"/>
                </a:cubicBezTo>
                <a:cubicBezTo>
                  <a:pt x="3704" y="1109"/>
                  <a:pt x="3713" y="1106"/>
                  <a:pt x="3722" y="1104"/>
                </a:cubicBezTo>
                <a:cubicBezTo>
                  <a:pt x="3724" y="1104"/>
                  <a:pt x="3725" y="1104"/>
                  <a:pt x="3727" y="1105"/>
                </a:cubicBezTo>
                <a:cubicBezTo>
                  <a:pt x="3728" y="1105"/>
                  <a:pt x="3730" y="1106"/>
                  <a:pt x="3731" y="1106"/>
                </a:cubicBezTo>
                <a:cubicBezTo>
                  <a:pt x="3738" y="1109"/>
                  <a:pt x="3738" y="1109"/>
                  <a:pt x="3738" y="1115"/>
                </a:cubicBezTo>
                <a:cubicBezTo>
                  <a:pt x="3738" y="1121"/>
                  <a:pt x="3738" y="1126"/>
                  <a:pt x="3738" y="1132"/>
                </a:cubicBezTo>
                <a:cubicBezTo>
                  <a:pt x="3738" y="1135"/>
                  <a:pt x="3739" y="1137"/>
                  <a:pt x="3741" y="1139"/>
                </a:cubicBezTo>
                <a:cubicBezTo>
                  <a:pt x="3743" y="1141"/>
                  <a:pt x="3744" y="1142"/>
                  <a:pt x="3747" y="1141"/>
                </a:cubicBezTo>
                <a:cubicBezTo>
                  <a:pt x="3748" y="1141"/>
                  <a:pt x="3750" y="1140"/>
                  <a:pt x="3752" y="1140"/>
                </a:cubicBezTo>
                <a:cubicBezTo>
                  <a:pt x="3754" y="1139"/>
                  <a:pt x="3757" y="1140"/>
                  <a:pt x="3759" y="1142"/>
                </a:cubicBezTo>
                <a:cubicBezTo>
                  <a:pt x="3761" y="1144"/>
                  <a:pt x="3763" y="1146"/>
                  <a:pt x="3765" y="1148"/>
                </a:cubicBezTo>
                <a:cubicBezTo>
                  <a:pt x="3767" y="1150"/>
                  <a:pt x="3766" y="1151"/>
                  <a:pt x="3764" y="1155"/>
                </a:cubicBezTo>
                <a:cubicBezTo>
                  <a:pt x="3762" y="1157"/>
                  <a:pt x="3761" y="1159"/>
                  <a:pt x="3763" y="1160"/>
                </a:cubicBezTo>
                <a:cubicBezTo>
                  <a:pt x="3769" y="1166"/>
                  <a:pt x="3771" y="1173"/>
                  <a:pt x="3770" y="1181"/>
                </a:cubicBezTo>
                <a:cubicBezTo>
                  <a:pt x="3770" y="1184"/>
                  <a:pt x="3769" y="1186"/>
                  <a:pt x="3769" y="1188"/>
                </a:cubicBezTo>
                <a:cubicBezTo>
                  <a:pt x="3770" y="1193"/>
                  <a:pt x="3772" y="1196"/>
                  <a:pt x="3774" y="1200"/>
                </a:cubicBezTo>
                <a:cubicBezTo>
                  <a:pt x="3774" y="1200"/>
                  <a:pt x="3775" y="1200"/>
                  <a:pt x="3776" y="1200"/>
                </a:cubicBezTo>
                <a:cubicBezTo>
                  <a:pt x="3779" y="1200"/>
                  <a:pt x="3781" y="1198"/>
                  <a:pt x="3783" y="1196"/>
                </a:cubicBezTo>
                <a:cubicBezTo>
                  <a:pt x="3786" y="1193"/>
                  <a:pt x="3789" y="1192"/>
                  <a:pt x="3793" y="1192"/>
                </a:cubicBezTo>
                <a:cubicBezTo>
                  <a:pt x="3795" y="1192"/>
                  <a:pt x="3797" y="1192"/>
                  <a:pt x="3798" y="1192"/>
                </a:cubicBezTo>
                <a:cubicBezTo>
                  <a:pt x="3802" y="1193"/>
                  <a:pt x="3804" y="1191"/>
                  <a:pt x="3806" y="1188"/>
                </a:cubicBezTo>
                <a:cubicBezTo>
                  <a:pt x="3811" y="1182"/>
                  <a:pt x="3812" y="1176"/>
                  <a:pt x="3810" y="1169"/>
                </a:cubicBezTo>
                <a:cubicBezTo>
                  <a:pt x="3809" y="1166"/>
                  <a:pt x="3808" y="1163"/>
                  <a:pt x="3807" y="1160"/>
                </a:cubicBezTo>
                <a:cubicBezTo>
                  <a:pt x="3803" y="1147"/>
                  <a:pt x="3803" y="1147"/>
                  <a:pt x="3795" y="1137"/>
                </a:cubicBezTo>
                <a:cubicBezTo>
                  <a:pt x="3791" y="1133"/>
                  <a:pt x="3788" y="1130"/>
                  <a:pt x="3786" y="1125"/>
                </a:cubicBezTo>
                <a:cubicBezTo>
                  <a:pt x="3784" y="1121"/>
                  <a:pt x="3781" y="1118"/>
                  <a:pt x="3777" y="1116"/>
                </a:cubicBezTo>
                <a:cubicBezTo>
                  <a:pt x="3774" y="1114"/>
                  <a:pt x="3771" y="1112"/>
                  <a:pt x="3769" y="1110"/>
                </a:cubicBezTo>
                <a:cubicBezTo>
                  <a:pt x="3766" y="1108"/>
                  <a:pt x="3765" y="1102"/>
                  <a:pt x="3767" y="1100"/>
                </a:cubicBezTo>
                <a:cubicBezTo>
                  <a:pt x="3768" y="1098"/>
                  <a:pt x="3770" y="1096"/>
                  <a:pt x="3771" y="1095"/>
                </a:cubicBezTo>
                <a:cubicBezTo>
                  <a:pt x="3774" y="1092"/>
                  <a:pt x="3777" y="1089"/>
                  <a:pt x="3779" y="1086"/>
                </a:cubicBezTo>
                <a:cubicBezTo>
                  <a:pt x="3786" y="1079"/>
                  <a:pt x="3788" y="1072"/>
                  <a:pt x="3785" y="1062"/>
                </a:cubicBezTo>
                <a:cubicBezTo>
                  <a:pt x="3783" y="1055"/>
                  <a:pt x="3785" y="1049"/>
                  <a:pt x="3790" y="1044"/>
                </a:cubicBezTo>
                <a:cubicBezTo>
                  <a:pt x="3792" y="1043"/>
                  <a:pt x="3794" y="1041"/>
                  <a:pt x="3795" y="1040"/>
                </a:cubicBezTo>
                <a:cubicBezTo>
                  <a:pt x="3797" y="1038"/>
                  <a:pt x="3798" y="1037"/>
                  <a:pt x="3799" y="1035"/>
                </a:cubicBezTo>
                <a:cubicBezTo>
                  <a:pt x="3801" y="1032"/>
                  <a:pt x="3801" y="1028"/>
                  <a:pt x="3805" y="1027"/>
                </a:cubicBezTo>
                <a:cubicBezTo>
                  <a:pt x="3810" y="1026"/>
                  <a:pt x="3812" y="1030"/>
                  <a:pt x="3815" y="1032"/>
                </a:cubicBezTo>
                <a:cubicBezTo>
                  <a:pt x="3819" y="1033"/>
                  <a:pt x="3822" y="1034"/>
                  <a:pt x="3826" y="1032"/>
                </a:cubicBezTo>
                <a:cubicBezTo>
                  <a:pt x="3830" y="1030"/>
                  <a:pt x="3833" y="1028"/>
                  <a:pt x="3835" y="1025"/>
                </a:cubicBezTo>
                <a:cubicBezTo>
                  <a:pt x="3839" y="1020"/>
                  <a:pt x="3843" y="1014"/>
                  <a:pt x="3845" y="1008"/>
                </a:cubicBezTo>
                <a:cubicBezTo>
                  <a:pt x="3848" y="998"/>
                  <a:pt x="3854" y="989"/>
                  <a:pt x="3856" y="979"/>
                </a:cubicBezTo>
                <a:cubicBezTo>
                  <a:pt x="3857" y="977"/>
                  <a:pt x="3857" y="974"/>
                  <a:pt x="3859" y="973"/>
                </a:cubicBezTo>
                <a:cubicBezTo>
                  <a:pt x="3865" y="964"/>
                  <a:pt x="3866" y="953"/>
                  <a:pt x="3867" y="943"/>
                </a:cubicBezTo>
                <a:cubicBezTo>
                  <a:pt x="3868" y="934"/>
                  <a:pt x="3872" y="926"/>
                  <a:pt x="3871" y="917"/>
                </a:cubicBezTo>
                <a:cubicBezTo>
                  <a:pt x="3871" y="916"/>
                  <a:pt x="3872" y="914"/>
                  <a:pt x="3873" y="912"/>
                </a:cubicBezTo>
                <a:cubicBezTo>
                  <a:pt x="3877" y="907"/>
                  <a:pt x="3875" y="901"/>
                  <a:pt x="3875" y="895"/>
                </a:cubicBezTo>
                <a:cubicBezTo>
                  <a:pt x="3874" y="884"/>
                  <a:pt x="3871" y="873"/>
                  <a:pt x="3865" y="864"/>
                </a:cubicBezTo>
                <a:cubicBezTo>
                  <a:pt x="3863" y="860"/>
                  <a:pt x="3861" y="856"/>
                  <a:pt x="3861" y="851"/>
                </a:cubicBezTo>
                <a:cubicBezTo>
                  <a:pt x="3861" y="842"/>
                  <a:pt x="3861" y="833"/>
                  <a:pt x="3861" y="823"/>
                </a:cubicBezTo>
                <a:cubicBezTo>
                  <a:pt x="3860" y="822"/>
                  <a:pt x="3861" y="821"/>
                  <a:pt x="3862" y="821"/>
                </a:cubicBezTo>
                <a:cubicBezTo>
                  <a:pt x="3862" y="821"/>
                  <a:pt x="3863" y="821"/>
                  <a:pt x="3863" y="821"/>
                </a:cubicBezTo>
                <a:cubicBezTo>
                  <a:pt x="3866" y="826"/>
                  <a:pt x="3870" y="831"/>
                  <a:pt x="3875" y="835"/>
                </a:cubicBezTo>
                <a:cubicBezTo>
                  <a:pt x="3879" y="840"/>
                  <a:pt x="3878" y="847"/>
                  <a:pt x="3881" y="852"/>
                </a:cubicBezTo>
                <a:cubicBezTo>
                  <a:pt x="3882" y="855"/>
                  <a:pt x="3883" y="857"/>
                  <a:pt x="3885" y="859"/>
                </a:cubicBezTo>
                <a:cubicBezTo>
                  <a:pt x="3888" y="865"/>
                  <a:pt x="3890" y="872"/>
                  <a:pt x="3890" y="878"/>
                </a:cubicBezTo>
                <a:cubicBezTo>
                  <a:pt x="3890" y="879"/>
                  <a:pt x="3890" y="881"/>
                  <a:pt x="3891" y="882"/>
                </a:cubicBezTo>
                <a:cubicBezTo>
                  <a:pt x="3893" y="889"/>
                  <a:pt x="3893" y="897"/>
                  <a:pt x="3899" y="903"/>
                </a:cubicBezTo>
                <a:cubicBezTo>
                  <a:pt x="3901" y="906"/>
                  <a:pt x="3902" y="910"/>
                  <a:pt x="3902" y="914"/>
                </a:cubicBezTo>
                <a:cubicBezTo>
                  <a:pt x="3903" y="919"/>
                  <a:pt x="3904" y="925"/>
                  <a:pt x="3907" y="929"/>
                </a:cubicBezTo>
                <a:cubicBezTo>
                  <a:pt x="3909" y="933"/>
                  <a:pt x="3910" y="937"/>
                  <a:pt x="3909" y="941"/>
                </a:cubicBezTo>
                <a:cubicBezTo>
                  <a:pt x="3909" y="942"/>
                  <a:pt x="3909" y="944"/>
                  <a:pt x="3910" y="945"/>
                </a:cubicBezTo>
                <a:cubicBezTo>
                  <a:pt x="3911" y="949"/>
                  <a:pt x="3913" y="953"/>
                  <a:pt x="3917" y="954"/>
                </a:cubicBezTo>
                <a:cubicBezTo>
                  <a:pt x="3917" y="954"/>
                  <a:pt x="3919" y="954"/>
                  <a:pt x="3919" y="953"/>
                </a:cubicBezTo>
                <a:cubicBezTo>
                  <a:pt x="3919" y="951"/>
                  <a:pt x="3919" y="949"/>
                  <a:pt x="3919" y="947"/>
                </a:cubicBezTo>
                <a:cubicBezTo>
                  <a:pt x="3919" y="943"/>
                  <a:pt x="3921" y="942"/>
                  <a:pt x="3924" y="943"/>
                </a:cubicBezTo>
                <a:cubicBezTo>
                  <a:pt x="3928" y="943"/>
                  <a:pt x="3930" y="946"/>
                  <a:pt x="3933" y="947"/>
                </a:cubicBezTo>
                <a:cubicBezTo>
                  <a:pt x="3933" y="947"/>
                  <a:pt x="3934" y="947"/>
                  <a:pt x="3935" y="947"/>
                </a:cubicBezTo>
                <a:cubicBezTo>
                  <a:pt x="3935" y="946"/>
                  <a:pt x="3936" y="945"/>
                  <a:pt x="3936" y="944"/>
                </a:cubicBezTo>
                <a:cubicBezTo>
                  <a:pt x="3935" y="941"/>
                  <a:pt x="3934" y="936"/>
                  <a:pt x="3930" y="935"/>
                </a:cubicBezTo>
                <a:cubicBezTo>
                  <a:pt x="3923" y="932"/>
                  <a:pt x="3922" y="923"/>
                  <a:pt x="3916" y="920"/>
                </a:cubicBezTo>
                <a:cubicBezTo>
                  <a:pt x="3914" y="915"/>
                  <a:pt x="3912" y="912"/>
                  <a:pt x="3911" y="907"/>
                </a:cubicBezTo>
                <a:cubicBezTo>
                  <a:pt x="3910" y="902"/>
                  <a:pt x="3909" y="896"/>
                  <a:pt x="3908" y="891"/>
                </a:cubicBezTo>
                <a:cubicBezTo>
                  <a:pt x="3908" y="889"/>
                  <a:pt x="3908" y="888"/>
                  <a:pt x="3908" y="886"/>
                </a:cubicBezTo>
                <a:cubicBezTo>
                  <a:pt x="3908" y="884"/>
                  <a:pt x="3910" y="882"/>
                  <a:pt x="3912" y="881"/>
                </a:cubicBezTo>
                <a:cubicBezTo>
                  <a:pt x="3915" y="881"/>
                  <a:pt x="3917" y="881"/>
                  <a:pt x="3920" y="881"/>
                </a:cubicBezTo>
                <a:cubicBezTo>
                  <a:pt x="3921" y="878"/>
                  <a:pt x="3920" y="875"/>
                  <a:pt x="3918" y="873"/>
                </a:cubicBezTo>
                <a:cubicBezTo>
                  <a:pt x="3908" y="856"/>
                  <a:pt x="3899" y="838"/>
                  <a:pt x="3887" y="823"/>
                </a:cubicBezTo>
                <a:cubicBezTo>
                  <a:pt x="3883" y="818"/>
                  <a:pt x="3880" y="813"/>
                  <a:pt x="3881" y="806"/>
                </a:cubicBezTo>
                <a:cubicBezTo>
                  <a:pt x="3881" y="804"/>
                  <a:pt x="3880" y="801"/>
                  <a:pt x="3879" y="798"/>
                </a:cubicBezTo>
                <a:cubicBezTo>
                  <a:pt x="3874" y="791"/>
                  <a:pt x="3872" y="782"/>
                  <a:pt x="3865" y="776"/>
                </a:cubicBezTo>
                <a:cubicBezTo>
                  <a:pt x="3862" y="774"/>
                  <a:pt x="3862" y="771"/>
                  <a:pt x="3860" y="768"/>
                </a:cubicBezTo>
                <a:cubicBezTo>
                  <a:pt x="3858" y="765"/>
                  <a:pt x="3855" y="763"/>
                  <a:pt x="3852" y="763"/>
                </a:cubicBezTo>
                <a:cubicBezTo>
                  <a:pt x="3851" y="763"/>
                  <a:pt x="3850" y="764"/>
                  <a:pt x="3849" y="764"/>
                </a:cubicBezTo>
                <a:cubicBezTo>
                  <a:pt x="3849" y="765"/>
                  <a:pt x="3849" y="766"/>
                  <a:pt x="3849" y="766"/>
                </a:cubicBezTo>
                <a:cubicBezTo>
                  <a:pt x="3850" y="767"/>
                  <a:pt x="3850" y="768"/>
                  <a:pt x="3851" y="769"/>
                </a:cubicBezTo>
                <a:cubicBezTo>
                  <a:pt x="3856" y="775"/>
                  <a:pt x="3856" y="775"/>
                  <a:pt x="3851" y="784"/>
                </a:cubicBezTo>
                <a:cubicBezTo>
                  <a:pt x="3851" y="785"/>
                  <a:pt x="3850" y="786"/>
                  <a:pt x="3851" y="787"/>
                </a:cubicBezTo>
                <a:cubicBezTo>
                  <a:pt x="3851" y="789"/>
                  <a:pt x="3852" y="791"/>
                  <a:pt x="3853" y="793"/>
                </a:cubicBezTo>
                <a:cubicBezTo>
                  <a:pt x="3857" y="798"/>
                  <a:pt x="3858" y="804"/>
                  <a:pt x="3859" y="810"/>
                </a:cubicBezTo>
                <a:cubicBezTo>
                  <a:pt x="3859" y="811"/>
                  <a:pt x="3858" y="812"/>
                  <a:pt x="3858" y="813"/>
                </a:cubicBezTo>
                <a:cubicBezTo>
                  <a:pt x="3857" y="814"/>
                  <a:pt x="3855" y="813"/>
                  <a:pt x="3854" y="810"/>
                </a:cubicBezTo>
                <a:cubicBezTo>
                  <a:pt x="3854" y="807"/>
                  <a:pt x="3853" y="804"/>
                  <a:pt x="3851" y="801"/>
                </a:cubicBezTo>
                <a:cubicBezTo>
                  <a:pt x="3849" y="800"/>
                  <a:pt x="3848" y="798"/>
                  <a:pt x="3848" y="795"/>
                </a:cubicBezTo>
                <a:cubicBezTo>
                  <a:pt x="3849" y="790"/>
                  <a:pt x="3846" y="787"/>
                  <a:pt x="3842" y="785"/>
                </a:cubicBezTo>
                <a:cubicBezTo>
                  <a:pt x="3836" y="780"/>
                  <a:pt x="3829" y="777"/>
                  <a:pt x="3822" y="772"/>
                </a:cubicBezTo>
                <a:cubicBezTo>
                  <a:pt x="3821" y="771"/>
                  <a:pt x="3819" y="771"/>
                  <a:pt x="3818" y="771"/>
                </a:cubicBezTo>
                <a:cubicBezTo>
                  <a:pt x="3815" y="771"/>
                  <a:pt x="3812" y="772"/>
                  <a:pt x="3810" y="772"/>
                </a:cubicBezTo>
                <a:cubicBezTo>
                  <a:pt x="3806" y="772"/>
                  <a:pt x="3805" y="773"/>
                  <a:pt x="3804" y="776"/>
                </a:cubicBezTo>
                <a:cubicBezTo>
                  <a:pt x="3803" y="780"/>
                  <a:pt x="3802" y="784"/>
                  <a:pt x="3799" y="786"/>
                </a:cubicBezTo>
                <a:cubicBezTo>
                  <a:pt x="3798" y="787"/>
                  <a:pt x="3797" y="786"/>
                  <a:pt x="3797" y="786"/>
                </a:cubicBezTo>
                <a:cubicBezTo>
                  <a:pt x="3795" y="782"/>
                  <a:pt x="3793" y="777"/>
                  <a:pt x="3791" y="773"/>
                </a:cubicBezTo>
                <a:cubicBezTo>
                  <a:pt x="3791" y="773"/>
                  <a:pt x="3790" y="772"/>
                  <a:pt x="3790" y="772"/>
                </a:cubicBezTo>
                <a:cubicBezTo>
                  <a:pt x="3789" y="772"/>
                  <a:pt x="3788" y="773"/>
                  <a:pt x="3787" y="774"/>
                </a:cubicBezTo>
                <a:cubicBezTo>
                  <a:pt x="3785" y="776"/>
                  <a:pt x="3786" y="778"/>
                  <a:pt x="3786" y="780"/>
                </a:cubicBezTo>
                <a:cubicBezTo>
                  <a:pt x="3786" y="781"/>
                  <a:pt x="3786" y="782"/>
                  <a:pt x="3785" y="783"/>
                </a:cubicBezTo>
                <a:cubicBezTo>
                  <a:pt x="3784" y="783"/>
                  <a:pt x="3783" y="783"/>
                  <a:pt x="3782" y="782"/>
                </a:cubicBezTo>
                <a:cubicBezTo>
                  <a:pt x="3781" y="777"/>
                  <a:pt x="3779" y="773"/>
                  <a:pt x="3778" y="769"/>
                </a:cubicBezTo>
                <a:cubicBezTo>
                  <a:pt x="3776" y="765"/>
                  <a:pt x="3774" y="765"/>
                  <a:pt x="3770" y="766"/>
                </a:cubicBezTo>
                <a:cubicBezTo>
                  <a:pt x="3768" y="766"/>
                  <a:pt x="3767" y="767"/>
                  <a:pt x="3765" y="767"/>
                </a:cubicBezTo>
                <a:cubicBezTo>
                  <a:pt x="3764" y="768"/>
                  <a:pt x="3762" y="767"/>
                  <a:pt x="3760" y="767"/>
                </a:cubicBezTo>
                <a:cubicBezTo>
                  <a:pt x="3757" y="767"/>
                  <a:pt x="3755" y="764"/>
                  <a:pt x="3756" y="762"/>
                </a:cubicBezTo>
                <a:cubicBezTo>
                  <a:pt x="3757" y="760"/>
                  <a:pt x="3757" y="758"/>
                  <a:pt x="3758" y="757"/>
                </a:cubicBezTo>
                <a:cubicBezTo>
                  <a:pt x="3760" y="752"/>
                  <a:pt x="3763" y="747"/>
                  <a:pt x="3766" y="743"/>
                </a:cubicBezTo>
                <a:cubicBezTo>
                  <a:pt x="3769" y="737"/>
                  <a:pt x="3772" y="732"/>
                  <a:pt x="3772" y="726"/>
                </a:cubicBezTo>
                <a:cubicBezTo>
                  <a:pt x="3773" y="715"/>
                  <a:pt x="3777" y="704"/>
                  <a:pt x="3782" y="694"/>
                </a:cubicBezTo>
                <a:cubicBezTo>
                  <a:pt x="3785" y="687"/>
                  <a:pt x="3788" y="680"/>
                  <a:pt x="3786" y="672"/>
                </a:cubicBezTo>
                <a:cubicBezTo>
                  <a:pt x="3785" y="669"/>
                  <a:pt x="3786" y="665"/>
                  <a:pt x="3788" y="663"/>
                </a:cubicBezTo>
                <a:cubicBezTo>
                  <a:pt x="3791" y="658"/>
                  <a:pt x="3792" y="654"/>
                  <a:pt x="3790" y="649"/>
                </a:cubicBezTo>
                <a:cubicBezTo>
                  <a:pt x="3790" y="646"/>
                  <a:pt x="3791" y="644"/>
                  <a:pt x="3792" y="642"/>
                </a:cubicBezTo>
                <a:cubicBezTo>
                  <a:pt x="3794" y="638"/>
                  <a:pt x="3798" y="635"/>
                  <a:pt x="3803" y="634"/>
                </a:cubicBezTo>
                <a:cubicBezTo>
                  <a:pt x="3810" y="633"/>
                  <a:pt x="3816" y="630"/>
                  <a:pt x="3822" y="627"/>
                </a:cubicBezTo>
                <a:cubicBezTo>
                  <a:pt x="3824" y="626"/>
                  <a:pt x="3827" y="627"/>
                  <a:pt x="3830" y="628"/>
                </a:cubicBezTo>
                <a:cubicBezTo>
                  <a:pt x="3833" y="630"/>
                  <a:pt x="3835" y="629"/>
                  <a:pt x="3837" y="626"/>
                </a:cubicBezTo>
                <a:cubicBezTo>
                  <a:pt x="3839" y="622"/>
                  <a:pt x="3843" y="621"/>
                  <a:pt x="3846" y="621"/>
                </a:cubicBezTo>
                <a:cubicBezTo>
                  <a:pt x="3853" y="623"/>
                  <a:pt x="3858" y="619"/>
                  <a:pt x="3864" y="619"/>
                </a:cubicBezTo>
                <a:cubicBezTo>
                  <a:pt x="3865" y="619"/>
                  <a:pt x="3866" y="618"/>
                  <a:pt x="3866" y="617"/>
                </a:cubicBezTo>
                <a:cubicBezTo>
                  <a:pt x="3867" y="614"/>
                  <a:pt x="3867" y="611"/>
                  <a:pt x="3868" y="609"/>
                </a:cubicBezTo>
                <a:cubicBezTo>
                  <a:pt x="3869" y="606"/>
                  <a:pt x="3872" y="604"/>
                  <a:pt x="3875" y="604"/>
                </a:cubicBezTo>
                <a:cubicBezTo>
                  <a:pt x="3882" y="605"/>
                  <a:pt x="3890" y="606"/>
                  <a:pt x="3897" y="607"/>
                </a:cubicBezTo>
                <a:cubicBezTo>
                  <a:pt x="3899" y="607"/>
                  <a:pt x="3900" y="608"/>
                  <a:pt x="3902" y="609"/>
                </a:cubicBezTo>
                <a:cubicBezTo>
                  <a:pt x="3902" y="609"/>
                  <a:pt x="3903" y="611"/>
                  <a:pt x="3903" y="612"/>
                </a:cubicBezTo>
                <a:cubicBezTo>
                  <a:pt x="3902" y="613"/>
                  <a:pt x="3901" y="613"/>
                  <a:pt x="3901" y="614"/>
                </a:cubicBezTo>
                <a:cubicBezTo>
                  <a:pt x="3900" y="617"/>
                  <a:pt x="3900" y="618"/>
                  <a:pt x="3902" y="620"/>
                </a:cubicBezTo>
                <a:cubicBezTo>
                  <a:pt x="3904" y="622"/>
                  <a:pt x="3906" y="623"/>
                  <a:pt x="3908" y="622"/>
                </a:cubicBezTo>
                <a:cubicBezTo>
                  <a:pt x="3913" y="619"/>
                  <a:pt x="3920" y="617"/>
                  <a:pt x="3924" y="611"/>
                </a:cubicBezTo>
                <a:cubicBezTo>
                  <a:pt x="3925" y="609"/>
                  <a:pt x="3927" y="608"/>
                  <a:pt x="3930" y="609"/>
                </a:cubicBezTo>
                <a:cubicBezTo>
                  <a:pt x="3932" y="610"/>
                  <a:pt x="3934" y="609"/>
                  <a:pt x="3935" y="607"/>
                </a:cubicBezTo>
                <a:cubicBezTo>
                  <a:pt x="3937" y="605"/>
                  <a:pt x="3942" y="604"/>
                  <a:pt x="3941" y="600"/>
                </a:cubicBezTo>
                <a:cubicBezTo>
                  <a:pt x="3940" y="596"/>
                  <a:pt x="3936" y="596"/>
                  <a:pt x="3933" y="595"/>
                </a:cubicBezTo>
                <a:cubicBezTo>
                  <a:pt x="3932" y="595"/>
                  <a:pt x="3932" y="595"/>
                  <a:pt x="3931" y="595"/>
                </a:cubicBezTo>
                <a:cubicBezTo>
                  <a:pt x="3929" y="595"/>
                  <a:pt x="3928" y="594"/>
                  <a:pt x="3928" y="592"/>
                </a:cubicBezTo>
                <a:cubicBezTo>
                  <a:pt x="3925" y="586"/>
                  <a:pt x="3925" y="580"/>
                  <a:pt x="3927" y="574"/>
                </a:cubicBezTo>
                <a:cubicBezTo>
                  <a:pt x="3927" y="573"/>
                  <a:pt x="3928" y="572"/>
                  <a:pt x="3928" y="571"/>
                </a:cubicBezTo>
                <a:cubicBezTo>
                  <a:pt x="3930" y="567"/>
                  <a:pt x="3931" y="562"/>
                  <a:pt x="3930" y="557"/>
                </a:cubicBezTo>
                <a:cubicBezTo>
                  <a:pt x="3930" y="550"/>
                  <a:pt x="3931" y="544"/>
                  <a:pt x="3930" y="537"/>
                </a:cubicBezTo>
                <a:cubicBezTo>
                  <a:pt x="3930" y="532"/>
                  <a:pt x="3932" y="529"/>
                  <a:pt x="3937" y="527"/>
                </a:cubicBezTo>
                <a:cubicBezTo>
                  <a:pt x="3940" y="525"/>
                  <a:pt x="3944" y="524"/>
                  <a:pt x="3948" y="522"/>
                </a:cubicBezTo>
                <a:cubicBezTo>
                  <a:pt x="3951" y="520"/>
                  <a:pt x="3955" y="520"/>
                  <a:pt x="3959" y="521"/>
                </a:cubicBezTo>
                <a:cubicBezTo>
                  <a:pt x="3961" y="522"/>
                  <a:pt x="3963" y="520"/>
                  <a:pt x="3964" y="519"/>
                </a:cubicBezTo>
                <a:cubicBezTo>
                  <a:pt x="3966" y="518"/>
                  <a:pt x="3968" y="519"/>
                  <a:pt x="3968" y="520"/>
                </a:cubicBezTo>
                <a:cubicBezTo>
                  <a:pt x="3969" y="524"/>
                  <a:pt x="3969" y="528"/>
                  <a:pt x="3970" y="532"/>
                </a:cubicBezTo>
                <a:cubicBezTo>
                  <a:pt x="3970" y="535"/>
                  <a:pt x="3972" y="538"/>
                  <a:pt x="3975" y="540"/>
                </a:cubicBezTo>
                <a:cubicBezTo>
                  <a:pt x="3978" y="542"/>
                  <a:pt x="3982" y="543"/>
                  <a:pt x="3984" y="545"/>
                </a:cubicBezTo>
                <a:cubicBezTo>
                  <a:pt x="3985" y="546"/>
                  <a:pt x="3987" y="545"/>
                  <a:pt x="3987" y="544"/>
                </a:cubicBezTo>
                <a:cubicBezTo>
                  <a:pt x="3988" y="543"/>
                  <a:pt x="3989" y="542"/>
                  <a:pt x="3990" y="540"/>
                </a:cubicBezTo>
                <a:cubicBezTo>
                  <a:pt x="3991" y="534"/>
                  <a:pt x="3992" y="527"/>
                  <a:pt x="3993" y="521"/>
                </a:cubicBezTo>
                <a:cubicBezTo>
                  <a:pt x="3994" y="516"/>
                  <a:pt x="3996" y="514"/>
                  <a:pt x="4000" y="512"/>
                </a:cubicBezTo>
                <a:cubicBezTo>
                  <a:pt x="4002" y="512"/>
                  <a:pt x="4002" y="509"/>
                  <a:pt x="4002" y="507"/>
                </a:cubicBezTo>
                <a:cubicBezTo>
                  <a:pt x="4002" y="507"/>
                  <a:pt x="4002" y="507"/>
                  <a:pt x="4001" y="506"/>
                </a:cubicBezTo>
                <a:cubicBezTo>
                  <a:pt x="3994" y="501"/>
                  <a:pt x="3992" y="492"/>
                  <a:pt x="3990" y="483"/>
                </a:cubicBezTo>
                <a:cubicBezTo>
                  <a:pt x="3990" y="483"/>
                  <a:pt x="3991" y="482"/>
                  <a:pt x="3991" y="482"/>
                </a:cubicBezTo>
                <a:cubicBezTo>
                  <a:pt x="3993" y="478"/>
                  <a:pt x="3998" y="477"/>
                  <a:pt x="4003" y="478"/>
                </a:cubicBezTo>
                <a:cubicBezTo>
                  <a:pt x="4004" y="479"/>
                  <a:pt x="4005" y="481"/>
                  <a:pt x="4004" y="483"/>
                </a:cubicBezTo>
                <a:cubicBezTo>
                  <a:pt x="4001" y="487"/>
                  <a:pt x="4002" y="492"/>
                  <a:pt x="4005" y="497"/>
                </a:cubicBezTo>
                <a:cubicBezTo>
                  <a:pt x="4008" y="502"/>
                  <a:pt x="4012" y="508"/>
                  <a:pt x="4011" y="515"/>
                </a:cubicBezTo>
                <a:cubicBezTo>
                  <a:pt x="4011" y="516"/>
                  <a:pt x="4012" y="517"/>
                  <a:pt x="4013" y="518"/>
                </a:cubicBezTo>
                <a:cubicBezTo>
                  <a:pt x="4017" y="522"/>
                  <a:pt x="4014" y="529"/>
                  <a:pt x="4017" y="534"/>
                </a:cubicBezTo>
                <a:cubicBezTo>
                  <a:pt x="4016" y="537"/>
                  <a:pt x="4013" y="540"/>
                  <a:pt x="4010" y="543"/>
                </a:cubicBezTo>
                <a:cubicBezTo>
                  <a:pt x="4010" y="543"/>
                  <a:pt x="4010" y="544"/>
                  <a:pt x="4009" y="544"/>
                </a:cubicBezTo>
                <a:cubicBezTo>
                  <a:pt x="4007" y="547"/>
                  <a:pt x="4006" y="550"/>
                  <a:pt x="4006" y="553"/>
                </a:cubicBezTo>
                <a:cubicBezTo>
                  <a:pt x="4007" y="562"/>
                  <a:pt x="4007" y="571"/>
                  <a:pt x="4004" y="579"/>
                </a:cubicBezTo>
                <a:cubicBezTo>
                  <a:pt x="4003" y="581"/>
                  <a:pt x="4003" y="583"/>
                  <a:pt x="4003" y="586"/>
                </a:cubicBezTo>
                <a:cubicBezTo>
                  <a:pt x="4003" y="594"/>
                  <a:pt x="4002" y="602"/>
                  <a:pt x="4003" y="610"/>
                </a:cubicBezTo>
                <a:cubicBezTo>
                  <a:pt x="4003" y="617"/>
                  <a:pt x="4002" y="623"/>
                  <a:pt x="3997" y="629"/>
                </a:cubicBezTo>
                <a:cubicBezTo>
                  <a:pt x="3996" y="630"/>
                  <a:pt x="3996" y="632"/>
                  <a:pt x="3995" y="633"/>
                </a:cubicBezTo>
                <a:cubicBezTo>
                  <a:pt x="3994" y="634"/>
                  <a:pt x="3993" y="635"/>
                  <a:pt x="3991" y="636"/>
                </a:cubicBezTo>
                <a:cubicBezTo>
                  <a:pt x="3987" y="640"/>
                  <a:pt x="3987" y="640"/>
                  <a:pt x="3989" y="644"/>
                </a:cubicBezTo>
                <a:cubicBezTo>
                  <a:pt x="3993" y="648"/>
                  <a:pt x="3993" y="653"/>
                  <a:pt x="3992" y="658"/>
                </a:cubicBezTo>
                <a:cubicBezTo>
                  <a:pt x="3992" y="660"/>
                  <a:pt x="3991" y="663"/>
                  <a:pt x="3990" y="665"/>
                </a:cubicBezTo>
                <a:cubicBezTo>
                  <a:pt x="3988" y="669"/>
                  <a:pt x="3988" y="673"/>
                  <a:pt x="3989" y="677"/>
                </a:cubicBezTo>
                <a:cubicBezTo>
                  <a:pt x="3990" y="683"/>
                  <a:pt x="3993" y="689"/>
                  <a:pt x="3994" y="696"/>
                </a:cubicBezTo>
                <a:cubicBezTo>
                  <a:pt x="4000" y="717"/>
                  <a:pt x="4012" y="734"/>
                  <a:pt x="4024" y="752"/>
                </a:cubicBezTo>
                <a:cubicBezTo>
                  <a:pt x="4027" y="757"/>
                  <a:pt x="4031" y="762"/>
                  <a:pt x="4034" y="767"/>
                </a:cubicBezTo>
                <a:cubicBezTo>
                  <a:pt x="4036" y="771"/>
                  <a:pt x="4037" y="775"/>
                  <a:pt x="4040" y="777"/>
                </a:cubicBezTo>
                <a:cubicBezTo>
                  <a:pt x="4044" y="780"/>
                  <a:pt x="4047" y="785"/>
                  <a:pt x="4049" y="789"/>
                </a:cubicBezTo>
                <a:cubicBezTo>
                  <a:pt x="4051" y="793"/>
                  <a:pt x="4052" y="798"/>
                  <a:pt x="4054" y="803"/>
                </a:cubicBezTo>
                <a:cubicBezTo>
                  <a:pt x="4056" y="808"/>
                  <a:pt x="4061" y="810"/>
                  <a:pt x="4065" y="812"/>
                </a:cubicBezTo>
                <a:cubicBezTo>
                  <a:pt x="4065" y="812"/>
                  <a:pt x="4066" y="812"/>
                  <a:pt x="4066" y="812"/>
                </a:cubicBezTo>
                <a:cubicBezTo>
                  <a:pt x="4070" y="809"/>
                  <a:pt x="4070" y="805"/>
                  <a:pt x="4072" y="802"/>
                </a:cubicBezTo>
                <a:cubicBezTo>
                  <a:pt x="4076" y="793"/>
                  <a:pt x="4076" y="784"/>
                  <a:pt x="4073" y="775"/>
                </a:cubicBezTo>
                <a:cubicBezTo>
                  <a:pt x="4069" y="765"/>
                  <a:pt x="4068" y="762"/>
                  <a:pt x="4079" y="756"/>
                </a:cubicBezTo>
                <a:cubicBezTo>
                  <a:pt x="4080" y="756"/>
                  <a:pt x="4080" y="756"/>
                  <a:pt x="4081" y="755"/>
                </a:cubicBezTo>
                <a:cubicBezTo>
                  <a:pt x="4083" y="754"/>
                  <a:pt x="4083" y="753"/>
                  <a:pt x="4082" y="751"/>
                </a:cubicBezTo>
                <a:cubicBezTo>
                  <a:pt x="4080" y="749"/>
                  <a:pt x="4079" y="747"/>
                  <a:pt x="4077" y="744"/>
                </a:cubicBezTo>
                <a:cubicBezTo>
                  <a:pt x="4076" y="742"/>
                  <a:pt x="4075" y="740"/>
                  <a:pt x="4075" y="738"/>
                </a:cubicBezTo>
                <a:cubicBezTo>
                  <a:pt x="4075" y="733"/>
                  <a:pt x="4076" y="728"/>
                  <a:pt x="4076" y="723"/>
                </a:cubicBezTo>
                <a:cubicBezTo>
                  <a:pt x="4077" y="720"/>
                  <a:pt x="4079" y="717"/>
                  <a:pt x="4082" y="716"/>
                </a:cubicBezTo>
                <a:cubicBezTo>
                  <a:pt x="4085" y="715"/>
                  <a:pt x="4087" y="714"/>
                  <a:pt x="4090" y="713"/>
                </a:cubicBezTo>
                <a:cubicBezTo>
                  <a:pt x="4092" y="711"/>
                  <a:pt x="4092" y="707"/>
                  <a:pt x="4091" y="705"/>
                </a:cubicBezTo>
                <a:cubicBezTo>
                  <a:pt x="4088" y="702"/>
                  <a:pt x="4086" y="699"/>
                  <a:pt x="4083" y="696"/>
                </a:cubicBezTo>
                <a:cubicBezTo>
                  <a:pt x="4076" y="689"/>
                  <a:pt x="4074" y="680"/>
                  <a:pt x="4076" y="671"/>
                </a:cubicBezTo>
                <a:cubicBezTo>
                  <a:pt x="4076" y="669"/>
                  <a:pt x="4078" y="668"/>
                  <a:pt x="4079" y="668"/>
                </a:cubicBezTo>
                <a:cubicBezTo>
                  <a:pt x="4080" y="668"/>
                  <a:pt x="4081" y="668"/>
                  <a:pt x="4082" y="668"/>
                </a:cubicBezTo>
                <a:cubicBezTo>
                  <a:pt x="4086" y="669"/>
                  <a:pt x="4089" y="664"/>
                  <a:pt x="4087" y="662"/>
                </a:cubicBezTo>
                <a:cubicBezTo>
                  <a:pt x="4085" y="658"/>
                  <a:pt x="4082" y="654"/>
                  <a:pt x="4080" y="651"/>
                </a:cubicBezTo>
                <a:cubicBezTo>
                  <a:pt x="4079" y="647"/>
                  <a:pt x="4077" y="646"/>
                  <a:pt x="4073" y="646"/>
                </a:cubicBezTo>
                <a:cubicBezTo>
                  <a:pt x="4072" y="646"/>
                  <a:pt x="4071" y="646"/>
                  <a:pt x="4070" y="645"/>
                </a:cubicBezTo>
                <a:cubicBezTo>
                  <a:pt x="4068" y="640"/>
                  <a:pt x="4066" y="636"/>
                  <a:pt x="4068" y="631"/>
                </a:cubicBezTo>
                <a:cubicBezTo>
                  <a:pt x="4069" y="629"/>
                  <a:pt x="4068" y="628"/>
                  <a:pt x="4068" y="626"/>
                </a:cubicBezTo>
                <a:cubicBezTo>
                  <a:pt x="4068" y="624"/>
                  <a:pt x="4067" y="623"/>
                  <a:pt x="4066" y="622"/>
                </a:cubicBezTo>
                <a:cubicBezTo>
                  <a:pt x="4064" y="619"/>
                  <a:pt x="4061" y="618"/>
                  <a:pt x="4057" y="617"/>
                </a:cubicBezTo>
                <a:cubicBezTo>
                  <a:pt x="4057" y="617"/>
                  <a:pt x="4055" y="618"/>
                  <a:pt x="4055" y="619"/>
                </a:cubicBezTo>
                <a:cubicBezTo>
                  <a:pt x="4054" y="620"/>
                  <a:pt x="4053" y="621"/>
                  <a:pt x="4052" y="622"/>
                </a:cubicBezTo>
                <a:cubicBezTo>
                  <a:pt x="4052" y="622"/>
                  <a:pt x="4052" y="622"/>
                  <a:pt x="4052" y="622"/>
                </a:cubicBezTo>
                <a:cubicBezTo>
                  <a:pt x="4052" y="623"/>
                  <a:pt x="4053" y="623"/>
                  <a:pt x="4053" y="623"/>
                </a:cubicBezTo>
                <a:cubicBezTo>
                  <a:pt x="4053" y="623"/>
                  <a:pt x="4053" y="623"/>
                  <a:pt x="4053" y="623"/>
                </a:cubicBezTo>
                <a:cubicBezTo>
                  <a:pt x="4053" y="624"/>
                  <a:pt x="4053" y="624"/>
                  <a:pt x="4053" y="623"/>
                </a:cubicBezTo>
                <a:cubicBezTo>
                  <a:pt x="4052" y="623"/>
                  <a:pt x="4052" y="623"/>
                  <a:pt x="4052" y="623"/>
                </a:cubicBezTo>
                <a:cubicBezTo>
                  <a:pt x="4052" y="623"/>
                  <a:pt x="4052" y="623"/>
                  <a:pt x="4052" y="622"/>
                </a:cubicBezTo>
                <a:cubicBezTo>
                  <a:pt x="4049" y="621"/>
                  <a:pt x="4047" y="619"/>
                  <a:pt x="4046" y="615"/>
                </a:cubicBezTo>
                <a:cubicBezTo>
                  <a:pt x="4043" y="610"/>
                  <a:pt x="4043" y="604"/>
                  <a:pt x="4043" y="598"/>
                </a:cubicBezTo>
                <a:cubicBezTo>
                  <a:pt x="4044" y="588"/>
                  <a:pt x="4043" y="579"/>
                  <a:pt x="4038" y="571"/>
                </a:cubicBezTo>
                <a:cubicBezTo>
                  <a:pt x="4037" y="570"/>
                  <a:pt x="4037" y="569"/>
                  <a:pt x="4037" y="567"/>
                </a:cubicBezTo>
                <a:cubicBezTo>
                  <a:pt x="4035" y="562"/>
                  <a:pt x="4038" y="557"/>
                  <a:pt x="4044" y="555"/>
                </a:cubicBezTo>
                <a:cubicBezTo>
                  <a:pt x="4045" y="555"/>
                  <a:pt x="4046" y="555"/>
                  <a:pt x="4047" y="555"/>
                </a:cubicBezTo>
                <a:cubicBezTo>
                  <a:pt x="4051" y="555"/>
                  <a:pt x="4051" y="555"/>
                  <a:pt x="4052" y="552"/>
                </a:cubicBezTo>
                <a:cubicBezTo>
                  <a:pt x="4052" y="549"/>
                  <a:pt x="4053" y="546"/>
                  <a:pt x="4055" y="544"/>
                </a:cubicBezTo>
                <a:cubicBezTo>
                  <a:pt x="4056" y="543"/>
                  <a:pt x="4058" y="543"/>
                  <a:pt x="4059" y="544"/>
                </a:cubicBezTo>
                <a:cubicBezTo>
                  <a:pt x="4060" y="546"/>
                  <a:pt x="4061" y="549"/>
                  <a:pt x="4063" y="551"/>
                </a:cubicBezTo>
                <a:cubicBezTo>
                  <a:pt x="4063" y="552"/>
                  <a:pt x="4065" y="552"/>
                  <a:pt x="4066" y="552"/>
                </a:cubicBezTo>
                <a:cubicBezTo>
                  <a:pt x="4067" y="552"/>
                  <a:pt x="4068" y="551"/>
                  <a:pt x="4068" y="550"/>
                </a:cubicBezTo>
                <a:cubicBezTo>
                  <a:pt x="4069" y="547"/>
                  <a:pt x="4069" y="544"/>
                  <a:pt x="4070" y="542"/>
                </a:cubicBezTo>
                <a:cubicBezTo>
                  <a:pt x="4070" y="538"/>
                  <a:pt x="4073" y="535"/>
                  <a:pt x="4075" y="532"/>
                </a:cubicBezTo>
                <a:cubicBezTo>
                  <a:pt x="4078" y="528"/>
                  <a:pt x="4083" y="526"/>
                  <a:pt x="4088" y="525"/>
                </a:cubicBezTo>
                <a:cubicBezTo>
                  <a:pt x="4092" y="525"/>
                  <a:pt x="4094" y="527"/>
                  <a:pt x="4097" y="529"/>
                </a:cubicBezTo>
                <a:cubicBezTo>
                  <a:pt x="4100" y="531"/>
                  <a:pt x="4103" y="533"/>
                  <a:pt x="4105" y="535"/>
                </a:cubicBezTo>
                <a:cubicBezTo>
                  <a:pt x="4106" y="535"/>
                  <a:pt x="4107" y="536"/>
                  <a:pt x="4108" y="536"/>
                </a:cubicBezTo>
                <a:cubicBezTo>
                  <a:pt x="4110" y="537"/>
                  <a:pt x="4111" y="537"/>
                  <a:pt x="4113" y="537"/>
                </a:cubicBezTo>
                <a:cubicBezTo>
                  <a:pt x="4114" y="537"/>
                  <a:pt x="4116" y="536"/>
                  <a:pt x="4116" y="534"/>
                </a:cubicBezTo>
                <a:cubicBezTo>
                  <a:pt x="4116" y="530"/>
                  <a:pt x="4113" y="527"/>
                  <a:pt x="4114" y="523"/>
                </a:cubicBezTo>
                <a:cubicBezTo>
                  <a:pt x="4115" y="519"/>
                  <a:pt x="4115" y="515"/>
                  <a:pt x="4116" y="512"/>
                </a:cubicBezTo>
                <a:cubicBezTo>
                  <a:pt x="4118" y="506"/>
                  <a:pt x="4119" y="501"/>
                  <a:pt x="4119" y="496"/>
                </a:cubicBezTo>
                <a:cubicBezTo>
                  <a:pt x="4120" y="487"/>
                  <a:pt x="4122" y="479"/>
                  <a:pt x="4126" y="472"/>
                </a:cubicBezTo>
                <a:cubicBezTo>
                  <a:pt x="4129" y="468"/>
                  <a:pt x="4131" y="464"/>
                  <a:pt x="4133" y="459"/>
                </a:cubicBezTo>
                <a:cubicBezTo>
                  <a:pt x="4136" y="452"/>
                  <a:pt x="4140" y="446"/>
                  <a:pt x="4146" y="441"/>
                </a:cubicBezTo>
                <a:cubicBezTo>
                  <a:pt x="4148" y="439"/>
                  <a:pt x="4151" y="438"/>
                  <a:pt x="4154" y="438"/>
                </a:cubicBezTo>
                <a:cubicBezTo>
                  <a:pt x="4157" y="438"/>
                  <a:pt x="4161" y="438"/>
                  <a:pt x="4165" y="438"/>
                </a:cubicBezTo>
                <a:cubicBezTo>
                  <a:pt x="4167" y="438"/>
                  <a:pt x="4169" y="438"/>
                  <a:pt x="4170" y="437"/>
                </a:cubicBezTo>
                <a:cubicBezTo>
                  <a:pt x="4171" y="437"/>
                  <a:pt x="4172" y="436"/>
                  <a:pt x="4172" y="435"/>
                </a:cubicBezTo>
                <a:cubicBezTo>
                  <a:pt x="4172" y="428"/>
                  <a:pt x="4173" y="421"/>
                  <a:pt x="4166" y="416"/>
                </a:cubicBezTo>
                <a:cubicBezTo>
                  <a:pt x="4164" y="414"/>
                  <a:pt x="4164" y="412"/>
                  <a:pt x="4162" y="410"/>
                </a:cubicBezTo>
                <a:cubicBezTo>
                  <a:pt x="4162" y="409"/>
                  <a:pt x="4161" y="407"/>
                  <a:pt x="4159" y="407"/>
                </a:cubicBezTo>
                <a:cubicBezTo>
                  <a:pt x="4153" y="404"/>
                  <a:pt x="4149" y="399"/>
                  <a:pt x="4142" y="398"/>
                </a:cubicBezTo>
                <a:cubicBezTo>
                  <a:pt x="4142" y="398"/>
                  <a:pt x="4142" y="398"/>
                  <a:pt x="4142" y="398"/>
                </a:cubicBezTo>
                <a:cubicBezTo>
                  <a:pt x="4141" y="398"/>
                  <a:pt x="4141" y="398"/>
                  <a:pt x="4141" y="398"/>
                </a:cubicBezTo>
                <a:cubicBezTo>
                  <a:pt x="4142" y="398"/>
                  <a:pt x="4142" y="398"/>
                  <a:pt x="4142" y="398"/>
                </a:cubicBezTo>
                <a:cubicBezTo>
                  <a:pt x="4142" y="398"/>
                  <a:pt x="4142" y="398"/>
                  <a:pt x="4142" y="398"/>
                </a:cubicBezTo>
                <a:cubicBezTo>
                  <a:pt x="4141" y="396"/>
                  <a:pt x="4141" y="394"/>
                  <a:pt x="4140" y="392"/>
                </a:cubicBezTo>
                <a:cubicBezTo>
                  <a:pt x="4139" y="388"/>
                  <a:pt x="4137" y="385"/>
                  <a:pt x="4132" y="385"/>
                </a:cubicBezTo>
                <a:cubicBezTo>
                  <a:pt x="4131" y="385"/>
                  <a:pt x="4130" y="385"/>
                  <a:pt x="4129" y="384"/>
                </a:cubicBezTo>
                <a:cubicBezTo>
                  <a:pt x="4129" y="383"/>
                  <a:pt x="4129" y="382"/>
                  <a:pt x="4128" y="381"/>
                </a:cubicBezTo>
                <a:cubicBezTo>
                  <a:pt x="4126" y="376"/>
                  <a:pt x="4124" y="375"/>
                  <a:pt x="4119" y="376"/>
                </a:cubicBezTo>
                <a:cubicBezTo>
                  <a:pt x="4114" y="377"/>
                  <a:pt x="4111" y="374"/>
                  <a:pt x="4108" y="371"/>
                </a:cubicBezTo>
                <a:cubicBezTo>
                  <a:pt x="4107" y="370"/>
                  <a:pt x="4108" y="367"/>
                  <a:pt x="4109" y="367"/>
                </a:cubicBezTo>
                <a:cubicBezTo>
                  <a:pt x="4111" y="366"/>
                  <a:pt x="4113" y="365"/>
                  <a:pt x="4115" y="365"/>
                </a:cubicBezTo>
                <a:cubicBezTo>
                  <a:pt x="4122" y="363"/>
                  <a:pt x="4124" y="359"/>
                  <a:pt x="4125" y="353"/>
                </a:cubicBezTo>
                <a:cubicBezTo>
                  <a:pt x="4125" y="346"/>
                  <a:pt x="4125" y="340"/>
                  <a:pt x="4125" y="333"/>
                </a:cubicBezTo>
                <a:cubicBezTo>
                  <a:pt x="4125" y="331"/>
                  <a:pt x="4125" y="329"/>
                  <a:pt x="4124" y="327"/>
                </a:cubicBezTo>
                <a:cubicBezTo>
                  <a:pt x="4123" y="324"/>
                  <a:pt x="4121" y="322"/>
                  <a:pt x="4120" y="319"/>
                </a:cubicBezTo>
                <a:cubicBezTo>
                  <a:pt x="4118" y="315"/>
                  <a:pt x="4116" y="313"/>
                  <a:pt x="4112" y="312"/>
                </a:cubicBezTo>
                <a:cubicBezTo>
                  <a:pt x="4108" y="312"/>
                  <a:pt x="4105" y="309"/>
                  <a:pt x="4102" y="306"/>
                </a:cubicBezTo>
                <a:cubicBezTo>
                  <a:pt x="4101" y="305"/>
                  <a:pt x="4101" y="303"/>
                  <a:pt x="4102" y="301"/>
                </a:cubicBezTo>
                <a:cubicBezTo>
                  <a:pt x="4103" y="300"/>
                  <a:pt x="4103" y="298"/>
                  <a:pt x="4104" y="297"/>
                </a:cubicBezTo>
                <a:cubicBezTo>
                  <a:pt x="4105" y="294"/>
                  <a:pt x="4108" y="294"/>
                  <a:pt x="4108" y="296"/>
                </a:cubicBezTo>
                <a:cubicBezTo>
                  <a:pt x="4110" y="300"/>
                  <a:pt x="4112" y="303"/>
                  <a:pt x="4116" y="304"/>
                </a:cubicBezTo>
                <a:cubicBezTo>
                  <a:pt x="4126" y="310"/>
                  <a:pt x="4127" y="309"/>
                  <a:pt x="4132" y="299"/>
                </a:cubicBezTo>
                <a:cubicBezTo>
                  <a:pt x="4132" y="298"/>
                  <a:pt x="4132" y="297"/>
                  <a:pt x="4133" y="296"/>
                </a:cubicBezTo>
                <a:cubicBezTo>
                  <a:pt x="4135" y="293"/>
                  <a:pt x="4138" y="291"/>
                  <a:pt x="4141" y="291"/>
                </a:cubicBezTo>
                <a:cubicBezTo>
                  <a:pt x="4143" y="290"/>
                  <a:pt x="4145" y="292"/>
                  <a:pt x="4147" y="293"/>
                </a:cubicBezTo>
                <a:cubicBezTo>
                  <a:pt x="4149" y="295"/>
                  <a:pt x="4151" y="297"/>
                  <a:pt x="4152" y="299"/>
                </a:cubicBezTo>
                <a:cubicBezTo>
                  <a:pt x="4155" y="303"/>
                  <a:pt x="4159" y="303"/>
                  <a:pt x="4163" y="301"/>
                </a:cubicBezTo>
                <a:cubicBezTo>
                  <a:pt x="4166" y="299"/>
                  <a:pt x="4170" y="298"/>
                  <a:pt x="4174" y="298"/>
                </a:cubicBezTo>
                <a:cubicBezTo>
                  <a:pt x="4176" y="299"/>
                  <a:pt x="4179" y="299"/>
                  <a:pt x="4182" y="299"/>
                </a:cubicBezTo>
                <a:cubicBezTo>
                  <a:pt x="4184" y="299"/>
                  <a:pt x="4186" y="298"/>
                  <a:pt x="4188" y="298"/>
                </a:cubicBezTo>
                <a:cubicBezTo>
                  <a:pt x="4189" y="297"/>
                  <a:pt x="4190" y="297"/>
                  <a:pt x="4191" y="296"/>
                </a:cubicBezTo>
                <a:cubicBezTo>
                  <a:pt x="4192" y="295"/>
                  <a:pt x="4193" y="294"/>
                  <a:pt x="4193" y="293"/>
                </a:cubicBezTo>
                <a:cubicBezTo>
                  <a:pt x="4192" y="288"/>
                  <a:pt x="4192" y="282"/>
                  <a:pt x="4184" y="281"/>
                </a:cubicBezTo>
                <a:cubicBezTo>
                  <a:pt x="4182" y="281"/>
                  <a:pt x="4181" y="278"/>
                  <a:pt x="4180" y="276"/>
                </a:cubicBezTo>
                <a:cubicBezTo>
                  <a:pt x="4180" y="275"/>
                  <a:pt x="4180" y="274"/>
                  <a:pt x="4180" y="273"/>
                </a:cubicBezTo>
                <a:cubicBezTo>
                  <a:pt x="4181" y="268"/>
                  <a:pt x="4179" y="263"/>
                  <a:pt x="4174" y="260"/>
                </a:cubicBezTo>
                <a:cubicBezTo>
                  <a:pt x="4172" y="259"/>
                  <a:pt x="4171" y="256"/>
                  <a:pt x="4169" y="254"/>
                </a:cubicBezTo>
                <a:cubicBezTo>
                  <a:pt x="4167" y="252"/>
                  <a:pt x="4167" y="251"/>
                  <a:pt x="4169" y="249"/>
                </a:cubicBezTo>
                <a:cubicBezTo>
                  <a:pt x="4173" y="246"/>
                  <a:pt x="4175" y="241"/>
                  <a:pt x="4177" y="236"/>
                </a:cubicBezTo>
                <a:cubicBezTo>
                  <a:pt x="4177" y="235"/>
                  <a:pt x="4177" y="233"/>
                  <a:pt x="4176" y="232"/>
                </a:cubicBezTo>
                <a:cubicBezTo>
                  <a:pt x="4171" y="227"/>
                  <a:pt x="4169" y="220"/>
                  <a:pt x="4169" y="214"/>
                </a:cubicBezTo>
                <a:cubicBezTo>
                  <a:pt x="4169" y="211"/>
                  <a:pt x="4168" y="211"/>
                  <a:pt x="4166" y="211"/>
                </a:cubicBezTo>
                <a:cubicBezTo>
                  <a:pt x="4165" y="211"/>
                  <a:pt x="4164" y="211"/>
                  <a:pt x="4163" y="211"/>
                </a:cubicBezTo>
                <a:cubicBezTo>
                  <a:pt x="4157" y="210"/>
                  <a:pt x="4152" y="207"/>
                  <a:pt x="4146" y="207"/>
                </a:cubicBezTo>
                <a:cubicBezTo>
                  <a:pt x="4144" y="207"/>
                  <a:pt x="4142" y="205"/>
                  <a:pt x="4140" y="204"/>
                </a:cubicBezTo>
                <a:cubicBezTo>
                  <a:pt x="4136" y="202"/>
                  <a:pt x="4133" y="203"/>
                  <a:pt x="4131" y="205"/>
                </a:cubicBezTo>
                <a:cubicBezTo>
                  <a:pt x="4127" y="209"/>
                  <a:pt x="4124" y="213"/>
                  <a:pt x="4119" y="214"/>
                </a:cubicBezTo>
                <a:cubicBezTo>
                  <a:pt x="4118" y="214"/>
                  <a:pt x="4117" y="215"/>
                  <a:pt x="4117" y="216"/>
                </a:cubicBezTo>
                <a:cubicBezTo>
                  <a:pt x="4115" y="218"/>
                  <a:pt x="4115" y="221"/>
                  <a:pt x="4116" y="222"/>
                </a:cubicBezTo>
                <a:cubicBezTo>
                  <a:pt x="4119" y="225"/>
                  <a:pt x="4122" y="228"/>
                  <a:pt x="4124" y="231"/>
                </a:cubicBezTo>
                <a:cubicBezTo>
                  <a:pt x="4125" y="233"/>
                  <a:pt x="4125" y="235"/>
                  <a:pt x="4124" y="237"/>
                </a:cubicBezTo>
                <a:cubicBezTo>
                  <a:pt x="4124" y="238"/>
                  <a:pt x="4123" y="239"/>
                  <a:pt x="4122" y="239"/>
                </a:cubicBezTo>
                <a:cubicBezTo>
                  <a:pt x="4121" y="239"/>
                  <a:pt x="4121" y="239"/>
                  <a:pt x="4120" y="239"/>
                </a:cubicBezTo>
                <a:cubicBezTo>
                  <a:pt x="4117" y="231"/>
                  <a:pt x="4108" y="226"/>
                  <a:pt x="4104" y="218"/>
                </a:cubicBezTo>
                <a:cubicBezTo>
                  <a:pt x="4098" y="213"/>
                  <a:pt x="4093" y="208"/>
                  <a:pt x="4084" y="210"/>
                </a:cubicBezTo>
                <a:cubicBezTo>
                  <a:pt x="4081" y="211"/>
                  <a:pt x="4077" y="211"/>
                  <a:pt x="4074" y="210"/>
                </a:cubicBezTo>
                <a:cubicBezTo>
                  <a:pt x="4069" y="208"/>
                  <a:pt x="4064" y="208"/>
                  <a:pt x="4059" y="208"/>
                </a:cubicBezTo>
                <a:cubicBezTo>
                  <a:pt x="4053" y="208"/>
                  <a:pt x="4048" y="208"/>
                  <a:pt x="4042" y="206"/>
                </a:cubicBezTo>
                <a:cubicBezTo>
                  <a:pt x="4036" y="204"/>
                  <a:pt x="4031" y="204"/>
                  <a:pt x="4025" y="206"/>
                </a:cubicBezTo>
                <a:cubicBezTo>
                  <a:pt x="4021" y="207"/>
                  <a:pt x="4018" y="206"/>
                  <a:pt x="4015" y="204"/>
                </a:cubicBezTo>
                <a:cubicBezTo>
                  <a:pt x="4012" y="201"/>
                  <a:pt x="4008" y="200"/>
                  <a:pt x="4004" y="199"/>
                </a:cubicBezTo>
                <a:cubicBezTo>
                  <a:pt x="3992" y="198"/>
                  <a:pt x="3981" y="194"/>
                  <a:pt x="3968" y="195"/>
                </a:cubicBezTo>
                <a:cubicBezTo>
                  <a:pt x="3967" y="195"/>
                  <a:pt x="3965" y="195"/>
                  <a:pt x="3963" y="195"/>
                </a:cubicBezTo>
                <a:cubicBezTo>
                  <a:pt x="3956" y="193"/>
                  <a:pt x="3948" y="195"/>
                  <a:pt x="3941" y="198"/>
                </a:cubicBezTo>
                <a:cubicBezTo>
                  <a:pt x="3936" y="200"/>
                  <a:pt x="3931" y="203"/>
                  <a:pt x="3926" y="203"/>
                </a:cubicBezTo>
                <a:cubicBezTo>
                  <a:pt x="3920" y="204"/>
                  <a:pt x="3914" y="206"/>
                  <a:pt x="3908" y="206"/>
                </a:cubicBezTo>
                <a:cubicBezTo>
                  <a:pt x="3905" y="206"/>
                  <a:pt x="3902" y="206"/>
                  <a:pt x="3900" y="207"/>
                </a:cubicBezTo>
                <a:cubicBezTo>
                  <a:pt x="3898" y="207"/>
                  <a:pt x="3898" y="208"/>
                  <a:pt x="3898" y="209"/>
                </a:cubicBezTo>
                <a:cubicBezTo>
                  <a:pt x="3899" y="215"/>
                  <a:pt x="3904" y="218"/>
                  <a:pt x="3903" y="225"/>
                </a:cubicBezTo>
                <a:cubicBezTo>
                  <a:pt x="3903" y="225"/>
                  <a:pt x="3905" y="227"/>
                  <a:pt x="3906" y="228"/>
                </a:cubicBezTo>
                <a:cubicBezTo>
                  <a:pt x="3910" y="229"/>
                  <a:pt x="3914" y="230"/>
                  <a:pt x="3917" y="234"/>
                </a:cubicBezTo>
                <a:cubicBezTo>
                  <a:pt x="3921" y="238"/>
                  <a:pt x="3924" y="241"/>
                  <a:pt x="3927" y="245"/>
                </a:cubicBezTo>
                <a:cubicBezTo>
                  <a:pt x="3928" y="247"/>
                  <a:pt x="3928" y="250"/>
                  <a:pt x="3927" y="251"/>
                </a:cubicBezTo>
                <a:cubicBezTo>
                  <a:pt x="3925" y="253"/>
                  <a:pt x="3923" y="254"/>
                  <a:pt x="3922" y="256"/>
                </a:cubicBezTo>
                <a:cubicBezTo>
                  <a:pt x="3919" y="258"/>
                  <a:pt x="3916" y="258"/>
                  <a:pt x="3914" y="255"/>
                </a:cubicBezTo>
                <a:cubicBezTo>
                  <a:pt x="3911" y="248"/>
                  <a:pt x="3905" y="246"/>
                  <a:pt x="3898" y="245"/>
                </a:cubicBezTo>
                <a:cubicBezTo>
                  <a:pt x="3897" y="245"/>
                  <a:pt x="3896" y="245"/>
                  <a:pt x="3895" y="245"/>
                </a:cubicBezTo>
                <a:cubicBezTo>
                  <a:pt x="3894" y="244"/>
                  <a:pt x="3892" y="243"/>
                  <a:pt x="3891" y="242"/>
                </a:cubicBezTo>
                <a:cubicBezTo>
                  <a:pt x="3890" y="240"/>
                  <a:pt x="3889" y="238"/>
                  <a:pt x="3888" y="236"/>
                </a:cubicBezTo>
                <a:cubicBezTo>
                  <a:pt x="3887" y="235"/>
                  <a:pt x="3888" y="234"/>
                  <a:pt x="3888" y="233"/>
                </a:cubicBezTo>
                <a:cubicBezTo>
                  <a:pt x="3892" y="230"/>
                  <a:pt x="3891" y="226"/>
                  <a:pt x="3889" y="223"/>
                </a:cubicBezTo>
                <a:cubicBezTo>
                  <a:pt x="3887" y="219"/>
                  <a:pt x="3883" y="219"/>
                  <a:pt x="3879" y="219"/>
                </a:cubicBezTo>
                <a:cubicBezTo>
                  <a:pt x="3877" y="219"/>
                  <a:pt x="3873" y="223"/>
                  <a:pt x="3873" y="225"/>
                </a:cubicBezTo>
                <a:cubicBezTo>
                  <a:pt x="3873" y="229"/>
                  <a:pt x="3873" y="233"/>
                  <a:pt x="3873" y="238"/>
                </a:cubicBezTo>
                <a:cubicBezTo>
                  <a:pt x="3873" y="241"/>
                  <a:pt x="3871" y="243"/>
                  <a:pt x="3868" y="244"/>
                </a:cubicBezTo>
                <a:cubicBezTo>
                  <a:pt x="3863" y="245"/>
                  <a:pt x="3857" y="245"/>
                  <a:pt x="3852" y="246"/>
                </a:cubicBezTo>
                <a:cubicBezTo>
                  <a:pt x="3848" y="248"/>
                  <a:pt x="3845" y="248"/>
                  <a:pt x="3841" y="247"/>
                </a:cubicBezTo>
                <a:cubicBezTo>
                  <a:pt x="3840" y="247"/>
                  <a:pt x="3838" y="247"/>
                  <a:pt x="3838" y="248"/>
                </a:cubicBezTo>
                <a:cubicBezTo>
                  <a:pt x="3831" y="251"/>
                  <a:pt x="3825" y="254"/>
                  <a:pt x="3819" y="258"/>
                </a:cubicBezTo>
                <a:cubicBezTo>
                  <a:pt x="3810" y="263"/>
                  <a:pt x="3801" y="266"/>
                  <a:pt x="3791" y="265"/>
                </a:cubicBezTo>
                <a:cubicBezTo>
                  <a:pt x="3788" y="265"/>
                  <a:pt x="3787" y="263"/>
                  <a:pt x="3786" y="261"/>
                </a:cubicBezTo>
                <a:cubicBezTo>
                  <a:pt x="3785" y="260"/>
                  <a:pt x="3785" y="260"/>
                  <a:pt x="3785" y="259"/>
                </a:cubicBezTo>
                <a:cubicBezTo>
                  <a:pt x="3783" y="249"/>
                  <a:pt x="3777" y="241"/>
                  <a:pt x="3768" y="236"/>
                </a:cubicBezTo>
                <a:cubicBezTo>
                  <a:pt x="3767" y="236"/>
                  <a:pt x="3766" y="235"/>
                  <a:pt x="3766" y="234"/>
                </a:cubicBezTo>
                <a:cubicBezTo>
                  <a:pt x="3756" y="228"/>
                  <a:pt x="3746" y="224"/>
                  <a:pt x="3735" y="230"/>
                </a:cubicBezTo>
                <a:cubicBezTo>
                  <a:pt x="3733" y="231"/>
                  <a:pt x="3731" y="232"/>
                  <a:pt x="3729" y="232"/>
                </a:cubicBezTo>
                <a:cubicBezTo>
                  <a:pt x="3720" y="236"/>
                  <a:pt x="3711" y="240"/>
                  <a:pt x="3704" y="245"/>
                </a:cubicBezTo>
                <a:cubicBezTo>
                  <a:pt x="3700" y="248"/>
                  <a:pt x="3696" y="251"/>
                  <a:pt x="3691" y="254"/>
                </a:cubicBezTo>
                <a:cubicBezTo>
                  <a:pt x="3688" y="255"/>
                  <a:pt x="3684" y="254"/>
                  <a:pt x="3683" y="251"/>
                </a:cubicBezTo>
                <a:cubicBezTo>
                  <a:pt x="3681" y="247"/>
                  <a:pt x="3679" y="245"/>
                  <a:pt x="3675" y="243"/>
                </a:cubicBezTo>
                <a:cubicBezTo>
                  <a:pt x="3673" y="242"/>
                  <a:pt x="3670" y="241"/>
                  <a:pt x="3668" y="240"/>
                </a:cubicBezTo>
                <a:cubicBezTo>
                  <a:pt x="3665" y="238"/>
                  <a:pt x="3663" y="240"/>
                  <a:pt x="3660" y="241"/>
                </a:cubicBezTo>
                <a:cubicBezTo>
                  <a:pt x="3658" y="244"/>
                  <a:pt x="3657" y="244"/>
                  <a:pt x="3655" y="242"/>
                </a:cubicBezTo>
                <a:cubicBezTo>
                  <a:pt x="3653" y="240"/>
                  <a:pt x="3651" y="239"/>
                  <a:pt x="3649" y="240"/>
                </a:cubicBezTo>
                <a:cubicBezTo>
                  <a:pt x="3647" y="240"/>
                  <a:pt x="3646" y="240"/>
                  <a:pt x="3644" y="239"/>
                </a:cubicBezTo>
                <a:cubicBezTo>
                  <a:pt x="3642" y="236"/>
                  <a:pt x="3639" y="236"/>
                  <a:pt x="3636" y="235"/>
                </a:cubicBezTo>
                <a:cubicBezTo>
                  <a:pt x="3634" y="235"/>
                  <a:pt x="3634" y="234"/>
                  <a:pt x="3635" y="232"/>
                </a:cubicBezTo>
                <a:cubicBezTo>
                  <a:pt x="3638" y="228"/>
                  <a:pt x="3638" y="225"/>
                  <a:pt x="3635" y="223"/>
                </a:cubicBezTo>
                <a:cubicBezTo>
                  <a:pt x="3635" y="222"/>
                  <a:pt x="3634" y="222"/>
                  <a:pt x="3634" y="221"/>
                </a:cubicBezTo>
                <a:cubicBezTo>
                  <a:pt x="3628" y="218"/>
                  <a:pt x="3621" y="215"/>
                  <a:pt x="3614" y="217"/>
                </a:cubicBezTo>
                <a:cubicBezTo>
                  <a:pt x="3611" y="217"/>
                  <a:pt x="3607" y="218"/>
                  <a:pt x="3604" y="219"/>
                </a:cubicBezTo>
                <a:cubicBezTo>
                  <a:pt x="3602" y="220"/>
                  <a:pt x="3600" y="221"/>
                  <a:pt x="3599" y="222"/>
                </a:cubicBezTo>
                <a:cubicBezTo>
                  <a:pt x="3595" y="227"/>
                  <a:pt x="3591" y="228"/>
                  <a:pt x="3586" y="226"/>
                </a:cubicBezTo>
                <a:cubicBezTo>
                  <a:pt x="3580" y="224"/>
                  <a:pt x="3574" y="225"/>
                  <a:pt x="3568" y="225"/>
                </a:cubicBezTo>
                <a:cubicBezTo>
                  <a:pt x="3560" y="225"/>
                  <a:pt x="3553" y="226"/>
                  <a:pt x="3546" y="227"/>
                </a:cubicBezTo>
                <a:cubicBezTo>
                  <a:pt x="3539" y="227"/>
                  <a:pt x="3532" y="229"/>
                  <a:pt x="3525" y="226"/>
                </a:cubicBezTo>
                <a:cubicBezTo>
                  <a:pt x="3524" y="226"/>
                  <a:pt x="3522" y="227"/>
                  <a:pt x="3520" y="228"/>
                </a:cubicBezTo>
                <a:cubicBezTo>
                  <a:pt x="3520" y="228"/>
                  <a:pt x="3519" y="230"/>
                  <a:pt x="3519" y="231"/>
                </a:cubicBezTo>
                <a:cubicBezTo>
                  <a:pt x="3519" y="231"/>
                  <a:pt x="3520" y="232"/>
                  <a:pt x="3520" y="232"/>
                </a:cubicBezTo>
                <a:cubicBezTo>
                  <a:pt x="3523" y="233"/>
                  <a:pt x="3525" y="234"/>
                  <a:pt x="3528" y="235"/>
                </a:cubicBezTo>
                <a:cubicBezTo>
                  <a:pt x="3529" y="235"/>
                  <a:pt x="3529" y="236"/>
                  <a:pt x="3530" y="237"/>
                </a:cubicBezTo>
                <a:cubicBezTo>
                  <a:pt x="3530" y="238"/>
                  <a:pt x="3529" y="240"/>
                  <a:pt x="3527" y="241"/>
                </a:cubicBezTo>
                <a:cubicBezTo>
                  <a:pt x="3526" y="242"/>
                  <a:pt x="3524" y="242"/>
                  <a:pt x="3523" y="243"/>
                </a:cubicBezTo>
                <a:cubicBezTo>
                  <a:pt x="3520" y="245"/>
                  <a:pt x="3518" y="248"/>
                  <a:pt x="3518" y="251"/>
                </a:cubicBezTo>
                <a:cubicBezTo>
                  <a:pt x="3519" y="254"/>
                  <a:pt x="3521" y="256"/>
                  <a:pt x="3524" y="257"/>
                </a:cubicBezTo>
                <a:cubicBezTo>
                  <a:pt x="3526" y="257"/>
                  <a:pt x="3528" y="257"/>
                  <a:pt x="3530" y="257"/>
                </a:cubicBezTo>
                <a:cubicBezTo>
                  <a:pt x="3530" y="256"/>
                  <a:pt x="3530" y="256"/>
                  <a:pt x="3530" y="256"/>
                </a:cubicBezTo>
                <a:cubicBezTo>
                  <a:pt x="3530" y="255"/>
                  <a:pt x="3530" y="255"/>
                  <a:pt x="3530" y="255"/>
                </a:cubicBezTo>
                <a:cubicBezTo>
                  <a:pt x="3530" y="257"/>
                  <a:pt x="3530" y="257"/>
                  <a:pt x="3530" y="257"/>
                </a:cubicBezTo>
                <a:cubicBezTo>
                  <a:pt x="3530" y="257"/>
                  <a:pt x="3530" y="257"/>
                  <a:pt x="3530" y="257"/>
                </a:cubicBezTo>
                <a:cubicBezTo>
                  <a:pt x="3530" y="259"/>
                  <a:pt x="3530" y="262"/>
                  <a:pt x="3531" y="264"/>
                </a:cubicBezTo>
                <a:cubicBezTo>
                  <a:pt x="3534" y="268"/>
                  <a:pt x="3536" y="271"/>
                  <a:pt x="3540" y="274"/>
                </a:cubicBezTo>
                <a:cubicBezTo>
                  <a:pt x="3542" y="275"/>
                  <a:pt x="3542" y="276"/>
                  <a:pt x="3541" y="278"/>
                </a:cubicBezTo>
                <a:cubicBezTo>
                  <a:pt x="3540" y="279"/>
                  <a:pt x="3538" y="280"/>
                  <a:pt x="3536" y="279"/>
                </a:cubicBezTo>
                <a:cubicBezTo>
                  <a:pt x="3533" y="277"/>
                  <a:pt x="3530" y="276"/>
                  <a:pt x="3526" y="279"/>
                </a:cubicBezTo>
                <a:cubicBezTo>
                  <a:pt x="3524" y="280"/>
                  <a:pt x="3521" y="282"/>
                  <a:pt x="3519" y="283"/>
                </a:cubicBezTo>
                <a:cubicBezTo>
                  <a:pt x="3516" y="286"/>
                  <a:pt x="3513" y="286"/>
                  <a:pt x="3510" y="286"/>
                </a:cubicBezTo>
                <a:cubicBezTo>
                  <a:pt x="3507" y="285"/>
                  <a:pt x="3504" y="285"/>
                  <a:pt x="3502" y="285"/>
                </a:cubicBezTo>
                <a:cubicBezTo>
                  <a:pt x="3498" y="286"/>
                  <a:pt x="3494" y="287"/>
                  <a:pt x="3493" y="292"/>
                </a:cubicBezTo>
                <a:cubicBezTo>
                  <a:pt x="3492" y="296"/>
                  <a:pt x="3489" y="298"/>
                  <a:pt x="3485" y="298"/>
                </a:cubicBezTo>
                <a:cubicBezTo>
                  <a:pt x="3476" y="299"/>
                  <a:pt x="3469" y="297"/>
                  <a:pt x="3463" y="291"/>
                </a:cubicBezTo>
                <a:cubicBezTo>
                  <a:pt x="3463" y="291"/>
                  <a:pt x="3462" y="291"/>
                  <a:pt x="3462" y="291"/>
                </a:cubicBezTo>
                <a:cubicBezTo>
                  <a:pt x="3461" y="290"/>
                  <a:pt x="3461" y="291"/>
                  <a:pt x="3461" y="291"/>
                </a:cubicBezTo>
                <a:cubicBezTo>
                  <a:pt x="3460" y="291"/>
                  <a:pt x="3460" y="292"/>
                  <a:pt x="3460" y="292"/>
                </a:cubicBezTo>
                <a:cubicBezTo>
                  <a:pt x="3460" y="297"/>
                  <a:pt x="3461" y="302"/>
                  <a:pt x="3463" y="307"/>
                </a:cubicBezTo>
                <a:cubicBezTo>
                  <a:pt x="3466" y="313"/>
                  <a:pt x="3468" y="319"/>
                  <a:pt x="3469" y="325"/>
                </a:cubicBezTo>
                <a:cubicBezTo>
                  <a:pt x="3469" y="327"/>
                  <a:pt x="3468" y="328"/>
                  <a:pt x="3466" y="328"/>
                </a:cubicBezTo>
                <a:cubicBezTo>
                  <a:pt x="3463" y="328"/>
                  <a:pt x="3460" y="327"/>
                  <a:pt x="3457" y="326"/>
                </a:cubicBezTo>
                <a:cubicBezTo>
                  <a:pt x="3447" y="323"/>
                  <a:pt x="3440" y="315"/>
                  <a:pt x="3432" y="310"/>
                </a:cubicBezTo>
                <a:cubicBezTo>
                  <a:pt x="3432" y="310"/>
                  <a:pt x="3432" y="309"/>
                  <a:pt x="3432" y="308"/>
                </a:cubicBezTo>
                <a:cubicBezTo>
                  <a:pt x="3431" y="304"/>
                  <a:pt x="3431" y="304"/>
                  <a:pt x="3427" y="306"/>
                </a:cubicBezTo>
                <a:cubicBezTo>
                  <a:pt x="3424" y="308"/>
                  <a:pt x="3422" y="308"/>
                  <a:pt x="3420" y="306"/>
                </a:cubicBezTo>
                <a:cubicBezTo>
                  <a:pt x="3419" y="305"/>
                  <a:pt x="3418" y="303"/>
                  <a:pt x="3418" y="302"/>
                </a:cubicBezTo>
                <a:cubicBezTo>
                  <a:pt x="3418" y="302"/>
                  <a:pt x="3418" y="302"/>
                  <a:pt x="3417" y="302"/>
                </a:cubicBezTo>
                <a:cubicBezTo>
                  <a:pt x="3417" y="302"/>
                  <a:pt x="3417" y="302"/>
                  <a:pt x="3417" y="302"/>
                </a:cubicBezTo>
                <a:cubicBezTo>
                  <a:pt x="3416" y="302"/>
                  <a:pt x="3415" y="302"/>
                  <a:pt x="3414" y="300"/>
                </a:cubicBezTo>
                <a:cubicBezTo>
                  <a:pt x="3414" y="300"/>
                  <a:pt x="3415" y="300"/>
                  <a:pt x="3415" y="300"/>
                </a:cubicBezTo>
                <a:cubicBezTo>
                  <a:pt x="3416" y="300"/>
                  <a:pt x="3416" y="301"/>
                  <a:pt x="3417" y="302"/>
                </a:cubicBezTo>
                <a:cubicBezTo>
                  <a:pt x="3417" y="302"/>
                  <a:pt x="3417" y="302"/>
                  <a:pt x="3418" y="302"/>
                </a:cubicBezTo>
                <a:cubicBezTo>
                  <a:pt x="3418" y="302"/>
                  <a:pt x="3418" y="302"/>
                  <a:pt x="3418" y="302"/>
                </a:cubicBezTo>
                <a:cubicBezTo>
                  <a:pt x="3420" y="301"/>
                  <a:pt x="3421" y="300"/>
                  <a:pt x="3423" y="299"/>
                </a:cubicBezTo>
                <a:cubicBezTo>
                  <a:pt x="3424" y="298"/>
                  <a:pt x="3424" y="297"/>
                  <a:pt x="3424" y="296"/>
                </a:cubicBezTo>
                <a:cubicBezTo>
                  <a:pt x="3424" y="292"/>
                  <a:pt x="3421" y="289"/>
                  <a:pt x="3419" y="286"/>
                </a:cubicBezTo>
                <a:cubicBezTo>
                  <a:pt x="3417" y="284"/>
                  <a:pt x="3414" y="284"/>
                  <a:pt x="3411" y="284"/>
                </a:cubicBezTo>
                <a:cubicBezTo>
                  <a:pt x="3409" y="284"/>
                  <a:pt x="3408" y="283"/>
                  <a:pt x="3409" y="281"/>
                </a:cubicBezTo>
                <a:cubicBezTo>
                  <a:pt x="3409" y="278"/>
                  <a:pt x="3410" y="276"/>
                  <a:pt x="3408" y="275"/>
                </a:cubicBezTo>
                <a:cubicBezTo>
                  <a:pt x="3404" y="270"/>
                  <a:pt x="3400" y="266"/>
                  <a:pt x="3396" y="262"/>
                </a:cubicBezTo>
                <a:cubicBezTo>
                  <a:pt x="3392" y="259"/>
                  <a:pt x="3377" y="255"/>
                  <a:pt x="3372" y="255"/>
                </a:cubicBezTo>
                <a:cubicBezTo>
                  <a:pt x="3371" y="255"/>
                  <a:pt x="3370" y="255"/>
                  <a:pt x="3369" y="256"/>
                </a:cubicBezTo>
                <a:cubicBezTo>
                  <a:pt x="3367" y="257"/>
                  <a:pt x="3365" y="258"/>
                  <a:pt x="3362" y="257"/>
                </a:cubicBezTo>
                <a:cubicBezTo>
                  <a:pt x="3355" y="255"/>
                  <a:pt x="3348" y="254"/>
                  <a:pt x="3341" y="256"/>
                </a:cubicBezTo>
                <a:cubicBezTo>
                  <a:pt x="3339" y="256"/>
                  <a:pt x="3337" y="258"/>
                  <a:pt x="3335" y="259"/>
                </a:cubicBezTo>
                <a:cubicBezTo>
                  <a:pt x="3332" y="261"/>
                  <a:pt x="3331" y="264"/>
                  <a:pt x="3333" y="267"/>
                </a:cubicBezTo>
                <a:cubicBezTo>
                  <a:pt x="3335" y="271"/>
                  <a:pt x="3337" y="275"/>
                  <a:pt x="3340" y="279"/>
                </a:cubicBezTo>
                <a:cubicBezTo>
                  <a:pt x="3340" y="280"/>
                  <a:pt x="3340" y="283"/>
                  <a:pt x="3339" y="283"/>
                </a:cubicBezTo>
                <a:cubicBezTo>
                  <a:pt x="3332" y="286"/>
                  <a:pt x="3326" y="289"/>
                  <a:pt x="3319" y="291"/>
                </a:cubicBezTo>
                <a:cubicBezTo>
                  <a:pt x="3315" y="292"/>
                  <a:pt x="3310" y="292"/>
                  <a:pt x="3307" y="288"/>
                </a:cubicBezTo>
                <a:cubicBezTo>
                  <a:pt x="3304" y="286"/>
                  <a:pt x="3304" y="287"/>
                  <a:pt x="3301" y="288"/>
                </a:cubicBezTo>
                <a:cubicBezTo>
                  <a:pt x="3294" y="294"/>
                  <a:pt x="3287" y="292"/>
                  <a:pt x="3285" y="283"/>
                </a:cubicBezTo>
                <a:cubicBezTo>
                  <a:pt x="3285" y="282"/>
                  <a:pt x="3285" y="281"/>
                  <a:pt x="3285" y="280"/>
                </a:cubicBezTo>
                <a:cubicBezTo>
                  <a:pt x="3285" y="277"/>
                  <a:pt x="3281" y="276"/>
                  <a:pt x="3279" y="276"/>
                </a:cubicBezTo>
                <a:cubicBezTo>
                  <a:pt x="3270" y="278"/>
                  <a:pt x="3262" y="280"/>
                  <a:pt x="3253" y="281"/>
                </a:cubicBezTo>
                <a:cubicBezTo>
                  <a:pt x="3250" y="282"/>
                  <a:pt x="3247" y="283"/>
                  <a:pt x="3244" y="284"/>
                </a:cubicBezTo>
                <a:cubicBezTo>
                  <a:pt x="3240" y="286"/>
                  <a:pt x="3237" y="288"/>
                  <a:pt x="3234" y="290"/>
                </a:cubicBezTo>
                <a:cubicBezTo>
                  <a:pt x="3231" y="289"/>
                  <a:pt x="3227" y="287"/>
                  <a:pt x="3224" y="286"/>
                </a:cubicBezTo>
                <a:cubicBezTo>
                  <a:pt x="3223" y="285"/>
                  <a:pt x="3223" y="286"/>
                  <a:pt x="3222" y="286"/>
                </a:cubicBezTo>
                <a:cubicBezTo>
                  <a:pt x="3222" y="286"/>
                  <a:pt x="3222" y="287"/>
                  <a:pt x="3222" y="288"/>
                </a:cubicBezTo>
                <a:cubicBezTo>
                  <a:pt x="3219" y="294"/>
                  <a:pt x="3213" y="296"/>
                  <a:pt x="3209" y="292"/>
                </a:cubicBezTo>
                <a:cubicBezTo>
                  <a:pt x="3207" y="291"/>
                  <a:pt x="3206" y="289"/>
                  <a:pt x="3205" y="287"/>
                </a:cubicBezTo>
                <a:cubicBezTo>
                  <a:pt x="3204" y="285"/>
                  <a:pt x="3203" y="284"/>
                  <a:pt x="3201" y="285"/>
                </a:cubicBezTo>
                <a:cubicBezTo>
                  <a:pt x="3199" y="286"/>
                  <a:pt x="3196" y="287"/>
                  <a:pt x="3194" y="286"/>
                </a:cubicBezTo>
                <a:cubicBezTo>
                  <a:pt x="3191" y="286"/>
                  <a:pt x="3189" y="288"/>
                  <a:pt x="3188" y="291"/>
                </a:cubicBezTo>
                <a:cubicBezTo>
                  <a:pt x="3187" y="292"/>
                  <a:pt x="3187" y="294"/>
                  <a:pt x="3187" y="295"/>
                </a:cubicBezTo>
                <a:cubicBezTo>
                  <a:pt x="3187" y="298"/>
                  <a:pt x="3188" y="300"/>
                  <a:pt x="3190" y="301"/>
                </a:cubicBezTo>
                <a:cubicBezTo>
                  <a:pt x="3192" y="301"/>
                  <a:pt x="3194" y="302"/>
                  <a:pt x="3196" y="302"/>
                </a:cubicBezTo>
                <a:cubicBezTo>
                  <a:pt x="3196" y="302"/>
                  <a:pt x="3196" y="302"/>
                  <a:pt x="3196" y="302"/>
                </a:cubicBezTo>
                <a:cubicBezTo>
                  <a:pt x="3196" y="302"/>
                  <a:pt x="3196" y="302"/>
                  <a:pt x="3196" y="302"/>
                </a:cubicBezTo>
                <a:cubicBezTo>
                  <a:pt x="3196" y="301"/>
                  <a:pt x="3196" y="300"/>
                  <a:pt x="3196" y="299"/>
                </a:cubicBezTo>
                <a:cubicBezTo>
                  <a:pt x="3197" y="299"/>
                  <a:pt x="3198" y="298"/>
                  <a:pt x="3198" y="298"/>
                </a:cubicBezTo>
                <a:cubicBezTo>
                  <a:pt x="3199" y="298"/>
                  <a:pt x="3199" y="299"/>
                  <a:pt x="3199" y="299"/>
                </a:cubicBezTo>
                <a:cubicBezTo>
                  <a:pt x="3199" y="299"/>
                  <a:pt x="3198" y="300"/>
                  <a:pt x="3198" y="300"/>
                </a:cubicBezTo>
                <a:cubicBezTo>
                  <a:pt x="3197" y="301"/>
                  <a:pt x="3197" y="301"/>
                  <a:pt x="3196" y="302"/>
                </a:cubicBezTo>
                <a:cubicBezTo>
                  <a:pt x="3196" y="302"/>
                  <a:pt x="3196" y="302"/>
                  <a:pt x="3196" y="302"/>
                </a:cubicBezTo>
                <a:cubicBezTo>
                  <a:pt x="3196" y="302"/>
                  <a:pt x="3196" y="302"/>
                  <a:pt x="3196" y="302"/>
                </a:cubicBezTo>
                <a:cubicBezTo>
                  <a:pt x="3195" y="304"/>
                  <a:pt x="3195" y="306"/>
                  <a:pt x="3194" y="306"/>
                </a:cubicBezTo>
                <a:cubicBezTo>
                  <a:pt x="3191" y="309"/>
                  <a:pt x="3189" y="312"/>
                  <a:pt x="3187" y="315"/>
                </a:cubicBezTo>
                <a:cubicBezTo>
                  <a:pt x="3183" y="322"/>
                  <a:pt x="3178" y="324"/>
                  <a:pt x="3171" y="325"/>
                </a:cubicBezTo>
                <a:cubicBezTo>
                  <a:pt x="3168" y="325"/>
                  <a:pt x="3167" y="324"/>
                  <a:pt x="3168" y="322"/>
                </a:cubicBezTo>
                <a:cubicBezTo>
                  <a:pt x="3170" y="319"/>
                  <a:pt x="3170" y="316"/>
                  <a:pt x="3171" y="313"/>
                </a:cubicBezTo>
                <a:cubicBezTo>
                  <a:pt x="3171" y="309"/>
                  <a:pt x="3176" y="309"/>
                  <a:pt x="3177" y="306"/>
                </a:cubicBezTo>
                <a:cubicBezTo>
                  <a:pt x="3177" y="304"/>
                  <a:pt x="3179" y="302"/>
                  <a:pt x="3178" y="301"/>
                </a:cubicBezTo>
                <a:cubicBezTo>
                  <a:pt x="3177" y="296"/>
                  <a:pt x="3178" y="291"/>
                  <a:pt x="3181" y="287"/>
                </a:cubicBezTo>
                <a:cubicBezTo>
                  <a:pt x="3182" y="285"/>
                  <a:pt x="3182" y="283"/>
                  <a:pt x="3182" y="280"/>
                </a:cubicBezTo>
                <a:cubicBezTo>
                  <a:pt x="3181" y="278"/>
                  <a:pt x="3182" y="276"/>
                  <a:pt x="3183" y="274"/>
                </a:cubicBezTo>
                <a:cubicBezTo>
                  <a:pt x="3185" y="269"/>
                  <a:pt x="3187" y="264"/>
                  <a:pt x="3189" y="259"/>
                </a:cubicBezTo>
                <a:cubicBezTo>
                  <a:pt x="3190" y="254"/>
                  <a:pt x="3190" y="248"/>
                  <a:pt x="3192" y="243"/>
                </a:cubicBezTo>
                <a:cubicBezTo>
                  <a:pt x="3194" y="238"/>
                  <a:pt x="3194" y="233"/>
                  <a:pt x="3192" y="228"/>
                </a:cubicBezTo>
                <a:cubicBezTo>
                  <a:pt x="3189" y="223"/>
                  <a:pt x="3186" y="219"/>
                  <a:pt x="3185" y="213"/>
                </a:cubicBezTo>
                <a:cubicBezTo>
                  <a:pt x="3185" y="212"/>
                  <a:pt x="3184" y="211"/>
                  <a:pt x="3183" y="211"/>
                </a:cubicBezTo>
                <a:cubicBezTo>
                  <a:pt x="3177" y="208"/>
                  <a:pt x="3174" y="203"/>
                  <a:pt x="3170" y="198"/>
                </a:cubicBezTo>
                <a:cubicBezTo>
                  <a:pt x="3169" y="197"/>
                  <a:pt x="3167" y="197"/>
                  <a:pt x="3166" y="199"/>
                </a:cubicBezTo>
                <a:cubicBezTo>
                  <a:pt x="3165" y="200"/>
                  <a:pt x="3165" y="204"/>
                  <a:pt x="3162" y="200"/>
                </a:cubicBezTo>
                <a:cubicBezTo>
                  <a:pt x="3159" y="196"/>
                  <a:pt x="3155" y="194"/>
                  <a:pt x="3151" y="191"/>
                </a:cubicBezTo>
                <a:cubicBezTo>
                  <a:pt x="3147" y="189"/>
                  <a:pt x="3142" y="188"/>
                  <a:pt x="3139" y="186"/>
                </a:cubicBezTo>
                <a:cubicBezTo>
                  <a:pt x="3135" y="183"/>
                  <a:pt x="3132" y="182"/>
                  <a:pt x="3128" y="185"/>
                </a:cubicBezTo>
                <a:cubicBezTo>
                  <a:pt x="3122" y="189"/>
                  <a:pt x="3115" y="192"/>
                  <a:pt x="3107" y="194"/>
                </a:cubicBezTo>
                <a:cubicBezTo>
                  <a:pt x="3106" y="195"/>
                  <a:pt x="3105" y="197"/>
                  <a:pt x="3106" y="198"/>
                </a:cubicBezTo>
                <a:cubicBezTo>
                  <a:pt x="3106" y="200"/>
                  <a:pt x="3107" y="201"/>
                  <a:pt x="3108" y="203"/>
                </a:cubicBezTo>
                <a:cubicBezTo>
                  <a:pt x="3109" y="206"/>
                  <a:pt x="3108" y="208"/>
                  <a:pt x="3105" y="210"/>
                </a:cubicBezTo>
                <a:cubicBezTo>
                  <a:pt x="3102" y="212"/>
                  <a:pt x="3098" y="210"/>
                  <a:pt x="3098" y="206"/>
                </a:cubicBezTo>
                <a:cubicBezTo>
                  <a:pt x="3098" y="204"/>
                  <a:pt x="3098" y="201"/>
                  <a:pt x="3098" y="198"/>
                </a:cubicBezTo>
                <a:cubicBezTo>
                  <a:pt x="3097" y="195"/>
                  <a:pt x="3097" y="193"/>
                  <a:pt x="3096" y="190"/>
                </a:cubicBezTo>
                <a:cubicBezTo>
                  <a:pt x="3096" y="188"/>
                  <a:pt x="3092" y="185"/>
                  <a:pt x="3090" y="186"/>
                </a:cubicBezTo>
                <a:cubicBezTo>
                  <a:pt x="3088" y="186"/>
                  <a:pt x="3086" y="187"/>
                  <a:pt x="3084" y="188"/>
                </a:cubicBezTo>
                <a:cubicBezTo>
                  <a:pt x="3080" y="189"/>
                  <a:pt x="3077" y="188"/>
                  <a:pt x="3074" y="186"/>
                </a:cubicBezTo>
                <a:cubicBezTo>
                  <a:pt x="3072" y="185"/>
                  <a:pt x="3070" y="184"/>
                  <a:pt x="3071" y="181"/>
                </a:cubicBezTo>
                <a:cubicBezTo>
                  <a:pt x="3072" y="176"/>
                  <a:pt x="3069" y="173"/>
                  <a:pt x="3065" y="171"/>
                </a:cubicBezTo>
                <a:cubicBezTo>
                  <a:pt x="3059" y="171"/>
                  <a:pt x="3053" y="168"/>
                  <a:pt x="3047" y="167"/>
                </a:cubicBezTo>
                <a:cubicBezTo>
                  <a:pt x="3046" y="167"/>
                  <a:pt x="3044" y="169"/>
                  <a:pt x="3043" y="169"/>
                </a:cubicBezTo>
                <a:cubicBezTo>
                  <a:pt x="3042" y="170"/>
                  <a:pt x="3042" y="171"/>
                  <a:pt x="3041" y="172"/>
                </a:cubicBezTo>
                <a:cubicBezTo>
                  <a:pt x="3037" y="181"/>
                  <a:pt x="3035" y="191"/>
                  <a:pt x="3036" y="201"/>
                </a:cubicBezTo>
                <a:cubicBezTo>
                  <a:pt x="3036" y="207"/>
                  <a:pt x="3036" y="214"/>
                  <a:pt x="3043" y="218"/>
                </a:cubicBezTo>
                <a:cubicBezTo>
                  <a:pt x="3046" y="220"/>
                  <a:pt x="3045" y="224"/>
                  <a:pt x="3046" y="227"/>
                </a:cubicBezTo>
                <a:cubicBezTo>
                  <a:pt x="3048" y="231"/>
                  <a:pt x="3047" y="231"/>
                  <a:pt x="3044" y="231"/>
                </a:cubicBezTo>
                <a:cubicBezTo>
                  <a:pt x="3041" y="232"/>
                  <a:pt x="3037" y="232"/>
                  <a:pt x="3033" y="234"/>
                </a:cubicBezTo>
                <a:cubicBezTo>
                  <a:pt x="3032" y="235"/>
                  <a:pt x="3031" y="236"/>
                  <a:pt x="3031" y="238"/>
                </a:cubicBezTo>
                <a:cubicBezTo>
                  <a:pt x="3031" y="239"/>
                  <a:pt x="3032" y="241"/>
                  <a:pt x="3032" y="243"/>
                </a:cubicBezTo>
                <a:cubicBezTo>
                  <a:pt x="3030" y="246"/>
                  <a:pt x="3028" y="249"/>
                  <a:pt x="3026" y="252"/>
                </a:cubicBezTo>
                <a:cubicBezTo>
                  <a:pt x="3026" y="253"/>
                  <a:pt x="3024" y="254"/>
                  <a:pt x="3023" y="254"/>
                </a:cubicBezTo>
                <a:cubicBezTo>
                  <a:pt x="3020" y="256"/>
                  <a:pt x="3016" y="257"/>
                  <a:pt x="3013" y="258"/>
                </a:cubicBezTo>
                <a:cubicBezTo>
                  <a:pt x="3012" y="258"/>
                  <a:pt x="3011" y="257"/>
                  <a:pt x="3012" y="256"/>
                </a:cubicBezTo>
                <a:cubicBezTo>
                  <a:pt x="3012" y="254"/>
                  <a:pt x="3013" y="252"/>
                  <a:pt x="3013" y="250"/>
                </a:cubicBezTo>
                <a:cubicBezTo>
                  <a:pt x="3014" y="248"/>
                  <a:pt x="3012" y="246"/>
                  <a:pt x="3009" y="246"/>
                </a:cubicBezTo>
                <a:cubicBezTo>
                  <a:pt x="3006" y="246"/>
                  <a:pt x="3003" y="247"/>
                  <a:pt x="3002" y="251"/>
                </a:cubicBezTo>
                <a:cubicBezTo>
                  <a:pt x="3001" y="253"/>
                  <a:pt x="3001" y="255"/>
                  <a:pt x="2998" y="255"/>
                </a:cubicBezTo>
                <a:cubicBezTo>
                  <a:pt x="2996" y="255"/>
                  <a:pt x="2994" y="256"/>
                  <a:pt x="2991" y="256"/>
                </a:cubicBezTo>
                <a:cubicBezTo>
                  <a:pt x="2988" y="256"/>
                  <a:pt x="2985" y="259"/>
                  <a:pt x="2983" y="261"/>
                </a:cubicBezTo>
                <a:cubicBezTo>
                  <a:pt x="2980" y="264"/>
                  <a:pt x="2980" y="266"/>
                  <a:pt x="2983" y="269"/>
                </a:cubicBezTo>
                <a:cubicBezTo>
                  <a:pt x="2984" y="271"/>
                  <a:pt x="2984" y="273"/>
                  <a:pt x="2983" y="274"/>
                </a:cubicBezTo>
                <a:cubicBezTo>
                  <a:pt x="2979" y="276"/>
                  <a:pt x="2975" y="279"/>
                  <a:pt x="2971" y="281"/>
                </a:cubicBezTo>
                <a:cubicBezTo>
                  <a:pt x="2967" y="283"/>
                  <a:pt x="2963" y="285"/>
                  <a:pt x="2960" y="289"/>
                </a:cubicBezTo>
                <a:cubicBezTo>
                  <a:pt x="2957" y="292"/>
                  <a:pt x="2953" y="294"/>
                  <a:pt x="2952" y="299"/>
                </a:cubicBezTo>
                <a:cubicBezTo>
                  <a:pt x="2951" y="302"/>
                  <a:pt x="2949" y="305"/>
                  <a:pt x="2946" y="306"/>
                </a:cubicBezTo>
                <a:cubicBezTo>
                  <a:pt x="2941" y="307"/>
                  <a:pt x="2942" y="313"/>
                  <a:pt x="2939" y="315"/>
                </a:cubicBezTo>
                <a:cubicBezTo>
                  <a:pt x="2937" y="316"/>
                  <a:pt x="2936" y="318"/>
                  <a:pt x="2935" y="320"/>
                </a:cubicBezTo>
                <a:cubicBezTo>
                  <a:pt x="2933" y="324"/>
                  <a:pt x="2935" y="327"/>
                  <a:pt x="2935" y="331"/>
                </a:cubicBezTo>
                <a:cubicBezTo>
                  <a:pt x="2936" y="333"/>
                  <a:pt x="2937" y="335"/>
                  <a:pt x="2939" y="336"/>
                </a:cubicBezTo>
                <a:cubicBezTo>
                  <a:pt x="2943" y="339"/>
                  <a:pt x="2947" y="342"/>
                  <a:pt x="2951" y="344"/>
                </a:cubicBezTo>
                <a:cubicBezTo>
                  <a:pt x="2957" y="345"/>
                  <a:pt x="2962" y="348"/>
                  <a:pt x="2965" y="352"/>
                </a:cubicBezTo>
                <a:cubicBezTo>
                  <a:pt x="2966" y="353"/>
                  <a:pt x="2966" y="354"/>
                  <a:pt x="2966" y="355"/>
                </a:cubicBezTo>
                <a:cubicBezTo>
                  <a:pt x="2966" y="356"/>
                  <a:pt x="2965" y="357"/>
                  <a:pt x="2964" y="358"/>
                </a:cubicBezTo>
                <a:cubicBezTo>
                  <a:pt x="2962" y="359"/>
                  <a:pt x="2962" y="357"/>
                  <a:pt x="2961" y="355"/>
                </a:cubicBezTo>
                <a:cubicBezTo>
                  <a:pt x="2961" y="354"/>
                  <a:pt x="2960" y="352"/>
                  <a:pt x="2958" y="353"/>
                </a:cubicBezTo>
                <a:cubicBezTo>
                  <a:pt x="2956" y="353"/>
                  <a:pt x="2953" y="353"/>
                  <a:pt x="2951" y="354"/>
                </a:cubicBezTo>
                <a:cubicBezTo>
                  <a:pt x="2946" y="358"/>
                  <a:pt x="2940" y="360"/>
                  <a:pt x="2934" y="363"/>
                </a:cubicBezTo>
                <a:cubicBezTo>
                  <a:pt x="2928" y="366"/>
                  <a:pt x="2922" y="368"/>
                  <a:pt x="2916" y="370"/>
                </a:cubicBezTo>
                <a:cubicBezTo>
                  <a:pt x="2913" y="370"/>
                  <a:pt x="2911" y="371"/>
                  <a:pt x="2909" y="372"/>
                </a:cubicBezTo>
                <a:cubicBezTo>
                  <a:pt x="2903" y="374"/>
                  <a:pt x="2902" y="379"/>
                  <a:pt x="2905" y="385"/>
                </a:cubicBezTo>
                <a:cubicBezTo>
                  <a:pt x="2906" y="387"/>
                  <a:pt x="2907" y="390"/>
                  <a:pt x="2909" y="392"/>
                </a:cubicBezTo>
                <a:cubicBezTo>
                  <a:pt x="2912" y="395"/>
                  <a:pt x="2914" y="398"/>
                  <a:pt x="2915" y="402"/>
                </a:cubicBezTo>
                <a:cubicBezTo>
                  <a:pt x="2915" y="404"/>
                  <a:pt x="2916" y="406"/>
                  <a:pt x="2917" y="408"/>
                </a:cubicBezTo>
                <a:cubicBezTo>
                  <a:pt x="2918" y="410"/>
                  <a:pt x="2920" y="411"/>
                  <a:pt x="2922" y="412"/>
                </a:cubicBezTo>
                <a:cubicBezTo>
                  <a:pt x="2926" y="414"/>
                  <a:pt x="2930" y="413"/>
                  <a:pt x="2935" y="414"/>
                </a:cubicBezTo>
                <a:cubicBezTo>
                  <a:pt x="2938" y="417"/>
                  <a:pt x="2942" y="420"/>
                  <a:pt x="2945" y="424"/>
                </a:cubicBezTo>
                <a:cubicBezTo>
                  <a:pt x="2946" y="424"/>
                  <a:pt x="2947" y="424"/>
                  <a:pt x="2948" y="425"/>
                </a:cubicBezTo>
                <a:cubicBezTo>
                  <a:pt x="2951" y="426"/>
                  <a:pt x="2954" y="427"/>
                  <a:pt x="2956" y="428"/>
                </a:cubicBezTo>
                <a:cubicBezTo>
                  <a:pt x="2958" y="429"/>
                  <a:pt x="2960" y="431"/>
                  <a:pt x="2960" y="433"/>
                </a:cubicBezTo>
                <a:cubicBezTo>
                  <a:pt x="2961" y="440"/>
                  <a:pt x="2964" y="447"/>
                  <a:pt x="2968" y="453"/>
                </a:cubicBezTo>
                <a:cubicBezTo>
                  <a:pt x="2969" y="454"/>
                  <a:pt x="2968" y="456"/>
                  <a:pt x="2966" y="457"/>
                </a:cubicBezTo>
                <a:cubicBezTo>
                  <a:pt x="2964" y="458"/>
                  <a:pt x="2963" y="459"/>
                  <a:pt x="2961" y="460"/>
                </a:cubicBezTo>
                <a:cubicBezTo>
                  <a:pt x="2961" y="460"/>
                  <a:pt x="2961" y="460"/>
                  <a:pt x="2961" y="460"/>
                </a:cubicBezTo>
                <a:cubicBezTo>
                  <a:pt x="2961" y="461"/>
                  <a:pt x="2960" y="461"/>
                  <a:pt x="2960" y="462"/>
                </a:cubicBezTo>
                <a:cubicBezTo>
                  <a:pt x="2960" y="462"/>
                  <a:pt x="2960" y="462"/>
                  <a:pt x="2960" y="463"/>
                </a:cubicBezTo>
                <a:cubicBezTo>
                  <a:pt x="2960" y="462"/>
                  <a:pt x="2960" y="461"/>
                  <a:pt x="2961" y="460"/>
                </a:cubicBezTo>
                <a:cubicBezTo>
                  <a:pt x="2961" y="460"/>
                  <a:pt x="2961" y="460"/>
                  <a:pt x="2961" y="460"/>
                </a:cubicBezTo>
                <a:cubicBezTo>
                  <a:pt x="2960" y="459"/>
                  <a:pt x="2960" y="458"/>
                  <a:pt x="2959" y="458"/>
                </a:cubicBezTo>
                <a:cubicBezTo>
                  <a:pt x="2955" y="452"/>
                  <a:pt x="2953" y="446"/>
                  <a:pt x="2957" y="439"/>
                </a:cubicBezTo>
                <a:cubicBezTo>
                  <a:pt x="2957" y="438"/>
                  <a:pt x="2957" y="437"/>
                  <a:pt x="2957" y="436"/>
                </a:cubicBezTo>
                <a:cubicBezTo>
                  <a:pt x="2958" y="433"/>
                  <a:pt x="2955" y="429"/>
                  <a:pt x="2951" y="430"/>
                </a:cubicBezTo>
                <a:cubicBezTo>
                  <a:pt x="2949" y="430"/>
                  <a:pt x="2946" y="430"/>
                  <a:pt x="2943" y="431"/>
                </a:cubicBezTo>
                <a:cubicBezTo>
                  <a:pt x="2938" y="432"/>
                  <a:pt x="2934" y="431"/>
                  <a:pt x="2929" y="427"/>
                </a:cubicBezTo>
                <a:cubicBezTo>
                  <a:pt x="2927" y="425"/>
                  <a:pt x="2924" y="423"/>
                  <a:pt x="2921" y="422"/>
                </a:cubicBezTo>
                <a:cubicBezTo>
                  <a:pt x="2917" y="419"/>
                  <a:pt x="2912" y="417"/>
                  <a:pt x="2906" y="416"/>
                </a:cubicBezTo>
                <a:cubicBezTo>
                  <a:pt x="2901" y="414"/>
                  <a:pt x="2896" y="413"/>
                  <a:pt x="2891" y="411"/>
                </a:cubicBezTo>
                <a:cubicBezTo>
                  <a:pt x="2889" y="411"/>
                  <a:pt x="2887" y="411"/>
                  <a:pt x="2886" y="412"/>
                </a:cubicBezTo>
                <a:cubicBezTo>
                  <a:pt x="2884" y="415"/>
                  <a:pt x="2882" y="418"/>
                  <a:pt x="2882" y="421"/>
                </a:cubicBezTo>
                <a:cubicBezTo>
                  <a:pt x="2882" y="422"/>
                  <a:pt x="2883" y="423"/>
                  <a:pt x="2884" y="424"/>
                </a:cubicBezTo>
                <a:cubicBezTo>
                  <a:pt x="2885" y="424"/>
                  <a:pt x="2887" y="424"/>
                  <a:pt x="2888" y="425"/>
                </a:cubicBezTo>
                <a:cubicBezTo>
                  <a:pt x="2888" y="425"/>
                  <a:pt x="2888" y="425"/>
                  <a:pt x="2888" y="424"/>
                </a:cubicBezTo>
                <a:cubicBezTo>
                  <a:pt x="2889" y="424"/>
                  <a:pt x="2889" y="424"/>
                  <a:pt x="2889" y="424"/>
                </a:cubicBezTo>
                <a:cubicBezTo>
                  <a:pt x="2888" y="425"/>
                  <a:pt x="2888" y="425"/>
                  <a:pt x="2888" y="425"/>
                </a:cubicBezTo>
                <a:cubicBezTo>
                  <a:pt x="2889" y="426"/>
                  <a:pt x="2890" y="427"/>
                  <a:pt x="2892" y="427"/>
                </a:cubicBezTo>
                <a:cubicBezTo>
                  <a:pt x="2893" y="428"/>
                  <a:pt x="2895" y="428"/>
                  <a:pt x="2896" y="429"/>
                </a:cubicBezTo>
                <a:cubicBezTo>
                  <a:pt x="2898" y="430"/>
                  <a:pt x="2899" y="433"/>
                  <a:pt x="2898" y="434"/>
                </a:cubicBezTo>
                <a:cubicBezTo>
                  <a:pt x="2897" y="436"/>
                  <a:pt x="2895" y="437"/>
                  <a:pt x="2894" y="437"/>
                </a:cubicBezTo>
                <a:cubicBezTo>
                  <a:pt x="2892" y="436"/>
                  <a:pt x="2890" y="435"/>
                  <a:pt x="2888" y="434"/>
                </a:cubicBezTo>
                <a:cubicBezTo>
                  <a:pt x="2886" y="433"/>
                  <a:pt x="2885" y="432"/>
                  <a:pt x="2883" y="432"/>
                </a:cubicBezTo>
                <a:cubicBezTo>
                  <a:pt x="2881" y="432"/>
                  <a:pt x="2879" y="433"/>
                  <a:pt x="2878" y="435"/>
                </a:cubicBezTo>
                <a:cubicBezTo>
                  <a:pt x="2877" y="436"/>
                  <a:pt x="2876" y="438"/>
                  <a:pt x="2877" y="439"/>
                </a:cubicBezTo>
                <a:cubicBezTo>
                  <a:pt x="2880" y="445"/>
                  <a:pt x="2884" y="450"/>
                  <a:pt x="2891" y="452"/>
                </a:cubicBezTo>
                <a:cubicBezTo>
                  <a:pt x="2894" y="453"/>
                  <a:pt x="2898" y="454"/>
                  <a:pt x="2902" y="455"/>
                </a:cubicBezTo>
                <a:cubicBezTo>
                  <a:pt x="2904" y="455"/>
                  <a:pt x="2905" y="455"/>
                  <a:pt x="2907" y="456"/>
                </a:cubicBezTo>
                <a:cubicBezTo>
                  <a:pt x="2907" y="456"/>
                  <a:pt x="2907" y="457"/>
                  <a:pt x="2908" y="457"/>
                </a:cubicBezTo>
                <a:cubicBezTo>
                  <a:pt x="2908" y="458"/>
                  <a:pt x="2907" y="459"/>
                  <a:pt x="2906" y="459"/>
                </a:cubicBezTo>
                <a:cubicBezTo>
                  <a:pt x="2904" y="457"/>
                  <a:pt x="2901" y="456"/>
                  <a:pt x="2898" y="457"/>
                </a:cubicBezTo>
                <a:cubicBezTo>
                  <a:pt x="2893" y="458"/>
                  <a:pt x="2888" y="457"/>
                  <a:pt x="2883" y="457"/>
                </a:cubicBezTo>
                <a:cubicBezTo>
                  <a:pt x="2881" y="456"/>
                  <a:pt x="2878" y="455"/>
                  <a:pt x="2877" y="453"/>
                </a:cubicBezTo>
                <a:cubicBezTo>
                  <a:pt x="2876" y="452"/>
                  <a:pt x="2876" y="451"/>
                  <a:pt x="2875" y="450"/>
                </a:cubicBezTo>
                <a:cubicBezTo>
                  <a:pt x="2872" y="444"/>
                  <a:pt x="2869" y="439"/>
                  <a:pt x="2868" y="432"/>
                </a:cubicBezTo>
                <a:cubicBezTo>
                  <a:pt x="2868" y="426"/>
                  <a:pt x="2865" y="421"/>
                  <a:pt x="2862" y="417"/>
                </a:cubicBezTo>
                <a:cubicBezTo>
                  <a:pt x="2861" y="415"/>
                  <a:pt x="2859" y="414"/>
                  <a:pt x="2858" y="413"/>
                </a:cubicBezTo>
                <a:cubicBezTo>
                  <a:pt x="2858" y="413"/>
                  <a:pt x="2857" y="413"/>
                  <a:pt x="2857" y="413"/>
                </a:cubicBezTo>
                <a:cubicBezTo>
                  <a:pt x="2856" y="414"/>
                  <a:pt x="2856" y="414"/>
                  <a:pt x="2856" y="415"/>
                </a:cubicBezTo>
                <a:cubicBezTo>
                  <a:pt x="2857" y="419"/>
                  <a:pt x="2859" y="423"/>
                  <a:pt x="2860" y="427"/>
                </a:cubicBezTo>
                <a:cubicBezTo>
                  <a:pt x="2861" y="430"/>
                  <a:pt x="2860" y="434"/>
                  <a:pt x="2859" y="437"/>
                </a:cubicBezTo>
                <a:cubicBezTo>
                  <a:pt x="2858" y="438"/>
                  <a:pt x="2857" y="439"/>
                  <a:pt x="2857" y="439"/>
                </a:cubicBezTo>
                <a:cubicBezTo>
                  <a:pt x="2854" y="443"/>
                  <a:pt x="2853" y="446"/>
                  <a:pt x="2854" y="450"/>
                </a:cubicBezTo>
                <a:cubicBezTo>
                  <a:pt x="2855" y="454"/>
                  <a:pt x="2853" y="458"/>
                  <a:pt x="2855" y="461"/>
                </a:cubicBezTo>
                <a:cubicBezTo>
                  <a:pt x="2857" y="464"/>
                  <a:pt x="2861" y="467"/>
                  <a:pt x="2863" y="469"/>
                </a:cubicBezTo>
                <a:cubicBezTo>
                  <a:pt x="2865" y="471"/>
                  <a:pt x="2867" y="473"/>
                  <a:pt x="2870" y="475"/>
                </a:cubicBezTo>
                <a:cubicBezTo>
                  <a:pt x="2873" y="478"/>
                  <a:pt x="2874" y="481"/>
                  <a:pt x="2874" y="485"/>
                </a:cubicBezTo>
                <a:cubicBezTo>
                  <a:pt x="2874" y="489"/>
                  <a:pt x="2874" y="494"/>
                  <a:pt x="2875" y="498"/>
                </a:cubicBezTo>
                <a:cubicBezTo>
                  <a:pt x="2876" y="506"/>
                  <a:pt x="2882" y="513"/>
                  <a:pt x="2885" y="521"/>
                </a:cubicBezTo>
                <a:cubicBezTo>
                  <a:pt x="2886" y="523"/>
                  <a:pt x="2888" y="523"/>
                  <a:pt x="2890" y="523"/>
                </a:cubicBezTo>
                <a:cubicBezTo>
                  <a:pt x="2895" y="523"/>
                  <a:pt x="2899" y="522"/>
                  <a:pt x="2902" y="518"/>
                </a:cubicBezTo>
                <a:cubicBezTo>
                  <a:pt x="2906" y="514"/>
                  <a:pt x="2910" y="515"/>
                  <a:pt x="2914" y="517"/>
                </a:cubicBezTo>
                <a:cubicBezTo>
                  <a:pt x="2915" y="518"/>
                  <a:pt x="2915" y="518"/>
                  <a:pt x="2915" y="519"/>
                </a:cubicBezTo>
                <a:cubicBezTo>
                  <a:pt x="2915" y="519"/>
                  <a:pt x="2915" y="519"/>
                  <a:pt x="2914" y="520"/>
                </a:cubicBezTo>
                <a:cubicBezTo>
                  <a:pt x="2910" y="523"/>
                  <a:pt x="2905" y="526"/>
                  <a:pt x="2901" y="530"/>
                </a:cubicBezTo>
                <a:cubicBezTo>
                  <a:pt x="2897" y="533"/>
                  <a:pt x="2896" y="539"/>
                  <a:pt x="2900" y="543"/>
                </a:cubicBezTo>
                <a:cubicBezTo>
                  <a:pt x="2901" y="545"/>
                  <a:pt x="2903" y="547"/>
                  <a:pt x="2905" y="549"/>
                </a:cubicBezTo>
                <a:cubicBezTo>
                  <a:pt x="2907" y="553"/>
                  <a:pt x="2909" y="556"/>
                  <a:pt x="2907" y="560"/>
                </a:cubicBezTo>
                <a:cubicBezTo>
                  <a:pt x="2905" y="565"/>
                  <a:pt x="2904" y="571"/>
                  <a:pt x="2904" y="576"/>
                </a:cubicBezTo>
                <a:cubicBezTo>
                  <a:pt x="2904" y="579"/>
                  <a:pt x="2903" y="582"/>
                  <a:pt x="2902" y="584"/>
                </a:cubicBezTo>
                <a:cubicBezTo>
                  <a:pt x="2899" y="589"/>
                  <a:pt x="2895" y="594"/>
                  <a:pt x="2894" y="600"/>
                </a:cubicBezTo>
                <a:cubicBezTo>
                  <a:pt x="2894" y="601"/>
                  <a:pt x="2892" y="602"/>
                  <a:pt x="2891" y="601"/>
                </a:cubicBezTo>
                <a:cubicBezTo>
                  <a:pt x="2885" y="601"/>
                  <a:pt x="2878" y="600"/>
                  <a:pt x="2872" y="599"/>
                </a:cubicBezTo>
                <a:cubicBezTo>
                  <a:pt x="2871" y="599"/>
                  <a:pt x="2869" y="598"/>
                  <a:pt x="2869" y="598"/>
                </a:cubicBezTo>
                <a:cubicBezTo>
                  <a:pt x="2868" y="596"/>
                  <a:pt x="2869" y="595"/>
                  <a:pt x="2869" y="593"/>
                </a:cubicBezTo>
                <a:cubicBezTo>
                  <a:pt x="2869" y="593"/>
                  <a:pt x="2868" y="593"/>
                  <a:pt x="2868" y="593"/>
                </a:cubicBezTo>
                <a:cubicBezTo>
                  <a:pt x="2867" y="593"/>
                  <a:pt x="2867" y="593"/>
                  <a:pt x="2868" y="592"/>
                </a:cubicBezTo>
                <a:cubicBezTo>
                  <a:pt x="2868" y="592"/>
                  <a:pt x="2868" y="593"/>
                  <a:pt x="2869" y="593"/>
                </a:cubicBezTo>
                <a:cubicBezTo>
                  <a:pt x="2869" y="593"/>
                  <a:pt x="2869" y="593"/>
                  <a:pt x="2869" y="593"/>
                </a:cubicBezTo>
                <a:cubicBezTo>
                  <a:pt x="2870" y="594"/>
                  <a:pt x="2871" y="595"/>
                  <a:pt x="2873" y="595"/>
                </a:cubicBezTo>
                <a:cubicBezTo>
                  <a:pt x="2878" y="597"/>
                  <a:pt x="2883" y="596"/>
                  <a:pt x="2885" y="590"/>
                </a:cubicBezTo>
                <a:cubicBezTo>
                  <a:pt x="2889" y="581"/>
                  <a:pt x="2891" y="570"/>
                  <a:pt x="2893" y="560"/>
                </a:cubicBezTo>
                <a:cubicBezTo>
                  <a:pt x="2893" y="559"/>
                  <a:pt x="2893" y="557"/>
                  <a:pt x="2892" y="555"/>
                </a:cubicBezTo>
                <a:cubicBezTo>
                  <a:pt x="2889" y="551"/>
                  <a:pt x="2888" y="547"/>
                  <a:pt x="2889" y="543"/>
                </a:cubicBezTo>
                <a:cubicBezTo>
                  <a:pt x="2890" y="540"/>
                  <a:pt x="2888" y="537"/>
                  <a:pt x="2886" y="536"/>
                </a:cubicBezTo>
                <a:cubicBezTo>
                  <a:pt x="2884" y="534"/>
                  <a:pt x="2881" y="533"/>
                  <a:pt x="2879" y="531"/>
                </a:cubicBezTo>
                <a:cubicBezTo>
                  <a:pt x="2876" y="529"/>
                  <a:pt x="2874" y="526"/>
                  <a:pt x="2872" y="522"/>
                </a:cubicBezTo>
                <a:cubicBezTo>
                  <a:pt x="2868" y="509"/>
                  <a:pt x="2863" y="497"/>
                  <a:pt x="2860" y="484"/>
                </a:cubicBezTo>
                <a:cubicBezTo>
                  <a:pt x="2857" y="477"/>
                  <a:pt x="2854" y="470"/>
                  <a:pt x="2847" y="466"/>
                </a:cubicBezTo>
                <a:cubicBezTo>
                  <a:pt x="2844" y="463"/>
                  <a:pt x="2842" y="460"/>
                  <a:pt x="2842" y="456"/>
                </a:cubicBezTo>
                <a:cubicBezTo>
                  <a:pt x="2842" y="445"/>
                  <a:pt x="2840" y="434"/>
                  <a:pt x="2837" y="423"/>
                </a:cubicBezTo>
                <a:cubicBezTo>
                  <a:pt x="2837" y="421"/>
                  <a:pt x="2835" y="419"/>
                  <a:pt x="2833" y="418"/>
                </a:cubicBezTo>
                <a:cubicBezTo>
                  <a:pt x="2825" y="415"/>
                  <a:pt x="2816" y="413"/>
                  <a:pt x="2807" y="416"/>
                </a:cubicBezTo>
                <a:cubicBezTo>
                  <a:pt x="2806" y="417"/>
                  <a:pt x="2803" y="416"/>
                  <a:pt x="2801" y="416"/>
                </a:cubicBezTo>
                <a:cubicBezTo>
                  <a:pt x="2800" y="417"/>
                  <a:pt x="2798" y="418"/>
                  <a:pt x="2798" y="420"/>
                </a:cubicBezTo>
                <a:cubicBezTo>
                  <a:pt x="2797" y="422"/>
                  <a:pt x="2797" y="425"/>
                  <a:pt x="2797" y="428"/>
                </a:cubicBezTo>
                <a:cubicBezTo>
                  <a:pt x="2798" y="437"/>
                  <a:pt x="2798" y="445"/>
                  <a:pt x="2799" y="454"/>
                </a:cubicBezTo>
                <a:cubicBezTo>
                  <a:pt x="2799" y="459"/>
                  <a:pt x="2798" y="463"/>
                  <a:pt x="2795" y="466"/>
                </a:cubicBezTo>
                <a:cubicBezTo>
                  <a:pt x="2791" y="470"/>
                  <a:pt x="2790" y="475"/>
                  <a:pt x="2791" y="480"/>
                </a:cubicBezTo>
                <a:cubicBezTo>
                  <a:pt x="2791" y="484"/>
                  <a:pt x="2791" y="487"/>
                  <a:pt x="2794" y="489"/>
                </a:cubicBezTo>
                <a:cubicBezTo>
                  <a:pt x="2797" y="491"/>
                  <a:pt x="2800" y="493"/>
                  <a:pt x="2800" y="496"/>
                </a:cubicBezTo>
                <a:cubicBezTo>
                  <a:pt x="2801" y="501"/>
                  <a:pt x="2805" y="505"/>
                  <a:pt x="2802" y="511"/>
                </a:cubicBezTo>
                <a:cubicBezTo>
                  <a:pt x="2802" y="512"/>
                  <a:pt x="2802" y="513"/>
                  <a:pt x="2802" y="514"/>
                </a:cubicBezTo>
                <a:cubicBezTo>
                  <a:pt x="2805" y="518"/>
                  <a:pt x="2807" y="522"/>
                  <a:pt x="2810" y="527"/>
                </a:cubicBezTo>
                <a:cubicBezTo>
                  <a:pt x="2810" y="527"/>
                  <a:pt x="2812" y="527"/>
                  <a:pt x="2813" y="526"/>
                </a:cubicBezTo>
                <a:cubicBezTo>
                  <a:pt x="2815" y="525"/>
                  <a:pt x="2818" y="524"/>
                  <a:pt x="2820" y="527"/>
                </a:cubicBezTo>
                <a:cubicBezTo>
                  <a:pt x="2824" y="532"/>
                  <a:pt x="2829" y="537"/>
                  <a:pt x="2835" y="539"/>
                </a:cubicBezTo>
                <a:cubicBezTo>
                  <a:pt x="2836" y="539"/>
                  <a:pt x="2837" y="541"/>
                  <a:pt x="2837" y="541"/>
                </a:cubicBezTo>
                <a:cubicBezTo>
                  <a:pt x="2837" y="544"/>
                  <a:pt x="2837" y="547"/>
                  <a:pt x="2837" y="550"/>
                </a:cubicBezTo>
                <a:cubicBezTo>
                  <a:pt x="2836" y="551"/>
                  <a:pt x="2834" y="552"/>
                  <a:pt x="2833" y="551"/>
                </a:cubicBezTo>
                <a:cubicBezTo>
                  <a:pt x="2830" y="549"/>
                  <a:pt x="2826" y="547"/>
                  <a:pt x="2823" y="545"/>
                </a:cubicBezTo>
                <a:cubicBezTo>
                  <a:pt x="2821" y="543"/>
                  <a:pt x="2819" y="542"/>
                  <a:pt x="2816" y="541"/>
                </a:cubicBezTo>
                <a:cubicBezTo>
                  <a:pt x="2812" y="539"/>
                  <a:pt x="2808" y="538"/>
                  <a:pt x="2804" y="536"/>
                </a:cubicBezTo>
                <a:cubicBezTo>
                  <a:pt x="2800" y="535"/>
                  <a:pt x="2797" y="533"/>
                  <a:pt x="2793" y="531"/>
                </a:cubicBezTo>
                <a:cubicBezTo>
                  <a:pt x="2788" y="532"/>
                  <a:pt x="2786" y="527"/>
                  <a:pt x="2782" y="526"/>
                </a:cubicBezTo>
                <a:cubicBezTo>
                  <a:pt x="2774" y="522"/>
                  <a:pt x="2766" y="520"/>
                  <a:pt x="2758" y="522"/>
                </a:cubicBezTo>
                <a:cubicBezTo>
                  <a:pt x="2757" y="522"/>
                  <a:pt x="2756" y="522"/>
                  <a:pt x="2755" y="522"/>
                </a:cubicBezTo>
                <a:cubicBezTo>
                  <a:pt x="2745" y="522"/>
                  <a:pt x="2736" y="521"/>
                  <a:pt x="2728" y="514"/>
                </a:cubicBezTo>
                <a:cubicBezTo>
                  <a:pt x="2725" y="511"/>
                  <a:pt x="2720" y="509"/>
                  <a:pt x="2716" y="506"/>
                </a:cubicBezTo>
                <a:cubicBezTo>
                  <a:pt x="2715" y="505"/>
                  <a:pt x="2713" y="506"/>
                  <a:pt x="2712" y="508"/>
                </a:cubicBezTo>
                <a:cubicBezTo>
                  <a:pt x="2712" y="508"/>
                  <a:pt x="2711" y="508"/>
                  <a:pt x="2711" y="509"/>
                </a:cubicBezTo>
                <a:cubicBezTo>
                  <a:pt x="2710" y="514"/>
                  <a:pt x="2711" y="518"/>
                  <a:pt x="2715" y="521"/>
                </a:cubicBezTo>
                <a:cubicBezTo>
                  <a:pt x="2719" y="524"/>
                  <a:pt x="2726" y="524"/>
                  <a:pt x="2729" y="529"/>
                </a:cubicBezTo>
                <a:cubicBezTo>
                  <a:pt x="2729" y="530"/>
                  <a:pt x="2731" y="530"/>
                  <a:pt x="2732" y="530"/>
                </a:cubicBezTo>
                <a:cubicBezTo>
                  <a:pt x="2734" y="531"/>
                  <a:pt x="2736" y="532"/>
                  <a:pt x="2738" y="534"/>
                </a:cubicBezTo>
                <a:cubicBezTo>
                  <a:pt x="2741" y="537"/>
                  <a:pt x="2744" y="541"/>
                  <a:pt x="2747" y="545"/>
                </a:cubicBezTo>
                <a:cubicBezTo>
                  <a:pt x="2748" y="547"/>
                  <a:pt x="2748" y="550"/>
                  <a:pt x="2746" y="551"/>
                </a:cubicBezTo>
                <a:cubicBezTo>
                  <a:pt x="2743" y="554"/>
                  <a:pt x="2739" y="556"/>
                  <a:pt x="2738" y="561"/>
                </a:cubicBezTo>
                <a:cubicBezTo>
                  <a:pt x="2738" y="561"/>
                  <a:pt x="2737" y="561"/>
                  <a:pt x="2736" y="561"/>
                </a:cubicBezTo>
                <a:cubicBezTo>
                  <a:pt x="2736" y="561"/>
                  <a:pt x="2734" y="560"/>
                  <a:pt x="2734" y="559"/>
                </a:cubicBezTo>
                <a:cubicBezTo>
                  <a:pt x="2733" y="557"/>
                  <a:pt x="2733" y="555"/>
                  <a:pt x="2732" y="553"/>
                </a:cubicBezTo>
                <a:cubicBezTo>
                  <a:pt x="2731" y="551"/>
                  <a:pt x="2728" y="549"/>
                  <a:pt x="2726" y="550"/>
                </a:cubicBezTo>
                <a:cubicBezTo>
                  <a:pt x="2722" y="552"/>
                  <a:pt x="2718" y="555"/>
                  <a:pt x="2714" y="554"/>
                </a:cubicBezTo>
                <a:cubicBezTo>
                  <a:pt x="2713" y="554"/>
                  <a:pt x="2712" y="555"/>
                  <a:pt x="2712" y="555"/>
                </a:cubicBezTo>
                <a:cubicBezTo>
                  <a:pt x="2711" y="559"/>
                  <a:pt x="2707" y="560"/>
                  <a:pt x="2703" y="560"/>
                </a:cubicBezTo>
                <a:cubicBezTo>
                  <a:pt x="2699" y="560"/>
                  <a:pt x="2695" y="561"/>
                  <a:pt x="2692" y="564"/>
                </a:cubicBezTo>
                <a:cubicBezTo>
                  <a:pt x="2690" y="568"/>
                  <a:pt x="2685" y="569"/>
                  <a:pt x="2682" y="571"/>
                </a:cubicBezTo>
                <a:cubicBezTo>
                  <a:pt x="2680" y="572"/>
                  <a:pt x="2678" y="571"/>
                  <a:pt x="2677" y="571"/>
                </a:cubicBezTo>
                <a:cubicBezTo>
                  <a:pt x="2677" y="570"/>
                  <a:pt x="2677" y="569"/>
                  <a:pt x="2677" y="568"/>
                </a:cubicBezTo>
                <a:cubicBezTo>
                  <a:pt x="2678" y="564"/>
                  <a:pt x="2676" y="560"/>
                  <a:pt x="2673" y="557"/>
                </a:cubicBezTo>
                <a:cubicBezTo>
                  <a:pt x="2669" y="556"/>
                  <a:pt x="2667" y="557"/>
                  <a:pt x="2665" y="561"/>
                </a:cubicBezTo>
                <a:cubicBezTo>
                  <a:pt x="2665" y="562"/>
                  <a:pt x="2664" y="563"/>
                  <a:pt x="2663" y="563"/>
                </a:cubicBezTo>
                <a:cubicBezTo>
                  <a:pt x="2660" y="563"/>
                  <a:pt x="2659" y="566"/>
                  <a:pt x="2657" y="567"/>
                </a:cubicBezTo>
                <a:cubicBezTo>
                  <a:pt x="2654" y="569"/>
                  <a:pt x="2652" y="569"/>
                  <a:pt x="2649" y="570"/>
                </a:cubicBezTo>
                <a:cubicBezTo>
                  <a:pt x="2645" y="571"/>
                  <a:pt x="2642" y="573"/>
                  <a:pt x="2640" y="576"/>
                </a:cubicBezTo>
                <a:cubicBezTo>
                  <a:pt x="2634" y="583"/>
                  <a:pt x="2627" y="590"/>
                  <a:pt x="2619" y="595"/>
                </a:cubicBezTo>
                <a:cubicBezTo>
                  <a:pt x="2617" y="597"/>
                  <a:pt x="2616" y="598"/>
                  <a:pt x="2616" y="601"/>
                </a:cubicBezTo>
                <a:cubicBezTo>
                  <a:pt x="2616" y="603"/>
                  <a:pt x="2615" y="606"/>
                  <a:pt x="2615" y="609"/>
                </a:cubicBezTo>
                <a:cubicBezTo>
                  <a:pt x="2615" y="610"/>
                  <a:pt x="2614" y="611"/>
                  <a:pt x="2613" y="611"/>
                </a:cubicBezTo>
                <a:cubicBezTo>
                  <a:pt x="2609" y="616"/>
                  <a:pt x="2600" y="616"/>
                  <a:pt x="2597" y="613"/>
                </a:cubicBezTo>
                <a:cubicBezTo>
                  <a:pt x="2594" y="610"/>
                  <a:pt x="2592" y="608"/>
                  <a:pt x="2590" y="606"/>
                </a:cubicBezTo>
                <a:cubicBezTo>
                  <a:pt x="2588" y="603"/>
                  <a:pt x="2588" y="600"/>
                  <a:pt x="2590" y="598"/>
                </a:cubicBezTo>
                <a:cubicBezTo>
                  <a:pt x="2592" y="596"/>
                  <a:pt x="2595" y="595"/>
                  <a:pt x="2598" y="593"/>
                </a:cubicBezTo>
                <a:cubicBezTo>
                  <a:pt x="2600" y="592"/>
                  <a:pt x="2600" y="589"/>
                  <a:pt x="2599" y="587"/>
                </a:cubicBezTo>
                <a:cubicBezTo>
                  <a:pt x="2596" y="584"/>
                  <a:pt x="2594" y="582"/>
                  <a:pt x="2592" y="580"/>
                </a:cubicBezTo>
                <a:cubicBezTo>
                  <a:pt x="2589" y="574"/>
                  <a:pt x="2584" y="572"/>
                  <a:pt x="2578" y="574"/>
                </a:cubicBezTo>
                <a:cubicBezTo>
                  <a:pt x="2573" y="574"/>
                  <a:pt x="2569" y="574"/>
                  <a:pt x="2565" y="573"/>
                </a:cubicBezTo>
                <a:cubicBezTo>
                  <a:pt x="2564" y="573"/>
                  <a:pt x="2564" y="574"/>
                  <a:pt x="2564" y="574"/>
                </a:cubicBezTo>
                <a:cubicBezTo>
                  <a:pt x="2563" y="575"/>
                  <a:pt x="2563" y="576"/>
                  <a:pt x="2564" y="577"/>
                </a:cubicBezTo>
                <a:cubicBezTo>
                  <a:pt x="2572" y="583"/>
                  <a:pt x="2574" y="591"/>
                  <a:pt x="2573" y="600"/>
                </a:cubicBezTo>
                <a:cubicBezTo>
                  <a:pt x="2572" y="602"/>
                  <a:pt x="2572" y="605"/>
                  <a:pt x="2572" y="607"/>
                </a:cubicBezTo>
                <a:cubicBezTo>
                  <a:pt x="2572" y="609"/>
                  <a:pt x="2573" y="611"/>
                  <a:pt x="2575" y="612"/>
                </a:cubicBezTo>
                <a:cubicBezTo>
                  <a:pt x="2579" y="614"/>
                  <a:pt x="2580" y="618"/>
                  <a:pt x="2580" y="622"/>
                </a:cubicBezTo>
                <a:cubicBezTo>
                  <a:pt x="2580" y="624"/>
                  <a:pt x="2580" y="626"/>
                  <a:pt x="2580" y="628"/>
                </a:cubicBezTo>
                <a:cubicBezTo>
                  <a:pt x="2580" y="630"/>
                  <a:pt x="2577" y="632"/>
                  <a:pt x="2575" y="632"/>
                </a:cubicBezTo>
                <a:cubicBezTo>
                  <a:pt x="2572" y="631"/>
                  <a:pt x="2569" y="631"/>
                  <a:pt x="2566" y="630"/>
                </a:cubicBezTo>
                <a:cubicBezTo>
                  <a:pt x="2561" y="629"/>
                  <a:pt x="2557" y="629"/>
                  <a:pt x="2554" y="634"/>
                </a:cubicBezTo>
                <a:cubicBezTo>
                  <a:pt x="2553" y="636"/>
                  <a:pt x="2551" y="638"/>
                  <a:pt x="2548" y="639"/>
                </a:cubicBezTo>
                <a:cubicBezTo>
                  <a:pt x="2545" y="642"/>
                  <a:pt x="2543" y="645"/>
                  <a:pt x="2541" y="648"/>
                </a:cubicBezTo>
                <a:cubicBezTo>
                  <a:pt x="2536" y="655"/>
                  <a:pt x="2533" y="657"/>
                  <a:pt x="2541" y="666"/>
                </a:cubicBezTo>
                <a:cubicBezTo>
                  <a:pt x="2542" y="667"/>
                  <a:pt x="2543" y="668"/>
                  <a:pt x="2543" y="669"/>
                </a:cubicBezTo>
                <a:cubicBezTo>
                  <a:pt x="2544" y="671"/>
                  <a:pt x="2543" y="673"/>
                  <a:pt x="2542" y="675"/>
                </a:cubicBezTo>
                <a:cubicBezTo>
                  <a:pt x="2541" y="677"/>
                  <a:pt x="2538" y="678"/>
                  <a:pt x="2536" y="677"/>
                </a:cubicBezTo>
                <a:cubicBezTo>
                  <a:pt x="2529" y="673"/>
                  <a:pt x="2520" y="672"/>
                  <a:pt x="2513" y="666"/>
                </a:cubicBezTo>
                <a:cubicBezTo>
                  <a:pt x="2511" y="665"/>
                  <a:pt x="2510" y="665"/>
                  <a:pt x="2508" y="665"/>
                </a:cubicBezTo>
                <a:cubicBezTo>
                  <a:pt x="2507" y="664"/>
                  <a:pt x="2505" y="665"/>
                  <a:pt x="2504" y="666"/>
                </a:cubicBezTo>
                <a:cubicBezTo>
                  <a:pt x="2503" y="668"/>
                  <a:pt x="2502" y="671"/>
                  <a:pt x="2502" y="673"/>
                </a:cubicBezTo>
                <a:cubicBezTo>
                  <a:pt x="2501" y="675"/>
                  <a:pt x="2501" y="677"/>
                  <a:pt x="2503" y="679"/>
                </a:cubicBezTo>
                <a:cubicBezTo>
                  <a:pt x="2506" y="683"/>
                  <a:pt x="2510" y="686"/>
                  <a:pt x="2515" y="686"/>
                </a:cubicBezTo>
                <a:cubicBezTo>
                  <a:pt x="2516" y="686"/>
                  <a:pt x="2517" y="687"/>
                  <a:pt x="2518" y="687"/>
                </a:cubicBezTo>
                <a:cubicBezTo>
                  <a:pt x="2520" y="688"/>
                  <a:pt x="2520" y="690"/>
                  <a:pt x="2520" y="691"/>
                </a:cubicBezTo>
                <a:cubicBezTo>
                  <a:pt x="2520" y="694"/>
                  <a:pt x="2517" y="697"/>
                  <a:pt x="2515" y="696"/>
                </a:cubicBezTo>
                <a:cubicBezTo>
                  <a:pt x="2509" y="695"/>
                  <a:pt x="2504" y="695"/>
                  <a:pt x="2500" y="690"/>
                </a:cubicBezTo>
                <a:cubicBezTo>
                  <a:pt x="2498" y="687"/>
                  <a:pt x="2495" y="686"/>
                  <a:pt x="2491" y="685"/>
                </a:cubicBezTo>
                <a:cubicBezTo>
                  <a:pt x="2489" y="685"/>
                  <a:pt x="2487" y="683"/>
                  <a:pt x="2487" y="681"/>
                </a:cubicBezTo>
                <a:cubicBezTo>
                  <a:pt x="2486" y="676"/>
                  <a:pt x="2484" y="672"/>
                  <a:pt x="2481" y="667"/>
                </a:cubicBezTo>
                <a:cubicBezTo>
                  <a:pt x="2479" y="665"/>
                  <a:pt x="2480" y="661"/>
                  <a:pt x="2480" y="658"/>
                </a:cubicBezTo>
                <a:cubicBezTo>
                  <a:pt x="2481" y="650"/>
                  <a:pt x="2478" y="646"/>
                  <a:pt x="2471" y="643"/>
                </a:cubicBezTo>
                <a:cubicBezTo>
                  <a:pt x="2468" y="641"/>
                  <a:pt x="2465" y="640"/>
                  <a:pt x="2463" y="638"/>
                </a:cubicBezTo>
                <a:cubicBezTo>
                  <a:pt x="2460" y="635"/>
                  <a:pt x="2457" y="633"/>
                  <a:pt x="2455" y="630"/>
                </a:cubicBezTo>
                <a:cubicBezTo>
                  <a:pt x="2455" y="630"/>
                  <a:pt x="2455" y="630"/>
                  <a:pt x="2455" y="630"/>
                </a:cubicBezTo>
                <a:cubicBezTo>
                  <a:pt x="2455" y="629"/>
                  <a:pt x="2454" y="629"/>
                  <a:pt x="2454" y="629"/>
                </a:cubicBezTo>
                <a:cubicBezTo>
                  <a:pt x="2453" y="628"/>
                  <a:pt x="2453" y="628"/>
                  <a:pt x="2452" y="627"/>
                </a:cubicBezTo>
                <a:cubicBezTo>
                  <a:pt x="2452" y="627"/>
                  <a:pt x="2452" y="627"/>
                  <a:pt x="2451" y="626"/>
                </a:cubicBezTo>
                <a:cubicBezTo>
                  <a:pt x="2451" y="626"/>
                  <a:pt x="2451" y="626"/>
                  <a:pt x="2451" y="626"/>
                </a:cubicBezTo>
                <a:cubicBezTo>
                  <a:pt x="2452" y="626"/>
                  <a:pt x="2452" y="626"/>
                  <a:pt x="2452" y="626"/>
                </a:cubicBezTo>
                <a:cubicBezTo>
                  <a:pt x="2452" y="626"/>
                  <a:pt x="2452" y="627"/>
                  <a:pt x="2452" y="627"/>
                </a:cubicBezTo>
                <a:cubicBezTo>
                  <a:pt x="2453" y="627"/>
                  <a:pt x="2454" y="628"/>
                  <a:pt x="2454" y="629"/>
                </a:cubicBezTo>
                <a:cubicBezTo>
                  <a:pt x="2455" y="629"/>
                  <a:pt x="2455" y="629"/>
                  <a:pt x="2455" y="629"/>
                </a:cubicBezTo>
                <a:cubicBezTo>
                  <a:pt x="2455" y="629"/>
                  <a:pt x="2455" y="630"/>
                  <a:pt x="2455" y="630"/>
                </a:cubicBezTo>
                <a:cubicBezTo>
                  <a:pt x="2460" y="630"/>
                  <a:pt x="2464" y="631"/>
                  <a:pt x="2469" y="633"/>
                </a:cubicBezTo>
                <a:cubicBezTo>
                  <a:pt x="2481" y="638"/>
                  <a:pt x="2493" y="641"/>
                  <a:pt x="2505" y="643"/>
                </a:cubicBezTo>
                <a:cubicBezTo>
                  <a:pt x="2515" y="645"/>
                  <a:pt x="2524" y="643"/>
                  <a:pt x="2533" y="640"/>
                </a:cubicBezTo>
                <a:cubicBezTo>
                  <a:pt x="2534" y="639"/>
                  <a:pt x="2536" y="638"/>
                  <a:pt x="2537" y="637"/>
                </a:cubicBezTo>
                <a:cubicBezTo>
                  <a:pt x="2542" y="631"/>
                  <a:pt x="2546" y="625"/>
                  <a:pt x="2547" y="617"/>
                </a:cubicBezTo>
                <a:cubicBezTo>
                  <a:pt x="2547" y="615"/>
                  <a:pt x="2547" y="612"/>
                  <a:pt x="2546" y="610"/>
                </a:cubicBezTo>
                <a:cubicBezTo>
                  <a:pt x="2542" y="606"/>
                  <a:pt x="2540" y="600"/>
                  <a:pt x="2534" y="597"/>
                </a:cubicBezTo>
                <a:cubicBezTo>
                  <a:pt x="2531" y="596"/>
                  <a:pt x="2529" y="594"/>
                  <a:pt x="2527" y="592"/>
                </a:cubicBezTo>
                <a:cubicBezTo>
                  <a:pt x="2525" y="590"/>
                  <a:pt x="2523" y="588"/>
                  <a:pt x="2519" y="588"/>
                </a:cubicBezTo>
                <a:cubicBezTo>
                  <a:pt x="2514" y="587"/>
                  <a:pt x="2509" y="584"/>
                  <a:pt x="2504" y="581"/>
                </a:cubicBezTo>
                <a:cubicBezTo>
                  <a:pt x="2500" y="577"/>
                  <a:pt x="2495" y="574"/>
                  <a:pt x="2491" y="572"/>
                </a:cubicBezTo>
                <a:cubicBezTo>
                  <a:pt x="2477" y="564"/>
                  <a:pt x="2473" y="563"/>
                  <a:pt x="2458" y="563"/>
                </a:cubicBezTo>
                <a:cubicBezTo>
                  <a:pt x="2456" y="563"/>
                  <a:pt x="2454" y="564"/>
                  <a:pt x="2451" y="563"/>
                </a:cubicBezTo>
                <a:cubicBezTo>
                  <a:pt x="2449" y="563"/>
                  <a:pt x="2446" y="563"/>
                  <a:pt x="2443" y="563"/>
                </a:cubicBezTo>
                <a:cubicBezTo>
                  <a:pt x="2441" y="562"/>
                  <a:pt x="2442" y="560"/>
                  <a:pt x="2442" y="559"/>
                </a:cubicBezTo>
                <a:cubicBezTo>
                  <a:pt x="2443" y="557"/>
                  <a:pt x="2443" y="555"/>
                  <a:pt x="2441" y="554"/>
                </a:cubicBezTo>
                <a:cubicBezTo>
                  <a:pt x="2440" y="553"/>
                  <a:pt x="2438" y="552"/>
                  <a:pt x="2436" y="551"/>
                </a:cubicBezTo>
                <a:cubicBezTo>
                  <a:pt x="2434" y="550"/>
                  <a:pt x="2431" y="550"/>
                  <a:pt x="2430" y="552"/>
                </a:cubicBezTo>
                <a:cubicBezTo>
                  <a:pt x="2427" y="555"/>
                  <a:pt x="2425" y="556"/>
                  <a:pt x="2421" y="555"/>
                </a:cubicBezTo>
                <a:cubicBezTo>
                  <a:pt x="2418" y="553"/>
                  <a:pt x="2415" y="554"/>
                  <a:pt x="2411" y="554"/>
                </a:cubicBezTo>
                <a:cubicBezTo>
                  <a:pt x="2410" y="555"/>
                  <a:pt x="2408" y="554"/>
                  <a:pt x="2407" y="553"/>
                </a:cubicBezTo>
                <a:cubicBezTo>
                  <a:pt x="2406" y="552"/>
                  <a:pt x="2406" y="551"/>
                  <a:pt x="2406" y="550"/>
                </a:cubicBezTo>
                <a:cubicBezTo>
                  <a:pt x="2405" y="549"/>
                  <a:pt x="2406" y="548"/>
                  <a:pt x="2408" y="548"/>
                </a:cubicBezTo>
                <a:cubicBezTo>
                  <a:pt x="2410" y="548"/>
                  <a:pt x="2413" y="547"/>
                  <a:pt x="2415" y="545"/>
                </a:cubicBezTo>
                <a:cubicBezTo>
                  <a:pt x="2417" y="544"/>
                  <a:pt x="2419" y="542"/>
                  <a:pt x="2421" y="540"/>
                </a:cubicBezTo>
                <a:cubicBezTo>
                  <a:pt x="2423" y="539"/>
                  <a:pt x="2422" y="537"/>
                  <a:pt x="2421" y="536"/>
                </a:cubicBezTo>
                <a:cubicBezTo>
                  <a:pt x="2414" y="532"/>
                  <a:pt x="2406" y="529"/>
                  <a:pt x="2398" y="527"/>
                </a:cubicBezTo>
                <a:cubicBezTo>
                  <a:pt x="2397" y="527"/>
                  <a:pt x="2395" y="528"/>
                  <a:pt x="2394" y="529"/>
                </a:cubicBezTo>
                <a:cubicBezTo>
                  <a:pt x="2393" y="529"/>
                  <a:pt x="2392" y="530"/>
                  <a:pt x="2392" y="531"/>
                </a:cubicBezTo>
                <a:cubicBezTo>
                  <a:pt x="2391" y="533"/>
                  <a:pt x="2390" y="533"/>
                  <a:pt x="2389" y="532"/>
                </a:cubicBezTo>
                <a:cubicBezTo>
                  <a:pt x="2389" y="532"/>
                  <a:pt x="2389" y="531"/>
                  <a:pt x="2389" y="531"/>
                </a:cubicBezTo>
                <a:cubicBezTo>
                  <a:pt x="2389" y="529"/>
                  <a:pt x="2389" y="528"/>
                  <a:pt x="2389" y="526"/>
                </a:cubicBezTo>
                <a:cubicBezTo>
                  <a:pt x="2389" y="523"/>
                  <a:pt x="2387" y="521"/>
                  <a:pt x="2384" y="520"/>
                </a:cubicBezTo>
                <a:cubicBezTo>
                  <a:pt x="2382" y="519"/>
                  <a:pt x="2380" y="520"/>
                  <a:pt x="2378" y="522"/>
                </a:cubicBezTo>
                <a:cubicBezTo>
                  <a:pt x="2377" y="523"/>
                  <a:pt x="2375" y="525"/>
                  <a:pt x="2375" y="527"/>
                </a:cubicBezTo>
                <a:cubicBezTo>
                  <a:pt x="2375" y="529"/>
                  <a:pt x="2375" y="530"/>
                  <a:pt x="2374" y="532"/>
                </a:cubicBezTo>
                <a:cubicBezTo>
                  <a:pt x="2373" y="533"/>
                  <a:pt x="2372" y="533"/>
                  <a:pt x="2371" y="533"/>
                </a:cubicBezTo>
                <a:cubicBezTo>
                  <a:pt x="2371" y="534"/>
                  <a:pt x="2370" y="533"/>
                  <a:pt x="2370" y="532"/>
                </a:cubicBezTo>
                <a:cubicBezTo>
                  <a:pt x="2369" y="530"/>
                  <a:pt x="2369" y="527"/>
                  <a:pt x="2365" y="527"/>
                </a:cubicBezTo>
                <a:cubicBezTo>
                  <a:pt x="2363" y="528"/>
                  <a:pt x="2363" y="525"/>
                  <a:pt x="2363" y="524"/>
                </a:cubicBezTo>
                <a:cubicBezTo>
                  <a:pt x="2362" y="520"/>
                  <a:pt x="2358" y="519"/>
                  <a:pt x="2357" y="521"/>
                </a:cubicBezTo>
                <a:cubicBezTo>
                  <a:pt x="2354" y="526"/>
                  <a:pt x="2348" y="526"/>
                  <a:pt x="2345" y="530"/>
                </a:cubicBezTo>
                <a:cubicBezTo>
                  <a:pt x="2341" y="531"/>
                  <a:pt x="2338" y="534"/>
                  <a:pt x="2334" y="536"/>
                </a:cubicBezTo>
                <a:cubicBezTo>
                  <a:pt x="2334" y="536"/>
                  <a:pt x="2333" y="536"/>
                  <a:pt x="2333" y="536"/>
                </a:cubicBezTo>
                <a:cubicBezTo>
                  <a:pt x="2333" y="536"/>
                  <a:pt x="2333" y="536"/>
                  <a:pt x="2333" y="536"/>
                </a:cubicBezTo>
                <a:cubicBezTo>
                  <a:pt x="2332" y="537"/>
                  <a:pt x="2332" y="537"/>
                  <a:pt x="2332" y="537"/>
                </a:cubicBezTo>
                <a:cubicBezTo>
                  <a:pt x="2332" y="536"/>
                  <a:pt x="2332" y="536"/>
                  <a:pt x="2332" y="536"/>
                </a:cubicBezTo>
                <a:cubicBezTo>
                  <a:pt x="2332" y="536"/>
                  <a:pt x="2333" y="536"/>
                  <a:pt x="2333" y="536"/>
                </a:cubicBezTo>
                <a:cubicBezTo>
                  <a:pt x="2333" y="535"/>
                  <a:pt x="2333" y="534"/>
                  <a:pt x="2332" y="534"/>
                </a:cubicBezTo>
                <a:cubicBezTo>
                  <a:pt x="2332" y="533"/>
                  <a:pt x="2331" y="533"/>
                  <a:pt x="2331" y="533"/>
                </a:cubicBezTo>
                <a:cubicBezTo>
                  <a:pt x="2324" y="533"/>
                  <a:pt x="2323" y="534"/>
                  <a:pt x="2325" y="540"/>
                </a:cubicBezTo>
                <a:cubicBezTo>
                  <a:pt x="2325" y="541"/>
                  <a:pt x="2325" y="542"/>
                  <a:pt x="2325" y="543"/>
                </a:cubicBezTo>
                <a:cubicBezTo>
                  <a:pt x="2325" y="543"/>
                  <a:pt x="2326" y="543"/>
                  <a:pt x="2326" y="543"/>
                </a:cubicBezTo>
                <a:cubicBezTo>
                  <a:pt x="2326" y="544"/>
                  <a:pt x="2326" y="544"/>
                  <a:pt x="2326" y="544"/>
                </a:cubicBezTo>
                <a:cubicBezTo>
                  <a:pt x="2325" y="543"/>
                  <a:pt x="2325" y="543"/>
                  <a:pt x="2325" y="543"/>
                </a:cubicBezTo>
                <a:cubicBezTo>
                  <a:pt x="2325" y="543"/>
                  <a:pt x="2325" y="543"/>
                  <a:pt x="2325" y="543"/>
                </a:cubicBezTo>
                <a:cubicBezTo>
                  <a:pt x="2319" y="543"/>
                  <a:pt x="2313" y="546"/>
                  <a:pt x="2307" y="549"/>
                </a:cubicBezTo>
                <a:cubicBezTo>
                  <a:pt x="2307" y="549"/>
                  <a:pt x="2307" y="551"/>
                  <a:pt x="2307" y="552"/>
                </a:cubicBezTo>
                <a:cubicBezTo>
                  <a:pt x="2307" y="553"/>
                  <a:pt x="2308" y="555"/>
                  <a:pt x="2308" y="556"/>
                </a:cubicBezTo>
                <a:cubicBezTo>
                  <a:pt x="2307" y="558"/>
                  <a:pt x="2305" y="557"/>
                  <a:pt x="2304" y="558"/>
                </a:cubicBezTo>
                <a:cubicBezTo>
                  <a:pt x="2301" y="558"/>
                  <a:pt x="2298" y="559"/>
                  <a:pt x="2296" y="560"/>
                </a:cubicBezTo>
                <a:cubicBezTo>
                  <a:pt x="2296" y="560"/>
                  <a:pt x="2296" y="560"/>
                  <a:pt x="2296" y="560"/>
                </a:cubicBezTo>
                <a:cubicBezTo>
                  <a:pt x="2296" y="560"/>
                  <a:pt x="2296" y="560"/>
                  <a:pt x="2296" y="560"/>
                </a:cubicBezTo>
                <a:cubicBezTo>
                  <a:pt x="2296" y="558"/>
                  <a:pt x="2296" y="557"/>
                  <a:pt x="2296" y="555"/>
                </a:cubicBezTo>
                <a:cubicBezTo>
                  <a:pt x="2296" y="553"/>
                  <a:pt x="2294" y="553"/>
                  <a:pt x="2293" y="552"/>
                </a:cubicBezTo>
                <a:cubicBezTo>
                  <a:pt x="2292" y="552"/>
                  <a:pt x="2290" y="554"/>
                  <a:pt x="2290" y="554"/>
                </a:cubicBezTo>
                <a:cubicBezTo>
                  <a:pt x="2291" y="556"/>
                  <a:pt x="2292" y="558"/>
                  <a:pt x="2293" y="560"/>
                </a:cubicBezTo>
                <a:cubicBezTo>
                  <a:pt x="2292" y="560"/>
                  <a:pt x="2292" y="560"/>
                  <a:pt x="2292" y="560"/>
                </a:cubicBezTo>
                <a:cubicBezTo>
                  <a:pt x="2293" y="560"/>
                  <a:pt x="2293" y="560"/>
                  <a:pt x="2293" y="560"/>
                </a:cubicBezTo>
                <a:cubicBezTo>
                  <a:pt x="2288" y="560"/>
                  <a:pt x="2285" y="562"/>
                  <a:pt x="2283" y="566"/>
                </a:cubicBezTo>
                <a:cubicBezTo>
                  <a:pt x="2283" y="566"/>
                  <a:pt x="2283" y="566"/>
                  <a:pt x="2283" y="566"/>
                </a:cubicBezTo>
                <a:cubicBezTo>
                  <a:pt x="2283" y="566"/>
                  <a:pt x="2284" y="567"/>
                  <a:pt x="2283" y="566"/>
                </a:cubicBezTo>
                <a:cubicBezTo>
                  <a:pt x="2283" y="566"/>
                  <a:pt x="2283" y="566"/>
                  <a:pt x="2283" y="566"/>
                </a:cubicBezTo>
                <a:cubicBezTo>
                  <a:pt x="2281" y="566"/>
                  <a:pt x="2280" y="566"/>
                  <a:pt x="2278" y="566"/>
                </a:cubicBezTo>
                <a:cubicBezTo>
                  <a:pt x="2275" y="566"/>
                  <a:pt x="2273" y="568"/>
                  <a:pt x="2272" y="570"/>
                </a:cubicBezTo>
                <a:cubicBezTo>
                  <a:pt x="2271" y="574"/>
                  <a:pt x="2271" y="577"/>
                  <a:pt x="2274" y="579"/>
                </a:cubicBezTo>
                <a:cubicBezTo>
                  <a:pt x="2275" y="580"/>
                  <a:pt x="2276" y="581"/>
                  <a:pt x="2277" y="581"/>
                </a:cubicBezTo>
                <a:cubicBezTo>
                  <a:pt x="2278" y="582"/>
                  <a:pt x="2277" y="584"/>
                  <a:pt x="2276" y="585"/>
                </a:cubicBezTo>
                <a:cubicBezTo>
                  <a:pt x="2274" y="587"/>
                  <a:pt x="2272" y="588"/>
                  <a:pt x="2270" y="587"/>
                </a:cubicBezTo>
                <a:cubicBezTo>
                  <a:pt x="2267" y="586"/>
                  <a:pt x="2264" y="587"/>
                  <a:pt x="2262" y="587"/>
                </a:cubicBezTo>
                <a:cubicBezTo>
                  <a:pt x="2260" y="587"/>
                  <a:pt x="2258" y="585"/>
                  <a:pt x="2259" y="584"/>
                </a:cubicBezTo>
                <a:cubicBezTo>
                  <a:pt x="2260" y="581"/>
                  <a:pt x="2261" y="579"/>
                  <a:pt x="2262" y="576"/>
                </a:cubicBezTo>
                <a:cubicBezTo>
                  <a:pt x="2262" y="576"/>
                  <a:pt x="2261" y="575"/>
                  <a:pt x="2261" y="575"/>
                </a:cubicBezTo>
                <a:cubicBezTo>
                  <a:pt x="2261" y="575"/>
                  <a:pt x="2260" y="575"/>
                  <a:pt x="2260" y="575"/>
                </a:cubicBezTo>
                <a:cubicBezTo>
                  <a:pt x="2256" y="579"/>
                  <a:pt x="2252" y="583"/>
                  <a:pt x="2248" y="587"/>
                </a:cubicBezTo>
                <a:cubicBezTo>
                  <a:pt x="2247" y="588"/>
                  <a:pt x="2248" y="590"/>
                  <a:pt x="2249" y="591"/>
                </a:cubicBezTo>
                <a:cubicBezTo>
                  <a:pt x="2251" y="593"/>
                  <a:pt x="2250" y="595"/>
                  <a:pt x="2248" y="597"/>
                </a:cubicBezTo>
                <a:cubicBezTo>
                  <a:pt x="2248" y="597"/>
                  <a:pt x="2247" y="598"/>
                  <a:pt x="2247" y="599"/>
                </a:cubicBezTo>
                <a:cubicBezTo>
                  <a:pt x="2249" y="599"/>
                  <a:pt x="2251" y="599"/>
                  <a:pt x="2253" y="599"/>
                </a:cubicBezTo>
                <a:cubicBezTo>
                  <a:pt x="2257" y="598"/>
                  <a:pt x="2260" y="597"/>
                  <a:pt x="2264" y="596"/>
                </a:cubicBezTo>
                <a:cubicBezTo>
                  <a:pt x="2266" y="596"/>
                  <a:pt x="2268" y="597"/>
                  <a:pt x="2271" y="597"/>
                </a:cubicBezTo>
                <a:cubicBezTo>
                  <a:pt x="2271" y="597"/>
                  <a:pt x="2271" y="597"/>
                  <a:pt x="2272" y="598"/>
                </a:cubicBezTo>
                <a:cubicBezTo>
                  <a:pt x="2271" y="598"/>
                  <a:pt x="2271" y="599"/>
                  <a:pt x="2271" y="599"/>
                </a:cubicBezTo>
                <a:cubicBezTo>
                  <a:pt x="2269" y="600"/>
                  <a:pt x="2267" y="601"/>
                  <a:pt x="2265" y="602"/>
                </a:cubicBezTo>
                <a:cubicBezTo>
                  <a:pt x="2264" y="602"/>
                  <a:pt x="2263" y="602"/>
                  <a:pt x="2261" y="603"/>
                </a:cubicBezTo>
                <a:cubicBezTo>
                  <a:pt x="2259" y="603"/>
                  <a:pt x="2258" y="605"/>
                  <a:pt x="2259" y="607"/>
                </a:cubicBezTo>
                <a:cubicBezTo>
                  <a:pt x="2258" y="609"/>
                  <a:pt x="2255" y="609"/>
                  <a:pt x="2255" y="611"/>
                </a:cubicBezTo>
                <a:cubicBezTo>
                  <a:pt x="2254" y="613"/>
                  <a:pt x="2255" y="615"/>
                  <a:pt x="2254" y="617"/>
                </a:cubicBezTo>
                <a:cubicBezTo>
                  <a:pt x="2254" y="618"/>
                  <a:pt x="2253" y="619"/>
                  <a:pt x="2253" y="620"/>
                </a:cubicBezTo>
                <a:cubicBezTo>
                  <a:pt x="2252" y="622"/>
                  <a:pt x="2250" y="623"/>
                  <a:pt x="2250" y="624"/>
                </a:cubicBezTo>
                <a:cubicBezTo>
                  <a:pt x="2251" y="628"/>
                  <a:pt x="2249" y="630"/>
                  <a:pt x="2247" y="631"/>
                </a:cubicBezTo>
                <a:cubicBezTo>
                  <a:pt x="2244" y="632"/>
                  <a:pt x="2241" y="634"/>
                  <a:pt x="2241" y="638"/>
                </a:cubicBezTo>
                <a:cubicBezTo>
                  <a:pt x="2240" y="641"/>
                  <a:pt x="2237" y="644"/>
                  <a:pt x="2237" y="647"/>
                </a:cubicBezTo>
                <a:cubicBezTo>
                  <a:pt x="2237" y="650"/>
                  <a:pt x="2237" y="652"/>
                  <a:pt x="2233" y="653"/>
                </a:cubicBezTo>
                <a:cubicBezTo>
                  <a:pt x="2232" y="654"/>
                  <a:pt x="2231" y="655"/>
                  <a:pt x="2232" y="657"/>
                </a:cubicBezTo>
                <a:cubicBezTo>
                  <a:pt x="2232" y="660"/>
                  <a:pt x="2233" y="664"/>
                  <a:pt x="2232" y="667"/>
                </a:cubicBezTo>
                <a:cubicBezTo>
                  <a:pt x="2230" y="670"/>
                  <a:pt x="2230" y="673"/>
                  <a:pt x="2229" y="676"/>
                </a:cubicBezTo>
                <a:cubicBezTo>
                  <a:pt x="2229" y="679"/>
                  <a:pt x="2227" y="680"/>
                  <a:pt x="2225" y="681"/>
                </a:cubicBezTo>
                <a:cubicBezTo>
                  <a:pt x="2224" y="682"/>
                  <a:pt x="2222" y="682"/>
                  <a:pt x="2221" y="683"/>
                </a:cubicBezTo>
                <a:cubicBezTo>
                  <a:pt x="2220" y="683"/>
                  <a:pt x="2219" y="684"/>
                  <a:pt x="2219" y="685"/>
                </a:cubicBezTo>
                <a:cubicBezTo>
                  <a:pt x="2219" y="688"/>
                  <a:pt x="2219" y="690"/>
                  <a:pt x="2216" y="692"/>
                </a:cubicBezTo>
                <a:cubicBezTo>
                  <a:pt x="2210" y="696"/>
                  <a:pt x="2206" y="701"/>
                  <a:pt x="2204" y="708"/>
                </a:cubicBezTo>
                <a:cubicBezTo>
                  <a:pt x="2203" y="709"/>
                  <a:pt x="2203" y="711"/>
                  <a:pt x="2202" y="712"/>
                </a:cubicBezTo>
                <a:cubicBezTo>
                  <a:pt x="2201" y="714"/>
                  <a:pt x="2199" y="715"/>
                  <a:pt x="2197" y="715"/>
                </a:cubicBezTo>
                <a:cubicBezTo>
                  <a:pt x="2194" y="715"/>
                  <a:pt x="2192" y="714"/>
                  <a:pt x="2190" y="714"/>
                </a:cubicBezTo>
                <a:cubicBezTo>
                  <a:pt x="2190" y="714"/>
                  <a:pt x="2189" y="715"/>
                  <a:pt x="2189" y="715"/>
                </a:cubicBezTo>
                <a:cubicBezTo>
                  <a:pt x="2188" y="716"/>
                  <a:pt x="2188" y="717"/>
                  <a:pt x="2189" y="718"/>
                </a:cubicBezTo>
                <a:cubicBezTo>
                  <a:pt x="2189" y="718"/>
                  <a:pt x="2190" y="719"/>
                  <a:pt x="2190" y="719"/>
                </a:cubicBezTo>
                <a:cubicBezTo>
                  <a:pt x="2191" y="721"/>
                  <a:pt x="2190" y="723"/>
                  <a:pt x="2189" y="723"/>
                </a:cubicBezTo>
                <a:cubicBezTo>
                  <a:pt x="2184" y="724"/>
                  <a:pt x="2181" y="729"/>
                  <a:pt x="2176" y="729"/>
                </a:cubicBezTo>
                <a:cubicBezTo>
                  <a:pt x="2172" y="731"/>
                  <a:pt x="2169" y="734"/>
                  <a:pt x="2166" y="736"/>
                </a:cubicBezTo>
                <a:cubicBezTo>
                  <a:pt x="2165" y="737"/>
                  <a:pt x="2165" y="738"/>
                  <a:pt x="2165" y="738"/>
                </a:cubicBezTo>
                <a:cubicBezTo>
                  <a:pt x="2166" y="742"/>
                  <a:pt x="2164" y="743"/>
                  <a:pt x="2161" y="743"/>
                </a:cubicBezTo>
                <a:cubicBezTo>
                  <a:pt x="2159" y="744"/>
                  <a:pt x="2157" y="744"/>
                  <a:pt x="2155" y="745"/>
                </a:cubicBezTo>
                <a:cubicBezTo>
                  <a:pt x="2153" y="746"/>
                  <a:pt x="2152" y="747"/>
                  <a:pt x="2152" y="749"/>
                </a:cubicBezTo>
                <a:cubicBezTo>
                  <a:pt x="2151" y="751"/>
                  <a:pt x="2152" y="753"/>
                  <a:pt x="2151" y="755"/>
                </a:cubicBezTo>
                <a:cubicBezTo>
                  <a:pt x="2150" y="761"/>
                  <a:pt x="2152" y="767"/>
                  <a:pt x="2150" y="773"/>
                </a:cubicBezTo>
                <a:cubicBezTo>
                  <a:pt x="2150" y="773"/>
                  <a:pt x="2150" y="774"/>
                  <a:pt x="2150" y="775"/>
                </a:cubicBezTo>
                <a:cubicBezTo>
                  <a:pt x="2151" y="779"/>
                  <a:pt x="2154" y="782"/>
                  <a:pt x="2156" y="786"/>
                </a:cubicBezTo>
                <a:cubicBezTo>
                  <a:pt x="2157" y="788"/>
                  <a:pt x="2159" y="791"/>
                  <a:pt x="2159" y="793"/>
                </a:cubicBezTo>
                <a:cubicBezTo>
                  <a:pt x="2160" y="795"/>
                  <a:pt x="2159" y="797"/>
                  <a:pt x="2158" y="798"/>
                </a:cubicBezTo>
                <a:cubicBezTo>
                  <a:pt x="2157" y="800"/>
                  <a:pt x="2156" y="801"/>
                  <a:pt x="2154" y="803"/>
                </a:cubicBezTo>
                <a:cubicBezTo>
                  <a:pt x="2154" y="804"/>
                  <a:pt x="2154" y="807"/>
                  <a:pt x="2155" y="807"/>
                </a:cubicBezTo>
                <a:cubicBezTo>
                  <a:pt x="2157" y="808"/>
                  <a:pt x="2158" y="808"/>
                  <a:pt x="2160" y="809"/>
                </a:cubicBezTo>
                <a:cubicBezTo>
                  <a:pt x="2162" y="810"/>
                  <a:pt x="2162" y="812"/>
                  <a:pt x="2161" y="813"/>
                </a:cubicBezTo>
                <a:cubicBezTo>
                  <a:pt x="2160" y="815"/>
                  <a:pt x="2158" y="816"/>
                  <a:pt x="2157" y="818"/>
                </a:cubicBezTo>
                <a:cubicBezTo>
                  <a:pt x="2156" y="819"/>
                  <a:pt x="2157" y="823"/>
                  <a:pt x="2158" y="824"/>
                </a:cubicBezTo>
                <a:cubicBezTo>
                  <a:pt x="2164" y="829"/>
                  <a:pt x="2170" y="834"/>
                  <a:pt x="2177" y="836"/>
                </a:cubicBezTo>
                <a:cubicBezTo>
                  <a:pt x="2178" y="836"/>
                  <a:pt x="2180" y="837"/>
                  <a:pt x="2181" y="837"/>
                </a:cubicBezTo>
                <a:cubicBezTo>
                  <a:pt x="2187" y="834"/>
                  <a:pt x="2195" y="833"/>
                  <a:pt x="2199" y="826"/>
                </a:cubicBezTo>
                <a:cubicBezTo>
                  <a:pt x="2201" y="824"/>
                  <a:pt x="2203" y="821"/>
                  <a:pt x="2205" y="819"/>
                </a:cubicBezTo>
                <a:cubicBezTo>
                  <a:pt x="2209" y="816"/>
                  <a:pt x="2215" y="815"/>
                  <a:pt x="2218" y="809"/>
                </a:cubicBezTo>
                <a:cubicBezTo>
                  <a:pt x="2218" y="809"/>
                  <a:pt x="2219" y="809"/>
                  <a:pt x="2219" y="809"/>
                </a:cubicBezTo>
                <a:cubicBezTo>
                  <a:pt x="2221" y="811"/>
                  <a:pt x="2223" y="812"/>
                  <a:pt x="2224" y="814"/>
                </a:cubicBezTo>
                <a:cubicBezTo>
                  <a:pt x="2225" y="817"/>
                  <a:pt x="2225" y="820"/>
                  <a:pt x="2225" y="823"/>
                </a:cubicBezTo>
                <a:cubicBezTo>
                  <a:pt x="2226" y="827"/>
                  <a:pt x="2229" y="830"/>
                  <a:pt x="2229" y="834"/>
                </a:cubicBezTo>
                <a:cubicBezTo>
                  <a:pt x="2230" y="840"/>
                  <a:pt x="2233" y="845"/>
                  <a:pt x="2236" y="851"/>
                </a:cubicBezTo>
                <a:cubicBezTo>
                  <a:pt x="2238" y="855"/>
                  <a:pt x="2241" y="860"/>
                  <a:pt x="2244" y="865"/>
                </a:cubicBezTo>
                <a:cubicBezTo>
                  <a:pt x="2246" y="866"/>
                  <a:pt x="2245" y="868"/>
                  <a:pt x="2244" y="869"/>
                </a:cubicBezTo>
                <a:cubicBezTo>
                  <a:pt x="2244" y="871"/>
                  <a:pt x="2243" y="872"/>
                  <a:pt x="2243" y="873"/>
                </a:cubicBezTo>
                <a:cubicBezTo>
                  <a:pt x="2243" y="873"/>
                  <a:pt x="2243" y="873"/>
                  <a:pt x="2243" y="873"/>
                </a:cubicBezTo>
                <a:cubicBezTo>
                  <a:pt x="2243" y="874"/>
                  <a:pt x="2243" y="874"/>
                  <a:pt x="2243" y="874"/>
                </a:cubicBezTo>
                <a:cubicBezTo>
                  <a:pt x="2244" y="876"/>
                  <a:pt x="2245" y="877"/>
                  <a:pt x="2246" y="878"/>
                </a:cubicBezTo>
                <a:cubicBezTo>
                  <a:pt x="2250" y="889"/>
                  <a:pt x="2252" y="886"/>
                  <a:pt x="2261" y="885"/>
                </a:cubicBezTo>
                <a:cubicBezTo>
                  <a:pt x="2263" y="884"/>
                  <a:pt x="2265" y="883"/>
                  <a:pt x="2265" y="880"/>
                </a:cubicBezTo>
                <a:cubicBezTo>
                  <a:pt x="2266" y="876"/>
                  <a:pt x="2268" y="875"/>
                  <a:pt x="2272" y="874"/>
                </a:cubicBezTo>
                <a:cubicBezTo>
                  <a:pt x="2273" y="874"/>
                  <a:pt x="2275" y="873"/>
                  <a:pt x="2277" y="874"/>
                </a:cubicBezTo>
                <a:cubicBezTo>
                  <a:pt x="2281" y="874"/>
                  <a:pt x="2285" y="873"/>
                  <a:pt x="2288" y="868"/>
                </a:cubicBezTo>
                <a:cubicBezTo>
                  <a:pt x="2295" y="869"/>
                  <a:pt x="2295" y="863"/>
                  <a:pt x="2296" y="859"/>
                </a:cubicBezTo>
                <a:cubicBezTo>
                  <a:pt x="2296" y="858"/>
                  <a:pt x="2296" y="857"/>
                  <a:pt x="2296" y="856"/>
                </a:cubicBezTo>
                <a:cubicBezTo>
                  <a:pt x="2296" y="854"/>
                  <a:pt x="2295" y="853"/>
                  <a:pt x="2293" y="853"/>
                </a:cubicBezTo>
                <a:cubicBezTo>
                  <a:pt x="2292" y="853"/>
                  <a:pt x="2291" y="854"/>
                  <a:pt x="2291" y="853"/>
                </a:cubicBezTo>
                <a:cubicBezTo>
                  <a:pt x="2291" y="853"/>
                  <a:pt x="2290" y="852"/>
                  <a:pt x="2290" y="852"/>
                </a:cubicBezTo>
                <a:cubicBezTo>
                  <a:pt x="2290" y="847"/>
                  <a:pt x="2290" y="841"/>
                  <a:pt x="2292" y="836"/>
                </a:cubicBezTo>
                <a:cubicBezTo>
                  <a:pt x="2293" y="833"/>
                  <a:pt x="2293" y="830"/>
                  <a:pt x="2293" y="828"/>
                </a:cubicBezTo>
                <a:cubicBezTo>
                  <a:pt x="2293" y="823"/>
                  <a:pt x="2296" y="819"/>
                  <a:pt x="2299" y="817"/>
                </a:cubicBezTo>
                <a:cubicBezTo>
                  <a:pt x="2302" y="815"/>
                  <a:pt x="2305" y="814"/>
                  <a:pt x="2307" y="811"/>
                </a:cubicBezTo>
                <a:cubicBezTo>
                  <a:pt x="2310" y="809"/>
                  <a:pt x="2313" y="806"/>
                  <a:pt x="2312" y="801"/>
                </a:cubicBezTo>
                <a:cubicBezTo>
                  <a:pt x="2312" y="799"/>
                  <a:pt x="2313" y="797"/>
                  <a:pt x="2313" y="795"/>
                </a:cubicBezTo>
                <a:cubicBezTo>
                  <a:pt x="2313" y="793"/>
                  <a:pt x="2312" y="792"/>
                  <a:pt x="2311" y="790"/>
                </a:cubicBezTo>
                <a:cubicBezTo>
                  <a:pt x="2308" y="785"/>
                  <a:pt x="2304" y="780"/>
                  <a:pt x="2297" y="777"/>
                </a:cubicBezTo>
                <a:cubicBezTo>
                  <a:pt x="2294" y="775"/>
                  <a:pt x="2293" y="772"/>
                  <a:pt x="2293" y="769"/>
                </a:cubicBezTo>
                <a:cubicBezTo>
                  <a:pt x="2293" y="760"/>
                  <a:pt x="2293" y="751"/>
                  <a:pt x="2293" y="742"/>
                </a:cubicBezTo>
                <a:cubicBezTo>
                  <a:pt x="2293" y="741"/>
                  <a:pt x="2294" y="739"/>
                  <a:pt x="2295" y="738"/>
                </a:cubicBezTo>
                <a:cubicBezTo>
                  <a:pt x="2300" y="730"/>
                  <a:pt x="2305" y="723"/>
                  <a:pt x="2312" y="718"/>
                </a:cubicBezTo>
                <a:cubicBezTo>
                  <a:pt x="2316" y="716"/>
                  <a:pt x="2319" y="713"/>
                  <a:pt x="2322" y="710"/>
                </a:cubicBezTo>
                <a:cubicBezTo>
                  <a:pt x="2328" y="704"/>
                  <a:pt x="2328" y="704"/>
                  <a:pt x="2332" y="695"/>
                </a:cubicBezTo>
                <a:cubicBezTo>
                  <a:pt x="2333" y="692"/>
                  <a:pt x="2333" y="690"/>
                  <a:pt x="2333" y="687"/>
                </a:cubicBezTo>
                <a:cubicBezTo>
                  <a:pt x="2331" y="681"/>
                  <a:pt x="2332" y="673"/>
                  <a:pt x="2335" y="668"/>
                </a:cubicBezTo>
                <a:cubicBezTo>
                  <a:pt x="2338" y="663"/>
                  <a:pt x="2341" y="659"/>
                  <a:pt x="2348" y="660"/>
                </a:cubicBezTo>
                <a:cubicBezTo>
                  <a:pt x="2356" y="659"/>
                  <a:pt x="2363" y="661"/>
                  <a:pt x="2370" y="664"/>
                </a:cubicBezTo>
                <a:cubicBezTo>
                  <a:pt x="2372" y="665"/>
                  <a:pt x="2374" y="670"/>
                  <a:pt x="2372" y="671"/>
                </a:cubicBezTo>
                <a:cubicBezTo>
                  <a:pt x="2369" y="673"/>
                  <a:pt x="2367" y="674"/>
                  <a:pt x="2367" y="677"/>
                </a:cubicBezTo>
                <a:cubicBezTo>
                  <a:pt x="2367" y="679"/>
                  <a:pt x="2366" y="682"/>
                  <a:pt x="2365" y="683"/>
                </a:cubicBezTo>
                <a:cubicBezTo>
                  <a:pt x="2360" y="691"/>
                  <a:pt x="2355" y="699"/>
                  <a:pt x="2349" y="706"/>
                </a:cubicBezTo>
                <a:cubicBezTo>
                  <a:pt x="2347" y="708"/>
                  <a:pt x="2345" y="710"/>
                  <a:pt x="2345" y="713"/>
                </a:cubicBezTo>
                <a:cubicBezTo>
                  <a:pt x="2343" y="717"/>
                  <a:pt x="2341" y="718"/>
                  <a:pt x="2337" y="718"/>
                </a:cubicBezTo>
                <a:cubicBezTo>
                  <a:pt x="2335" y="717"/>
                  <a:pt x="2334" y="719"/>
                  <a:pt x="2334" y="721"/>
                </a:cubicBezTo>
                <a:cubicBezTo>
                  <a:pt x="2334" y="723"/>
                  <a:pt x="2334" y="726"/>
                  <a:pt x="2333" y="729"/>
                </a:cubicBezTo>
                <a:cubicBezTo>
                  <a:pt x="2333" y="731"/>
                  <a:pt x="2333" y="733"/>
                  <a:pt x="2333" y="735"/>
                </a:cubicBezTo>
                <a:cubicBezTo>
                  <a:pt x="2334" y="737"/>
                  <a:pt x="2335" y="739"/>
                  <a:pt x="2335" y="741"/>
                </a:cubicBezTo>
                <a:cubicBezTo>
                  <a:pt x="2337" y="750"/>
                  <a:pt x="2340" y="758"/>
                  <a:pt x="2338" y="767"/>
                </a:cubicBezTo>
                <a:cubicBezTo>
                  <a:pt x="2338" y="769"/>
                  <a:pt x="2339" y="771"/>
                  <a:pt x="2339" y="772"/>
                </a:cubicBezTo>
                <a:cubicBezTo>
                  <a:pt x="2339" y="775"/>
                  <a:pt x="2341" y="777"/>
                  <a:pt x="2343" y="778"/>
                </a:cubicBezTo>
                <a:cubicBezTo>
                  <a:pt x="2345" y="779"/>
                  <a:pt x="2347" y="781"/>
                  <a:pt x="2349" y="782"/>
                </a:cubicBezTo>
                <a:cubicBezTo>
                  <a:pt x="2349" y="782"/>
                  <a:pt x="2349" y="782"/>
                  <a:pt x="2349" y="782"/>
                </a:cubicBezTo>
                <a:cubicBezTo>
                  <a:pt x="2349" y="782"/>
                  <a:pt x="2349" y="781"/>
                  <a:pt x="2349" y="781"/>
                </a:cubicBezTo>
                <a:cubicBezTo>
                  <a:pt x="2350" y="781"/>
                  <a:pt x="2350" y="781"/>
                  <a:pt x="2350" y="781"/>
                </a:cubicBezTo>
                <a:cubicBezTo>
                  <a:pt x="2349" y="782"/>
                  <a:pt x="2349" y="782"/>
                  <a:pt x="2349" y="782"/>
                </a:cubicBezTo>
                <a:cubicBezTo>
                  <a:pt x="2350" y="782"/>
                  <a:pt x="2352" y="784"/>
                  <a:pt x="2353" y="784"/>
                </a:cubicBezTo>
                <a:cubicBezTo>
                  <a:pt x="2357" y="783"/>
                  <a:pt x="2359" y="785"/>
                  <a:pt x="2361" y="788"/>
                </a:cubicBezTo>
                <a:cubicBezTo>
                  <a:pt x="2363" y="791"/>
                  <a:pt x="2366" y="791"/>
                  <a:pt x="2369" y="790"/>
                </a:cubicBezTo>
                <a:cubicBezTo>
                  <a:pt x="2373" y="789"/>
                  <a:pt x="2376" y="788"/>
                  <a:pt x="2379" y="787"/>
                </a:cubicBezTo>
                <a:cubicBezTo>
                  <a:pt x="2388" y="782"/>
                  <a:pt x="2399" y="779"/>
                  <a:pt x="2410" y="779"/>
                </a:cubicBezTo>
                <a:cubicBezTo>
                  <a:pt x="2414" y="779"/>
                  <a:pt x="2418" y="778"/>
                  <a:pt x="2421" y="778"/>
                </a:cubicBezTo>
                <a:cubicBezTo>
                  <a:pt x="2422" y="778"/>
                  <a:pt x="2424" y="778"/>
                  <a:pt x="2424" y="778"/>
                </a:cubicBezTo>
                <a:cubicBezTo>
                  <a:pt x="2426" y="783"/>
                  <a:pt x="2432" y="782"/>
                  <a:pt x="2435" y="785"/>
                </a:cubicBezTo>
                <a:cubicBezTo>
                  <a:pt x="2436" y="785"/>
                  <a:pt x="2436" y="785"/>
                  <a:pt x="2437" y="785"/>
                </a:cubicBezTo>
                <a:cubicBezTo>
                  <a:pt x="2437" y="786"/>
                  <a:pt x="2437" y="787"/>
                  <a:pt x="2437" y="787"/>
                </a:cubicBezTo>
                <a:cubicBezTo>
                  <a:pt x="2435" y="788"/>
                  <a:pt x="2433" y="789"/>
                  <a:pt x="2431" y="790"/>
                </a:cubicBezTo>
                <a:cubicBezTo>
                  <a:pt x="2428" y="791"/>
                  <a:pt x="2425" y="792"/>
                  <a:pt x="2423" y="795"/>
                </a:cubicBezTo>
                <a:cubicBezTo>
                  <a:pt x="2419" y="801"/>
                  <a:pt x="2415" y="801"/>
                  <a:pt x="2409" y="799"/>
                </a:cubicBezTo>
                <a:cubicBezTo>
                  <a:pt x="2406" y="798"/>
                  <a:pt x="2402" y="797"/>
                  <a:pt x="2398" y="796"/>
                </a:cubicBezTo>
                <a:cubicBezTo>
                  <a:pt x="2396" y="796"/>
                  <a:pt x="2395" y="796"/>
                  <a:pt x="2393" y="796"/>
                </a:cubicBezTo>
                <a:cubicBezTo>
                  <a:pt x="2388" y="798"/>
                  <a:pt x="2383" y="800"/>
                  <a:pt x="2378" y="801"/>
                </a:cubicBezTo>
                <a:cubicBezTo>
                  <a:pt x="2372" y="804"/>
                  <a:pt x="2368" y="807"/>
                  <a:pt x="2368" y="813"/>
                </a:cubicBezTo>
                <a:cubicBezTo>
                  <a:pt x="2368" y="817"/>
                  <a:pt x="2366" y="818"/>
                  <a:pt x="2363" y="819"/>
                </a:cubicBezTo>
                <a:cubicBezTo>
                  <a:pt x="2361" y="820"/>
                  <a:pt x="2359" y="820"/>
                  <a:pt x="2357" y="821"/>
                </a:cubicBezTo>
                <a:cubicBezTo>
                  <a:pt x="2352" y="822"/>
                  <a:pt x="2352" y="825"/>
                  <a:pt x="2355" y="830"/>
                </a:cubicBezTo>
                <a:cubicBezTo>
                  <a:pt x="2355" y="830"/>
                  <a:pt x="2355" y="830"/>
                  <a:pt x="2355" y="831"/>
                </a:cubicBezTo>
                <a:cubicBezTo>
                  <a:pt x="2360" y="831"/>
                  <a:pt x="2363" y="827"/>
                  <a:pt x="2367" y="825"/>
                </a:cubicBezTo>
                <a:cubicBezTo>
                  <a:pt x="2369" y="823"/>
                  <a:pt x="2370" y="823"/>
                  <a:pt x="2373" y="825"/>
                </a:cubicBezTo>
                <a:cubicBezTo>
                  <a:pt x="2374" y="826"/>
                  <a:pt x="2376" y="828"/>
                  <a:pt x="2378" y="829"/>
                </a:cubicBezTo>
                <a:cubicBezTo>
                  <a:pt x="2379" y="829"/>
                  <a:pt x="2381" y="831"/>
                  <a:pt x="2381" y="832"/>
                </a:cubicBezTo>
                <a:cubicBezTo>
                  <a:pt x="2381" y="837"/>
                  <a:pt x="2381" y="841"/>
                  <a:pt x="2381" y="845"/>
                </a:cubicBezTo>
                <a:cubicBezTo>
                  <a:pt x="2381" y="848"/>
                  <a:pt x="2379" y="849"/>
                  <a:pt x="2377" y="850"/>
                </a:cubicBezTo>
                <a:cubicBezTo>
                  <a:pt x="2376" y="850"/>
                  <a:pt x="2373" y="850"/>
                  <a:pt x="2372" y="849"/>
                </a:cubicBezTo>
                <a:cubicBezTo>
                  <a:pt x="2370" y="847"/>
                  <a:pt x="2368" y="844"/>
                  <a:pt x="2366" y="841"/>
                </a:cubicBezTo>
                <a:cubicBezTo>
                  <a:pt x="2363" y="839"/>
                  <a:pt x="2362" y="838"/>
                  <a:pt x="2359" y="839"/>
                </a:cubicBezTo>
                <a:cubicBezTo>
                  <a:pt x="2354" y="841"/>
                  <a:pt x="2351" y="843"/>
                  <a:pt x="2349" y="848"/>
                </a:cubicBezTo>
                <a:cubicBezTo>
                  <a:pt x="2348" y="851"/>
                  <a:pt x="2347" y="854"/>
                  <a:pt x="2346" y="857"/>
                </a:cubicBezTo>
                <a:cubicBezTo>
                  <a:pt x="2344" y="861"/>
                  <a:pt x="2344" y="865"/>
                  <a:pt x="2345" y="870"/>
                </a:cubicBezTo>
                <a:cubicBezTo>
                  <a:pt x="2346" y="875"/>
                  <a:pt x="2347" y="881"/>
                  <a:pt x="2347" y="886"/>
                </a:cubicBezTo>
                <a:cubicBezTo>
                  <a:pt x="2348" y="887"/>
                  <a:pt x="2347" y="888"/>
                  <a:pt x="2346" y="889"/>
                </a:cubicBezTo>
                <a:cubicBezTo>
                  <a:pt x="2343" y="890"/>
                  <a:pt x="2341" y="891"/>
                  <a:pt x="2338" y="892"/>
                </a:cubicBezTo>
                <a:cubicBezTo>
                  <a:pt x="2335" y="893"/>
                  <a:pt x="2334" y="895"/>
                  <a:pt x="2334" y="898"/>
                </a:cubicBezTo>
                <a:cubicBezTo>
                  <a:pt x="2333" y="903"/>
                  <a:pt x="2323" y="904"/>
                  <a:pt x="2320" y="900"/>
                </a:cubicBezTo>
                <a:cubicBezTo>
                  <a:pt x="2319" y="899"/>
                  <a:pt x="2319" y="898"/>
                  <a:pt x="2318" y="897"/>
                </a:cubicBezTo>
                <a:cubicBezTo>
                  <a:pt x="2317" y="894"/>
                  <a:pt x="2314" y="893"/>
                  <a:pt x="2312" y="894"/>
                </a:cubicBezTo>
                <a:cubicBezTo>
                  <a:pt x="2306" y="894"/>
                  <a:pt x="2301" y="896"/>
                  <a:pt x="2296" y="899"/>
                </a:cubicBezTo>
                <a:cubicBezTo>
                  <a:pt x="2289" y="903"/>
                  <a:pt x="2283" y="907"/>
                  <a:pt x="2276" y="910"/>
                </a:cubicBezTo>
                <a:cubicBezTo>
                  <a:pt x="2274" y="911"/>
                  <a:pt x="2272" y="914"/>
                  <a:pt x="2270" y="915"/>
                </a:cubicBezTo>
                <a:cubicBezTo>
                  <a:pt x="2269" y="916"/>
                  <a:pt x="2266" y="916"/>
                  <a:pt x="2265" y="916"/>
                </a:cubicBezTo>
                <a:cubicBezTo>
                  <a:pt x="2263" y="913"/>
                  <a:pt x="2260" y="911"/>
                  <a:pt x="2258" y="908"/>
                </a:cubicBezTo>
                <a:cubicBezTo>
                  <a:pt x="2257" y="906"/>
                  <a:pt x="2258" y="904"/>
                  <a:pt x="2257" y="903"/>
                </a:cubicBezTo>
                <a:cubicBezTo>
                  <a:pt x="2257" y="901"/>
                  <a:pt x="2255" y="900"/>
                  <a:pt x="2254" y="901"/>
                </a:cubicBezTo>
                <a:cubicBezTo>
                  <a:pt x="2251" y="903"/>
                  <a:pt x="2249" y="905"/>
                  <a:pt x="2245" y="905"/>
                </a:cubicBezTo>
                <a:cubicBezTo>
                  <a:pt x="2240" y="906"/>
                  <a:pt x="2236" y="909"/>
                  <a:pt x="2232" y="912"/>
                </a:cubicBezTo>
                <a:cubicBezTo>
                  <a:pt x="2231" y="912"/>
                  <a:pt x="2229" y="912"/>
                  <a:pt x="2229" y="911"/>
                </a:cubicBezTo>
                <a:cubicBezTo>
                  <a:pt x="2227" y="909"/>
                  <a:pt x="2225" y="907"/>
                  <a:pt x="2222" y="906"/>
                </a:cubicBezTo>
                <a:cubicBezTo>
                  <a:pt x="2220" y="905"/>
                  <a:pt x="2217" y="905"/>
                  <a:pt x="2215" y="904"/>
                </a:cubicBezTo>
                <a:cubicBezTo>
                  <a:pt x="2213" y="902"/>
                  <a:pt x="2212" y="899"/>
                  <a:pt x="2211" y="896"/>
                </a:cubicBezTo>
                <a:cubicBezTo>
                  <a:pt x="2211" y="895"/>
                  <a:pt x="2212" y="894"/>
                  <a:pt x="2212" y="893"/>
                </a:cubicBezTo>
                <a:cubicBezTo>
                  <a:pt x="2212" y="893"/>
                  <a:pt x="2213" y="893"/>
                  <a:pt x="2213" y="893"/>
                </a:cubicBezTo>
                <a:cubicBezTo>
                  <a:pt x="2218" y="895"/>
                  <a:pt x="2223" y="896"/>
                  <a:pt x="2227" y="899"/>
                </a:cubicBezTo>
                <a:cubicBezTo>
                  <a:pt x="2231" y="903"/>
                  <a:pt x="2236" y="901"/>
                  <a:pt x="2239" y="896"/>
                </a:cubicBezTo>
                <a:cubicBezTo>
                  <a:pt x="2243" y="889"/>
                  <a:pt x="2244" y="882"/>
                  <a:pt x="2243" y="874"/>
                </a:cubicBezTo>
                <a:cubicBezTo>
                  <a:pt x="2243" y="874"/>
                  <a:pt x="2243" y="874"/>
                  <a:pt x="2243" y="874"/>
                </a:cubicBezTo>
                <a:cubicBezTo>
                  <a:pt x="2243" y="874"/>
                  <a:pt x="2243" y="874"/>
                  <a:pt x="2243" y="873"/>
                </a:cubicBezTo>
                <a:cubicBezTo>
                  <a:pt x="2237" y="873"/>
                  <a:pt x="2233" y="876"/>
                  <a:pt x="2229" y="880"/>
                </a:cubicBezTo>
                <a:cubicBezTo>
                  <a:pt x="2227" y="881"/>
                  <a:pt x="2227" y="884"/>
                  <a:pt x="2228" y="886"/>
                </a:cubicBezTo>
                <a:cubicBezTo>
                  <a:pt x="2229" y="888"/>
                  <a:pt x="2231" y="889"/>
                  <a:pt x="2232" y="891"/>
                </a:cubicBezTo>
                <a:cubicBezTo>
                  <a:pt x="2232" y="892"/>
                  <a:pt x="2232" y="894"/>
                  <a:pt x="2231" y="894"/>
                </a:cubicBezTo>
                <a:cubicBezTo>
                  <a:pt x="2231" y="894"/>
                  <a:pt x="2229" y="894"/>
                  <a:pt x="2228" y="894"/>
                </a:cubicBezTo>
                <a:cubicBezTo>
                  <a:pt x="2228" y="894"/>
                  <a:pt x="2227" y="893"/>
                  <a:pt x="2227" y="893"/>
                </a:cubicBezTo>
                <a:cubicBezTo>
                  <a:pt x="2223" y="890"/>
                  <a:pt x="2222" y="884"/>
                  <a:pt x="2217" y="882"/>
                </a:cubicBezTo>
                <a:cubicBezTo>
                  <a:pt x="2217" y="882"/>
                  <a:pt x="2217" y="880"/>
                  <a:pt x="2217" y="879"/>
                </a:cubicBezTo>
                <a:cubicBezTo>
                  <a:pt x="2217" y="875"/>
                  <a:pt x="2219" y="872"/>
                  <a:pt x="2223" y="871"/>
                </a:cubicBezTo>
                <a:cubicBezTo>
                  <a:pt x="2224" y="870"/>
                  <a:pt x="2224" y="869"/>
                  <a:pt x="2224" y="868"/>
                </a:cubicBezTo>
                <a:cubicBezTo>
                  <a:pt x="2223" y="867"/>
                  <a:pt x="2223" y="867"/>
                  <a:pt x="2222" y="867"/>
                </a:cubicBezTo>
                <a:cubicBezTo>
                  <a:pt x="2217" y="864"/>
                  <a:pt x="2216" y="860"/>
                  <a:pt x="2218" y="854"/>
                </a:cubicBezTo>
                <a:cubicBezTo>
                  <a:pt x="2219" y="852"/>
                  <a:pt x="2220" y="849"/>
                  <a:pt x="2219" y="846"/>
                </a:cubicBezTo>
                <a:cubicBezTo>
                  <a:pt x="2219" y="845"/>
                  <a:pt x="2217" y="843"/>
                  <a:pt x="2216" y="843"/>
                </a:cubicBezTo>
                <a:cubicBezTo>
                  <a:pt x="2215" y="844"/>
                  <a:pt x="2214" y="844"/>
                  <a:pt x="2213" y="844"/>
                </a:cubicBezTo>
                <a:cubicBezTo>
                  <a:pt x="2207" y="848"/>
                  <a:pt x="2202" y="854"/>
                  <a:pt x="2195" y="856"/>
                </a:cubicBezTo>
                <a:cubicBezTo>
                  <a:pt x="2194" y="856"/>
                  <a:pt x="2194" y="858"/>
                  <a:pt x="2194" y="859"/>
                </a:cubicBezTo>
                <a:cubicBezTo>
                  <a:pt x="2194" y="865"/>
                  <a:pt x="2189" y="871"/>
                  <a:pt x="2192" y="878"/>
                </a:cubicBezTo>
                <a:cubicBezTo>
                  <a:pt x="2192" y="878"/>
                  <a:pt x="2191" y="880"/>
                  <a:pt x="2191" y="881"/>
                </a:cubicBezTo>
                <a:cubicBezTo>
                  <a:pt x="2190" y="883"/>
                  <a:pt x="2191" y="885"/>
                  <a:pt x="2192" y="887"/>
                </a:cubicBezTo>
                <a:cubicBezTo>
                  <a:pt x="2193" y="888"/>
                  <a:pt x="2195" y="889"/>
                  <a:pt x="2195" y="891"/>
                </a:cubicBezTo>
                <a:cubicBezTo>
                  <a:pt x="2197" y="898"/>
                  <a:pt x="2199" y="904"/>
                  <a:pt x="2200" y="911"/>
                </a:cubicBezTo>
                <a:cubicBezTo>
                  <a:pt x="2200" y="915"/>
                  <a:pt x="2195" y="921"/>
                  <a:pt x="2191" y="920"/>
                </a:cubicBezTo>
                <a:cubicBezTo>
                  <a:pt x="2187" y="919"/>
                  <a:pt x="2183" y="919"/>
                  <a:pt x="2179" y="921"/>
                </a:cubicBezTo>
                <a:cubicBezTo>
                  <a:pt x="2175" y="923"/>
                  <a:pt x="2172" y="925"/>
                  <a:pt x="2168" y="925"/>
                </a:cubicBezTo>
                <a:cubicBezTo>
                  <a:pt x="2163" y="926"/>
                  <a:pt x="2159" y="929"/>
                  <a:pt x="2154" y="931"/>
                </a:cubicBezTo>
                <a:cubicBezTo>
                  <a:pt x="2150" y="933"/>
                  <a:pt x="2148" y="936"/>
                  <a:pt x="2146" y="941"/>
                </a:cubicBezTo>
                <a:cubicBezTo>
                  <a:pt x="2142" y="956"/>
                  <a:pt x="2142" y="956"/>
                  <a:pt x="2130" y="965"/>
                </a:cubicBezTo>
                <a:cubicBezTo>
                  <a:pt x="2128" y="967"/>
                  <a:pt x="2125" y="968"/>
                  <a:pt x="2122" y="970"/>
                </a:cubicBezTo>
                <a:cubicBezTo>
                  <a:pt x="2121" y="971"/>
                  <a:pt x="2119" y="972"/>
                  <a:pt x="2119" y="973"/>
                </a:cubicBezTo>
                <a:cubicBezTo>
                  <a:pt x="2118" y="975"/>
                  <a:pt x="2118" y="978"/>
                  <a:pt x="2117" y="980"/>
                </a:cubicBezTo>
                <a:cubicBezTo>
                  <a:pt x="2116" y="983"/>
                  <a:pt x="2114" y="985"/>
                  <a:pt x="2110" y="986"/>
                </a:cubicBezTo>
                <a:cubicBezTo>
                  <a:pt x="2109" y="987"/>
                  <a:pt x="2107" y="987"/>
                  <a:pt x="2106" y="988"/>
                </a:cubicBezTo>
                <a:cubicBezTo>
                  <a:pt x="2103" y="989"/>
                  <a:pt x="2101" y="990"/>
                  <a:pt x="2100" y="993"/>
                </a:cubicBezTo>
                <a:cubicBezTo>
                  <a:pt x="2098" y="996"/>
                  <a:pt x="2094" y="997"/>
                  <a:pt x="2091" y="996"/>
                </a:cubicBezTo>
                <a:cubicBezTo>
                  <a:pt x="2088" y="996"/>
                  <a:pt x="2086" y="995"/>
                  <a:pt x="2084" y="993"/>
                </a:cubicBezTo>
                <a:cubicBezTo>
                  <a:pt x="2083" y="992"/>
                  <a:pt x="2081" y="992"/>
                  <a:pt x="2079" y="992"/>
                </a:cubicBezTo>
                <a:cubicBezTo>
                  <a:pt x="2078" y="992"/>
                  <a:pt x="2076" y="994"/>
                  <a:pt x="2076" y="995"/>
                </a:cubicBezTo>
                <a:cubicBezTo>
                  <a:pt x="2077" y="998"/>
                  <a:pt x="2077" y="1001"/>
                  <a:pt x="2078" y="1004"/>
                </a:cubicBezTo>
                <a:cubicBezTo>
                  <a:pt x="2079" y="1007"/>
                  <a:pt x="2077" y="1009"/>
                  <a:pt x="2074" y="1009"/>
                </a:cubicBezTo>
                <a:cubicBezTo>
                  <a:pt x="2070" y="1009"/>
                  <a:pt x="2067" y="1009"/>
                  <a:pt x="2063" y="1007"/>
                </a:cubicBezTo>
                <a:cubicBezTo>
                  <a:pt x="2061" y="1006"/>
                  <a:pt x="2059" y="1006"/>
                  <a:pt x="2057" y="1006"/>
                </a:cubicBezTo>
                <a:cubicBezTo>
                  <a:pt x="2052" y="1007"/>
                  <a:pt x="2048" y="1009"/>
                  <a:pt x="2044" y="1010"/>
                </a:cubicBezTo>
                <a:cubicBezTo>
                  <a:pt x="2043" y="1010"/>
                  <a:pt x="2041" y="1013"/>
                  <a:pt x="2042" y="1014"/>
                </a:cubicBezTo>
                <a:cubicBezTo>
                  <a:pt x="2043" y="1019"/>
                  <a:pt x="2043" y="1025"/>
                  <a:pt x="2051" y="1025"/>
                </a:cubicBezTo>
                <a:cubicBezTo>
                  <a:pt x="2054" y="1025"/>
                  <a:pt x="2057" y="1028"/>
                  <a:pt x="2060" y="1029"/>
                </a:cubicBezTo>
                <a:cubicBezTo>
                  <a:pt x="2065" y="1030"/>
                  <a:pt x="2069" y="1033"/>
                  <a:pt x="2071" y="1038"/>
                </a:cubicBezTo>
                <a:cubicBezTo>
                  <a:pt x="2072" y="1043"/>
                  <a:pt x="2075" y="1047"/>
                  <a:pt x="2080" y="1049"/>
                </a:cubicBezTo>
                <a:cubicBezTo>
                  <a:pt x="2083" y="1051"/>
                  <a:pt x="2084" y="1054"/>
                  <a:pt x="2084" y="1058"/>
                </a:cubicBezTo>
                <a:cubicBezTo>
                  <a:pt x="2083" y="1067"/>
                  <a:pt x="2083" y="1075"/>
                  <a:pt x="2082" y="1084"/>
                </a:cubicBezTo>
                <a:cubicBezTo>
                  <a:pt x="2082" y="1087"/>
                  <a:pt x="2081" y="1090"/>
                  <a:pt x="2080" y="1094"/>
                </a:cubicBezTo>
                <a:cubicBezTo>
                  <a:pt x="2079" y="1096"/>
                  <a:pt x="2075" y="1099"/>
                  <a:pt x="2072" y="1098"/>
                </a:cubicBezTo>
                <a:cubicBezTo>
                  <a:pt x="2066" y="1096"/>
                  <a:pt x="2060" y="1099"/>
                  <a:pt x="2054" y="1096"/>
                </a:cubicBezTo>
                <a:cubicBezTo>
                  <a:pt x="2053" y="1095"/>
                  <a:pt x="2051" y="1095"/>
                  <a:pt x="2049" y="1096"/>
                </a:cubicBezTo>
                <a:cubicBezTo>
                  <a:pt x="2044" y="1098"/>
                  <a:pt x="2038" y="1097"/>
                  <a:pt x="2033" y="1095"/>
                </a:cubicBezTo>
                <a:cubicBezTo>
                  <a:pt x="2027" y="1094"/>
                  <a:pt x="2021" y="1092"/>
                  <a:pt x="2015" y="1094"/>
                </a:cubicBezTo>
                <a:cubicBezTo>
                  <a:pt x="2014" y="1094"/>
                  <a:pt x="2012" y="1094"/>
                  <a:pt x="2010" y="1094"/>
                </a:cubicBezTo>
                <a:cubicBezTo>
                  <a:pt x="2004" y="1091"/>
                  <a:pt x="1998" y="1091"/>
                  <a:pt x="1993" y="1097"/>
                </a:cubicBezTo>
                <a:cubicBezTo>
                  <a:pt x="1992" y="1099"/>
                  <a:pt x="1990" y="1099"/>
                  <a:pt x="1988" y="1099"/>
                </a:cubicBezTo>
                <a:cubicBezTo>
                  <a:pt x="1987" y="1100"/>
                  <a:pt x="1986" y="1100"/>
                  <a:pt x="1985" y="1100"/>
                </a:cubicBezTo>
                <a:cubicBezTo>
                  <a:pt x="1983" y="1101"/>
                  <a:pt x="1982" y="1104"/>
                  <a:pt x="1983" y="1106"/>
                </a:cubicBezTo>
                <a:cubicBezTo>
                  <a:pt x="1986" y="1111"/>
                  <a:pt x="1987" y="1117"/>
                  <a:pt x="1986" y="1123"/>
                </a:cubicBezTo>
                <a:cubicBezTo>
                  <a:pt x="1986" y="1124"/>
                  <a:pt x="1986" y="1124"/>
                  <a:pt x="1986" y="1125"/>
                </a:cubicBezTo>
                <a:cubicBezTo>
                  <a:pt x="1989" y="1137"/>
                  <a:pt x="1987" y="1149"/>
                  <a:pt x="1981" y="1160"/>
                </a:cubicBezTo>
                <a:cubicBezTo>
                  <a:pt x="1980" y="1163"/>
                  <a:pt x="1979" y="1166"/>
                  <a:pt x="1978" y="1169"/>
                </a:cubicBezTo>
                <a:cubicBezTo>
                  <a:pt x="1977" y="1171"/>
                  <a:pt x="1977" y="1174"/>
                  <a:pt x="1978" y="1176"/>
                </a:cubicBezTo>
                <a:cubicBezTo>
                  <a:pt x="1983" y="1181"/>
                  <a:pt x="1985" y="1188"/>
                  <a:pt x="1985" y="1195"/>
                </a:cubicBezTo>
                <a:cubicBezTo>
                  <a:pt x="1985" y="1196"/>
                  <a:pt x="1985" y="1197"/>
                  <a:pt x="1985" y="1198"/>
                </a:cubicBezTo>
                <a:cubicBezTo>
                  <a:pt x="1985" y="1199"/>
                  <a:pt x="1986" y="1201"/>
                  <a:pt x="1987" y="1201"/>
                </a:cubicBezTo>
                <a:cubicBezTo>
                  <a:pt x="1991" y="1202"/>
                  <a:pt x="1995" y="1204"/>
                  <a:pt x="2000" y="1203"/>
                </a:cubicBezTo>
                <a:cubicBezTo>
                  <a:pt x="2002" y="1203"/>
                  <a:pt x="2004" y="1202"/>
                  <a:pt x="2006" y="1202"/>
                </a:cubicBezTo>
                <a:cubicBezTo>
                  <a:pt x="2009" y="1202"/>
                  <a:pt x="2012" y="1203"/>
                  <a:pt x="2013" y="1206"/>
                </a:cubicBezTo>
                <a:cubicBezTo>
                  <a:pt x="2016" y="1209"/>
                  <a:pt x="2017" y="1212"/>
                  <a:pt x="2020" y="1215"/>
                </a:cubicBezTo>
                <a:cubicBezTo>
                  <a:pt x="2022" y="1219"/>
                  <a:pt x="2027" y="1220"/>
                  <a:pt x="2030" y="1218"/>
                </a:cubicBezTo>
                <a:cubicBezTo>
                  <a:pt x="2032" y="1217"/>
                  <a:pt x="2035" y="1215"/>
                  <a:pt x="2037" y="1214"/>
                </a:cubicBezTo>
                <a:cubicBezTo>
                  <a:pt x="2043" y="1210"/>
                  <a:pt x="2049" y="1208"/>
                  <a:pt x="2056" y="1209"/>
                </a:cubicBezTo>
                <a:cubicBezTo>
                  <a:pt x="2060" y="1209"/>
                  <a:pt x="2065" y="1208"/>
                  <a:pt x="2070" y="1208"/>
                </a:cubicBezTo>
                <a:cubicBezTo>
                  <a:pt x="2073" y="1208"/>
                  <a:pt x="2076" y="1206"/>
                  <a:pt x="2077" y="1204"/>
                </a:cubicBezTo>
                <a:cubicBezTo>
                  <a:pt x="2079" y="1201"/>
                  <a:pt x="2082" y="1199"/>
                  <a:pt x="2085" y="1198"/>
                </a:cubicBezTo>
                <a:cubicBezTo>
                  <a:pt x="2088" y="1197"/>
                  <a:pt x="2091" y="1195"/>
                  <a:pt x="2092" y="1192"/>
                </a:cubicBezTo>
                <a:cubicBezTo>
                  <a:pt x="2093" y="1187"/>
                  <a:pt x="2096" y="1183"/>
                  <a:pt x="2099" y="1179"/>
                </a:cubicBezTo>
                <a:cubicBezTo>
                  <a:pt x="2101" y="1177"/>
                  <a:pt x="2102" y="1175"/>
                  <a:pt x="2100" y="1173"/>
                </a:cubicBezTo>
                <a:cubicBezTo>
                  <a:pt x="2094" y="1165"/>
                  <a:pt x="2097" y="1159"/>
                  <a:pt x="2103" y="1153"/>
                </a:cubicBezTo>
                <a:cubicBezTo>
                  <a:pt x="2105" y="1151"/>
                  <a:pt x="2106" y="1149"/>
                  <a:pt x="2107" y="1148"/>
                </a:cubicBezTo>
                <a:cubicBezTo>
                  <a:pt x="2112" y="1143"/>
                  <a:pt x="2115" y="1137"/>
                  <a:pt x="2123" y="1137"/>
                </a:cubicBezTo>
                <a:cubicBezTo>
                  <a:pt x="2130" y="1133"/>
                  <a:pt x="2136" y="1129"/>
                  <a:pt x="2136" y="1120"/>
                </a:cubicBezTo>
                <a:cubicBezTo>
                  <a:pt x="2136" y="1116"/>
                  <a:pt x="2137" y="1113"/>
                  <a:pt x="2137" y="1110"/>
                </a:cubicBezTo>
                <a:cubicBezTo>
                  <a:pt x="2137" y="1108"/>
                  <a:pt x="2138" y="1107"/>
                  <a:pt x="2138" y="1105"/>
                </a:cubicBezTo>
                <a:cubicBezTo>
                  <a:pt x="2139" y="1101"/>
                  <a:pt x="2144" y="1098"/>
                  <a:pt x="2148" y="1098"/>
                </a:cubicBezTo>
                <a:cubicBezTo>
                  <a:pt x="2156" y="1100"/>
                  <a:pt x="2164" y="1100"/>
                  <a:pt x="2170" y="1104"/>
                </a:cubicBezTo>
                <a:cubicBezTo>
                  <a:pt x="2173" y="1107"/>
                  <a:pt x="2177" y="1106"/>
                  <a:pt x="2179" y="1103"/>
                </a:cubicBezTo>
                <a:cubicBezTo>
                  <a:pt x="2183" y="1098"/>
                  <a:pt x="2188" y="1094"/>
                  <a:pt x="2195" y="1092"/>
                </a:cubicBezTo>
                <a:cubicBezTo>
                  <a:pt x="2197" y="1091"/>
                  <a:pt x="2199" y="1089"/>
                  <a:pt x="2200" y="1088"/>
                </a:cubicBezTo>
                <a:cubicBezTo>
                  <a:pt x="2204" y="1083"/>
                  <a:pt x="2208" y="1083"/>
                  <a:pt x="2213" y="1085"/>
                </a:cubicBezTo>
                <a:cubicBezTo>
                  <a:pt x="2218" y="1087"/>
                  <a:pt x="2222" y="1089"/>
                  <a:pt x="2224" y="1094"/>
                </a:cubicBezTo>
                <a:cubicBezTo>
                  <a:pt x="2226" y="1098"/>
                  <a:pt x="2228" y="1102"/>
                  <a:pt x="2230" y="1106"/>
                </a:cubicBezTo>
                <a:cubicBezTo>
                  <a:pt x="2237" y="1112"/>
                  <a:pt x="2244" y="1118"/>
                  <a:pt x="2250" y="1125"/>
                </a:cubicBezTo>
                <a:cubicBezTo>
                  <a:pt x="2254" y="1130"/>
                  <a:pt x="2260" y="1134"/>
                  <a:pt x="2266" y="1136"/>
                </a:cubicBezTo>
                <a:cubicBezTo>
                  <a:pt x="2274" y="1137"/>
                  <a:pt x="2279" y="1143"/>
                  <a:pt x="2286" y="1147"/>
                </a:cubicBezTo>
                <a:cubicBezTo>
                  <a:pt x="2288" y="1151"/>
                  <a:pt x="2292" y="1154"/>
                  <a:pt x="2295" y="1156"/>
                </a:cubicBezTo>
                <a:cubicBezTo>
                  <a:pt x="2297" y="1157"/>
                  <a:pt x="2298" y="1158"/>
                  <a:pt x="2299" y="1159"/>
                </a:cubicBezTo>
                <a:cubicBezTo>
                  <a:pt x="2301" y="1163"/>
                  <a:pt x="2302" y="1167"/>
                  <a:pt x="2303" y="1172"/>
                </a:cubicBezTo>
                <a:cubicBezTo>
                  <a:pt x="2304" y="1173"/>
                  <a:pt x="2304" y="1174"/>
                  <a:pt x="2303" y="1175"/>
                </a:cubicBezTo>
                <a:cubicBezTo>
                  <a:pt x="2302" y="1179"/>
                  <a:pt x="2300" y="1184"/>
                  <a:pt x="2294" y="1185"/>
                </a:cubicBezTo>
                <a:cubicBezTo>
                  <a:pt x="2284" y="1187"/>
                  <a:pt x="2275" y="1189"/>
                  <a:pt x="2265" y="1188"/>
                </a:cubicBezTo>
                <a:cubicBezTo>
                  <a:pt x="2263" y="1187"/>
                  <a:pt x="2261" y="1188"/>
                  <a:pt x="2260" y="1189"/>
                </a:cubicBezTo>
                <a:cubicBezTo>
                  <a:pt x="2259" y="1189"/>
                  <a:pt x="2258" y="1190"/>
                  <a:pt x="2258" y="1191"/>
                </a:cubicBezTo>
                <a:cubicBezTo>
                  <a:pt x="2258" y="1192"/>
                  <a:pt x="2258" y="1194"/>
                  <a:pt x="2259" y="1194"/>
                </a:cubicBezTo>
                <a:cubicBezTo>
                  <a:pt x="2262" y="1197"/>
                  <a:pt x="2265" y="1198"/>
                  <a:pt x="2269" y="1200"/>
                </a:cubicBezTo>
                <a:cubicBezTo>
                  <a:pt x="2276" y="1204"/>
                  <a:pt x="2282" y="1207"/>
                  <a:pt x="2289" y="1211"/>
                </a:cubicBezTo>
                <a:cubicBezTo>
                  <a:pt x="2290" y="1211"/>
                  <a:pt x="2293" y="1210"/>
                  <a:pt x="2293" y="1209"/>
                </a:cubicBezTo>
                <a:cubicBezTo>
                  <a:pt x="2294" y="1207"/>
                  <a:pt x="2295" y="1205"/>
                  <a:pt x="2295" y="1204"/>
                </a:cubicBezTo>
                <a:cubicBezTo>
                  <a:pt x="2295" y="1202"/>
                  <a:pt x="2294" y="1200"/>
                  <a:pt x="2294" y="1197"/>
                </a:cubicBezTo>
                <a:cubicBezTo>
                  <a:pt x="2294" y="1194"/>
                  <a:pt x="2297" y="1191"/>
                  <a:pt x="2300" y="1192"/>
                </a:cubicBezTo>
                <a:cubicBezTo>
                  <a:pt x="2304" y="1192"/>
                  <a:pt x="2307" y="1191"/>
                  <a:pt x="2309" y="1187"/>
                </a:cubicBezTo>
                <a:cubicBezTo>
                  <a:pt x="2311" y="1183"/>
                  <a:pt x="2314" y="1178"/>
                  <a:pt x="2316" y="1173"/>
                </a:cubicBezTo>
                <a:cubicBezTo>
                  <a:pt x="2318" y="1170"/>
                  <a:pt x="2318" y="1167"/>
                  <a:pt x="2316" y="1164"/>
                </a:cubicBezTo>
                <a:cubicBezTo>
                  <a:pt x="2315" y="1162"/>
                  <a:pt x="2314" y="1161"/>
                  <a:pt x="2313" y="1159"/>
                </a:cubicBezTo>
                <a:cubicBezTo>
                  <a:pt x="2313" y="1157"/>
                  <a:pt x="2313" y="1155"/>
                  <a:pt x="2314" y="1153"/>
                </a:cubicBezTo>
                <a:cubicBezTo>
                  <a:pt x="2315" y="1150"/>
                  <a:pt x="2319" y="1148"/>
                  <a:pt x="2322" y="1150"/>
                </a:cubicBezTo>
                <a:cubicBezTo>
                  <a:pt x="2324" y="1152"/>
                  <a:pt x="2327" y="1154"/>
                  <a:pt x="2329" y="1156"/>
                </a:cubicBezTo>
                <a:cubicBezTo>
                  <a:pt x="2330" y="1157"/>
                  <a:pt x="2332" y="1156"/>
                  <a:pt x="2332" y="1155"/>
                </a:cubicBezTo>
                <a:cubicBezTo>
                  <a:pt x="2334" y="1152"/>
                  <a:pt x="2334" y="1148"/>
                  <a:pt x="2332" y="1146"/>
                </a:cubicBezTo>
                <a:cubicBezTo>
                  <a:pt x="2323" y="1142"/>
                  <a:pt x="2316" y="1134"/>
                  <a:pt x="2306" y="1132"/>
                </a:cubicBezTo>
                <a:cubicBezTo>
                  <a:pt x="2303" y="1131"/>
                  <a:pt x="2302" y="1128"/>
                  <a:pt x="2302" y="1126"/>
                </a:cubicBezTo>
                <a:cubicBezTo>
                  <a:pt x="2302" y="1125"/>
                  <a:pt x="2301" y="1123"/>
                  <a:pt x="2300" y="1123"/>
                </a:cubicBezTo>
                <a:cubicBezTo>
                  <a:pt x="2298" y="1122"/>
                  <a:pt x="2296" y="1122"/>
                  <a:pt x="2294" y="1122"/>
                </a:cubicBezTo>
                <a:cubicBezTo>
                  <a:pt x="2288" y="1122"/>
                  <a:pt x="2284" y="1119"/>
                  <a:pt x="2281" y="1115"/>
                </a:cubicBezTo>
                <a:cubicBezTo>
                  <a:pt x="2278" y="1112"/>
                  <a:pt x="2276" y="1109"/>
                  <a:pt x="2274" y="1106"/>
                </a:cubicBezTo>
                <a:cubicBezTo>
                  <a:pt x="2272" y="1099"/>
                  <a:pt x="2267" y="1095"/>
                  <a:pt x="2262" y="1091"/>
                </a:cubicBezTo>
                <a:cubicBezTo>
                  <a:pt x="2260" y="1089"/>
                  <a:pt x="2257" y="1088"/>
                  <a:pt x="2255" y="1086"/>
                </a:cubicBezTo>
                <a:cubicBezTo>
                  <a:pt x="2253" y="1084"/>
                  <a:pt x="2251" y="1081"/>
                  <a:pt x="2251" y="1077"/>
                </a:cubicBezTo>
                <a:cubicBezTo>
                  <a:pt x="2251" y="1074"/>
                  <a:pt x="2252" y="1072"/>
                  <a:pt x="2252" y="1069"/>
                </a:cubicBezTo>
                <a:cubicBezTo>
                  <a:pt x="2252" y="1067"/>
                  <a:pt x="2253" y="1066"/>
                  <a:pt x="2255" y="1065"/>
                </a:cubicBezTo>
                <a:cubicBezTo>
                  <a:pt x="2257" y="1064"/>
                  <a:pt x="2260" y="1063"/>
                  <a:pt x="2262" y="1062"/>
                </a:cubicBezTo>
                <a:cubicBezTo>
                  <a:pt x="2263" y="1062"/>
                  <a:pt x="2265" y="1063"/>
                  <a:pt x="2265" y="1063"/>
                </a:cubicBezTo>
                <a:cubicBezTo>
                  <a:pt x="2266" y="1066"/>
                  <a:pt x="2266" y="1069"/>
                  <a:pt x="2267" y="1071"/>
                </a:cubicBezTo>
                <a:cubicBezTo>
                  <a:pt x="2267" y="1073"/>
                  <a:pt x="2269" y="1076"/>
                  <a:pt x="2271" y="1075"/>
                </a:cubicBezTo>
                <a:cubicBezTo>
                  <a:pt x="2275" y="1074"/>
                  <a:pt x="2277" y="1078"/>
                  <a:pt x="2281" y="1077"/>
                </a:cubicBezTo>
                <a:cubicBezTo>
                  <a:pt x="2283" y="1077"/>
                  <a:pt x="2285" y="1079"/>
                  <a:pt x="2286" y="1081"/>
                </a:cubicBezTo>
                <a:cubicBezTo>
                  <a:pt x="2288" y="1088"/>
                  <a:pt x="2293" y="1093"/>
                  <a:pt x="2299" y="1096"/>
                </a:cubicBezTo>
                <a:cubicBezTo>
                  <a:pt x="2304" y="1100"/>
                  <a:pt x="2309" y="1104"/>
                  <a:pt x="2315" y="1104"/>
                </a:cubicBezTo>
                <a:cubicBezTo>
                  <a:pt x="2318" y="1106"/>
                  <a:pt x="2320" y="1109"/>
                  <a:pt x="2324" y="1109"/>
                </a:cubicBezTo>
                <a:cubicBezTo>
                  <a:pt x="2328" y="1110"/>
                  <a:pt x="2330" y="1112"/>
                  <a:pt x="2333" y="1115"/>
                </a:cubicBezTo>
                <a:cubicBezTo>
                  <a:pt x="2336" y="1118"/>
                  <a:pt x="2339" y="1122"/>
                  <a:pt x="2342" y="1125"/>
                </a:cubicBezTo>
                <a:cubicBezTo>
                  <a:pt x="2344" y="1127"/>
                  <a:pt x="2344" y="1128"/>
                  <a:pt x="2344" y="1131"/>
                </a:cubicBezTo>
                <a:cubicBezTo>
                  <a:pt x="2344" y="1134"/>
                  <a:pt x="2344" y="1137"/>
                  <a:pt x="2344" y="1141"/>
                </a:cubicBezTo>
                <a:cubicBezTo>
                  <a:pt x="2344" y="1146"/>
                  <a:pt x="2345" y="1152"/>
                  <a:pt x="2350" y="1155"/>
                </a:cubicBezTo>
                <a:cubicBezTo>
                  <a:pt x="2350" y="1155"/>
                  <a:pt x="2351" y="1156"/>
                  <a:pt x="2351" y="1157"/>
                </a:cubicBezTo>
                <a:cubicBezTo>
                  <a:pt x="2349" y="1161"/>
                  <a:pt x="2352" y="1163"/>
                  <a:pt x="2356" y="1166"/>
                </a:cubicBezTo>
                <a:cubicBezTo>
                  <a:pt x="2358" y="1168"/>
                  <a:pt x="2360" y="1170"/>
                  <a:pt x="2363" y="1172"/>
                </a:cubicBezTo>
                <a:cubicBezTo>
                  <a:pt x="2363" y="1177"/>
                  <a:pt x="2369" y="1180"/>
                  <a:pt x="2369" y="1185"/>
                </a:cubicBezTo>
                <a:cubicBezTo>
                  <a:pt x="2371" y="1186"/>
                  <a:pt x="2371" y="1187"/>
                  <a:pt x="2369" y="1188"/>
                </a:cubicBezTo>
                <a:cubicBezTo>
                  <a:pt x="2369" y="1189"/>
                  <a:pt x="2369" y="1191"/>
                  <a:pt x="2369" y="1192"/>
                </a:cubicBezTo>
                <a:cubicBezTo>
                  <a:pt x="2374" y="1195"/>
                  <a:pt x="2378" y="1198"/>
                  <a:pt x="2379" y="1204"/>
                </a:cubicBezTo>
                <a:cubicBezTo>
                  <a:pt x="2379" y="1205"/>
                  <a:pt x="2381" y="1207"/>
                  <a:pt x="2382" y="1207"/>
                </a:cubicBezTo>
                <a:cubicBezTo>
                  <a:pt x="2386" y="1209"/>
                  <a:pt x="2390" y="1210"/>
                  <a:pt x="2395" y="1210"/>
                </a:cubicBezTo>
                <a:cubicBezTo>
                  <a:pt x="2397" y="1210"/>
                  <a:pt x="2398" y="1209"/>
                  <a:pt x="2397" y="1207"/>
                </a:cubicBezTo>
                <a:cubicBezTo>
                  <a:pt x="2395" y="1201"/>
                  <a:pt x="2401" y="1198"/>
                  <a:pt x="2400" y="1193"/>
                </a:cubicBezTo>
                <a:cubicBezTo>
                  <a:pt x="2400" y="1193"/>
                  <a:pt x="2401" y="1192"/>
                  <a:pt x="2402" y="1193"/>
                </a:cubicBezTo>
                <a:cubicBezTo>
                  <a:pt x="2406" y="1194"/>
                  <a:pt x="2409" y="1190"/>
                  <a:pt x="2412" y="1190"/>
                </a:cubicBezTo>
                <a:cubicBezTo>
                  <a:pt x="2414" y="1189"/>
                  <a:pt x="2414" y="1188"/>
                  <a:pt x="2414" y="1187"/>
                </a:cubicBezTo>
                <a:cubicBezTo>
                  <a:pt x="2412" y="1183"/>
                  <a:pt x="2411" y="1179"/>
                  <a:pt x="2407" y="1176"/>
                </a:cubicBezTo>
                <a:cubicBezTo>
                  <a:pt x="2405" y="1175"/>
                  <a:pt x="2402" y="1174"/>
                  <a:pt x="2401" y="1172"/>
                </a:cubicBezTo>
                <a:cubicBezTo>
                  <a:pt x="2397" y="1167"/>
                  <a:pt x="2393" y="1161"/>
                  <a:pt x="2389" y="1155"/>
                </a:cubicBezTo>
                <a:cubicBezTo>
                  <a:pt x="2389" y="1154"/>
                  <a:pt x="2389" y="1153"/>
                  <a:pt x="2389" y="1151"/>
                </a:cubicBezTo>
                <a:cubicBezTo>
                  <a:pt x="2389" y="1151"/>
                  <a:pt x="2389" y="1150"/>
                  <a:pt x="2389" y="1150"/>
                </a:cubicBezTo>
                <a:cubicBezTo>
                  <a:pt x="2390" y="1149"/>
                  <a:pt x="2391" y="1149"/>
                  <a:pt x="2392" y="1150"/>
                </a:cubicBezTo>
                <a:cubicBezTo>
                  <a:pt x="2393" y="1150"/>
                  <a:pt x="2394" y="1151"/>
                  <a:pt x="2394" y="1152"/>
                </a:cubicBezTo>
                <a:cubicBezTo>
                  <a:pt x="2399" y="1156"/>
                  <a:pt x="2404" y="1155"/>
                  <a:pt x="2406" y="1149"/>
                </a:cubicBezTo>
                <a:cubicBezTo>
                  <a:pt x="2406" y="1147"/>
                  <a:pt x="2407" y="1145"/>
                  <a:pt x="2408" y="1143"/>
                </a:cubicBezTo>
                <a:cubicBezTo>
                  <a:pt x="2408" y="1142"/>
                  <a:pt x="2410" y="1141"/>
                  <a:pt x="2411" y="1142"/>
                </a:cubicBezTo>
                <a:cubicBezTo>
                  <a:pt x="2413" y="1143"/>
                  <a:pt x="2415" y="1143"/>
                  <a:pt x="2417" y="1141"/>
                </a:cubicBezTo>
                <a:cubicBezTo>
                  <a:pt x="2420" y="1139"/>
                  <a:pt x="2423" y="1139"/>
                  <a:pt x="2426" y="1140"/>
                </a:cubicBezTo>
                <a:cubicBezTo>
                  <a:pt x="2431" y="1140"/>
                  <a:pt x="2434" y="1144"/>
                  <a:pt x="2434" y="1149"/>
                </a:cubicBezTo>
                <a:cubicBezTo>
                  <a:pt x="2435" y="1155"/>
                  <a:pt x="2435" y="1162"/>
                  <a:pt x="2433" y="1168"/>
                </a:cubicBezTo>
                <a:cubicBezTo>
                  <a:pt x="2432" y="1169"/>
                  <a:pt x="2434" y="1171"/>
                  <a:pt x="2436" y="1171"/>
                </a:cubicBezTo>
                <a:cubicBezTo>
                  <a:pt x="2437" y="1171"/>
                  <a:pt x="2439" y="1171"/>
                  <a:pt x="2441" y="1171"/>
                </a:cubicBezTo>
                <a:cubicBezTo>
                  <a:pt x="2441" y="1171"/>
                  <a:pt x="2442" y="1171"/>
                  <a:pt x="2442" y="1171"/>
                </a:cubicBezTo>
                <a:cubicBezTo>
                  <a:pt x="2443" y="1171"/>
                  <a:pt x="2443" y="1172"/>
                  <a:pt x="2443" y="1172"/>
                </a:cubicBezTo>
                <a:cubicBezTo>
                  <a:pt x="2444" y="1173"/>
                  <a:pt x="2444" y="1175"/>
                  <a:pt x="2443" y="1175"/>
                </a:cubicBezTo>
                <a:cubicBezTo>
                  <a:pt x="2441" y="1179"/>
                  <a:pt x="2437" y="1178"/>
                  <a:pt x="2435" y="1180"/>
                </a:cubicBezTo>
                <a:cubicBezTo>
                  <a:pt x="2434" y="1180"/>
                  <a:pt x="2434" y="1180"/>
                  <a:pt x="2434" y="1181"/>
                </a:cubicBezTo>
                <a:cubicBezTo>
                  <a:pt x="2433" y="1182"/>
                  <a:pt x="2433" y="1183"/>
                  <a:pt x="2435" y="1184"/>
                </a:cubicBezTo>
                <a:cubicBezTo>
                  <a:pt x="2436" y="1185"/>
                  <a:pt x="2438" y="1186"/>
                  <a:pt x="2440" y="1187"/>
                </a:cubicBezTo>
                <a:cubicBezTo>
                  <a:pt x="2442" y="1187"/>
                  <a:pt x="2443" y="1188"/>
                  <a:pt x="2445" y="1189"/>
                </a:cubicBezTo>
                <a:cubicBezTo>
                  <a:pt x="2447" y="1191"/>
                  <a:pt x="2442" y="1193"/>
                  <a:pt x="2444" y="1194"/>
                </a:cubicBezTo>
                <a:cubicBezTo>
                  <a:pt x="2447" y="1196"/>
                  <a:pt x="2450" y="1198"/>
                  <a:pt x="2451" y="1201"/>
                </a:cubicBezTo>
                <a:cubicBezTo>
                  <a:pt x="2453" y="1204"/>
                  <a:pt x="2456" y="1206"/>
                  <a:pt x="2458" y="1208"/>
                </a:cubicBezTo>
                <a:cubicBezTo>
                  <a:pt x="2460" y="1210"/>
                  <a:pt x="2462" y="1210"/>
                  <a:pt x="2464" y="1209"/>
                </a:cubicBezTo>
                <a:cubicBezTo>
                  <a:pt x="2469" y="1208"/>
                  <a:pt x="2473" y="1210"/>
                  <a:pt x="2476" y="1214"/>
                </a:cubicBezTo>
                <a:cubicBezTo>
                  <a:pt x="2477" y="1215"/>
                  <a:pt x="2478" y="1216"/>
                  <a:pt x="2480" y="1216"/>
                </a:cubicBezTo>
                <a:cubicBezTo>
                  <a:pt x="2481" y="1217"/>
                  <a:pt x="2482" y="1218"/>
                  <a:pt x="2483" y="1217"/>
                </a:cubicBezTo>
                <a:cubicBezTo>
                  <a:pt x="2488" y="1217"/>
                  <a:pt x="2494" y="1216"/>
                  <a:pt x="2498" y="1211"/>
                </a:cubicBezTo>
                <a:cubicBezTo>
                  <a:pt x="2500" y="1208"/>
                  <a:pt x="2504" y="1208"/>
                  <a:pt x="2508" y="1209"/>
                </a:cubicBezTo>
                <a:cubicBezTo>
                  <a:pt x="2512" y="1210"/>
                  <a:pt x="2515" y="1211"/>
                  <a:pt x="2518" y="1214"/>
                </a:cubicBezTo>
                <a:cubicBezTo>
                  <a:pt x="2522" y="1219"/>
                  <a:pt x="2528" y="1219"/>
                  <a:pt x="2533" y="1218"/>
                </a:cubicBezTo>
                <a:cubicBezTo>
                  <a:pt x="2539" y="1217"/>
                  <a:pt x="2544" y="1214"/>
                  <a:pt x="2549" y="1209"/>
                </a:cubicBezTo>
                <a:cubicBezTo>
                  <a:pt x="2550" y="1207"/>
                  <a:pt x="2552" y="1206"/>
                  <a:pt x="2555" y="1207"/>
                </a:cubicBezTo>
                <a:cubicBezTo>
                  <a:pt x="2559" y="1209"/>
                  <a:pt x="2563" y="1208"/>
                  <a:pt x="2567" y="1209"/>
                </a:cubicBezTo>
                <a:cubicBezTo>
                  <a:pt x="2567" y="1209"/>
                  <a:pt x="2567" y="1209"/>
                  <a:pt x="2567" y="1208"/>
                </a:cubicBezTo>
                <a:cubicBezTo>
                  <a:pt x="2568" y="1208"/>
                  <a:pt x="2568" y="1208"/>
                  <a:pt x="2568" y="1208"/>
                </a:cubicBezTo>
                <a:cubicBezTo>
                  <a:pt x="2568" y="1209"/>
                  <a:pt x="2568" y="1209"/>
                  <a:pt x="2568" y="1209"/>
                </a:cubicBezTo>
                <a:cubicBezTo>
                  <a:pt x="2567" y="1209"/>
                  <a:pt x="2567" y="1209"/>
                  <a:pt x="2567" y="1209"/>
                </a:cubicBezTo>
                <a:cubicBezTo>
                  <a:pt x="2565" y="1215"/>
                  <a:pt x="2566" y="1220"/>
                  <a:pt x="2567" y="1226"/>
                </a:cubicBezTo>
                <a:cubicBezTo>
                  <a:pt x="2568" y="1232"/>
                  <a:pt x="2567" y="1237"/>
                  <a:pt x="2566" y="1243"/>
                </a:cubicBezTo>
                <a:cubicBezTo>
                  <a:pt x="2565" y="1247"/>
                  <a:pt x="2563" y="1251"/>
                  <a:pt x="2562" y="1255"/>
                </a:cubicBezTo>
                <a:cubicBezTo>
                  <a:pt x="2560" y="1261"/>
                  <a:pt x="2557" y="1266"/>
                  <a:pt x="2556" y="1272"/>
                </a:cubicBezTo>
                <a:cubicBezTo>
                  <a:pt x="2555" y="1278"/>
                  <a:pt x="2552" y="1282"/>
                  <a:pt x="2549" y="1287"/>
                </a:cubicBezTo>
                <a:cubicBezTo>
                  <a:pt x="2547" y="1289"/>
                  <a:pt x="2545" y="1290"/>
                  <a:pt x="2543" y="1290"/>
                </a:cubicBezTo>
                <a:cubicBezTo>
                  <a:pt x="2535" y="1290"/>
                  <a:pt x="2527" y="1292"/>
                  <a:pt x="2519" y="1288"/>
                </a:cubicBezTo>
                <a:cubicBezTo>
                  <a:pt x="2516" y="1287"/>
                  <a:pt x="2512" y="1287"/>
                  <a:pt x="2509" y="1287"/>
                </a:cubicBezTo>
                <a:cubicBezTo>
                  <a:pt x="2502" y="1286"/>
                  <a:pt x="2495" y="1288"/>
                  <a:pt x="2489" y="1292"/>
                </a:cubicBezTo>
                <a:cubicBezTo>
                  <a:pt x="2486" y="1294"/>
                  <a:pt x="2483" y="1294"/>
                  <a:pt x="2479" y="1293"/>
                </a:cubicBezTo>
                <a:cubicBezTo>
                  <a:pt x="2467" y="1291"/>
                  <a:pt x="2456" y="1287"/>
                  <a:pt x="2444" y="1286"/>
                </a:cubicBezTo>
                <a:cubicBezTo>
                  <a:pt x="2439" y="1285"/>
                  <a:pt x="2435" y="1285"/>
                  <a:pt x="2431" y="1283"/>
                </a:cubicBezTo>
                <a:cubicBezTo>
                  <a:pt x="2426" y="1279"/>
                  <a:pt x="2420" y="1278"/>
                  <a:pt x="2414" y="1278"/>
                </a:cubicBezTo>
                <a:cubicBezTo>
                  <a:pt x="2409" y="1277"/>
                  <a:pt x="2404" y="1275"/>
                  <a:pt x="2401" y="1271"/>
                </a:cubicBezTo>
                <a:cubicBezTo>
                  <a:pt x="2399" y="1270"/>
                  <a:pt x="2397" y="1269"/>
                  <a:pt x="2395" y="1268"/>
                </a:cubicBezTo>
                <a:cubicBezTo>
                  <a:pt x="2386" y="1266"/>
                  <a:pt x="2376" y="1266"/>
                  <a:pt x="2368" y="1270"/>
                </a:cubicBezTo>
                <a:cubicBezTo>
                  <a:pt x="2362" y="1273"/>
                  <a:pt x="2357" y="1281"/>
                  <a:pt x="2359" y="1288"/>
                </a:cubicBezTo>
                <a:cubicBezTo>
                  <a:pt x="2360" y="1291"/>
                  <a:pt x="2360" y="1293"/>
                  <a:pt x="2361" y="1295"/>
                </a:cubicBezTo>
                <a:cubicBezTo>
                  <a:pt x="2361" y="1297"/>
                  <a:pt x="2361" y="1299"/>
                  <a:pt x="2359" y="1301"/>
                </a:cubicBezTo>
                <a:cubicBezTo>
                  <a:pt x="2358" y="1302"/>
                  <a:pt x="2357" y="1303"/>
                  <a:pt x="2356" y="1305"/>
                </a:cubicBezTo>
                <a:cubicBezTo>
                  <a:pt x="2353" y="1307"/>
                  <a:pt x="2348" y="1308"/>
                  <a:pt x="2345" y="1306"/>
                </a:cubicBezTo>
                <a:cubicBezTo>
                  <a:pt x="2343" y="1305"/>
                  <a:pt x="2342" y="1304"/>
                  <a:pt x="2340" y="1302"/>
                </a:cubicBezTo>
                <a:cubicBezTo>
                  <a:pt x="2337" y="1301"/>
                  <a:pt x="2334" y="1299"/>
                  <a:pt x="2332" y="1297"/>
                </a:cubicBezTo>
                <a:cubicBezTo>
                  <a:pt x="2325" y="1293"/>
                  <a:pt x="2318" y="1291"/>
                  <a:pt x="2310" y="1291"/>
                </a:cubicBezTo>
                <a:cubicBezTo>
                  <a:pt x="2306" y="1291"/>
                  <a:pt x="2303" y="1289"/>
                  <a:pt x="2302" y="1285"/>
                </a:cubicBezTo>
                <a:cubicBezTo>
                  <a:pt x="2301" y="1283"/>
                  <a:pt x="2300" y="1281"/>
                  <a:pt x="2300" y="1279"/>
                </a:cubicBezTo>
                <a:cubicBezTo>
                  <a:pt x="2298" y="1276"/>
                  <a:pt x="2296" y="1274"/>
                  <a:pt x="2293" y="1272"/>
                </a:cubicBezTo>
                <a:cubicBezTo>
                  <a:pt x="2284" y="1269"/>
                  <a:pt x="2274" y="1266"/>
                  <a:pt x="2264" y="1267"/>
                </a:cubicBezTo>
                <a:cubicBezTo>
                  <a:pt x="2258" y="1268"/>
                  <a:pt x="2253" y="1265"/>
                  <a:pt x="2248" y="1263"/>
                </a:cubicBezTo>
                <a:cubicBezTo>
                  <a:pt x="2248" y="1263"/>
                  <a:pt x="2247" y="1263"/>
                  <a:pt x="2247" y="1263"/>
                </a:cubicBezTo>
                <a:cubicBezTo>
                  <a:pt x="2243" y="1258"/>
                  <a:pt x="2238" y="1256"/>
                  <a:pt x="2233" y="1254"/>
                </a:cubicBezTo>
                <a:cubicBezTo>
                  <a:pt x="2231" y="1254"/>
                  <a:pt x="2230" y="1249"/>
                  <a:pt x="2231" y="1247"/>
                </a:cubicBezTo>
                <a:cubicBezTo>
                  <a:pt x="2233" y="1245"/>
                  <a:pt x="2236" y="1243"/>
                  <a:pt x="2238" y="1240"/>
                </a:cubicBezTo>
                <a:cubicBezTo>
                  <a:pt x="2241" y="1237"/>
                  <a:pt x="2241" y="1232"/>
                  <a:pt x="2240" y="1228"/>
                </a:cubicBezTo>
                <a:cubicBezTo>
                  <a:pt x="2239" y="1225"/>
                  <a:pt x="2237" y="1223"/>
                  <a:pt x="2235" y="1221"/>
                </a:cubicBezTo>
                <a:cubicBezTo>
                  <a:pt x="2235" y="1220"/>
                  <a:pt x="2234" y="1219"/>
                  <a:pt x="2235" y="1218"/>
                </a:cubicBezTo>
                <a:cubicBezTo>
                  <a:pt x="2236" y="1215"/>
                  <a:pt x="2237" y="1212"/>
                  <a:pt x="2239" y="1209"/>
                </a:cubicBezTo>
                <a:cubicBezTo>
                  <a:pt x="2239" y="1207"/>
                  <a:pt x="2238" y="1206"/>
                  <a:pt x="2236" y="1206"/>
                </a:cubicBezTo>
                <a:cubicBezTo>
                  <a:pt x="2233" y="1207"/>
                  <a:pt x="2231" y="1207"/>
                  <a:pt x="2228" y="1204"/>
                </a:cubicBezTo>
                <a:cubicBezTo>
                  <a:pt x="2225" y="1200"/>
                  <a:pt x="2221" y="1200"/>
                  <a:pt x="2216" y="1202"/>
                </a:cubicBezTo>
                <a:cubicBezTo>
                  <a:pt x="2212" y="1203"/>
                  <a:pt x="2208" y="1205"/>
                  <a:pt x="2204" y="1206"/>
                </a:cubicBezTo>
                <a:cubicBezTo>
                  <a:pt x="2201" y="1206"/>
                  <a:pt x="2199" y="1206"/>
                  <a:pt x="2196" y="1206"/>
                </a:cubicBezTo>
                <a:cubicBezTo>
                  <a:pt x="2192" y="1203"/>
                  <a:pt x="2187" y="1208"/>
                  <a:pt x="2183" y="1206"/>
                </a:cubicBezTo>
                <a:cubicBezTo>
                  <a:pt x="2178" y="1203"/>
                  <a:pt x="2175" y="1207"/>
                  <a:pt x="2171" y="1207"/>
                </a:cubicBezTo>
                <a:cubicBezTo>
                  <a:pt x="2167" y="1208"/>
                  <a:pt x="2164" y="1208"/>
                  <a:pt x="2161" y="1208"/>
                </a:cubicBezTo>
                <a:cubicBezTo>
                  <a:pt x="2152" y="1206"/>
                  <a:pt x="2144" y="1207"/>
                  <a:pt x="2136" y="1209"/>
                </a:cubicBezTo>
                <a:cubicBezTo>
                  <a:pt x="2132" y="1211"/>
                  <a:pt x="2128" y="1211"/>
                  <a:pt x="2123" y="1211"/>
                </a:cubicBezTo>
                <a:cubicBezTo>
                  <a:pt x="2119" y="1211"/>
                  <a:pt x="2116" y="1212"/>
                  <a:pt x="2112" y="1214"/>
                </a:cubicBezTo>
                <a:cubicBezTo>
                  <a:pt x="2106" y="1217"/>
                  <a:pt x="2101" y="1220"/>
                  <a:pt x="2094" y="1222"/>
                </a:cubicBezTo>
                <a:cubicBezTo>
                  <a:pt x="2090" y="1224"/>
                  <a:pt x="2086" y="1226"/>
                  <a:pt x="2082" y="1230"/>
                </a:cubicBezTo>
                <a:cubicBezTo>
                  <a:pt x="2077" y="1234"/>
                  <a:pt x="2072" y="1235"/>
                  <a:pt x="2066" y="1232"/>
                </a:cubicBezTo>
                <a:cubicBezTo>
                  <a:pt x="2062" y="1231"/>
                  <a:pt x="2058" y="1230"/>
                  <a:pt x="2054" y="1231"/>
                </a:cubicBezTo>
                <a:cubicBezTo>
                  <a:pt x="2049" y="1231"/>
                  <a:pt x="2045" y="1231"/>
                  <a:pt x="2040" y="1231"/>
                </a:cubicBezTo>
                <a:cubicBezTo>
                  <a:pt x="2038" y="1231"/>
                  <a:pt x="2036" y="1229"/>
                  <a:pt x="2035" y="1228"/>
                </a:cubicBezTo>
                <a:cubicBezTo>
                  <a:pt x="2034" y="1228"/>
                  <a:pt x="2033" y="1227"/>
                  <a:pt x="2032" y="1226"/>
                </a:cubicBezTo>
                <a:cubicBezTo>
                  <a:pt x="2028" y="1221"/>
                  <a:pt x="2024" y="1222"/>
                  <a:pt x="2021" y="1228"/>
                </a:cubicBezTo>
                <a:cubicBezTo>
                  <a:pt x="2020" y="1232"/>
                  <a:pt x="2019" y="1235"/>
                  <a:pt x="2018" y="1238"/>
                </a:cubicBezTo>
                <a:cubicBezTo>
                  <a:pt x="2017" y="1246"/>
                  <a:pt x="2012" y="1250"/>
                  <a:pt x="2005" y="1254"/>
                </a:cubicBezTo>
                <a:cubicBezTo>
                  <a:pt x="2000" y="1257"/>
                  <a:pt x="1994" y="1260"/>
                  <a:pt x="1988" y="1264"/>
                </a:cubicBezTo>
                <a:cubicBezTo>
                  <a:pt x="1983" y="1267"/>
                  <a:pt x="1978" y="1271"/>
                  <a:pt x="1978" y="1278"/>
                </a:cubicBezTo>
                <a:cubicBezTo>
                  <a:pt x="1978" y="1281"/>
                  <a:pt x="1976" y="1283"/>
                  <a:pt x="1975" y="1285"/>
                </a:cubicBezTo>
                <a:cubicBezTo>
                  <a:pt x="1972" y="1289"/>
                  <a:pt x="1971" y="1293"/>
                  <a:pt x="1971" y="1298"/>
                </a:cubicBezTo>
                <a:cubicBezTo>
                  <a:pt x="1972" y="1301"/>
                  <a:pt x="1972" y="1304"/>
                  <a:pt x="1972" y="1308"/>
                </a:cubicBezTo>
                <a:cubicBezTo>
                  <a:pt x="1972" y="1311"/>
                  <a:pt x="1971" y="1313"/>
                  <a:pt x="1969" y="1315"/>
                </a:cubicBezTo>
                <a:cubicBezTo>
                  <a:pt x="1967" y="1319"/>
                  <a:pt x="1965" y="1322"/>
                  <a:pt x="1963" y="1325"/>
                </a:cubicBezTo>
                <a:cubicBezTo>
                  <a:pt x="1962" y="1327"/>
                  <a:pt x="1960" y="1328"/>
                  <a:pt x="1958" y="1329"/>
                </a:cubicBezTo>
                <a:cubicBezTo>
                  <a:pt x="1955" y="1331"/>
                  <a:pt x="1952" y="1333"/>
                  <a:pt x="1950" y="1335"/>
                </a:cubicBezTo>
                <a:cubicBezTo>
                  <a:pt x="1946" y="1338"/>
                  <a:pt x="1942" y="1339"/>
                  <a:pt x="1938" y="1340"/>
                </a:cubicBezTo>
                <a:cubicBezTo>
                  <a:pt x="1934" y="1340"/>
                  <a:pt x="1931" y="1343"/>
                  <a:pt x="1929" y="1346"/>
                </a:cubicBezTo>
                <a:cubicBezTo>
                  <a:pt x="1927" y="1348"/>
                  <a:pt x="1926" y="1350"/>
                  <a:pt x="1925" y="1352"/>
                </a:cubicBezTo>
                <a:cubicBezTo>
                  <a:pt x="1923" y="1356"/>
                  <a:pt x="1920" y="1359"/>
                  <a:pt x="1916" y="1361"/>
                </a:cubicBezTo>
                <a:cubicBezTo>
                  <a:pt x="1912" y="1364"/>
                  <a:pt x="1909" y="1368"/>
                  <a:pt x="1907" y="1372"/>
                </a:cubicBezTo>
                <a:cubicBezTo>
                  <a:pt x="1903" y="1380"/>
                  <a:pt x="1899" y="1388"/>
                  <a:pt x="1893" y="1394"/>
                </a:cubicBezTo>
                <a:cubicBezTo>
                  <a:pt x="1891" y="1396"/>
                  <a:pt x="1890" y="1398"/>
                  <a:pt x="1889" y="1400"/>
                </a:cubicBezTo>
                <a:cubicBezTo>
                  <a:pt x="1885" y="1408"/>
                  <a:pt x="1881" y="1417"/>
                  <a:pt x="1876" y="1424"/>
                </a:cubicBezTo>
                <a:cubicBezTo>
                  <a:pt x="1873" y="1428"/>
                  <a:pt x="1873" y="1431"/>
                  <a:pt x="1872" y="1435"/>
                </a:cubicBezTo>
                <a:cubicBezTo>
                  <a:pt x="1872" y="1440"/>
                  <a:pt x="1873" y="1444"/>
                  <a:pt x="1877" y="1447"/>
                </a:cubicBezTo>
                <a:cubicBezTo>
                  <a:pt x="1881" y="1449"/>
                  <a:pt x="1882" y="1453"/>
                  <a:pt x="1881" y="1457"/>
                </a:cubicBezTo>
                <a:cubicBezTo>
                  <a:pt x="1880" y="1460"/>
                  <a:pt x="1880" y="1464"/>
                  <a:pt x="1881" y="1468"/>
                </a:cubicBezTo>
                <a:cubicBezTo>
                  <a:pt x="1884" y="1477"/>
                  <a:pt x="1884" y="1487"/>
                  <a:pt x="1880" y="1497"/>
                </a:cubicBezTo>
                <a:cubicBezTo>
                  <a:pt x="1879" y="1498"/>
                  <a:pt x="1879" y="1499"/>
                  <a:pt x="1879" y="1500"/>
                </a:cubicBezTo>
                <a:cubicBezTo>
                  <a:pt x="1877" y="1510"/>
                  <a:pt x="1874" y="1519"/>
                  <a:pt x="1867" y="1527"/>
                </a:cubicBezTo>
                <a:cubicBezTo>
                  <a:pt x="1866" y="1527"/>
                  <a:pt x="1866" y="1529"/>
                  <a:pt x="1867" y="1530"/>
                </a:cubicBezTo>
                <a:cubicBezTo>
                  <a:pt x="1869" y="1532"/>
                  <a:pt x="1870" y="1535"/>
                  <a:pt x="1872" y="1538"/>
                </a:cubicBezTo>
                <a:cubicBezTo>
                  <a:pt x="1874" y="1541"/>
                  <a:pt x="1875" y="1544"/>
                  <a:pt x="1874" y="1547"/>
                </a:cubicBezTo>
                <a:cubicBezTo>
                  <a:pt x="1872" y="1552"/>
                  <a:pt x="1873" y="1557"/>
                  <a:pt x="1875" y="1561"/>
                </a:cubicBezTo>
                <a:cubicBezTo>
                  <a:pt x="1877" y="1565"/>
                  <a:pt x="1880" y="1568"/>
                  <a:pt x="1883" y="1569"/>
                </a:cubicBezTo>
                <a:cubicBezTo>
                  <a:pt x="1886" y="1571"/>
                  <a:pt x="1890" y="1572"/>
                  <a:pt x="1893" y="1573"/>
                </a:cubicBezTo>
                <a:cubicBezTo>
                  <a:pt x="1893" y="1572"/>
                  <a:pt x="1893" y="1572"/>
                  <a:pt x="1893" y="1572"/>
                </a:cubicBezTo>
                <a:cubicBezTo>
                  <a:pt x="1893" y="1572"/>
                  <a:pt x="1893" y="1572"/>
                  <a:pt x="1893" y="1572"/>
                </a:cubicBezTo>
                <a:cubicBezTo>
                  <a:pt x="1893" y="1573"/>
                  <a:pt x="1893" y="1573"/>
                  <a:pt x="1893" y="1573"/>
                </a:cubicBezTo>
                <a:cubicBezTo>
                  <a:pt x="1893" y="1573"/>
                  <a:pt x="1893" y="1573"/>
                  <a:pt x="1893" y="1573"/>
                </a:cubicBezTo>
                <a:cubicBezTo>
                  <a:pt x="1893" y="1576"/>
                  <a:pt x="1894" y="1579"/>
                  <a:pt x="1897" y="1581"/>
                </a:cubicBezTo>
                <a:cubicBezTo>
                  <a:pt x="1900" y="1582"/>
                  <a:pt x="1902" y="1585"/>
                  <a:pt x="1903" y="1588"/>
                </a:cubicBezTo>
                <a:cubicBezTo>
                  <a:pt x="1903" y="1590"/>
                  <a:pt x="1905" y="1592"/>
                  <a:pt x="1907" y="1593"/>
                </a:cubicBezTo>
                <a:cubicBezTo>
                  <a:pt x="1912" y="1595"/>
                  <a:pt x="1915" y="1598"/>
                  <a:pt x="1919" y="1602"/>
                </a:cubicBezTo>
                <a:cubicBezTo>
                  <a:pt x="1920" y="1604"/>
                  <a:pt x="1922" y="1606"/>
                  <a:pt x="1922" y="1608"/>
                </a:cubicBezTo>
                <a:cubicBezTo>
                  <a:pt x="1922" y="1615"/>
                  <a:pt x="1926" y="1620"/>
                  <a:pt x="1929" y="1626"/>
                </a:cubicBezTo>
                <a:cubicBezTo>
                  <a:pt x="1932" y="1632"/>
                  <a:pt x="1937" y="1637"/>
                  <a:pt x="1943" y="1639"/>
                </a:cubicBezTo>
                <a:cubicBezTo>
                  <a:pt x="1948" y="1641"/>
                  <a:pt x="1952" y="1644"/>
                  <a:pt x="1956" y="1647"/>
                </a:cubicBezTo>
                <a:cubicBezTo>
                  <a:pt x="1965" y="1654"/>
                  <a:pt x="1973" y="1662"/>
                  <a:pt x="1983" y="1667"/>
                </a:cubicBezTo>
                <a:cubicBezTo>
                  <a:pt x="1988" y="1670"/>
                  <a:pt x="1993" y="1672"/>
                  <a:pt x="1998" y="1674"/>
                </a:cubicBezTo>
                <a:cubicBezTo>
                  <a:pt x="2000" y="1674"/>
                  <a:pt x="2002" y="1674"/>
                  <a:pt x="2003" y="1674"/>
                </a:cubicBezTo>
                <a:cubicBezTo>
                  <a:pt x="2007" y="1672"/>
                  <a:pt x="2010" y="1671"/>
                  <a:pt x="2014" y="1669"/>
                </a:cubicBezTo>
                <a:cubicBezTo>
                  <a:pt x="2020" y="1666"/>
                  <a:pt x="2026" y="1664"/>
                  <a:pt x="2033" y="1665"/>
                </a:cubicBezTo>
                <a:cubicBezTo>
                  <a:pt x="2037" y="1665"/>
                  <a:pt x="2042" y="1664"/>
                  <a:pt x="2046" y="1664"/>
                </a:cubicBezTo>
                <a:cubicBezTo>
                  <a:pt x="2053" y="1663"/>
                  <a:pt x="2059" y="1663"/>
                  <a:pt x="2065" y="1666"/>
                </a:cubicBezTo>
                <a:cubicBezTo>
                  <a:pt x="2067" y="1667"/>
                  <a:pt x="2068" y="1667"/>
                  <a:pt x="2070" y="1668"/>
                </a:cubicBezTo>
                <a:cubicBezTo>
                  <a:pt x="2073" y="1669"/>
                  <a:pt x="2076" y="1668"/>
                  <a:pt x="2079" y="1667"/>
                </a:cubicBezTo>
                <a:cubicBezTo>
                  <a:pt x="2083" y="1666"/>
                  <a:pt x="2087" y="1665"/>
                  <a:pt x="2090" y="1664"/>
                </a:cubicBezTo>
                <a:cubicBezTo>
                  <a:pt x="2093" y="1662"/>
                  <a:pt x="2097" y="1661"/>
                  <a:pt x="2099" y="1660"/>
                </a:cubicBezTo>
                <a:cubicBezTo>
                  <a:pt x="2103" y="1657"/>
                  <a:pt x="2108" y="1655"/>
                  <a:pt x="2113" y="1653"/>
                </a:cubicBezTo>
                <a:cubicBezTo>
                  <a:pt x="2118" y="1652"/>
                  <a:pt x="2122" y="1650"/>
                  <a:pt x="2127" y="1649"/>
                </a:cubicBezTo>
                <a:cubicBezTo>
                  <a:pt x="2134" y="1648"/>
                  <a:pt x="2141" y="1645"/>
                  <a:pt x="2148" y="1646"/>
                </a:cubicBezTo>
                <a:cubicBezTo>
                  <a:pt x="2150" y="1646"/>
                  <a:pt x="2151" y="1646"/>
                  <a:pt x="2153" y="1647"/>
                </a:cubicBezTo>
                <a:cubicBezTo>
                  <a:pt x="2159" y="1650"/>
                  <a:pt x="2164" y="1654"/>
                  <a:pt x="2167" y="1660"/>
                </a:cubicBezTo>
                <a:cubicBezTo>
                  <a:pt x="2168" y="1663"/>
                  <a:pt x="2169" y="1666"/>
                  <a:pt x="2171" y="1669"/>
                </a:cubicBezTo>
                <a:cubicBezTo>
                  <a:pt x="2173" y="1675"/>
                  <a:pt x="2178" y="1677"/>
                  <a:pt x="2184" y="1677"/>
                </a:cubicBezTo>
                <a:cubicBezTo>
                  <a:pt x="2186" y="1677"/>
                  <a:pt x="2187" y="1677"/>
                  <a:pt x="2189" y="1677"/>
                </a:cubicBezTo>
                <a:cubicBezTo>
                  <a:pt x="2196" y="1676"/>
                  <a:pt x="2203" y="1675"/>
                  <a:pt x="2210" y="1673"/>
                </a:cubicBezTo>
                <a:cubicBezTo>
                  <a:pt x="2214" y="1672"/>
                  <a:pt x="2218" y="1672"/>
                  <a:pt x="2220" y="1676"/>
                </a:cubicBezTo>
                <a:cubicBezTo>
                  <a:pt x="2221" y="1678"/>
                  <a:pt x="2223" y="1680"/>
                  <a:pt x="2225" y="1681"/>
                </a:cubicBezTo>
                <a:cubicBezTo>
                  <a:pt x="2231" y="1684"/>
                  <a:pt x="2231" y="1691"/>
                  <a:pt x="2231" y="1696"/>
                </a:cubicBezTo>
                <a:cubicBezTo>
                  <a:pt x="2232" y="1700"/>
                  <a:pt x="2230" y="1704"/>
                  <a:pt x="2229" y="1708"/>
                </a:cubicBezTo>
                <a:cubicBezTo>
                  <a:pt x="2228" y="1711"/>
                  <a:pt x="2226" y="1714"/>
                  <a:pt x="2225" y="1717"/>
                </a:cubicBezTo>
                <a:cubicBezTo>
                  <a:pt x="2224" y="1720"/>
                  <a:pt x="2226" y="1724"/>
                  <a:pt x="2225" y="1728"/>
                </a:cubicBezTo>
                <a:cubicBezTo>
                  <a:pt x="2223" y="1734"/>
                  <a:pt x="2223" y="1740"/>
                  <a:pt x="2218" y="1745"/>
                </a:cubicBezTo>
                <a:cubicBezTo>
                  <a:pt x="2217" y="1745"/>
                  <a:pt x="2217" y="1747"/>
                  <a:pt x="2217" y="1748"/>
                </a:cubicBezTo>
                <a:cubicBezTo>
                  <a:pt x="2217" y="1748"/>
                  <a:pt x="2218" y="1749"/>
                  <a:pt x="2218" y="1749"/>
                </a:cubicBezTo>
                <a:cubicBezTo>
                  <a:pt x="2225" y="1767"/>
                  <a:pt x="2227" y="1771"/>
                  <a:pt x="2242" y="1784"/>
                </a:cubicBezTo>
                <a:cubicBezTo>
                  <a:pt x="2244" y="1786"/>
                  <a:pt x="2247" y="1789"/>
                  <a:pt x="2249" y="1791"/>
                </a:cubicBezTo>
                <a:cubicBezTo>
                  <a:pt x="2253" y="1794"/>
                  <a:pt x="2256" y="1799"/>
                  <a:pt x="2259" y="1804"/>
                </a:cubicBezTo>
                <a:cubicBezTo>
                  <a:pt x="2260" y="1806"/>
                  <a:pt x="2261" y="1809"/>
                  <a:pt x="2261" y="1812"/>
                </a:cubicBezTo>
                <a:cubicBezTo>
                  <a:pt x="2263" y="1818"/>
                  <a:pt x="2266" y="1824"/>
                  <a:pt x="2269" y="1830"/>
                </a:cubicBezTo>
                <a:cubicBezTo>
                  <a:pt x="2273" y="1836"/>
                  <a:pt x="2274" y="1844"/>
                  <a:pt x="2275" y="1851"/>
                </a:cubicBezTo>
                <a:cubicBezTo>
                  <a:pt x="2276" y="1853"/>
                  <a:pt x="2274" y="1855"/>
                  <a:pt x="2274" y="1856"/>
                </a:cubicBezTo>
                <a:cubicBezTo>
                  <a:pt x="2274" y="1858"/>
                  <a:pt x="2274" y="1861"/>
                  <a:pt x="2274" y="1863"/>
                </a:cubicBezTo>
                <a:cubicBezTo>
                  <a:pt x="2275" y="1868"/>
                  <a:pt x="2276" y="1872"/>
                  <a:pt x="2279" y="1877"/>
                </a:cubicBezTo>
                <a:cubicBezTo>
                  <a:pt x="2280" y="1879"/>
                  <a:pt x="2281" y="1881"/>
                  <a:pt x="2281" y="1883"/>
                </a:cubicBezTo>
                <a:cubicBezTo>
                  <a:pt x="2284" y="1892"/>
                  <a:pt x="2284" y="1900"/>
                  <a:pt x="2276" y="1907"/>
                </a:cubicBezTo>
                <a:cubicBezTo>
                  <a:pt x="2272" y="1910"/>
                  <a:pt x="2270" y="1914"/>
                  <a:pt x="2267" y="1917"/>
                </a:cubicBezTo>
                <a:cubicBezTo>
                  <a:pt x="2264" y="1920"/>
                  <a:pt x="2262" y="1924"/>
                  <a:pt x="2261" y="1928"/>
                </a:cubicBezTo>
                <a:cubicBezTo>
                  <a:pt x="2260" y="1936"/>
                  <a:pt x="2258" y="1942"/>
                  <a:pt x="2255" y="1949"/>
                </a:cubicBezTo>
                <a:cubicBezTo>
                  <a:pt x="2253" y="1952"/>
                  <a:pt x="2253" y="1956"/>
                  <a:pt x="2253" y="1960"/>
                </a:cubicBezTo>
                <a:cubicBezTo>
                  <a:pt x="2252" y="1967"/>
                  <a:pt x="2252" y="1973"/>
                  <a:pt x="2252" y="1980"/>
                </a:cubicBezTo>
                <a:cubicBezTo>
                  <a:pt x="2253" y="1983"/>
                  <a:pt x="2253" y="1987"/>
                  <a:pt x="2256" y="1989"/>
                </a:cubicBezTo>
                <a:cubicBezTo>
                  <a:pt x="2262" y="1995"/>
                  <a:pt x="2266" y="2003"/>
                  <a:pt x="2269" y="2011"/>
                </a:cubicBezTo>
                <a:cubicBezTo>
                  <a:pt x="2272" y="2020"/>
                  <a:pt x="2277" y="2029"/>
                  <a:pt x="2281" y="2037"/>
                </a:cubicBezTo>
                <a:cubicBezTo>
                  <a:pt x="2284" y="2043"/>
                  <a:pt x="2286" y="2049"/>
                  <a:pt x="2286" y="2056"/>
                </a:cubicBezTo>
                <a:cubicBezTo>
                  <a:pt x="2286" y="2063"/>
                  <a:pt x="2288" y="2070"/>
                  <a:pt x="2290" y="2077"/>
                </a:cubicBezTo>
                <a:cubicBezTo>
                  <a:pt x="2291" y="2079"/>
                  <a:pt x="2292" y="2082"/>
                  <a:pt x="2291" y="2085"/>
                </a:cubicBezTo>
                <a:cubicBezTo>
                  <a:pt x="2291" y="2093"/>
                  <a:pt x="2294" y="2100"/>
                  <a:pt x="2295" y="2107"/>
                </a:cubicBezTo>
                <a:cubicBezTo>
                  <a:pt x="2297" y="2116"/>
                  <a:pt x="2301" y="2123"/>
                  <a:pt x="2306" y="2130"/>
                </a:cubicBezTo>
                <a:cubicBezTo>
                  <a:pt x="2309" y="2133"/>
                  <a:pt x="2311" y="2137"/>
                  <a:pt x="2314" y="2140"/>
                </a:cubicBezTo>
                <a:cubicBezTo>
                  <a:pt x="2317" y="2143"/>
                  <a:pt x="2318" y="2147"/>
                  <a:pt x="2319" y="2152"/>
                </a:cubicBezTo>
                <a:cubicBezTo>
                  <a:pt x="2321" y="2160"/>
                  <a:pt x="2324" y="2169"/>
                  <a:pt x="2328" y="2177"/>
                </a:cubicBezTo>
                <a:cubicBezTo>
                  <a:pt x="2329" y="2179"/>
                  <a:pt x="2330" y="2181"/>
                  <a:pt x="2331" y="2183"/>
                </a:cubicBezTo>
                <a:cubicBezTo>
                  <a:pt x="2332" y="2188"/>
                  <a:pt x="2333" y="2192"/>
                  <a:pt x="2329" y="2197"/>
                </a:cubicBezTo>
                <a:cubicBezTo>
                  <a:pt x="2328" y="2198"/>
                  <a:pt x="2327" y="2201"/>
                  <a:pt x="2329" y="2203"/>
                </a:cubicBezTo>
                <a:cubicBezTo>
                  <a:pt x="2332" y="2207"/>
                  <a:pt x="2332" y="2212"/>
                  <a:pt x="2333" y="2217"/>
                </a:cubicBezTo>
                <a:cubicBezTo>
                  <a:pt x="2333" y="2218"/>
                  <a:pt x="2333" y="2219"/>
                  <a:pt x="2334" y="2220"/>
                </a:cubicBezTo>
                <a:cubicBezTo>
                  <a:pt x="2340" y="2223"/>
                  <a:pt x="2346" y="2226"/>
                  <a:pt x="2352" y="2229"/>
                </a:cubicBezTo>
                <a:cubicBezTo>
                  <a:pt x="2353" y="2230"/>
                  <a:pt x="2355" y="2230"/>
                  <a:pt x="2356" y="2229"/>
                </a:cubicBezTo>
                <a:cubicBezTo>
                  <a:pt x="2362" y="2226"/>
                  <a:pt x="2367" y="2224"/>
                  <a:pt x="2374" y="2224"/>
                </a:cubicBezTo>
                <a:cubicBezTo>
                  <a:pt x="2376" y="2225"/>
                  <a:pt x="2379" y="2224"/>
                  <a:pt x="2381" y="2222"/>
                </a:cubicBezTo>
                <a:cubicBezTo>
                  <a:pt x="2386" y="2221"/>
                  <a:pt x="2391" y="2220"/>
                  <a:pt x="2396" y="2220"/>
                </a:cubicBezTo>
                <a:cubicBezTo>
                  <a:pt x="2401" y="2220"/>
                  <a:pt x="2407" y="2218"/>
                  <a:pt x="2412" y="2221"/>
                </a:cubicBezTo>
                <a:cubicBezTo>
                  <a:pt x="2413" y="2221"/>
                  <a:pt x="2416" y="2222"/>
                  <a:pt x="2417" y="2221"/>
                </a:cubicBezTo>
                <a:cubicBezTo>
                  <a:pt x="2422" y="2218"/>
                  <a:pt x="2428" y="2221"/>
                  <a:pt x="2432" y="2216"/>
                </a:cubicBezTo>
                <a:cubicBezTo>
                  <a:pt x="2433" y="2215"/>
                  <a:pt x="2435" y="2214"/>
                  <a:pt x="2437" y="2214"/>
                </a:cubicBezTo>
                <a:cubicBezTo>
                  <a:pt x="2445" y="2214"/>
                  <a:pt x="2451" y="2211"/>
                  <a:pt x="2458" y="2206"/>
                </a:cubicBezTo>
                <a:cubicBezTo>
                  <a:pt x="2467" y="2200"/>
                  <a:pt x="2475" y="2192"/>
                  <a:pt x="2483" y="2185"/>
                </a:cubicBezTo>
                <a:cubicBezTo>
                  <a:pt x="2488" y="2180"/>
                  <a:pt x="2493" y="2175"/>
                  <a:pt x="2497" y="2169"/>
                </a:cubicBezTo>
                <a:cubicBezTo>
                  <a:pt x="2501" y="2162"/>
                  <a:pt x="2505" y="2157"/>
                  <a:pt x="2509" y="2151"/>
                </a:cubicBezTo>
                <a:cubicBezTo>
                  <a:pt x="2511" y="2148"/>
                  <a:pt x="2514" y="2145"/>
                  <a:pt x="2517" y="2143"/>
                </a:cubicBezTo>
                <a:cubicBezTo>
                  <a:pt x="2524" y="2138"/>
                  <a:pt x="2528" y="2132"/>
                  <a:pt x="2530" y="2124"/>
                </a:cubicBezTo>
                <a:cubicBezTo>
                  <a:pt x="2532" y="2119"/>
                  <a:pt x="2533" y="2114"/>
                  <a:pt x="2534" y="2108"/>
                </a:cubicBezTo>
                <a:cubicBezTo>
                  <a:pt x="2535" y="2106"/>
                  <a:pt x="2535" y="2103"/>
                  <a:pt x="2533" y="2100"/>
                </a:cubicBezTo>
                <a:cubicBezTo>
                  <a:pt x="2531" y="2097"/>
                  <a:pt x="2533" y="2094"/>
                  <a:pt x="2536" y="2092"/>
                </a:cubicBezTo>
                <a:cubicBezTo>
                  <a:pt x="2540" y="2088"/>
                  <a:pt x="2544" y="2086"/>
                  <a:pt x="2549" y="2084"/>
                </a:cubicBezTo>
                <a:cubicBezTo>
                  <a:pt x="2554" y="2083"/>
                  <a:pt x="2559" y="2082"/>
                  <a:pt x="2564" y="2079"/>
                </a:cubicBezTo>
                <a:cubicBezTo>
                  <a:pt x="2568" y="2076"/>
                  <a:pt x="2571" y="2073"/>
                  <a:pt x="2571" y="2068"/>
                </a:cubicBezTo>
                <a:cubicBezTo>
                  <a:pt x="2571" y="2062"/>
                  <a:pt x="2572" y="2057"/>
                  <a:pt x="2573" y="2052"/>
                </a:cubicBezTo>
                <a:cubicBezTo>
                  <a:pt x="2574" y="2049"/>
                  <a:pt x="2574" y="2046"/>
                  <a:pt x="2573" y="2043"/>
                </a:cubicBezTo>
                <a:cubicBezTo>
                  <a:pt x="2570" y="2035"/>
                  <a:pt x="2568" y="2027"/>
                  <a:pt x="2566" y="2018"/>
                </a:cubicBezTo>
                <a:cubicBezTo>
                  <a:pt x="2565" y="2015"/>
                  <a:pt x="2565" y="2012"/>
                  <a:pt x="2568" y="2010"/>
                </a:cubicBezTo>
                <a:cubicBezTo>
                  <a:pt x="2580" y="2001"/>
                  <a:pt x="2591" y="1991"/>
                  <a:pt x="2603" y="1981"/>
                </a:cubicBezTo>
                <a:cubicBezTo>
                  <a:pt x="2606" y="1978"/>
                  <a:pt x="2610" y="1976"/>
                  <a:pt x="2614" y="1975"/>
                </a:cubicBezTo>
                <a:cubicBezTo>
                  <a:pt x="2619" y="1973"/>
                  <a:pt x="2623" y="1970"/>
                  <a:pt x="2628" y="1968"/>
                </a:cubicBezTo>
                <a:cubicBezTo>
                  <a:pt x="2637" y="1962"/>
                  <a:pt x="2643" y="1954"/>
                  <a:pt x="2647" y="1944"/>
                </a:cubicBezTo>
                <a:cubicBezTo>
                  <a:pt x="2649" y="1940"/>
                  <a:pt x="2651" y="1935"/>
                  <a:pt x="2650" y="1930"/>
                </a:cubicBezTo>
                <a:cubicBezTo>
                  <a:pt x="2649" y="1925"/>
                  <a:pt x="2650" y="1920"/>
                  <a:pt x="2650" y="1915"/>
                </a:cubicBezTo>
                <a:cubicBezTo>
                  <a:pt x="2650" y="1911"/>
                  <a:pt x="2650" y="1907"/>
                  <a:pt x="2650" y="1904"/>
                </a:cubicBezTo>
                <a:cubicBezTo>
                  <a:pt x="2648" y="1897"/>
                  <a:pt x="2649" y="1891"/>
                  <a:pt x="2651" y="1884"/>
                </a:cubicBezTo>
                <a:cubicBezTo>
                  <a:pt x="2651" y="1881"/>
                  <a:pt x="2650" y="1877"/>
                  <a:pt x="2647" y="1876"/>
                </a:cubicBezTo>
                <a:cubicBezTo>
                  <a:pt x="2641" y="1872"/>
                  <a:pt x="2639" y="1867"/>
                  <a:pt x="2637" y="1861"/>
                </a:cubicBezTo>
                <a:cubicBezTo>
                  <a:pt x="2635" y="1853"/>
                  <a:pt x="2636" y="1846"/>
                  <a:pt x="2635" y="1838"/>
                </a:cubicBezTo>
                <a:cubicBezTo>
                  <a:pt x="2634" y="1837"/>
                  <a:pt x="2635" y="1835"/>
                  <a:pt x="2636" y="1833"/>
                </a:cubicBezTo>
                <a:cubicBezTo>
                  <a:pt x="2637" y="1830"/>
                  <a:pt x="2637" y="1827"/>
                  <a:pt x="2634" y="1825"/>
                </a:cubicBezTo>
                <a:cubicBezTo>
                  <a:pt x="2629" y="1820"/>
                  <a:pt x="2628" y="1815"/>
                  <a:pt x="2631" y="1809"/>
                </a:cubicBezTo>
                <a:cubicBezTo>
                  <a:pt x="2633" y="1804"/>
                  <a:pt x="2635" y="1798"/>
                  <a:pt x="2639" y="1794"/>
                </a:cubicBezTo>
                <a:cubicBezTo>
                  <a:pt x="2644" y="1790"/>
                  <a:pt x="2645" y="1783"/>
                  <a:pt x="2648" y="1777"/>
                </a:cubicBezTo>
                <a:cubicBezTo>
                  <a:pt x="2650" y="1774"/>
                  <a:pt x="2651" y="1771"/>
                  <a:pt x="2654" y="1770"/>
                </a:cubicBezTo>
                <a:cubicBezTo>
                  <a:pt x="2660" y="1767"/>
                  <a:pt x="2664" y="1763"/>
                  <a:pt x="2668" y="1758"/>
                </a:cubicBezTo>
                <a:cubicBezTo>
                  <a:pt x="2677" y="1745"/>
                  <a:pt x="2689" y="1734"/>
                  <a:pt x="2700" y="1723"/>
                </a:cubicBezTo>
                <a:cubicBezTo>
                  <a:pt x="2707" y="1716"/>
                  <a:pt x="2714" y="1709"/>
                  <a:pt x="2723" y="1706"/>
                </a:cubicBezTo>
                <a:cubicBezTo>
                  <a:pt x="2724" y="1706"/>
                  <a:pt x="2725" y="1705"/>
                  <a:pt x="2725" y="1704"/>
                </a:cubicBezTo>
                <a:cubicBezTo>
                  <a:pt x="2746" y="1688"/>
                  <a:pt x="2763" y="1668"/>
                  <a:pt x="2773" y="1644"/>
                </a:cubicBezTo>
                <a:cubicBezTo>
                  <a:pt x="2777" y="1635"/>
                  <a:pt x="2780" y="1626"/>
                  <a:pt x="2787" y="1618"/>
                </a:cubicBezTo>
                <a:cubicBezTo>
                  <a:pt x="2791" y="1613"/>
                  <a:pt x="2793" y="1606"/>
                  <a:pt x="2795" y="1600"/>
                </a:cubicBezTo>
                <a:cubicBezTo>
                  <a:pt x="2798" y="1591"/>
                  <a:pt x="2797" y="1582"/>
                  <a:pt x="2797" y="1574"/>
                </a:cubicBezTo>
                <a:cubicBezTo>
                  <a:pt x="2798" y="1572"/>
                  <a:pt x="2793" y="1569"/>
                  <a:pt x="2791" y="1570"/>
                </a:cubicBezTo>
                <a:cubicBezTo>
                  <a:pt x="2791" y="1570"/>
                  <a:pt x="2790" y="1570"/>
                  <a:pt x="2790" y="1570"/>
                </a:cubicBezTo>
                <a:cubicBezTo>
                  <a:pt x="2783" y="1576"/>
                  <a:pt x="2776" y="1577"/>
                  <a:pt x="2768" y="1578"/>
                </a:cubicBezTo>
                <a:cubicBezTo>
                  <a:pt x="2757" y="1580"/>
                  <a:pt x="2746" y="1580"/>
                  <a:pt x="2736" y="1584"/>
                </a:cubicBezTo>
                <a:cubicBezTo>
                  <a:pt x="2734" y="1585"/>
                  <a:pt x="2733" y="1585"/>
                  <a:pt x="2731" y="1585"/>
                </a:cubicBezTo>
                <a:cubicBezTo>
                  <a:pt x="2725" y="1584"/>
                  <a:pt x="2719" y="1586"/>
                  <a:pt x="2714" y="1589"/>
                </a:cubicBezTo>
                <a:cubicBezTo>
                  <a:pt x="2712" y="1590"/>
                  <a:pt x="2711" y="1591"/>
                  <a:pt x="2709" y="1591"/>
                </a:cubicBezTo>
                <a:cubicBezTo>
                  <a:pt x="2707" y="1592"/>
                  <a:pt x="2705" y="1591"/>
                  <a:pt x="2703" y="1590"/>
                </a:cubicBezTo>
                <a:cubicBezTo>
                  <a:pt x="2701" y="1589"/>
                  <a:pt x="2700" y="1588"/>
                  <a:pt x="2699" y="1587"/>
                </a:cubicBezTo>
                <a:cubicBezTo>
                  <a:pt x="2695" y="1583"/>
                  <a:pt x="2691" y="1579"/>
                  <a:pt x="2687" y="1575"/>
                </a:cubicBezTo>
                <a:cubicBezTo>
                  <a:pt x="2686" y="1574"/>
                  <a:pt x="2686" y="1573"/>
                  <a:pt x="2687" y="1571"/>
                </a:cubicBezTo>
                <a:cubicBezTo>
                  <a:pt x="2690" y="1565"/>
                  <a:pt x="2690" y="1563"/>
                  <a:pt x="2686" y="1560"/>
                </a:cubicBezTo>
                <a:cubicBezTo>
                  <a:pt x="2683" y="1557"/>
                  <a:pt x="2680" y="1555"/>
                  <a:pt x="2678" y="1551"/>
                </a:cubicBezTo>
                <a:cubicBezTo>
                  <a:pt x="2673" y="1545"/>
                  <a:pt x="2666" y="1539"/>
                  <a:pt x="2661" y="1533"/>
                </a:cubicBezTo>
                <a:cubicBezTo>
                  <a:pt x="2657" y="1530"/>
                  <a:pt x="2653" y="1528"/>
                  <a:pt x="2648" y="1525"/>
                </a:cubicBezTo>
                <a:cubicBezTo>
                  <a:pt x="2640" y="1521"/>
                  <a:pt x="2634" y="1516"/>
                  <a:pt x="2632" y="1506"/>
                </a:cubicBezTo>
                <a:cubicBezTo>
                  <a:pt x="2631" y="1502"/>
                  <a:pt x="2629" y="1497"/>
                  <a:pt x="2627" y="1492"/>
                </a:cubicBezTo>
                <a:cubicBezTo>
                  <a:pt x="2626" y="1487"/>
                  <a:pt x="2623" y="1483"/>
                  <a:pt x="2619" y="1480"/>
                </a:cubicBezTo>
                <a:cubicBezTo>
                  <a:pt x="2615" y="1478"/>
                  <a:pt x="2612" y="1475"/>
                  <a:pt x="2608" y="1472"/>
                </a:cubicBezTo>
                <a:cubicBezTo>
                  <a:pt x="2606" y="1470"/>
                  <a:pt x="2604" y="1467"/>
                  <a:pt x="2604" y="1464"/>
                </a:cubicBezTo>
                <a:cubicBezTo>
                  <a:pt x="2604" y="1454"/>
                  <a:pt x="2601" y="1445"/>
                  <a:pt x="2599" y="1436"/>
                </a:cubicBezTo>
                <a:cubicBezTo>
                  <a:pt x="2597" y="1427"/>
                  <a:pt x="2592" y="1421"/>
                  <a:pt x="2585" y="1417"/>
                </a:cubicBezTo>
                <a:cubicBezTo>
                  <a:pt x="2583" y="1416"/>
                  <a:pt x="2582" y="1416"/>
                  <a:pt x="2580" y="1415"/>
                </a:cubicBezTo>
                <a:cubicBezTo>
                  <a:pt x="2579" y="1414"/>
                  <a:pt x="2578" y="1412"/>
                  <a:pt x="2578" y="1411"/>
                </a:cubicBezTo>
                <a:cubicBezTo>
                  <a:pt x="2577" y="1409"/>
                  <a:pt x="2577" y="1407"/>
                  <a:pt x="2577" y="1406"/>
                </a:cubicBezTo>
                <a:cubicBezTo>
                  <a:pt x="2577" y="1400"/>
                  <a:pt x="2576" y="1395"/>
                  <a:pt x="2572" y="1391"/>
                </a:cubicBezTo>
                <a:cubicBezTo>
                  <a:pt x="2570" y="1389"/>
                  <a:pt x="2569" y="1386"/>
                  <a:pt x="2568" y="1384"/>
                </a:cubicBezTo>
                <a:cubicBezTo>
                  <a:pt x="2561" y="1374"/>
                  <a:pt x="2554" y="1364"/>
                  <a:pt x="2551" y="1351"/>
                </a:cubicBezTo>
                <a:cubicBezTo>
                  <a:pt x="2551" y="1349"/>
                  <a:pt x="2550" y="1348"/>
                  <a:pt x="2549" y="1346"/>
                </a:cubicBezTo>
                <a:cubicBezTo>
                  <a:pt x="2548" y="1344"/>
                  <a:pt x="2549" y="1342"/>
                  <a:pt x="2551" y="1342"/>
                </a:cubicBezTo>
                <a:cubicBezTo>
                  <a:pt x="2553" y="1342"/>
                  <a:pt x="2555" y="1343"/>
                  <a:pt x="2557" y="1341"/>
                </a:cubicBezTo>
                <a:cubicBezTo>
                  <a:pt x="2559" y="1340"/>
                  <a:pt x="2560" y="1338"/>
                  <a:pt x="2563" y="1338"/>
                </a:cubicBezTo>
                <a:cubicBezTo>
                  <a:pt x="2566" y="1338"/>
                  <a:pt x="2568" y="1340"/>
                  <a:pt x="2569" y="1342"/>
                </a:cubicBezTo>
                <a:cubicBezTo>
                  <a:pt x="2571" y="1344"/>
                  <a:pt x="2572" y="1346"/>
                  <a:pt x="2573" y="1348"/>
                </a:cubicBezTo>
                <a:cubicBezTo>
                  <a:pt x="2580" y="1355"/>
                  <a:pt x="2584" y="1365"/>
                  <a:pt x="2590" y="1372"/>
                </a:cubicBezTo>
                <a:cubicBezTo>
                  <a:pt x="2593" y="1377"/>
                  <a:pt x="2596" y="1381"/>
                  <a:pt x="2597" y="1387"/>
                </a:cubicBezTo>
                <a:cubicBezTo>
                  <a:pt x="2598" y="1390"/>
                  <a:pt x="2600" y="1393"/>
                  <a:pt x="2603" y="1394"/>
                </a:cubicBezTo>
                <a:cubicBezTo>
                  <a:pt x="2610" y="1396"/>
                  <a:pt x="2614" y="1401"/>
                  <a:pt x="2617" y="1407"/>
                </a:cubicBezTo>
                <a:cubicBezTo>
                  <a:pt x="2618" y="1409"/>
                  <a:pt x="2619" y="1411"/>
                  <a:pt x="2620" y="1413"/>
                </a:cubicBezTo>
                <a:cubicBezTo>
                  <a:pt x="2622" y="1417"/>
                  <a:pt x="2623" y="1420"/>
                  <a:pt x="2622" y="1424"/>
                </a:cubicBezTo>
                <a:cubicBezTo>
                  <a:pt x="2622" y="1426"/>
                  <a:pt x="2623" y="1428"/>
                  <a:pt x="2623" y="1429"/>
                </a:cubicBezTo>
                <a:cubicBezTo>
                  <a:pt x="2623" y="1438"/>
                  <a:pt x="2628" y="1445"/>
                  <a:pt x="2635" y="1450"/>
                </a:cubicBezTo>
                <a:cubicBezTo>
                  <a:pt x="2637" y="1452"/>
                  <a:pt x="2640" y="1454"/>
                  <a:pt x="2643" y="1456"/>
                </a:cubicBezTo>
                <a:cubicBezTo>
                  <a:pt x="2647" y="1459"/>
                  <a:pt x="2651" y="1463"/>
                  <a:pt x="2652" y="1469"/>
                </a:cubicBezTo>
                <a:cubicBezTo>
                  <a:pt x="2654" y="1475"/>
                  <a:pt x="2658" y="1480"/>
                  <a:pt x="2663" y="1485"/>
                </a:cubicBezTo>
                <a:cubicBezTo>
                  <a:pt x="2666" y="1489"/>
                  <a:pt x="2670" y="1494"/>
                  <a:pt x="2673" y="1498"/>
                </a:cubicBezTo>
                <a:cubicBezTo>
                  <a:pt x="2677" y="1504"/>
                  <a:pt x="2679" y="1510"/>
                  <a:pt x="2678" y="1517"/>
                </a:cubicBezTo>
                <a:cubicBezTo>
                  <a:pt x="2677" y="1519"/>
                  <a:pt x="2677" y="1521"/>
                  <a:pt x="2678" y="1523"/>
                </a:cubicBezTo>
                <a:cubicBezTo>
                  <a:pt x="2682" y="1531"/>
                  <a:pt x="2683" y="1539"/>
                  <a:pt x="2685" y="1547"/>
                </a:cubicBezTo>
                <a:cubicBezTo>
                  <a:pt x="2687" y="1550"/>
                  <a:pt x="2688" y="1553"/>
                  <a:pt x="2689" y="1556"/>
                </a:cubicBezTo>
                <a:cubicBezTo>
                  <a:pt x="2691" y="1558"/>
                  <a:pt x="2693" y="1559"/>
                  <a:pt x="2696" y="1560"/>
                </a:cubicBezTo>
                <a:cubicBezTo>
                  <a:pt x="2699" y="1560"/>
                  <a:pt x="2702" y="1559"/>
                  <a:pt x="2704" y="1559"/>
                </a:cubicBezTo>
                <a:cubicBezTo>
                  <a:pt x="2708" y="1559"/>
                  <a:pt x="2712" y="1557"/>
                  <a:pt x="2715" y="1554"/>
                </a:cubicBezTo>
                <a:cubicBezTo>
                  <a:pt x="2718" y="1550"/>
                  <a:pt x="2722" y="1549"/>
                  <a:pt x="2728" y="1549"/>
                </a:cubicBezTo>
                <a:cubicBezTo>
                  <a:pt x="2734" y="1550"/>
                  <a:pt x="2740" y="1549"/>
                  <a:pt x="2745" y="1545"/>
                </a:cubicBezTo>
                <a:cubicBezTo>
                  <a:pt x="2748" y="1543"/>
                  <a:pt x="2752" y="1542"/>
                  <a:pt x="2756" y="1541"/>
                </a:cubicBezTo>
                <a:cubicBezTo>
                  <a:pt x="2759" y="1541"/>
                  <a:pt x="2762" y="1540"/>
                  <a:pt x="2764" y="1537"/>
                </a:cubicBezTo>
                <a:cubicBezTo>
                  <a:pt x="2767" y="1534"/>
                  <a:pt x="2771" y="1532"/>
                  <a:pt x="2774" y="1531"/>
                </a:cubicBezTo>
                <a:cubicBezTo>
                  <a:pt x="2780" y="1529"/>
                  <a:pt x="2786" y="1528"/>
                  <a:pt x="2791" y="1526"/>
                </a:cubicBezTo>
                <a:cubicBezTo>
                  <a:pt x="2796" y="1524"/>
                  <a:pt x="2800" y="1521"/>
                  <a:pt x="2805" y="1519"/>
                </a:cubicBezTo>
                <a:cubicBezTo>
                  <a:pt x="2807" y="1518"/>
                  <a:pt x="2809" y="1517"/>
                  <a:pt x="2809" y="1515"/>
                </a:cubicBezTo>
                <a:cubicBezTo>
                  <a:pt x="2810" y="1509"/>
                  <a:pt x="2814" y="1506"/>
                  <a:pt x="2819" y="1505"/>
                </a:cubicBezTo>
                <a:cubicBezTo>
                  <a:pt x="2826" y="1503"/>
                  <a:pt x="2833" y="1500"/>
                  <a:pt x="2840" y="1499"/>
                </a:cubicBezTo>
                <a:cubicBezTo>
                  <a:pt x="2844" y="1498"/>
                  <a:pt x="2848" y="1497"/>
                  <a:pt x="2849" y="1492"/>
                </a:cubicBezTo>
                <a:cubicBezTo>
                  <a:pt x="2850" y="1489"/>
                  <a:pt x="2851" y="1487"/>
                  <a:pt x="2854" y="1486"/>
                </a:cubicBezTo>
                <a:cubicBezTo>
                  <a:pt x="2860" y="1485"/>
                  <a:pt x="2864" y="1482"/>
                  <a:pt x="2866" y="1476"/>
                </a:cubicBezTo>
                <a:cubicBezTo>
                  <a:pt x="2867" y="1474"/>
                  <a:pt x="2870" y="1472"/>
                  <a:pt x="2873" y="1471"/>
                </a:cubicBezTo>
                <a:cubicBezTo>
                  <a:pt x="2875" y="1471"/>
                  <a:pt x="2877" y="1470"/>
                  <a:pt x="2879" y="1469"/>
                </a:cubicBezTo>
                <a:cubicBezTo>
                  <a:pt x="2880" y="1469"/>
                  <a:pt x="2881" y="1467"/>
                  <a:pt x="2881" y="1466"/>
                </a:cubicBezTo>
                <a:cubicBezTo>
                  <a:pt x="2882" y="1462"/>
                  <a:pt x="2881" y="1459"/>
                  <a:pt x="2882" y="1456"/>
                </a:cubicBezTo>
                <a:cubicBezTo>
                  <a:pt x="2882" y="1453"/>
                  <a:pt x="2883" y="1450"/>
                  <a:pt x="2886" y="1449"/>
                </a:cubicBezTo>
                <a:cubicBezTo>
                  <a:pt x="2894" y="1443"/>
                  <a:pt x="2899" y="1435"/>
                  <a:pt x="2903" y="1427"/>
                </a:cubicBezTo>
                <a:cubicBezTo>
                  <a:pt x="2906" y="1422"/>
                  <a:pt x="2905" y="1419"/>
                  <a:pt x="2900" y="1414"/>
                </a:cubicBezTo>
                <a:cubicBezTo>
                  <a:pt x="2897" y="1411"/>
                  <a:pt x="2894" y="1408"/>
                  <a:pt x="2892" y="1404"/>
                </a:cubicBezTo>
                <a:cubicBezTo>
                  <a:pt x="2890" y="1401"/>
                  <a:pt x="2888" y="1399"/>
                  <a:pt x="2884" y="1399"/>
                </a:cubicBezTo>
                <a:cubicBezTo>
                  <a:pt x="2880" y="1398"/>
                  <a:pt x="2875" y="1398"/>
                  <a:pt x="2871" y="1397"/>
                </a:cubicBezTo>
                <a:cubicBezTo>
                  <a:pt x="2868" y="1396"/>
                  <a:pt x="2866" y="1395"/>
                  <a:pt x="2864" y="1393"/>
                </a:cubicBezTo>
                <a:cubicBezTo>
                  <a:pt x="2860" y="1389"/>
                  <a:pt x="2857" y="1384"/>
                  <a:pt x="2856" y="1379"/>
                </a:cubicBezTo>
                <a:cubicBezTo>
                  <a:pt x="2856" y="1374"/>
                  <a:pt x="2855" y="1369"/>
                  <a:pt x="2854" y="1364"/>
                </a:cubicBezTo>
                <a:cubicBezTo>
                  <a:pt x="2854" y="1363"/>
                  <a:pt x="2854" y="1363"/>
                  <a:pt x="2853" y="1363"/>
                </a:cubicBezTo>
                <a:cubicBezTo>
                  <a:pt x="2852" y="1363"/>
                  <a:pt x="2851" y="1363"/>
                  <a:pt x="2850" y="1363"/>
                </a:cubicBezTo>
                <a:cubicBezTo>
                  <a:pt x="2844" y="1370"/>
                  <a:pt x="2837" y="1377"/>
                  <a:pt x="2832" y="1384"/>
                </a:cubicBezTo>
                <a:cubicBezTo>
                  <a:pt x="2828" y="1391"/>
                  <a:pt x="2823" y="1394"/>
                  <a:pt x="2816" y="1393"/>
                </a:cubicBezTo>
                <a:cubicBezTo>
                  <a:pt x="2810" y="1393"/>
                  <a:pt x="2805" y="1393"/>
                  <a:pt x="2800" y="1395"/>
                </a:cubicBezTo>
                <a:cubicBezTo>
                  <a:pt x="2798" y="1396"/>
                  <a:pt x="2795" y="1395"/>
                  <a:pt x="2794" y="1393"/>
                </a:cubicBezTo>
                <a:cubicBezTo>
                  <a:pt x="2792" y="1391"/>
                  <a:pt x="2790" y="1389"/>
                  <a:pt x="2790" y="1386"/>
                </a:cubicBezTo>
                <a:cubicBezTo>
                  <a:pt x="2790" y="1381"/>
                  <a:pt x="2789" y="1375"/>
                  <a:pt x="2788" y="1370"/>
                </a:cubicBezTo>
                <a:cubicBezTo>
                  <a:pt x="2788" y="1369"/>
                  <a:pt x="2788" y="1368"/>
                  <a:pt x="2787" y="1367"/>
                </a:cubicBezTo>
                <a:cubicBezTo>
                  <a:pt x="2786" y="1366"/>
                  <a:pt x="2785" y="1365"/>
                  <a:pt x="2785" y="1365"/>
                </a:cubicBezTo>
                <a:cubicBezTo>
                  <a:pt x="2784" y="1365"/>
                  <a:pt x="2782" y="1365"/>
                  <a:pt x="2782" y="1366"/>
                </a:cubicBezTo>
                <a:cubicBezTo>
                  <a:pt x="2781" y="1368"/>
                  <a:pt x="2780" y="1370"/>
                  <a:pt x="2779" y="1372"/>
                </a:cubicBezTo>
                <a:cubicBezTo>
                  <a:pt x="2778" y="1374"/>
                  <a:pt x="2776" y="1374"/>
                  <a:pt x="2774" y="1372"/>
                </a:cubicBezTo>
                <a:cubicBezTo>
                  <a:pt x="2772" y="1369"/>
                  <a:pt x="2770" y="1367"/>
                  <a:pt x="2770" y="1363"/>
                </a:cubicBezTo>
                <a:cubicBezTo>
                  <a:pt x="2769" y="1357"/>
                  <a:pt x="2766" y="1353"/>
                  <a:pt x="2762" y="1349"/>
                </a:cubicBezTo>
                <a:cubicBezTo>
                  <a:pt x="2759" y="1346"/>
                  <a:pt x="2757" y="1343"/>
                  <a:pt x="2754" y="1341"/>
                </a:cubicBezTo>
                <a:cubicBezTo>
                  <a:pt x="2753" y="1339"/>
                  <a:pt x="2751" y="1339"/>
                  <a:pt x="2750" y="1337"/>
                </a:cubicBezTo>
                <a:cubicBezTo>
                  <a:pt x="2747" y="1332"/>
                  <a:pt x="2744" y="1326"/>
                  <a:pt x="2741" y="1320"/>
                </a:cubicBezTo>
                <a:cubicBezTo>
                  <a:pt x="2740" y="1319"/>
                  <a:pt x="2740" y="1317"/>
                  <a:pt x="2740" y="1315"/>
                </a:cubicBezTo>
                <a:cubicBezTo>
                  <a:pt x="2741" y="1313"/>
                  <a:pt x="2741" y="1311"/>
                  <a:pt x="2742" y="1309"/>
                </a:cubicBezTo>
                <a:cubicBezTo>
                  <a:pt x="2742" y="1308"/>
                  <a:pt x="2743" y="1307"/>
                  <a:pt x="2744" y="1307"/>
                </a:cubicBezTo>
                <a:cubicBezTo>
                  <a:pt x="2747" y="1306"/>
                  <a:pt x="2750" y="1306"/>
                  <a:pt x="2754" y="1306"/>
                </a:cubicBezTo>
                <a:cubicBezTo>
                  <a:pt x="2757" y="1306"/>
                  <a:pt x="2760" y="1306"/>
                  <a:pt x="2763" y="1307"/>
                </a:cubicBezTo>
                <a:cubicBezTo>
                  <a:pt x="2765" y="1309"/>
                  <a:pt x="2766" y="1312"/>
                  <a:pt x="2768" y="1314"/>
                </a:cubicBezTo>
                <a:cubicBezTo>
                  <a:pt x="2772" y="1320"/>
                  <a:pt x="2776" y="1327"/>
                  <a:pt x="2780" y="1334"/>
                </a:cubicBezTo>
                <a:cubicBezTo>
                  <a:pt x="2782" y="1337"/>
                  <a:pt x="2784" y="1338"/>
                  <a:pt x="2788" y="1339"/>
                </a:cubicBezTo>
                <a:cubicBezTo>
                  <a:pt x="2789" y="1340"/>
                  <a:pt x="2791" y="1340"/>
                  <a:pt x="2793" y="1341"/>
                </a:cubicBezTo>
                <a:cubicBezTo>
                  <a:pt x="2796" y="1341"/>
                  <a:pt x="2800" y="1343"/>
                  <a:pt x="2802" y="1346"/>
                </a:cubicBezTo>
                <a:cubicBezTo>
                  <a:pt x="2804" y="1348"/>
                  <a:pt x="2807" y="1349"/>
                  <a:pt x="2809" y="1351"/>
                </a:cubicBezTo>
                <a:cubicBezTo>
                  <a:pt x="2815" y="1355"/>
                  <a:pt x="2822" y="1356"/>
                  <a:pt x="2829" y="1358"/>
                </a:cubicBezTo>
                <a:cubicBezTo>
                  <a:pt x="2832" y="1359"/>
                  <a:pt x="2834" y="1358"/>
                  <a:pt x="2837" y="1357"/>
                </a:cubicBezTo>
                <a:cubicBezTo>
                  <a:pt x="2841" y="1355"/>
                  <a:pt x="2845" y="1353"/>
                  <a:pt x="2849" y="1351"/>
                </a:cubicBezTo>
                <a:cubicBezTo>
                  <a:pt x="2853" y="1349"/>
                  <a:pt x="2858" y="1351"/>
                  <a:pt x="2860" y="1355"/>
                </a:cubicBezTo>
                <a:cubicBezTo>
                  <a:pt x="2861" y="1359"/>
                  <a:pt x="2863" y="1362"/>
                  <a:pt x="2864" y="1366"/>
                </a:cubicBezTo>
                <a:cubicBezTo>
                  <a:pt x="2866" y="1369"/>
                  <a:pt x="2868" y="1371"/>
                  <a:pt x="2872" y="1371"/>
                </a:cubicBezTo>
                <a:cubicBezTo>
                  <a:pt x="2887" y="1372"/>
                  <a:pt x="2902" y="1376"/>
                  <a:pt x="2918" y="1378"/>
                </a:cubicBezTo>
                <a:cubicBezTo>
                  <a:pt x="2923" y="1379"/>
                  <a:pt x="2928" y="1379"/>
                  <a:pt x="2934" y="1379"/>
                </a:cubicBezTo>
                <a:cubicBezTo>
                  <a:pt x="2943" y="1377"/>
                  <a:pt x="2952" y="1375"/>
                  <a:pt x="2962" y="1377"/>
                </a:cubicBezTo>
                <a:cubicBezTo>
                  <a:pt x="2964" y="1377"/>
                  <a:pt x="2966" y="1376"/>
                  <a:pt x="2968" y="1376"/>
                </a:cubicBezTo>
                <a:cubicBezTo>
                  <a:pt x="2975" y="1374"/>
                  <a:pt x="2981" y="1374"/>
                  <a:pt x="2988" y="1374"/>
                </a:cubicBezTo>
                <a:cubicBezTo>
                  <a:pt x="2990" y="1374"/>
                  <a:pt x="2992" y="1375"/>
                  <a:pt x="2993" y="1378"/>
                </a:cubicBezTo>
                <a:cubicBezTo>
                  <a:pt x="2994" y="1380"/>
                  <a:pt x="2995" y="1381"/>
                  <a:pt x="2997" y="1383"/>
                </a:cubicBezTo>
                <a:cubicBezTo>
                  <a:pt x="3000" y="1384"/>
                  <a:pt x="3002" y="1386"/>
                  <a:pt x="3002" y="1389"/>
                </a:cubicBezTo>
                <a:cubicBezTo>
                  <a:pt x="3004" y="1394"/>
                  <a:pt x="3007" y="1397"/>
                  <a:pt x="3012" y="1398"/>
                </a:cubicBezTo>
                <a:cubicBezTo>
                  <a:pt x="3016" y="1399"/>
                  <a:pt x="3019" y="1401"/>
                  <a:pt x="3022" y="1405"/>
                </a:cubicBezTo>
                <a:cubicBezTo>
                  <a:pt x="3026" y="1411"/>
                  <a:pt x="3032" y="1413"/>
                  <a:pt x="3039" y="1413"/>
                </a:cubicBezTo>
                <a:cubicBezTo>
                  <a:pt x="3040" y="1413"/>
                  <a:pt x="3042" y="1414"/>
                  <a:pt x="3043" y="1414"/>
                </a:cubicBezTo>
                <a:cubicBezTo>
                  <a:pt x="3043" y="1413"/>
                  <a:pt x="3043" y="1413"/>
                  <a:pt x="3043" y="1413"/>
                </a:cubicBezTo>
                <a:cubicBezTo>
                  <a:pt x="3044" y="1413"/>
                  <a:pt x="3044" y="1413"/>
                  <a:pt x="3044" y="1413"/>
                </a:cubicBezTo>
                <a:cubicBezTo>
                  <a:pt x="3044" y="1414"/>
                  <a:pt x="3044" y="1414"/>
                  <a:pt x="3044" y="1414"/>
                </a:cubicBezTo>
                <a:cubicBezTo>
                  <a:pt x="3043" y="1414"/>
                  <a:pt x="3043" y="1414"/>
                  <a:pt x="3043" y="1414"/>
                </a:cubicBezTo>
                <a:cubicBezTo>
                  <a:pt x="3040" y="1417"/>
                  <a:pt x="3037" y="1420"/>
                  <a:pt x="3032" y="1418"/>
                </a:cubicBezTo>
                <a:cubicBezTo>
                  <a:pt x="3032" y="1417"/>
                  <a:pt x="3030" y="1418"/>
                  <a:pt x="3030" y="1419"/>
                </a:cubicBezTo>
                <a:cubicBezTo>
                  <a:pt x="3029" y="1419"/>
                  <a:pt x="3029" y="1421"/>
                  <a:pt x="3030" y="1422"/>
                </a:cubicBezTo>
                <a:cubicBezTo>
                  <a:pt x="3035" y="1427"/>
                  <a:pt x="3040" y="1432"/>
                  <a:pt x="3045" y="1437"/>
                </a:cubicBezTo>
                <a:cubicBezTo>
                  <a:pt x="3054" y="1445"/>
                  <a:pt x="3058" y="1445"/>
                  <a:pt x="3069" y="1438"/>
                </a:cubicBezTo>
                <a:cubicBezTo>
                  <a:pt x="3073" y="1436"/>
                  <a:pt x="3076" y="1432"/>
                  <a:pt x="3077" y="1427"/>
                </a:cubicBezTo>
                <a:cubicBezTo>
                  <a:pt x="3077" y="1427"/>
                  <a:pt x="3076" y="1427"/>
                  <a:pt x="3076" y="1427"/>
                </a:cubicBezTo>
                <a:cubicBezTo>
                  <a:pt x="3076" y="1426"/>
                  <a:pt x="3076" y="1426"/>
                  <a:pt x="3076" y="1426"/>
                </a:cubicBezTo>
                <a:cubicBezTo>
                  <a:pt x="3077" y="1427"/>
                  <a:pt x="3077" y="1427"/>
                  <a:pt x="3077" y="1427"/>
                </a:cubicBezTo>
                <a:cubicBezTo>
                  <a:pt x="3077" y="1427"/>
                  <a:pt x="3077" y="1427"/>
                  <a:pt x="3077" y="1427"/>
                </a:cubicBezTo>
                <a:cubicBezTo>
                  <a:pt x="3077" y="1427"/>
                  <a:pt x="3078" y="1428"/>
                  <a:pt x="3078" y="1428"/>
                </a:cubicBezTo>
                <a:cubicBezTo>
                  <a:pt x="3080" y="1435"/>
                  <a:pt x="3083" y="1442"/>
                  <a:pt x="3083" y="1450"/>
                </a:cubicBezTo>
                <a:cubicBezTo>
                  <a:pt x="3082" y="1453"/>
                  <a:pt x="3082" y="1457"/>
                  <a:pt x="3083" y="1460"/>
                </a:cubicBezTo>
                <a:cubicBezTo>
                  <a:pt x="3086" y="1468"/>
                  <a:pt x="3087" y="1476"/>
                  <a:pt x="3089" y="1484"/>
                </a:cubicBezTo>
                <a:cubicBezTo>
                  <a:pt x="3091" y="1492"/>
                  <a:pt x="3096" y="1499"/>
                  <a:pt x="3096" y="1507"/>
                </a:cubicBezTo>
                <a:cubicBezTo>
                  <a:pt x="3096" y="1509"/>
                  <a:pt x="3098" y="1510"/>
                  <a:pt x="3098" y="1512"/>
                </a:cubicBezTo>
                <a:cubicBezTo>
                  <a:pt x="3101" y="1517"/>
                  <a:pt x="3103" y="1522"/>
                  <a:pt x="3107" y="1526"/>
                </a:cubicBezTo>
                <a:cubicBezTo>
                  <a:pt x="3110" y="1532"/>
                  <a:pt x="3113" y="1538"/>
                  <a:pt x="3115" y="1544"/>
                </a:cubicBezTo>
                <a:cubicBezTo>
                  <a:pt x="3116" y="1547"/>
                  <a:pt x="3117" y="1550"/>
                  <a:pt x="3118" y="1553"/>
                </a:cubicBezTo>
                <a:cubicBezTo>
                  <a:pt x="3120" y="1560"/>
                  <a:pt x="3123" y="1566"/>
                  <a:pt x="3127" y="1571"/>
                </a:cubicBezTo>
                <a:cubicBezTo>
                  <a:pt x="3130" y="1573"/>
                  <a:pt x="3133" y="1577"/>
                  <a:pt x="3134" y="1580"/>
                </a:cubicBezTo>
                <a:cubicBezTo>
                  <a:pt x="3137" y="1588"/>
                  <a:pt x="3141" y="1595"/>
                  <a:pt x="3142" y="1603"/>
                </a:cubicBezTo>
                <a:cubicBezTo>
                  <a:pt x="3143" y="1608"/>
                  <a:pt x="3145" y="1613"/>
                  <a:pt x="3148" y="1617"/>
                </a:cubicBezTo>
                <a:cubicBezTo>
                  <a:pt x="3150" y="1618"/>
                  <a:pt x="3151" y="1620"/>
                  <a:pt x="3153" y="1621"/>
                </a:cubicBezTo>
                <a:cubicBezTo>
                  <a:pt x="3157" y="1625"/>
                  <a:pt x="3163" y="1624"/>
                  <a:pt x="3166" y="1620"/>
                </a:cubicBezTo>
                <a:cubicBezTo>
                  <a:pt x="3167" y="1618"/>
                  <a:pt x="3168" y="1617"/>
                  <a:pt x="3169" y="1615"/>
                </a:cubicBezTo>
                <a:cubicBezTo>
                  <a:pt x="3170" y="1613"/>
                  <a:pt x="3172" y="1611"/>
                  <a:pt x="3174" y="1610"/>
                </a:cubicBezTo>
                <a:cubicBezTo>
                  <a:pt x="3178" y="1608"/>
                  <a:pt x="3179" y="1606"/>
                  <a:pt x="3180" y="1603"/>
                </a:cubicBezTo>
                <a:cubicBezTo>
                  <a:pt x="3182" y="1598"/>
                  <a:pt x="3184" y="1595"/>
                  <a:pt x="3189" y="1593"/>
                </a:cubicBezTo>
                <a:cubicBezTo>
                  <a:pt x="3191" y="1591"/>
                  <a:pt x="3192" y="1588"/>
                  <a:pt x="3192" y="1586"/>
                </a:cubicBezTo>
                <a:cubicBezTo>
                  <a:pt x="3191" y="1583"/>
                  <a:pt x="3191" y="1580"/>
                  <a:pt x="3190" y="1577"/>
                </a:cubicBezTo>
                <a:cubicBezTo>
                  <a:pt x="3190" y="1574"/>
                  <a:pt x="3190" y="1571"/>
                  <a:pt x="3191" y="1568"/>
                </a:cubicBezTo>
                <a:cubicBezTo>
                  <a:pt x="3192" y="1566"/>
                  <a:pt x="3193" y="1564"/>
                  <a:pt x="3194" y="1562"/>
                </a:cubicBezTo>
                <a:cubicBezTo>
                  <a:pt x="3196" y="1557"/>
                  <a:pt x="3196" y="1552"/>
                  <a:pt x="3194" y="1547"/>
                </a:cubicBezTo>
                <a:cubicBezTo>
                  <a:pt x="3193" y="1545"/>
                  <a:pt x="3193" y="1542"/>
                  <a:pt x="3193" y="1539"/>
                </a:cubicBezTo>
                <a:cubicBezTo>
                  <a:pt x="3192" y="1533"/>
                  <a:pt x="3192" y="1527"/>
                  <a:pt x="3193" y="1521"/>
                </a:cubicBezTo>
                <a:cubicBezTo>
                  <a:pt x="3193" y="1517"/>
                  <a:pt x="3195" y="1515"/>
                  <a:pt x="3199" y="1514"/>
                </a:cubicBezTo>
                <a:cubicBezTo>
                  <a:pt x="3200" y="1514"/>
                  <a:pt x="3202" y="1514"/>
                  <a:pt x="3203" y="1512"/>
                </a:cubicBezTo>
                <a:cubicBezTo>
                  <a:pt x="3206" y="1508"/>
                  <a:pt x="3210" y="1506"/>
                  <a:pt x="3215" y="1505"/>
                </a:cubicBezTo>
                <a:cubicBezTo>
                  <a:pt x="3217" y="1504"/>
                  <a:pt x="3218" y="1502"/>
                  <a:pt x="3219" y="1500"/>
                </a:cubicBezTo>
                <a:cubicBezTo>
                  <a:pt x="3220" y="1497"/>
                  <a:pt x="3220" y="1494"/>
                  <a:pt x="3223" y="1493"/>
                </a:cubicBezTo>
                <a:cubicBezTo>
                  <a:pt x="3230" y="1489"/>
                  <a:pt x="3234" y="1482"/>
                  <a:pt x="3240" y="1478"/>
                </a:cubicBezTo>
                <a:cubicBezTo>
                  <a:pt x="3243" y="1476"/>
                  <a:pt x="3245" y="1473"/>
                  <a:pt x="3247" y="1470"/>
                </a:cubicBezTo>
                <a:cubicBezTo>
                  <a:pt x="3249" y="1467"/>
                  <a:pt x="3251" y="1464"/>
                  <a:pt x="3254" y="1461"/>
                </a:cubicBezTo>
                <a:cubicBezTo>
                  <a:pt x="3255" y="1459"/>
                  <a:pt x="3258" y="1458"/>
                  <a:pt x="3260" y="1457"/>
                </a:cubicBezTo>
                <a:cubicBezTo>
                  <a:pt x="3269" y="1452"/>
                  <a:pt x="3276" y="1446"/>
                  <a:pt x="3276" y="1435"/>
                </a:cubicBezTo>
                <a:cubicBezTo>
                  <a:pt x="3276" y="1432"/>
                  <a:pt x="3278" y="1430"/>
                  <a:pt x="3281" y="1429"/>
                </a:cubicBezTo>
                <a:cubicBezTo>
                  <a:pt x="3285" y="1427"/>
                  <a:pt x="3289" y="1426"/>
                  <a:pt x="3293" y="1427"/>
                </a:cubicBezTo>
                <a:cubicBezTo>
                  <a:pt x="3304" y="1427"/>
                  <a:pt x="3313" y="1425"/>
                  <a:pt x="3322" y="1419"/>
                </a:cubicBezTo>
                <a:cubicBezTo>
                  <a:pt x="3325" y="1416"/>
                  <a:pt x="3330" y="1417"/>
                  <a:pt x="3333" y="1413"/>
                </a:cubicBezTo>
                <a:cubicBezTo>
                  <a:pt x="3333" y="1413"/>
                  <a:pt x="3336" y="1414"/>
                  <a:pt x="3336" y="1415"/>
                </a:cubicBezTo>
                <a:cubicBezTo>
                  <a:pt x="3337" y="1418"/>
                  <a:pt x="3338" y="1421"/>
                  <a:pt x="3339" y="1424"/>
                </a:cubicBezTo>
                <a:cubicBezTo>
                  <a:pt x="3342" y="1435"/>
                  <a:pt x="3348" y="1444"/>
                  <a:pt x="3359" y="1449"/>
                </a:cubicBezTo>
                <a:cubicBezTo>
                  <a:pt x="3360" y="1450"/>
                  <a:pt x="3362" y="1451"/>
                  <a:pt x="3363" y="1451"/>
                </a:cubicBezTo>
                <a:cubicBezTo>
                  <a:pt x="3366" y="1453"/>
                  <a:pt x="3366" y="1455"/>
                  <a:pt x="3365" y="1458"/>
                </a:cubicBezTo>
                <a:cubicBezTo>
                  <a:pt x="3364" y="1463"/>
                  <a:pt x="3365" y="1465"/>
                  <a:pt x="3370" y="1467"/>
                </a:cubicBezTo>
                <a:cubicBezTo>
                  <a:pt x="3373" y="1468"/>
                  <a:pt x="3376" y="1470"/>
                  <a:pt x="3377" y="1473"/>
                </a:cubicBezTo>
                <a:cubicBezTo>
                  <a:pt x="3377" y="1474"/>
                  <a:pt x="3378" y="1474"/>
                  <a:pt x="3378" y="1475"/>
                </a:cubicBezTo>
                <a:cubicBezTo>
                  <a:pt x="3381" y="1482"/>
                  <a:pt x="3383" y="1489"/>
                  <a:pt x="3381" y="1497"/>
                </a:cubicBezTo>
                <a:cubicBezTo>
                  <a:pt x="3380" y="1500"/>
                  <a:pt x="3380" y="1502"/>
                  <a:pt x="3380" y="1505"/>
                </a:cubicBezTo>
                <a:cubicBezTo>
                  <a:pt x="3380" y="1507"/>
                  <a:pt x="3384" y="1511"/>
                  <a:pt x="3386" y="1511"/>
                </a:cubicBezTo>
                <a:cubicBezTo>
                  <a:pt x="3392" y="1510"/>
                  <a:pt x="3398" y="1510"/>
                  <a:pt x="3403" y="1506"/>
                </a:cubicBezTo>
                <a:cubicBezTo>
                  <a:pt x="3407" y="1503"/>
                  <a:pt x="3411" y="1501"/>
                  <a:pt x="3416" y="1498"/>
                </a:cubicBezTo>
                <a:close/>
                <a:moveTo>
                  <a:pt x="3701" y="1261"/>
                </a:moveTo>
                <a:cubicBezTo>
                  <a:pt x="3701" y="1261"/>
                  <a:pt x="3702" y="1261"/>
                  <a:pt x="3702" y="1262"/>
                </a:cubicBezTo>
                <a:cubicBezTo>
                  <a:pt x="3702" y="1262"/>
                  <a:pt x="3702" y="1263"/>
                  <a:pt x="3701" y="1264"/>
                </a:cubicBezTo>
                <a:cubicBezTo>
                  <a:pt x="3702" y="1264"/>
                  <a:pt x="3702" y="1264"/>
                  <a:pt x="3702" y="1264"/>
                </a:cubicBezTo>
                <a:cubicBezTo>
                  <a:pt x="3702" y="1265"/>
                  <a:pt x="3702" y="1265"/>
                  <a:pt x="3702" y="1265"/>
                </a:cubicBezTo>
                <a:cubicBezTo>
                  <a:pt x="3701" y="1264"/>
                  <a:pt x="3701" y="1264"/>
                  <a:pt x="3701" y="1264"/>
                </a:cubicBezTo>
                <a:cubicBezTo>
                  <a:pt x="3701" y="1264"/>
                  <a:pt x="3701" y="1264"/>
                  <a:pt x="3701" y="1264"/>
                </a:cubicBezTo>
                <a:cubicBezTo>
                  <a:pt x="3701" y="1264"/>
                  <a:pt x="3700" y="1263"/>
                  <a:pt x="3700" y="1263"/>
                </a:cubicBezTo>
                <a:cubicBezTo>
                  <a:pt x="3699" y="1262"/>
                  <a:pt x="3700" y="1261"/>
                  <a:pt x="3701" y="1261"/>
                </a:cubicBezTo>
                <a:close/>
                <a:moveTo>
                  <a:pt x="3672" y="1225"/>
                </a:moveTo>
                <a:cubicBezTo>
                  <a:pt x="3673" y="1226"/>
                  <a:pt x="3673" y="1226"/>
                  <a:pt x="3673" y="1226"/>
                </a:cubicBezTo>
                <a:cubicBezTo>
                  <a:pt x="3673" y="1227"/>
                  <a:pt x="3673" y="1227"/>
                  <a:pt x="3672" y="1227"/>
                </a:cubicBezTo>
                <a:cubicBezTo>
                  <a:pt x="3672" y="1227"/>
                  <a:pt x="3671" y="1227"/>
                  <a:pt x="3671" y="1227"/>
                </a:cubicBezTo>
                <a:cubicBezTo>
                  <a:pt x="3671" y="1226"/>
                  <a:pt x="3671" y="1225"/>
                  <a:pt x="3672" y="1225"/>
                </a:cubicBezTo>
                <a:close/>
                <a:moveTo>
                  <a:pt x="3656" y="1299"/>
                </a:moveTo>
                <a:cubicBezTo>
                  <a:pt x="3657" y="1299"/>
                  <a:pt x="3657" y="1300"/>
                  <a:pt x="3657" y="1300"/>
                </a:cubicBezTo>
                <a:cubicBezTo>
                  <a:pt x="3658" y="1301"/>
                  <a:pt x="3658" y="1302"/>
                  <a:pt x="3658" y="1303"/>
                </a:cubicBezTo>
                <a:cubicBezTo>
                  <a:pt x="3658" y="1303"/>
                  <a:pt x="3657" y="1303"/>
                  <a:pt x="3657" y="1304"/>
                </a:cubicBezTo>
                <a:cubicBezTo>
                  <a:pt x="3656" y="1302"/>
                  <a:pt x="3656" y="1301"/>
                  <a:pt x="3655" y="1300"/>
                </a:cubicBezTo>
                <a:cubicBezTo>
                  <a:pt x="3655" y="1300"/>
                  <a:pt x="3656" y="1299"/>
                  <a:pt x="3656" y="1299"/>
                </a:cubicBezTo>
                <a:close/>
                <a:moveTo>
                  <a:pt x="3799" y="983"/>
                </a:moveTo>
                <a:cubicBezTo>
                  <a:pt x="3801" y="983"/>
                  <a:pt x="3803" y="984"/>
                  <a:pt x="3803" y="985"/>
                </a:cubicBezTo>
                <a:cubicBezTo>
                  <a:pt x="3803" y="987"/>
                  <a:pt x="3803" y="988"/>
                  <a:pt x="3804" y="990"/>
                </a:cubicBezTo>
                <a:cubicBezTo>
                  <a:pt x="3803" y="991"/>
                  <a:pt x="3803" y="993"/>
                  <a:pt x="3802" y="994"/>
                </a:cubicBezTo>
                <a:cubicBezTo>
                  <a:pt x="3802" y="995"/>
                  <a:pt x="3800" y="995"/>
                  <a:pt x="3799" y="994"/>
                </a:cubicBezTo>
                <a:cubicBezTo>
                  <a:pt x="3798" y="992"/>
                  <a:pt x="3797" y="990"/>
                  <a:pt x="3796" y="987"/>
                </a:cubicBezTo>
                <a:cubicBezTo>
                  <a:pt x="3795" y="986"/>
                  <a:pt x="3798" y="983"/>
                  <a:pt x="3799" y="983"/>
                </a:cubicBezTo>
                <a:close/>
                <a:moveTo>
                  <a:pt x="4092" y="365"/>
                </a:moveTo>
                <a:cubicBezTo>
                  <a:pt x="4095" y="365"/>
                  <a:pt x="4097" y="364"/>
                  <a:pt x="4099" y="364"/>
                </a:cubicBezTo>
                <a:cubicBezTo>
                  <a:pt x="4099" y="364"/>
                  <a:pt x="4100" y="364"/>
                  <a:pt x="4100" y="365"/>
                </a:cubicBezTo>
                <a:cubicBezTo>
                  <a:pt x="4100" y="365"/>
                  <a:pt x="4100" y="366"/>
                  <a:pt x="4100" y="367"/>
                </a:cubicBezTo>
                <a:cubicBezTo>
                  <a:pt x="4098" y="368"/>
                  <a:pt x="4097" y="369"/>
                  <a:pt x="4095" y="370"/>
                </a:cubicBezTo>
                <a:cubicBezTo>
                  <a:pt x="4094" y="370"/>
                  <a:pt x="4092" y="369"/>
                  <a:pt x="4091" y="368"/>
                </a:cubicBezTo>
                <a:cubicBezTo>
                  <a:pt x="4091" y="366"/>
                  <a:pt x="4091" y="366"/>
                  <a:pt x="4092" y="365"/>
                </a:cubicBezTo>
                <a:close/>
                <a:moveTo>
                  <a:pt x="3815" y="269"/>
                </a:moveTo>
                <a:cubicBezTo>
                  <a:pt x="3815" y="269"/>
                  <a:pt x="3815" y="269"/>
                  <a:pt x="3815" y="269"/>
                </a:cubicBezTo>
                <a:cubicBezTo>
                  <a:pt x="3816" y="269"/>
                  <a:pt x="3817" y="269"/>
                  <a:pt x="3818" y="270"/>
                </a:cubicBezTo>
                <a:cubicBezTo>
                  <a:pt x="3818" y="271"/>
                  <a:pt x="3817" y="271"/>
                  <a:pt x="3816" y="271"/>
                </a:cubicBezTo>
                <a:cubicBezTo>
                  <a:pt x="3816" y="270"/>
                  <a:pt x="3815" y="270"/>
                  <a:pt x="3815" y="269"/>
                </a:cubicBezTo>
                <a:cubicBezTo>
                  <a:pt x="3815" y="269"/>
                  <a:pt x="3814" y="269"/>
                  <a:pt x="3814" y="269"/>
                </a:cubicBezTo>
                <a:cubicBezTo>
                  <a:pt x="3814" y="269"/>
                  <a:pt x="3814" y="269"/>
                  <a:pt x="3813" y="268"/>
                </a:cubicBezTo>
                <a:cubicBezTo>
                  <a:pt x="3814" y="268"/>
                  <a:pt x="3814" y="268"/>
                  <a:pt x="3815" y="269"/>
                </a:cubicBezTo>
                <a:close/>
                <a:moveTo>
                  <a:pt x="3665" y="788"/>
                </a:moveTo>
                <a:cubicBezTo>
                  <a:pt x="3666" y="787"/>
                  <a:pt x="3666" y="787"/>
                  <a:pt x="3666" y="787"/>
                </a:cubicBezTo>
                <a:cubicBezTo>
                  <a:pt x="3667" y="787"/>
                  <a:pt x="3667" y="787"/>
                  <a:pt x="3668" y="786"/>
                </a:cubicBezTo>
                <a:cubicBezTo>
                  <a:pt x="3668" y="787"/>
                  <a:pt x="3668" y="787"/>
                  <a:pt x="3668" y="787"/>
                </a:cubicBezTo>
                <a:cubicBezTo>
                  <a:pt x="3668" y="787"/>
                  <a:pt x="3667" y="787"/>
                  <a:pt x="3666" y="787"/>
                </a:cubicBezTo>
                <a:cubicBezTo>
                  <a:pt x="3666" y="788"/>
                  <a:pt x="3666" y="788"/>
                  <a:pt x="3666" y="788"/>
                </a:cubicBezTo>
                <a:cubicBezTo>
                  <a:pt x="3665" y="788"/>
                  <a:pt x="3665" y="788"/>
                  <a:pt x="3665" y="788"/>
                </a:cubicBezTo>
                <a:close/>
                <a:moveTo>
                  <a:pt x="3599" y="1304"/>
                </a:moveTo>
                <a:cubicBezTo>
                  <a:pt x="3599" y="1304"/>
                  <a:pt x="3599" y="1304"/>
                  <a:pt x="3599" y="1304"/>
                </a:cubicBezTo>
                <a:cubicBezTo>
                  <a:pt x="3599" y="1304"/>
                  <a:pt x="3599" y="1304"/>
                  <a:pt x="3600" y="1305"/>
                </a:cubicBezTo>
                <a:cubicBezTo>
                  <a:pt x="3602" y="1304"/>
                  <a:pt x="3604" y="1304"/>
                  <a:pt x="3606" y="1302"/>
                </a:cubicBezTo>
                <a:cubicBezTo>
                  <a:pt x="3607" y="1301"/>
                  <a:pt x="3608" y="1302"/>
                  <a:pt x="3608" y="1303"/>
                </a:cubicBezTo>
                <a:cubicBezTo>
                  <a:pt x="3608" y="1304"/>
                  <a:pt x="3607" y="1305"/>
                  <a:pt x="3606" y="1306"/>
                </a:cubicBezTo>
                <a:cubicBezTo>
                  <a:pt x="3604" y="1307"/>
                  <a:pt x="3601" y="1307"/>
                  <a:pt x="3600" y="1305"/>
                </a:cubicBezTo>
                <a:cubicBezTo>
                  <a:pt x="3599" y="1305"/>
                  <a:pt x="3599" y="1305"/>
                  <a:pt x="3599" y="1305"/>
                </a:cubicBezTo>
                <a:lnTo>
                  <a:pt x="3599" y="1304"/>
                </a:lnTo>
                <a:close/>
                <a:moveTo>
                  <a:pt x="3592" y="239"/>
                </a:moveTo>
                <a:cubicBezTo>
                  <a:pt x="3592" y="238"/>
                  <a:pt x="3592" y="238"/>
                  <a:pt x="3592" y="238"/>
                </a:cubicBezTo>
                <a:cubicBezTo>
                  <a:pt x="3593" y="239"/>
                  <a:pt x="3593" y="239"/>
                  <a:pt x="3593" y="239"/>
                </a:cubicBezTo>
                <a:cubicBezTo>
                  <a:pt x="3593" y="239"/>
                  <a:pt x="3593" y="239"/>
                  <a:pt x="3593" y="240"/>
                </a:cubicBezTo>
                <a:cubicBezTo>
                  <a:pt x="3596" y="240"/>
                  <a:pt x="3597" y="242"/>
                  <a:pt x="3596" y="245"/>
                </a:cubicBezTo>
                <a:cubicBezTo>
                  <a:pt x="3596" y="247"/>
                  <a:pt x="3595" y="249"/>
                  <a:pt x="3594" y="251"/>
                </a:cubicBezTo>
                <a:cubicBezTo>
                  <a:pt x="3594" y="251"/>
                  <a:pt x="3593" y="251"/>
                  <a:pt x="3592" y="251"/>
                </a:cubicBezTo>
                <a:cubicBezTo>
                  <a:pt x="3592" y="251"/>
                  <a:pt x="3591" y="250"/>
                  <a:pt x="3592" y="250"/>
                </a:cubicBezTo>
                <a:cubicBezTo>
                  <a:pt x="3592" y="246"/>
                  <a:pt x="3592" y="243"/>
                  <a:pt x="3593" y="240"/>
                </a:cubicBezTo>
                <a:cubicBezTo>
                  <a:pt x="3593" y="240"/>
                  <a:pt x="3593" y="239"/>
                  <a:pt x="3592" y="239"/>
                </a:cubicBezTo>
                <a:close/>
                <a:moveTo>
                  <a:pt x="3578" y="926"/>
                </a:moveTo>
                <a:cubicBezTo>
                  <a:pt x="3578" y="926"/>
                  <a:pt x="3577" y="926"/>
                  <a:pt x="3577" y="926"/>
                </a:cubicBezTo>
                <a:cubicBezTo>
                  <a:pt x="3577" y="925"/>
                  <a:pt x="3577" y="924"/>
                  <a:pt x="3578" y="923"/>
                </a:cubicBezTo>
                <a:cubicBezTo>
                  <a:pt x="3578" y="923"/>
                  <a:pt x="3579" y="924"/>
                  <a:pt x="3579" y="924"/>
                </a:cubicBezTo>
                <a:cubicBezTo>
                  <a:pt x="3578" y="925"/>
                  <a:pt x="3578" y="926"/>
                  <a:pt x="3578" y="926"/>
                </a:cubicBezTo>
                <a:close/>
                <a:moveTo>
                  <a:pt x="3579" y="230"/>
                </a:moveTo>
                <a:cubicBezTo>
                  <a:pt x="3580" y="230"/>
                  <a:pt x="3581" y="231"/>
                  <a:pt x="3582" y="231"/>
                </a:cubicBezTo>
                <a:cubicBezTo>
                  <a:pt x="3581" y="232"/>
                  <a:pt x="3581" y="232"/>
                  <a:pt x="3581" y="232"/>
                </a:cubicBezTo>
                <a:cubicBezTo>
                  <a:pt x="3580" y="234"/>
                  <a:pt x="3579" y="235"/>
                  <a:pt x="3577" y="236"/>
                </a:cubicBezTo>
                <a:cubicBezTo>
                  <a:pt x="3577" y="236"/>
                  <a:pt x="3576" y="236"/>
                  <a:pt x="3576" y="236"/>
                </a:cubicBezTo>
                <a:cubicBezTo>
                  <a:pt x="3575" y="236"/>
                  <a:pt x="3574" y="236"/>
                  <a:pt x="3574" y="235"/>
                </a:cubicBezTo>
                <a:cubicBezTo>
                  <a:pt x="3573" y="232"/>
                  <a:pt x="3575" y="230"/>
                  <a:pt x="3579" y="230"/>
                </a:cubicBezTo>
                <a:close/>
                <a:moveTo>
                  <a:pt x="3524" y="289"/>
                </a:moveTo>
                <a:cubicBezTo>
                  <a:pt x="3526" y="289"/>
                  <a:pt x="3528" y="290"/>
                  <a:pt x="3530" y="290"/>
                </a:cubicBezTo>
                <a:cubicBezTo>
                  <a:pt x="3530" y="290"/>
                  <a:pt x="3530" y="291"/>
                  <a:pt x="3531" y="291"/>
                </a:cubicBezTo>
                <a:cubicBezTo>
                  <a:pt x="3530" y="292"/>
                  <a:pt x="3530" y="293"/>
                  <a:pt x="3529" y="294"/>
                </a:cubicBezTo>
                <a:cubicBezTo>
                  <a:pt x="3526" y="295"/>
                  <a:pt x="3524" y="294"/>
                  <a:pt x="3522" y="291"/>
                </a:cubicBezTo>
                <a:cubicBezTo>
                  <a:pt x="3522" y="290"/>
                  <a:pt x="3523" y="289"/>
                  <a:pt x="3524" y="289"/>
                </a:cubicBezTo>
                <a:close/>
                <a:moveTo>
                  <a:pt x="3519" y="1552"/>
                </a:moveTo>
                <a:cubicBezTo>
                  <a:pt x="3519" y="1553"/>
                  <a:pt x="3520" y="1553"/>
                  <a:pt x="3520" y="1553"/>
                </a:cubicBezTo>
                <a:cubicBezTo>
                  <a:pt x="3519" y="1554"/>
                  <a:pt x="3518" y="1554"/>
                  <a:pt x="3518" y="1552"/>
                </a:cubicBezTo>
                <a:cubicBezTo>
                  <a:pt x="3518" y="1552"/>
                  <a:pt x="3519" y="1552"/>
                  <a:pt x="3519" y="1552"/>
                </a:cubicBezTo>
                <a:close/>
                <a:moveTo>
                  <a:pt x="3179" y="219"/>
                </a:moveTo>
                <a:cubicBezTo>
                  <a:pt x="3179" y="219"/>
                  <a:pt x="3180" y="219"/>
                  <a:pt x="3180" y="220"/>
                </a:cubicBezTo>
                <a:cubicBezTo>
                  <a:pt x="3180" y="220"/>
                  <a:pt x="3179" y="219"/>
                  <a:pt x="3179" y="219"/>
                </a:cubicBezTo>
                <a:cubicBezTo>
                  <a:pt x="3178" y="218"/>
                  <a:pt x="3178" y="218"/>
                  <a:pt x="3178" y="218"/>
                </a:cubicBezTo>
                <a:lnTo>
                  <a:pt x="3179" y="219"/>
                </a:lnTo>
                <a:close/>
                <a:moveTo>
                  <a:pt x="2213" y="717"/>
                </a:moveTo>
                <a:cubicBezTo>
                  <a:pt x="2213" y="717"/>
                  <a:pt x="2213" y="717"/>
                  <a:pt x="2213" y="717"/>
                </a:cubicBezTo>
                <a:cubicBezTo>
                  <a:pt x="2214" y="717"/>
                  <a:pt x="2214" y="717"/>
                  <a:pt x="2214" y="717"/>
                </a:cubicBezTo>
                <a:lnTo>
                  <a:pt x="2213" y="717"/>
                </a:lnTo>
                <a:close/>
                <a:moveTo>
                  <a:pt x="2256" y="818"/>
                </a:moveTo>
                <a:cubicBezTo>
                  <a:pt x="2256" y="821"/>
                  <a:pt x="2254" y="823"/>
                  <a:pt x="2251" y="824"/>
                </a:cubicBezTo>
                <a:cubicBezTo>
                  <a:pt x="2248" y="824"/>
                  <a:pt x="2246" y="824"/>
                  <a:pt x="2243" y="824"/>
                </a:cubicBezTo>
                <a:cubicBezTo>
                  <a:pt x="2243" y="824"/>
                  <a:pt x="2243" y="824"/>
                  <a:pt x="2243" y="824"/>
                </a:cubicBezTo>
                <a:cubicBezTo>
                  <a:pt x="2243" y="825"/>
                  <a:pt x="2243" y="825"/>
                  <a:pt x="2243" y="825"/>
                </a:cubicBezTo>
                <a:cubicBezTo>
                  <a:pt x="2243" y="825"/>
                  <a:pt x="2243" y="824"/>
                  <a:pt x="2243" y="824"/>
                </a:cubicBezTo>
                <a:cubicBezTo>
                  <a:pt x="2243" y="824"/>
                  <a:pt x="2243" y="824"/>
                  <a:pt x="2243" y="824"/>
                </a:cubicBezTo>
                <a:cubicBezTo>
                  <a:pt x="2243" y="820"/>
                  <a:pt x="2243" y="817"/>
                  <a:pt x="2248" y="815"/>
                </a:cubicBezTo>
                <a:cubicBezTo>
                  <a:pt x="2249" y="815"/>
                  <a:pt x="2249" y="813"/>
                  <a:pt x="2250" y="811"/>
                </a:cubicBezTo>
                <a:cubicBezTo>
                  <a:pt x="2251" y="809"/>
                  <a:pt x="2253" y="808"/>
                  <a:pt x="2254" y="809"/>
                </a:cubicBezTo>
                <a:cubicBezTo>
                  <a:pt x="2255" y="811"/>
                  <a:pt x="2256" y="812"/>
                  <a:pt x="2256" y="813"/>
                </a:cubicBezTo>
                <a:cubicBezTo>
                  <a:pt x="2256" y="815"/>
                  <a:pt x="2256" y="817"/>
                  <a:pt x="2256" y="818"/>
                </a:cubicBezTo>
                <a:close/>
                <a:moveTo>
                  <a:pt x="2266" y="827"/>
                </a:moveTo>
                <a:cubicBezTo>
                  <a:pt x="2266" y="827"/>
                  <a:pt x="2266" y="827"/>
                  <a:pt x="2266" y="828"/>
                </a:cubicBezTo>
                <a:cubicBezTo>
                  <a:pt x="2266" y="828"/>
                  <a:pt x="2266" y="828"/>
                  <a:pt x="2266" y="829"/>
                </a:cubicBezTo>
                <a:cubicBezTo>
                  <a:pt x="2266" y="829"/>
                  <a:pt x="2265" y="829"/>
                  <a:pt x="2265" y="830"/>
                </a:cubicBezTo>
                <a:cubicBezTo>
                  <a:pt x="2266" y="829"/>
                  <a:pt x="2266" y="828"/>
                  <a:pt x="2266" y="827"/>
                </a:cubicBezTo>
                <a:cubicBezTo>
                  <a:pt x="2266" y="827"/>
                  <a:pt x="2266" y="827"/>
                  <a:pt x="2266" y="827"/>
                </a:cubicBezTo>
                <a:cubicBezTo>
                  <a:pt x="2266" y="826"/>
                  <a:pt x="2266" y="825"/>
                  <a:pt x="2268" y="824"/>
                </a:cubicBezTo>
                <a:cubicBezTo>
                  <a:pt x="2268" y="824"/>
                  <a:pt x="2268" y="825"/>
                  <a:pt x="2268" y="825"/>
                </a:cubicBezTo>
                <a:cubicBezTo>
                  <a:pt x="2268" y="826"/>
                  <a:pt x="2267" y="826"/>
                  <a:pt x="2266" y="827"/>
                </a:cubicBezTo>
                <a:close/>
                <a:moveTo>
                  <a:pt x="2293" y="802"/>
                </a:moveTo>
                <a:cubicBezTo>
                  <a:pt x="2294" y="802"/>
                  <a:pt x="2294" y="802"/>
                  <a:pt x="2295" y="802"/>
                </a:cubicBezTo>
                <a:cubicBezTo>
                  <a:pt x="2296" y="802"/>
                  <a:pt x="2297" y="803"/>
                  <a:pt x="2298" y="803"/>
                </a:cubicBezTo>
                <a:cubicBezTo>
                  <a:pt x="2298" y="803"/>
                  <a:pt x="2298" y="804"/>
                  <a:pt x="2298" y="804"/>
                </a:cubicBezTo>
                <a:cubicBezTo>
                  <a:pt x="2297" y="804"/>
                  <a:pt x="2296" y="805"/>
                  <a:pt x="2295" y="804"/>
                </a:cubicBezTo>
                <a:cubicBezTo>
                  <a:pt x="2293" y="804"/>
                  <a:pt x="2293" y="803"/>
                  <a:pt x="2293" y="802"/>
                </a:cubicBezTo>
                <a:close/>
                <a:moveTo>
                  <a:pt x="2319" y="554"/>
                </a:moveTo>
                <a:cubicBezTo>
                  <a:pt x="2319" y="555"/>
                  <a:pt x="2317" y="555"/>
                  <a:pt x="2316" y="555"/>
                </a:cubicBezTo>
                <a:cubicBezTo>
                  <a:pt x="2316" y="555"/>
                  <a:pt x="2315" y="555"/>
                  <a:pt x="2315" y="555"/>
                </a:cubicBezTo>
                <a:cubicBezTo>
                  <a:pt x="2314" y="554"/>
                  <a:pt x="2314" y="553"/>
                  <a:pt x="2314" y="553"/>
                </a:cubicBezTo>
                <a:cubicBezTo>
                  <a:pt x="2314" y="552"/>
                  <a:pt x="2315" y="551"/>
                  <a:pt x="2316" y="551"/>
                </a:cubicBezTo>
                <a:cubicBezTo>
                  <a:pt x="2318" y="552"/>
                  <a:pt x="2320" y="554"/>
                  <a:pt x="2319" y="554"/>
                </a:cubicBezTo>
                <a:close/>
                <a:moveTo>
                  <a:pt x="2336" y="544"/>
                </a:moveTo>
                <a:cubicBezTo>
                  <a:pt x="2336" y="544"/>
                  <a:pt x="2336" y="544"/>
                  <a:pt x="2336" y="544"/>
                </a:cubicBezTo>
                <a:cubicBezTo>
                  <a:pt x="2335" y="545"/>
                  <a:pt x="2335" y="546"/>
                  <a:pt x="2334" y="546"/>
                </a:cubicBezTo>
                <a:cubicBezTo>
                  <a:pt x="2334" y="546"/>
                  <a:pt x="2333" y="545"/>
                  <a:pt x="2334" y="545"/>
                </a:cubicBezTo>
                <a:cubicBezTo>
                  <a:pt x="2334" y="545"/>
                  <a:pt x="2335" y="545"/>
                  <a:pt x="2336" y="544"/>
                </a:cubicBezTo>
                <a:cubicBezTo>
                  <a:pt x="2336" y="544"/>
                  <a:pt x="2336" y="544"/>
                  <a:pt x="2336" y="544"/>
                </a:cubicBezTo>
                <a:cubicBezTo>
                  <a:pt x="2336" y="543"/>
                  <a:pt x="2336" y="543"/>
                  <a:pt x="2336" y="543"/>
                </a:cubicBezTo>
                <a:lnTo>
                  <a:pt x="2336" y="544"/>
                </a:lnTo>
                <a:close/>
                <a:moveTo>
                  <a:pt x="2359" y="536"/>
                </a:moveTo>
                <a:cubicBezTo>
                  <a:pt x="2359" y="536"/>
                  <a:pt x="2359" y="537"/>
                  <a:pt x="2359" y="537"/>
                </a:cubicBezTo>
                <a:cubicBezTo>
                  <a:pt x="2359" y="537"/>
                  <a:pt x="2359" y="538"/>
                  <a:pt x="2358" y="538"/>
                </a:cubicBezTo>
                <a:cubicBezTo>
                  <a:pt x="2358" y="540"/>
                  <a:pt x="2358" y="542"/>
                  <a:pt x="2358" y="544"/>
                </a:cubicBezTo>
                <a:cubicBezTo>
                  <a:pt x="2358" y="545"/>
                  <a:pt x="2358" y="545"/>
                  <a:pt x="2358" y="545"/>
                </a:cubicBezTo>
                <a:cubicBezTo>
                  <a:pt x="2357" y="545"/>
                  <a:pt x="2357" y="545"/>
                  <a:pt x="2357" y="544"/>
                </a:cubicBezTo>
                <a:cubicBezTo>
                  <a:pt x="2357" y="542"/>
                  <a:pt x="2357" y="540"/>
                  <a:pt x="2358" y="538"/>
                </a:cubicBezTo>
                <a:cubicBezTo>
                  <a:pt x="2358" y="537"/>
                  <a:pt x="2358" y="537"/>
                  <a:pt x="2358" y="536"/>
                </a:cubicBezTo>
                <a:cubicBezTo>
                  <a:pt x="2359" y="536"/>
                  <a:pt x="2359" y="536"/>
                  <a:pt x="2359" y="536"/>
                </a:cubicBezTo>
                <a:cubicBezTo>
                  <a:pt x="2359" y="536"/>
                  <a:pt x="2359" y="536"/>
                  <a:pt x="2360" y="536"/>
                </a:cubicBezTo>
                <a:cubicBezTo>
                  <a:pt x="2360" y="536"/>
                  <a:pt x="2360" y="536"/>
                  <a:pt x="2359" y="536"/>
                </a:cubicBezTo>
                <a:close/>
                <a:moveTo>
                  <a:pt x="2387" y="752"/>
                </a:moveTo>
                <a:cubicBezTo>
                  <a:pt x="2387" y="751"/>
                  <a:pt x="2387" y="751"/>
                  <a:pt x="2387" y="751"/>
                </a:cubicBezTo>
                <a:cubicBezTo>
                  <a:pt x="2388" y="752"/>
                  <a:pt x="2388" y="752"/>
                  <a:pt x="2388" y="752"/>
                </a:cubicBezTo>
                <a:lnTo>
                  <a:pt x="2387" y="752"/>
                </a:lnTo>
                <a:close/>
                <a:moveTo>
                  <a:pt x="2389" y="577"/>
                </a:moveTo>
                <a:cubicBezTo>
                  <a:pt x="2390" y="576"/>
                  <a:pt x="2391" y="575"/>
                  <a:pt x="2392" y="574"/>
                </a:cubicBezTo>
                <a:cubicBezTo>
                  <a:pt x="2392" y="573"/>
                  <a:pt x="2392" y="573"/>
                  <a:pt x="2392" y="573"/>
                </a:cubicBezTo>
                <a:cubicBezTo>
                  <a:pt x="2393" y="572"/>
                  <a:pt x="2393" y="572"/>
                  <a:pt x="2393" y="572"/>
                </a:cubicBezTo>
                <a:cubicBezTo>
                  <a:pt x="2392" y="573"/>
                  <a:pt x="2392" y="573"/>
                  <a:pt x="2392" y="573"/>
                </a:cubicBezTo>
                <a:cubicBezTo>
                  <a:pt x="2392" y="574"/>
                  <a:pt x="2392" y="574"/>
                  <a:pt x="2392" y="574"/>
                </a:cubicBezTo>
                <a:cubicBezTo>
                  <a:pt x="2392" y="575"/>
                  <a:pt x="2393" y="576"/>
                  <a:pt x="2393" y="578"/>
                </a:cubicBezTo>
                <a:cubicBezTo>
                  <a:pt x="2393" y="578"/>
                  <a:pt x="2392" y="579"/>
                  <a:pt x="2391" y="580"/>
                </a:cubicBezTo>
                <a:cubicBezTo>
                  <a:pt x="2391" y="580"/>
                  <a:pt x="2390" y="580"/>
                  <a:pt x="2390" y="580"/>
                </a:cubicBezTo>
                <a:cubicBezTo>
                  <a:pt x="2390" y="579"/>
                  <a:pt x="2389" y="578"/>
                  <a:pt x="2389" y="577"/>
                </a:cubicBezTo>
                <a:close/>
                <a:moveTo>
                  <a:pt x="2395" y="728"/>
                </a:moveTo>
                <a:cubicBezTo>
                  <a:pt x="2395" y="728"/>
                  <a:pt x="2394" y="728"/>
                  <a:pt x="2394" y="728"/>
                </a:cubicBezTo>
                <a:cubicBezTo>
                  <a:pt x="2392" y="727"/>
                  <a:pt x="2391" y="728"/>
                  <a:pt x="2390" y="725"/>
                </a:cubicBezTo>
                <a:cubicBezTo>
                  <a:pt x="2390" y="725"/>
                  <a:pt x="2391" y="725"/>
                  <a:pt x="2392" y="725"/>
                </a:cubicBezTo>
                <a:cubicBezTo>
                  <a:pt x="2393" y="725"/>
                  <a:pt x="2394" y="726"/>
                  <a:pt x="2394" y="726"/>
                </a:cubicBezTo>
                <a:cubicBezTo>
                  <a:pt x="2395" y="726"/>
                  <a:pt x="2396" y="726"/>
                  <a:pt x="2396" y="727"/>
                </a:cubicBezTo>
                <a:cubicBezTo>
                  <a:pt x="2396" y="727"/>
                  <a:pt x="2396" y="728"/>
                  <a:pt x="2397" y="728"/>
                </a:cubicBezTo>
                <a:cubicBezTo>
                  <a:pt x="2396" y="728"/>
                  <a:pt x="2396" y="728"/>
                  <a:pt x="2395" y="728"/>
                </a:cubicBezTo>
                <a:close/>
                <a:moveTo>
                  <a:pt x="2403" y="692"/>
                </a:moveTo>
                <a:cubicBezTo>
                  <a:pt x="2403" y="693"/>
                  <a:pt x="2401" y="694"/>
                  <a:pt x="2401" y="694"/>
                </a:cubicBezTo>
                <a:cubicBezTo>
                  <a:pt x="2400" y="693"/>
                  <a:pt x="2398" y="692"/>
                  <a:pt x="2398" y="690"/>
                </a:cubicBezTo>
                <a:cubicBezTo>
                  <a:pt x="2397" y="690"/>
                  <a:pt x="2398" y="689"/>
                  <a:pt x="2399" y="688"/>
                </a:cubicBezTo>
                <a:cubicBezTo>
                  <a:pt x="2401" y="688"/>
                  <a:pt x="2403" y="689"/>
                  <a:pt x="2404" y="691"/>
                </a:cubicBezTo>
                <a:cubicBezTo>
                  <a:pt x="2404" y="691"/>
                  <a:pt x="2404" y="692"/>
                  <a:pt x="2403" y="692"/>
                </a:cubicBezTo>
                <a:close/>
                <a:moveTo>
                  <a:pt x="2420" y="740"/>
                </a:moveTo>
                <a:cubicBezTo>
                  <a:pt x="2419" y="741"/>
                  <a:pt x="2419" y="741"/>
                  <a:pt x="2419" y="741"/>
                </a:cubicBezTo>
                <a:cubicBezTo>
                  <a:pt x="2418" y="740"/>
                  <a:pt x="2418" y="740"/>
                  <a:pt x="2418" y="740"/>
                </a:cubicBezTo>
                <a:lnTo>
                  <a:pt x="2420" y="740"/>
                </a:lnTo>
                <a:close/>
                <a:moveTo>
                  <a:pt x="2424" y="754"/>
                </a:moveTo>
                <a:cubicBezTo>
                  <a:pt x="2423" y="755"/>
                  <a:pt x="2422" y="756"/>
                  <a:pt x="2423" y="758"/>
                </a:cubicBezTo>
                <a:cubicBezTo>
                  <a:pt x="2424" y="759"/>
                  <a:pt x="2425" y="761"/>
                  <a:pt x="2422" y="762"/>
                </a:cubicBezTo>
                <a:cubicBezTo>
                  <a:pt x="2421" y="762"/>
                  <a:pt x="2419" y="761"/>
                  <a:pt x="2418" y="761"/>
                </a:cubicBezTo>
                <a:cubicBezTo>
                  <a:pt x="2416" y="760"/>
                  <a:pt x="2416" y="757"/>
                  <a:pt x="2417" y="755"/>
                </a:cubicBezTo>
                <a:cubicBezTo>
                  <a:pt x="2419" y="753"/>
                  <a:pt x="2421" y="751"/>
                  <a:pt x="2423" y="750"/>
                </a:cubicBezTo>
                <a:cubicBezTo>
                  <a:pt x="2424" y="749"/>
                  <a:pt x="2424" y="750"/>
                  <a:pt x="2425" y="750"/>
                </a:cubicBezTo>
                <a:cubicBezTo>
                  <a:pt x="2425" y="750"/>
                  <a:pt x="2425" y="750"/>
                  <a:pt x="2426" y="751"/>
                </a:cubicBezTo>
                <a:cubicBezTo>
                  <a:pt x="2425" y="752"/>
                  <a:pt x="2425" y="753"/>
                  <a:pt x="2424" y="754"/>
                </a:cubicBezTo>
                <a:close/>
                <a:moveTo>
                  <a:pt x="2429" y="714"/>
                </a:moveTo>
                <a:cubicBezTo>
                  <a:pt x="2429" y="714"/>
                  <a:pt x="2429" y="713"/>
                  <a:pt x="2429" y="713"/>
                </a:cubicBezTo>
                <a:cubicBezTo>
                  <a:pt x="2430" y="713"/>
                  <a:pt x="2431" y="714"/>
                  <a:pt x="2432" y="714"/>
                </a:cubicBezTo>
                <a:cubicBezTo>
                  <a:pt x="2433" y="714"/>
                  <a:pt x="2433" y="715"/>
                  <a:pt x="2433" y="715"/>
                </a:cubicBezTo>
                <a:cubicBezTo>
                  <a:pt x="2433" y="716"/>
                  <a:pt x="2432" y="716"/>
                  <a:pt x="2432" y="716"/>
                </a:cubicBezTo>
                <a:cubicBezTo>
                  <a:pt x="2431" y="716"/>
                  <a:pt x="2430" y="715"/>
                  <a:pt x="2429" y="714"/>
                </a:cubicBezTo>
                <a:close/>
                <a:moveTo>
                  <a:pt x="2433" y="736"/>
                </a:moveTo>
                <a:cubicBezTo>
                  <a:pt x="2433" y="736"/>
                  <a:pt x="2432" y="735"/>
                  <a:pt x="2432" y="735"/>
                </a:cubicBezTo>
                <a:cubicBezTo>
                  <a:pt x="2433" y="734"/>
                  <a:pt x="2433" y="734"/>
                  <a:pt x="2433" y="734"/>
                </a:cubicBezTo>
                <a:cubicBezTo>
                  <a:pt x="2433" y="734"/>
                  <a:pt x="2434" y="734"/>
                  <a:pt x="2434" y="735"/>
                </a:cubicBezTo>
                <a:cubicBezTo>
                  <a:pt x="2434" y="735"/>
                  <a:pt x="2433" y="736"/>
                  <a:pt x="2433" y="736"/>
                </a:cubicBezTo>
                <a:close/>
                <a:moveTo>
                  <a:pt x="2420" y="819"/>
                </a:moveTo>
                <a:cubicBezTo>
                  <a:pt x="2419" y="819"/>
                  <a:pt x="2419" y="819"/>
                  <a:pt x="2418" y="820"/>
                </a:cubicBezTo>
                <a:cubicBezTo>
                  <a:pt x="2417" y="820"/>
                  <a:pt x="2416" y="819"/>
                  <a:pt x="2416" y="818"/>
                </a:cubicBezTo>
                <a:cubicBezTo>
                  <a:pt x="2415" y="817"/>
                  <a:pt x="2415" y="815"/>
                  <a:pt x="2416" y="814"/>
                </a:cubicBezTo>
                <a:cubicBezTo>
                  <a:pt x="2417" y="813"/>
                  <a:pt x="2417" y="814"/>
                  <a:pt x="2418" y="813"/>
                </a:cubicBezTo>
                <a:cubicBezTo>
                  <a:pt x="2420" y="814"/>
                  <a:pt x="2421" y="817"/>
                  <a:pt x="2420" y="819"/>
                </a:cubicBezTo>
                <a:close/>
                <a:moveTo>
                  <a:pt x="2425" y="831"/>
                </a:moveTo>
                <a:cubicBezTo>
                  <a:pt x="2424" y="830"/>
                  <a:pt x="2424" y="830"/>
                  <a:pt x="2424" y="830"/>
                </a:cubicBezTo>
                <a:cubicBezTo>
                  <a:pt x="2425" y="831"/>
                  <a:pt x="2425" y="831"/>
                  <a:pt x="2425" y="831"/>
                </a:cubicBezTo>
                <a:cubicBezTo>
                  <a:pt x="2426" y="832"/>
                  <a:pt x="2426" y="832"/>
                  <a:pt x="2426" y="832"/>
                </a:cubicBezTo>
                <a:lnTo>
                  <a:pt x="2425" y="831"/>
                </a:lnTo>
                <a:close/>
                <a:moveTo>
                  <a:pt x="2091" y="1615"/>
                </a:moveTo>
                <a:cubicBezTo>
                  <a:pt x="2091" y="1615"/>
                  <a:pt x="2091" y="1615"/>
                  <a:pt x="2091" y="1615"/>
                </a:cubicBezTo>
                <a:cubicBezTo>
                  <a:pt x="2091" y="1615"/>
                  <a:pt x="2092" y="1616"/>
                  <a:pt x="2092" y="1616"/>
                </a:cubicBezTo>
                <a:cubicBezTo>
                  <a:pt x="2092" y="1616"/>
                  <a:pt x="2091" y="1615"/>
                  <a:pt x="2091" y="1615"/>
                </a:cubicBezTo>
                <a:close/>
                <a:moveTo>
                  <a:pt x="2094" y="1618"/>
                </a:moveTo>
                <a:cubicBezTo>
                  <a:pt x="2094" y="1618"/>
                  <a:pt x="2093" y="1617"/>
                  <a:pt x="2093" y="1617"/>
                </a:cubicBezTo>
                <a:cubicBezTo>
                  <a:pt x="2093" y="1617"/>
                  <a:pt x="2094" y="1617"/>
                  <a:pt x="2095" y="1618"/>
                </a:cubicBezTo>
                <a:cubicBezTo>
                  <a:pt x="2095" y="1619"/>
                  <a:pt x="2095" y="1619"/>
                  <a:pt x="2095" y="1619"/>
                </a:cubicBezTo>
                <a:lnTo>
                  <a:pt x="2094" y="1618"/>
                </a:lnTo>
                <a:close/>
                <a:moveTo>
                  <a:pt x="2103" y="1630"/>
                </a:moveTo>
                <a:cubicBezTo>
                  <a:pt x="2103" y="1630"/>
                  <a:pt x="2103" y="1629"/>
                  <a:pt x="2102" y="1628"/>
                </a:cubicBezTo>
                <a:cubicBezTo>
                  <a:pt x="2103" y="1627"/>
                  <a:pt x="2104" y="1627"/>
                  <a:pt x="2105" y="1627"/>
                </a:cubicBezTo>
                <a:cubicBezTo>
                  <a:pt x="2105" y="1628"/>
                  <a:pt x="2105" y="1628"/>
                  <a:pt x="2105" y="1629"/>
                </a:cubicBezTo>
                <a:cubicBezTo>
                  <a:pt x="2105" y="1630"/>
                  <a:pt x="2104" y="1630"/>
                  <a:pt x="2103" y="1630"/>
                </a:cubicBezTo>
                <a:close/>
                <a:moveTo>
                  <a:pt x="2435" y="2166"/>
                </a:moveTo>
                <a:cubicBezTo>
                  <a:pt x="2435" y="2165"/>
                  <a:pt x="2435" y="2165"/>
                  <a:pt x="2435" y="2165"/>
                </a:cubicBezTo>
                <a:cubicBezTo>
                  <a:pt x="2436" y="2166"/>
                  <a:pt x="2436" y="2166"/>
                  <a:pt x="2436" y="2166"/>
                </a:cubicBezTo>
                <a:lnTo>
                  <a:pt x="2435" y="2166"/>
                </a:lnTo>
                <a:close/>
                <a:moveTo>
                  <a:pt x="2481" y="1964"/>
                </a:moveTo>
                <a:cubicBezTo>
                  <a:pt x="2480" y="1964"/>
                  <a:pt x="2480" y="1963"/>
                  <a:pt x="2481" y="1963"/>
                </a:cubicBezTo>
                <a:cubicBezTo>
                  <a:pt x="2482" y="1964"/>
                  <a:pt x="2482" y="1964"/>
                  <a:pt x="2482" y="1964"/>
                </a:cubicBezTo>
                <a:cubicBezTo>
                  <a:pt x="2481" y="1964"/>
                  <a:pt x="2481" y="1965"/>
                  <a:pt x="2481" y="1964"/>
                </a:cubicBezTo>
                <a:close/>
                <a:moveTo>
                  <a:pt x="2496" y="1761"/>
                </a:moveTo>
                <a:cubicBezTo>
                  <a:pt x="2496" y="1762"/>
                  <a:pt x="2496" y="1762"/>
                  <a:pt x="2496" y="1762"/>
                </a:cubicBezTo>
                <a:cubicBezTo>
                  <a:pt x="2496" y="1761"/>
                  <a:pt x="2496" y="1761"/>
                  <a:pt x="2496" y="1761"/>
                </a:cubicBezTo>
                <a:close/>
                <a:moveTo>
                  <a:pt x="2489" y="1859"/>
                </a:moveTo>
                <a:cubicBezTo>
                  <a:pt x="2489" y="1860"/>
                  <a:pt x="2488" y="1860"/>
                  <a:pt x="2487" y="1860"/>
                </a:cubicBezTo>
                <a:cubicBezTo>
                  <a:pt x="2487" y="1860"/>
                  <a:pt x="2486" y="1860"/>
                  <a:pt x="2486" y="1859"/>
                </a:cubicBezTo>
                <a:cubicBezTo>
                  <a:pt x="2487" y="1857"/>
                  <a:pt x="2488" y="1856"/>
                  <a:pt x="2489" y="1857"/>
                </a:cubicBezTo>
                <a:cubicBezTo>
                  <a:pt x="2490" y="1857"/>
                  <a:pt x="2490" y="1857"/>
                  <a:pt x="2490" y="1858"/>
                </a:cubicBezTo>
                <a:cubicBezTo>
                  <a:pt x="2490" y="1858"/>
                  <a:pt x="2490" y="1859"/>
                  <a:pt x="2489" y="1859"/>
                </a:cubicBezTo>
                <a:close/>
                <a:moveTo>
                  <a:pt x="2501" y="1886"/>
                </a:moveTo>
                <a:cubicBezTo>
                  <a:pt x="2501" y="1886"/>
                  <a:pt x="2500" y="1887"/>
                  <a:pt x="2500" y="1887"/>
                </a:cubicBezTo>
                <a:cubicBezTo>
                  <a:pt x="2500" y="1887"/>
                  <a:pt x="2500" y="1888"/>
                  <a:pt x="2500" y="1889"/>
                </a:cubicBezTo>
                <a:cubicBezTo>
                  <a:pt x="2500" y="1889"/>
                  <a:pt x="2500" y="1889"/>
                  <a:pt x="2500" y="1888"/>
                </a:cubicBezTo>
                <a:cubicBezTo>
                  <a:pt x="2500" y="1888"/>
                  <a:pt x="2500" y="1887"/>
                  <a:pt x="2500" y="1887"/>
                </a:cubicBezTo>
                <a:cubicBezTo>
                  <a:pt x="2500" y="1887"/>
                  <a:pt x="2500" y="1886"/>
                  <a:pt x="2500" y="1886"/>
                </a:cubicBezTo>
                <a:cubicBezTo>
                  <a:pt x="2501" y="1886"/>
                  <a:pt x="2501" y="1886"/>
                  <a:pt x="2501" y="1886"/>
                </a:cubicBezTo>
                <a:close/>
                <a:moveTo>
                  <a:pt x="2517" y="1851"/>
                </a:moveTo>
                <a:cubicBezTo>
                  <a:pt x="2517" y="1851"/>
                  <a:pt x="2516" y="1851"/>
                  <a:pt x="2516" y="1850"/>
                </a:cubicBezTo>
                <a:cubicBezTo>
                  <a:pt x="2514" y="1848"/>
                  <a:pt x="2514" y="1846"/>
                  <a:pt x="2515" y="1843"/>
                </a:cubicBezTo>
                <a:cubicBezTo>
                  <a:pt x="2514" y="1843"/>
                  <a:pt x="2514" y="1843"/>
                  <a:pt x="2514" y="1843"/>
                </a:cubicBezTo>
                <a:cubicBezTo>
                  <a:pt x="2514" y="1843"/>
                  <a:pt x="2514" y="1843"/>
                  <a:pt x="2514" y="1842"/>
                </a:cubicBezTo>
                <a:cubicBezTo>
                  <a:pt x="2511" y="1841"/>
                  <a:pt x="2512" y="1837"/>
                  <a:pt x="2509" y="1835"/>
                </a:cubicBezTo>
                <a:cubicBezTo>
                  <a:pt x="2507" y="1833"/>
                  <a:pt x="2504" y="1831"/>
                  <a:pt x="2502" y="1828"/>
                </a:cubicBezTo>
                <a:cubicBezTo>
                  <a:pt x="2501" y="1826"/>
                  <a:pt x="2499" y="1823"/>
                  <a:pt x="2499" y="1821"/>
                </a:cubicBezTo>
                <a:cubicBezTo>
                  <a:pt x="2498" y="1811"/>
                  <a:pt x="2494" y="1802"/>
                  <a:pt x="2495" y="1792"/>
                </a:cubicBezTo>
                <a:cubicBezTo>
                  <a:pt x="2495" y="1791"/>
                  <a:pt x="2496" y="1790"/>
                  <a:pt x="2497" y="1790"/>
                </a:cubicBezTo>
                <a:cubicBezTo>
                  <a:pt x="2498" y="1790"/>
                  <a:pt x="2499" y="1791"/>
                  <a:pt x="2499" y="1792"/>
                </a:cubicBezTo>
                <a:cubicBezTo>
                  <a:pt x="2501" y="1798"/>
                  <a:pt x="2502" y="1805"/>
                  <a:pt x="2503" y="1811"/>
                </a:cubicBezTo>
                <a:cubicBezTo>
                  <a:pt x="2502" y="1817"/>
                  <a:pt x="2503" y="1823"/>
                  <a:pt x="2509" y="1826"/>
                </a:cubicBezTo>
                <a:cubicBezTo>
                  <a:pt x="2512" y="1828"/>
                  <a:pt x="2513" y="1832"/>
                  <a:pt x="2513" y="1835"/>
                </a:cubicBezTo>
                <a:cubicBezTo>
                  <a:pt x="2514" y="1838"/>
                  <a:pt x="2514" y="1840"/>
                  <a:pt x="2514" y="1842"/>
                </a:cubicBezTo>
                <a:cubicBezTo>
                  <a:pt x="2514" y="1843"/>
                  <a:pt x="2514" y="1843"/>
                  <a:pt x="2515" y="1843"/>
                </a:cubicBezTo>
                <a:cubicBezTo>
                  <a:pt x="2515" y="1843"/>
                  <a:pt x="2515" y="1843"/>
                  <a:pt x="2515" y="1843"/>
                </a:cubicBezTo>
                <a:cubicBezTo>
                  <a:pt x="2517" y="1845"/>
                  <a:pt x="2518" y="1847"/>
                  <a:pt x="2518" y="1850"/>
                </a:cubicBezTo>
                <a:cubicBezTo>
                  <a:pt x="2518" y="1850"/>
                  <a:pt x="2518" y="1851"/>
                  <a:pt x="2517" y="1851"/>
                </a:cubicBezTo>
                <a:close/>
                <a:moveTo>
                  <a:pt x="2521" y="1710"/>
                </a:moveTo>
                <a:cubicBezTo>
                  <a:pt x="2520" y="1711"/>
                  <a:pt x="2520" y="1711"/>
                  <a:pt x="2520" y="1711"/>
                </a:cubicBezTo>
                <a:cubicBezTo>
                  <a:pt x="2520" y="1710"/>
                  <a:pt x="2520" y="1710"/>
                  <a:pt x="2520" y="1710"/>
                </a:cubicBezTo>
                <a:cubicBezTo>
                  <a:pt x="2522" y="1710"/>
                  <a:pt x="2522" y="1710"/>
                  <a:pt x="2522" y="1710"/>
                </a:cubicBezTo>
                <a:lnTo>
                  <a:pt x="2521" y="1710"/>
                </a:lnTo>
                <a:close/>
                <a:moveTo>
                  <a:pt x="2607" y="1566"/>
                </a:moveTo>
                <a:cubicBezTo>
                  <a:pt x="2607" y="1566"/>
                  <a:pt x="2608" y="1567"/>
                  <a:pt x="2609" y="1567"/>
                </a:cubicBezTo>
                <a:cubicBezTo>
                  <a:pt x="2609" y="1568"/>
                  <a:pt x="2609" y="1569"/>
                  <a:pt x="2608" y="1569"/>
                </a:cubicBezTo>
                <a:cubicBezTo>
                  <a:pt x="2607" y="1569"/>
                  <a:pt x="2606" y="1568"/>
                  <a:pt x="2606" y="1567"/>
                </a:cubicBezTo>
                <a:cubicBezTo>
                  <a:pt x="2606" y="1567"/>
                  <a:pt x="2606" y="1566"/>
                  <a:pt x="2607" y="1566"/>
                </a:cubicBezTo>
                <a:close/>
                <a:moveTo>
                  <a:pt x="2541" y="1332"/>
                </a:moveTo>
                <a:cubicBezTo>
                  <a:pt x="2541" y="1332"/>
                  <a:pt x="2542" y="1332"/>
                  <a:pt x="2542" y="1333"/>
                </a:cubicBezTo>
                <a:cubicBezTo>
                  <a:pt x="2542" y="1333"/>
                  <a:pt x="2542" y="1334"/>
                  <a:pt x="2542" y="1334"/>
                </a:cubicBezTo>
                <a:cubicBezTo>
                  <a:pt x="2541" y="1334"/>
                  <a:pt x="2541" y="1333"/>
                  <a:pt x="2541" y="1333"/>
                </a:cubicBezTo>
                <a:cubicBezTo>
                  <a:pt x="2540" y="1333"/>
                  <a:pt x="2541" y="1332"/>
                  <a:pt x="2541" y="1332"/>
                </a:cubicBezTo>
                <a:close/>
                <a:moveTo>
                  <a:pt x="2534" y="1324"/>
                </a:moveTo>
                <a:cubicBezTo>
                  <a:pt x="2534" y="1324"/>
                  <a:pt x="2534" y="1324"/>
                  <a:pt x="2534" y="1324"/>
                </a:cubicBezTo>
                <a:cubicBezTo>
                  <a:pt x="2535" y="1324"/>
                  <a:pt x="2535" y="1324"/>
                  <a:pt x="2535" y="1325"/>
                </a:cubicBezTo>
                <a:cubicBezTo>
                  <a:pt x="2535" y="1325"/>
                  <a:pt x="2535" y="1325"/>
                  <a:pt x="2534" y="1324"/>
                </a:cubicBezTo>
                <a:cubicBezTo>
                  <a:pt x="2534" y="1324"/>
                  <a:pt x="2534" y="1324"/>
                  <a:pt x="2534" y="1324"/>
                </a:cubicBezTo>
                <a:close/>
                <a:moveTo>
                  <a:pt x="2566" y="1880"/>
                </a:moveTo>
                <a:cubicBezTo>
                  <a:pt x="2567" y="1883"/>
                  <a:pt x="2567" y="1886"/>
                  <a:pt x="2569" y="1889"/>
                </a:cubicBezTo>
                <a:cubicBezTo>
                  <a:pt x="2571" y="1894"/>
                  <a:pt x="2571" y="1898"/>
                  <a:pt x="2569" y="1902"/>
                </a:cubicBezTo>
                <a:cubicBezTo>
                  <a:pt x="2567" y="1906"/>
                  <a:pt x="2567" y="1910"/>
                  <a:pt x="2568" y="1915"/>
                </a:cubicBezTo>
                <a:cubicBezTo>
                  <a:pt x="2569" y="1918"/>
                  <a:pt x="2570" y="1921"/>
                  <a:pt x="2570" y="1924"/>
                </a:cubicBezTo>
                <a:cubicBezTo>
                  <a:pt x="2571" y="1925"/>
                  <a:pt x="2571" y="1927"/>
                  <a:pt x="2570" y="1927"/>
                </a:cubicBezTo>
                <a:cubicBezTo>
                  <a:pt x="2569" y="1928"/>
                  <a:pt x="2568" y="1927"/>
                  <a:pt x="2567" y="1926"/>
                </a:cubicBezTo>
                <a:cubicBezTo>
                  <a:pt x="2564" y="1920"/>
                  <a:pt x="2562" y="1914"/>
                  <a:pt x="2561" y="1907"/>
                </a:cubicBezTo>
                <a:cubicBezTo>
                  <a:pt x="2561" y="1905"/>
                  <a:pt x="2561" y="1903"/>
                  <a:pt x="2561" y="1901"/>
                </a:cubicBezTo>
                <a:cubicBezTo>
                  <a:pt x="2564" y="1895"/>
                  <a:pt x="2564" y="1889"/>
                  <a:pt x="2562" y="1883"/>
                </a:cubicBezTo>
                <a:cubicBezTo>
                  <a:pt x="2562" y="1880"/>
                  <a:pt x="2562" y="1877"/>
                  <a:pt x="2562" y="1874"/>
                </a:cubicBezTo>
                <a:cubicBezTo>
                  <a:pt x="2562" y="1873"/>
                  <a:pt x="2562" y="1873"/>
                  <a:pt x="2562" y="1872"/>
                </a:cubicBezTo>
                <a:cubicBezTo>
                  <a:pt x="2563" y="1873"/>
                  <a:pt x="2565" y="1873"/>
                  <a:pt x="2565" y="1874"/>
                </a:cubicBezTo>
                <a:cubicBezTo>
                  <a:pt x="2566" y="1876"/>
                  <a:pt x="2566" y="1878"/>
                  <a:pt x="2566" y="1880"/>
                </a:cubicBezTo>
                <a:close/>
                <a:moveTo>
                  <a:pt x="2551" y="1715"/>
                </a:moveTo>
                <a:cubicBezTo>
                  <a:pt x="2552" y="1716"/>
                  <a:pt x="2552" y="1716"/>
                  <a:pt x="2552" y="1716"/>
                </a:cubicBezTo>
                <a:cubicBezTo>
                  <a:pt x="2550" y="1716"/>
                  <a:pt x="2550" y="1716"/>
                  <a:pt x="2550" y="1716"/>
                </a:cubicBezTo>
                <a:lnTo>
                  <a:pt x="2551" y="1715"/>
                </a:lnTo>
                <a:close/>
                <a:moveTo>
                  <a:pt x="2554" y="1732"/>
                </a:moveTo>
                <a:cubicBezTo>
                  <a:pt x="2559" y="1732"/>
                  <a:pt x="2562" y="1734"/>
                  <a:pt x="2564" y="1738"/>
                </a:cubicBezTo>
                <a:cubicBezTo>
                  <a:pt x="2564" y="1738"/>
                  <a:pt x="2565" y="1740"/>
                  <a:pt x="2564" y="1741"/>
                </a:cubicBezTo>
                <a:cubicBezTo>
                  <a:pt x="2562" y="1747"/>
                  <a:pt x="2559" y="1752"/>
                  <a:pt x="2554" y="1757"/>
                </a:cubicBezTo>
                <a:cubicBezTo>
                  <a:pt x="2553" y="1759"/>
                  <a:pt x="2552" y="1761"/>
                  <a:pt x="2552" y="1763"/>
                </a:cubicBezTo>
                <a:cubicBezTo>
                  <a:pt x="2552" y="1764"/>
                  <a:pt x="2552" y="1765"/>
                  <a:pt x="2551" y="1766"/>
                </a:cubicBezTo>
                <a:cubicBezTo>
                  <a:pt x="2550" y="1767"/>
                  <a:pt x="2549" y="1768"/>
                  <a:pt x="2547" y="1768"/>
                </a:cubicBezTo>
                <a:cubicBezTo>
                  <a:pt x="2546" y="1768"/>
                  <a:pt x="2545" y="1768"/>
                  <a:pt x="2544" y="1768"/>
                </a:cubicBezTo>
                <a:cubicBezTo>
                  <a:pt x="2543" y="1768"/>
                  <a:pt x="2542" y="1768"/>
                  <a:pt x="2541" y="1768"/>
                </a:cubicBezTo>
                <a:cubicBezTo>
                  <a:pt x="2538" y="1768"/>
                  <a:pt x="2536" y="1768"/>
                  <a:pt x="2534" y="1768"/>
                </a:cubicBezTo>
                <a:cubicBezTo>
                  <a:pt x="2533" y="1768"/>
                  <a:pt x="2533" y="1767"/>
                  <a:pt x="2532" y="1766"/>
                </a:cubicBezTo>
                <a:cubicBezTo>
                  <a:pt x="2532" y="1765"/>
                  <a:pt x="2532" y="1763"/>
                  <a:pt x="2532" y="1762"/>
                </a:cubicBezTo>
                <a:cubicBezTo>
                  <a:pt x="2534" y="1756"/>
                  <a:pt x="2534" y="1750"/>
                  <a:pt x="2534" y="1743"/>
                </a:cubicBezTo>
                <a:cubicBezTo>
                  <a:pt x="2534" y="1741"/>
                  <a:pt x="2534" y="1740"/>
                  <a:pt x="2535" y="1738"/>
                </a:cubicBezTo>
                <a:cubicBezTo>
                  <a:pt x="2536" y="1737"/>
                  <a:pt x="2537" y="1735"/>
                  <a:pt x="2538" y="1735"/>
                </a:cubicBezTo>
                <a:cubicBezTo>
                  <a:pt x="2544" y="1734"/>
                  <a:pt x="2549" y="1733"/>
                  <a:pt x="2554" y="1732"/>
                </a:cubicBezTo>
                <a:close/>
                <a:moveTo>
                  <a:pt x="2543" y="807"/>
                </a:moveTo>
                <a:cubicBezTo>
                  <a:pt x="2543" y="807"/>
                  <a:pt x="2543" y="807"/>
                  <a:pt x="2544" y="807"/>
                </a:cubicBezTo>
                <a:cubicBezTo>
                  <a:pt x="2544" y="807"/>
                  <a:pt x="2545" y="807"/>
                  <a:pt x="2545" y="807"/>
                </a:cubicBezTo>
                <a:cubicBezTo>
                  <a:pt x="2545" y="808"/>
                  <a:pt x="2545" y="808"/>
                  <a:pt x="2545" y="808"/>
                </a:cubicBezTo>
                <a:cubicBezTo>
                  <a:pt x="2547" y="811"/>
                  <a:pt x="2550" y="813"/>
                  <a:pt x="2552" y="816"/>
                </a:cubicBezTo>
                <a:cubicBezTo>
                  <a:pt x="2554" y="817"/>
                  <a:pt x="2553" y="819"/>
                  <a:pt x="2552" y="820"/>
                </a:cubicBezTo>
                <a:cubicBezTo>
                  <a:pt x="2549" y="821"/>
                  <a:pt x="2546" y="820"/>
                  <a:pt x="2544" y="818"/>
                </a:cubicBezTo>
                <a:cubicBezTo>
                  <a:pt x="2543" y="817"/>
                  <a:pt x="2543" y="815"/>
                  <a:pt x="2544" y="814"/>
                </a:cubicBezTo>
                <a:cubicBezTo>
                  <a:pt x="2544" y="813"/>
                  <a:pt x="2544" y="813"/>
                  <a:pt x="2544" y="812"/>
                </a:cubicBezTo>
                <a:cubicBezTo>
                  <a:pt x="2544" y="811"/>
                  <a:pt x="2545" y="809"/>
                  <a:pt x="2545" y="808"/>
                </a:cubicBezTo>
                <a:cubicBezTo>
                  <a:pt x="2545" y="808"/>
                  <a:pt x="2545" y="808"/>
                  <a:pt x="2545" y="808"/>
                </a:cubicBezTo>
                <a:cubicBezTo>
                  <a:pt x="2544" y="808"/>
                  <a:pt x="2544" y="807"/>
                  <a:pt x="2544" y="807"/>
                </a:cubicBezTo>
                <a:cubicBezTo>
                  <a:pt x="2543" y="807"/>
                  <a:pt x="2542" y="807"/>
                  <a:pt x="2542" y="807"/>
                </a:cubicBezTo>
                <a:cubicBezTo>
                  <a:pt x="2541" y="806"/>
                  <a:pt x="2542" y="806"/>
                  <a:pt x="2543" y="807"/>
                </a:cubicBezTo>
                <a:close/>
                <a:moveTo>
                  <a:pt x="2533" y="778"/>
                </a:moveTo>
                <a:cubicBezTo>
                  <a:pt x="2533" y="778"/>
                  <a:pt x="2534" y="777"/>
                  <a:pt x="2534" y="778"/>
                </a:cubicBezTo>
                <a:cubicBezTo>
                  <a:pt x="2536" y="779"/>
                  <a:pt x="2535" y="780"/>
                  <a:pt x="2534" y="780"/>
                </a:cubicBezTo>
                <a:cubicBezTo>
                  <a:pt x="2533" y="780"/>
                  <a:pt x="2533" y="779"/>
                  <a:pt x="2533" y="779"/>
                </a:cubicBezTo>
                <a:cubicBezTo>
                  <a:pt x="2533" y="779"/>
                  <a:pt x="2533" y="778"/>
                  <a:pt x="2533" y="778"/>
                </a:cubicBezTo>
                <a:close/>
                <a:moveTo>
                  <a:pt x="2536" y="1021"/>
                </a:moveTo>
                <a:cubicBezTo>
                  <a:pt x="2535" y="1021"/>
                  <a:pt x="2535" y="1022"/>
                  <a:pt x="2535" y="1022"/>
                </a:cubicBezTo>
                <a:cubicBezTo>
                  <a:pt x="2535" y="1022"/>
                  <a:pt x="2534" y="1022"/>
                  <a:pt x="2534" y="1022"/>
                </a:cubicBezTo>
                <a:cubicBezTo>
                  <a:pt x="2534" y="1021"/>
                  <a:pt x="2534" y="1021"/>
                  <a:pt x="2534" y="1021"/>
                </a:cubicBezTo>
                <a:cubicBezTo>
                  <a:pt x="2535" y="1021"/>
                  <a:pt x="2535" y="1021"/>
                  <a:pt x="2536" y="1021"/>
                </a:cubicBezTo>
                <a:close/>
                <a:moveTo>
                  <a:pt x="2495" y="738"/>
                </a:moveTo>
                <a:cubicBezTo>
                  <a:pt x="2497" y="737"/>
                  <a:pt x="2499" y="737"/>
                  <a:pt x="2501" y="735"/>
                </a:cubicBezTo>
                <a:cubicBezTo>
                  <a:pt x="2502" y="734"/>
                  <a:pt x="2502" y="734"/>
                  <a:pt x="2503" y="733"/>
                </a:cubicBezTo>
                <a:cubicBezTo>
                  <a:pt x="2503" y="733"/>
                  <a:pt x="2503" y="734"/>
                  <a:pt x="2503" y="735"/>
                </a:cubicBezTo>
                <a:cubicBezTo>
                  <a:pt x="2505" y="741"/>
                  <a:pt x="2508" y="746"/>
                  <a:pt x="2511" y="751"/>
                </a:cubicBezTo>
                <a:cubicBezTo>
                  <a:pt x="2513" y="752"/>
                  <a:pt x="2513" y="755"/>
                  <a:pt x="2514" y="757"/>
                </a:cubicBezTo>
                <a:cubicBezTo>
                  <a:pt x="2513" y="758"/>
                  <a:pt x="2512" y="760"/>
                  <a:pt x="2511" y="761"/>
                </a:cubicBezTo>
                <a:cubicBezTo>
                  <a:pt x="2511" y="762"/>
                  <a:pt x="2510" y="763"/>
                  <a:pt x="2509" y="763"/>
                </a:cubicBezTo>
                <a:cubicBezTo>
                  <a:pt x="2507" y="763"/>
                  <a:pt x="2507" y="762"/>
                  <a:pt x="2507" y="761"/>
                </a:cubicBezTo>
                <a:cubicBezTo>
                  <a:pt x="2506" y="756"/>
                  <a:pt x="2504" y="753"/>
                  <a:pt x="2499" y="751"/>
                </a:cubicBezTo>
                <a:cubicBezTo>
                  <a:pt x="2496" y="749"/>
                  <a:pt x="2494" y="746"/>
                  <a:pt x="2492" y="742"/>
                </a:cubicBezTo>
                <a:cubicBezTo>
                  <a:pt x="2492" y="740"/>
                  <a:pt x="2492" y="738"/>
                  <a:pt x="2495" y="738"/>
                </a:cubicBezTo>
                <a:close/>
                <a:moveTo>
                  <a:pt x="2505" y="994"/>
                </a:moveTo>
                <a:cubicBezTo>
                  <a:pt x="2504" y="994"/>
                  <a:pt x="2504" y="995"/>
                  <a:pt x="2503" y="995"/>
                </a:cubicBezTo>
                <a:cubicBezTo>
                  <a:pt x="2503" y="994"/>
                  <a:pt x="2503" y="994"/>
                  <a:pt x="2503" y="993"/>
                </a:cubicBezTo>
                <a:cubicBezTo>
                  <a:pt x="2503" y="993"/>
                  <a:pt x="2504" y="993"/>
                  <a:pt x="2504" y="993"/>
                </a:cubicBezTo>
                <a:cubicBezTo>
                  <a:pt x="2504" y="993"/>
                  <a:pt x="2505" y="994"/>
                  <a:pt x="2505" y="994"/>
                </a:cubicBezTo>
                <a:close/>
                <a:moveTo>
                  <a:pt x="2486" y="701"/>
                </a:moveTo>
                <a:cubicBezTo>
                  <a:pt x="2487" y="702"/>
                  <a:pt x="2488" y="702"/>
                  <a:pt x="2489" y="702"/>
                </a:cubicBezTo>
                <a:cubicBezTo>
                  <a:pt x="2489" y="703"/>
                  <a:pt x="2489" y="704"/>
                  <a:pt x="2490" y="705"/>
                </a:cubicBezTo>
                <a:cubicBezTo>
                  <a:pt x="2490" y="705"/>
                  <a:pt x="2489" y="705"/>
                  <a:pt x="2489" y="706"/>
                </a:cubicBezTo>
                <a:cubicBezTo>
                  <a:pt x="2488" y="705"/>
                  <a:pt x="2487" y="705"/>
                  <a:pt x="2486" y="704"/>
                </a:cubicBezTo>
                <a:cubicBezTo>
                  <a:pt x="2486" y="703"/>
                  <a:pt x="2486" y="702"/>
                  <a:pt x="2486" y="701"/>
                </a:cubicBezTo>
                <a:close/>
                <a:moveTo>
                  <a:pt x="2451" y="609"/>
                </a:moveTo>
                <a:cubicBezTo>
                  <a:pt x="2452" y="608"/>
                  <a:pt x="2452" y="608"/>
                  <a:pt x="2453" y="607"/>
                </a:cubicBezTo>
                <a:cubicBezTo>
                  <a:pt x="2452" y="608"/>
                  <a:pt x="2452" y="608"/>
                  <a:pt x="2451" y="609"/>
                </a:cubicBezTo>
                <a:cubicBezTo>
                  <a:pt x="2452" y="610"/>
                  <a:pt x="2451" y="610"/>
                  <a:pt x="2451" y="609"/>
                </a:cubicBezTo>
                <a:cubicBezTo>
                  <a:pt x="2451" y="609"/>
                  <a:pt x="2451" y="609"/>
                  <a:pt x="2451" y="609"/>
                </a:cubicBezTo>
                <a:close/>
                <a:moveTo>
                  <a:pt x="2449" y="656"/>
                </a:moveTo>
                <a:cubicBezTo>
                  <a:pt x="2449" y="656"/>
                  <a:pt x="2449" y="656"/>
                  <a:pt x="2449" y="656"/>
                </a:cubicBezTo>
                <a:cubicBezTo>
                  <a:pt x="2449" y="656"/>
                  <a:pt x="2449" y="656"/>
                  <a:pt x="2449" y="657"/>
                </a:cubicBezTo>
                <a:cubicBezTo>
                  <a:pt x="2449" y="657"/>
                  <a:pt x="2449" y="657"/>
                  <a:pt x="2449" y="656"/>
                </a:cubicBezTo>
                <a:cubicBezTo>
                  <a:pt x="2449" y="656"/>
                  <a:pt x="2448" y="656"/>
                  <a:pt x="2448" y="656"/>
                </a:cubicBezTo>
                <a:cubicBezTo>
                  <a:pt x="2448" y="655"/>
                  <a:pt x="2448" y="655"/>
                  <a:pt x="2448" y="655"/>
                </a:cubicBezTo>
                <a:lnTo>
                  <a:pt x="2449" y="656"/>
                </a:lnTo>
                <a:close/>
                <a:moveTo>
                  <a:pt x="2446" y="763"/>
                </a:moveTo>
                <a:cubicBezTo>
                  <a:pt x="2445" y="762"/>
                  <a:pt x="2445" y="761"/>
                  <a:pt x="2445" y="760"/>
                </a:cubicBezTo>
                <a:cubicBezTo>
                  <a:pt x="2446" y="756"/>
                  <a:pt x="2448" y="752"/>
                  <a:pt x="2452" y="750"/>
                </a:cubicBezTo>
                <a:cubicBezTo>
                  <a:pt x="2452" y="750"/>
                  <a:pt x="2453" y="750"/>
                  <a:pt x="2453" y="750"/>
                </a:cubicBezTo>
                <a:cubicBezTo>
                  <a:pt x="2454" y="750"/>
                  <a:pt x="2455" y="751"/>
                  <a:pt x="2456" y="751"/>
                </a:cubicBezTo>
                <a:cubicBezTo>
                  <a:pt x="2460" y="754"/>
                  <a:pt x="2463" y="757"/>
                  <a:pt x="2466" y="759"/>
                </a:cubicBezTo>
                <a:cubicBezTo>
                  <a:pt x="2467" y="760"/>
                  <a:pt x="2468" y="761"/>
                  <a:pt x="2469" y="762"/>
                </a:cubicBezTo>
                <a:cubicBezTo>
                  <a:pt x="2476" y="769"/>
                  <a:pt x="2475" y="776"/>
                  <a:pt x="2466" y="781"/>
                </a:cubicBezTo>
                <a:cubicBezTo>
                  <a:pt x="2466" y="781"/>
                  <a:pt x="2465" y="782"/>
                  <a:pt x="2465" y="782"/>
                </a:cubicBezTo>
                <a:cubicBezTo>
                  <a:pt x="2462" y="783"/>
                  <a:pt x="2460" y="783"/>
                  <a:pt x="2459" y="782"/>
                </a:cubicBezTo>
                <a:cubicBezTo>
                  <a:pt x="2454" y="776"/>
                  <a:pt x="2450" y="769"/>
                  <a:pt x="2446" y="763"/>
                </a:cubicBezTo>
                <a:close/>
                <a:moveTo>
                  <a:pt x="2467" y="1145"/>
                </a:moveTo>
                <a:cubicBezTo>
                  <a:pt x="2467" y="1146"/>
                  <a:pt x="2465" y="1147"/>
                  <a:pt x="2464" y="1147"/>
                </a:cubicBezTo>
                <a:cubicBezTo>
                  <a:pt x="2463" y="1148"/>
                  <a:pt x="2461" y="1147"/>
                  <a:pt x="2460" y="1147"/>
                </a:cubicBezTo>
                <a:cubicBezTo>
                  <a:pt x="2459" y="1147"/>
                  <a:pt x="2458" y="1147"/>
                  <a:pt x="2458" y="1147"/>
                </a:cubicBezTo>
                <a:cubicBezTo>
                  <a:pt x="2456" y="1147"/>
                  <a:pt x="2454" y="1147"/>
                  <a:pt x="2452" y="1147"/>
                </a:cubicBezTo>
                <a:cubicBezTo>
                  <a:pt x="2450" y="1147"/>
                  <a:pt x="2449" y="1146"/>
                  <a:pt x="2449" y="1144"/>
                </a:cubicBezTo>
                <a:cubicBezTo>
                  <a:pt x="2450" y="1143"/>
                  <a:pt x="2451" y="1141"/>
                  <a:pt x="2452" y="1141"/>
                </a:cubicBezTo>
                <a:cubicBezTo>
                  <a:pt x="2456" y="1138"/>
                  <a:pt x="2461" y="1139"/>
                  <a:pt x="2466" y="1139"/>
                </a:cubicBezTo>
                <a:cubicBezTo>
                  <a:pt x="2469" y="1139"/>
                  <a:pt x="2470" y="1142"/>
                  <a:pt x="2467" y="1145"/>
                </a:cubicBezTo>
                <a:close/>
                <a:moveTo>
                  <a:pt x="2626" y="1128"/>
                </a:moveTo>
                <a:cubicBezTo>
                  <a:pt x="2624" y="1129"/>
                  <a:pt x="2622" y="1130"/>
                  <a:pt x="2620" y="1131"/>
                </a:cubicBezTo>
                <a:cubicBezTo>
                  <a:pt x="2617" y="1133"/>
                  <a:pt x="2613" y="1135"/>
                  <a:pt x="2609" y="1133"/>
                </a:cubicBezTo>
                <a:cubicBezTo>
                  <a:pt x="2604" y="1131"/>
                  <a:pt x="2600" y="1132"/>
                  <a:pt x="2595" y="1134"/>
                </a:cubicBezTo>
                <a:cubicBezTo>
                  <a:pt x="2592" y="1135"/>
                  <a:pt x="2588" y="1135"/>
                  <a:pt x="2585" y="1134"/>
                </a:cubicBezTo>
                <a:cubicBezTo>
                  <a:pt x="2579" y="1132"/>
                  <a:pt x="2573" y="1130"/>
                  <a:pt x="2566" y="1127"/>
                </a:cubicBezTo>
                <a:cubicBezTo>
                  <a:pt x="2565" y="1127"/>
                  <a:pt x="2564" y="1126"/>
                  <a:pt x="2562" y="1125"/>
                </a:cubicBezTo>
                <a:cubicBezTo>
                  <a:pt x="2561" y="1124"/>
                  <a:pt x="2561" y="1123"/>
                  <a:pt x="2560" y="1123"/>
                </a:cubicBezTo>
                <a:cubicBezTo>
                  <a:pt x="2554" y="1122"/>
                  <a:pt x="2548" y="1119"/>
                  <a:pt x="2543" y="1118"/>
                </a:cubicBezTo>
                <a:cubicBezTo>
                  <a:pt x="2532" y="1117"/>
                  <a:pt x="2521" y="1119"/>
                  <a:pt x="2510" y="1123"/>
                </a:cubicBezTo>
                <a:cubicBezTo>
                  <a:pt x="2506" y="1124"/>
                  <a:pt x="2503" y="1127"/>
                  <a:pt x="2500" y="1131"/>
                </a:cubicBezTo>
                <a:cubicBezTo>
                  <a:pt x="2498" y="1133"/>
                  <a:pt x="2495" y="1134"/>
                  <a:pt x="2493" y="1133"/>
                </a:cubicBezTo>
                <a:cubicBezTo>
                  <a:pt x="2487" y="1131"/>
                  <a:pt x="2481" y="1132"/>
                  <a:pt x="2475" y="1132"/>
                </a:cubicBezTo>
                <a:cubicBezTo>
                  <a:pt x="2466" y="1132"/>
                  <a:pt x="2460" y="1129"/>
                  <a:pt x="2456" y="1121"/>
                </a:cubicBezTo>
                <a:cubicBezTo>
                  <a:pt x="2455" y="1118"/>
                  <a:pt x="2454" y="1116"/>
                  <a:pt x="2453" y="1113"/>
                </a:cubicBezTo>
                <a:cubicBezTo>
                  <a:pt x="2452" y="1112"/>
                  <a:pt x="2452" y="1110"/>
                  <a:pt x="2453" y="1108"/>
                </a:cubicBezTo>
                <a:cubicBezTo>
                  <a:pt x="2454" y="1105"/>
                  <a:pt x="2454" y="1101"/>
                  <a:pt x="2457" y="1098"/>
                </a:cubicBezTo>
                <a:cubicBezTo>
                  <a:pt x="2460" y="1095"/>
                  <a:pt x="2462" y="1092"/>
                  <a:pt x="2462" y="1088"/>
                </a:cubicBezTo>
                <a:cubicBezTo>
                  <a:pt x="2462" y="1085"/>
                  <a:pt x="2462" y="1081"/>
                  <a:pt x="2462" y="1078"/>
                </a:cubicBezTo>
                <a:cubicBezTo>
                  <a:pt x="2463" y="1076"/>
                  <a:pt x="2464" y="1074"/>
                  <a:pt x="2466" y="1073"/>
                </a:cubicBezTo>
                <a:cubicBezTo>
                  <a:pt x="2470" y="1072"/>
                  <a:pt x="2472" y="1069"/>
                  <a:pt x="2473" y="1065"/>
                </a:cubicBezTo>
                <a:cubicBezTo>
                  <a:pt x="2473" y="1062"/>
                  <a:pt x="2474" y="1060"/>
                  <a:pt x="2475" y="1058"/>
                </a:cubicBezTo>
                <a:cubicBezTo>
                  <a:pt x="2478" y="1054"/>
                  <a:pt x="2482" y="1049"/>
                  <a:pt x="2486" y="1044"/>
                </a:cubicBezTo>
                <a:cubicBezTo>
                  <a:pt x="2487" y="1042"/>
                  <a:pt x="2491" y="1041"/>
                  <a:pt x="2493" y="1042"/>
                </a:cubicBezTo>
                <a:cubicBezTo>
                  <a:pt x="2494" y="1043"/>
                  <a:pt x="2494" y="1043"/>
                  <a:pt x="2495" y="1043"/>
                </a:cubicBezTo>
                <a:cubicBezTo>
                  <a:pt x="2500" y="1048"/>
                  <a:pt x="2506" y="1050"/>
                  <a:pt x="2514" y="1050"/>
                </a:cubicBezTo>
                <a:cubicBezTo>
                  <a:pt x="2516" y="1050"/>
                  <a:pt x="2517" y="1053"/>
                  <a:pt x="2515" y="1054"/>
                </a:cubicBezTo>
                <a:cubicBezTo>
                  <a:pt x="2514" y="1056"/>
                  <a:pt x="2512" y="1057"/>
                  <a:pt x="2511" y="1059"/>
                </a:cubicBezTo>
                <a:cubicBezTo>
                  <a:pt x="2510" y="1060"/>
                  <a:pt x="2510" y="1062"/>
                  <a:pt x="2512" y="1063"/>
                </a:cubicBezTo>
                <a:cubicBezTo>
                  <a:pt x="2513" y="1063"/>
                  <a:pt x="2514" y="1064"/>
                  <a:pt x="2515" y="1064"/>
                </a:cubicBezTo>
                <a:cubicBezTo>
                  <a:pt x="2518" y="1066"/>
                  <a:pt x="2520" y="1068"/>
                  <a:pt x="2520" y="1072"/>
                </a:cubicBezTo>
                <a:cubicBezTo>
                  <a:pt x="2521" y="1076"/>
                  <a:pt x="2525" y="1078"/>
                  <a:pt x="2529" y="1076"/>
                </a:cubicBezTo>
                <a:cubicBezTo>
                  <a:pt x="2530" y="1076"/>
                  <a:pt x="2532" y="1075"/>
                  <a:pt x="2533" y="1074"/>
                </a:cubicBezTo>
                <a:cubicBezTo>
                  <a:pt x="2536" y="1073"/>
                  <a:pt x="2539" y="1071"/>
                  <a:pt x="2542" y="1070"/>
                </a:cubicBezTo>
                <a:cubicBezTo>
                  <a:pt x="2546" y="1067"/>
                  <a:pt x="2550" y="1066"/>
                  <a:pt x="2555" y="1066"/>
                </a:cubicBezTo>
                <a:cubicBezTo>
                  <a:pt x="2556" y="1066"/>
                  <a:pt x="2557" y="1065"/>
                  <a:pt x="2558" y="1065"/>
                </a:cubicBezTo>
                <a:cubicBezTo>
                  <a:pt x="2559" y="1064"/>
                  <a:pt x="2560" y="1062"/>
                  <a:pt x="2559" y="1061"/>
                </a:cubicBezTo>
                <a:cubicBezTo>
                  <a:pt x="2559" y="1059"/>
                  <a:pt x="2557" y="1058"/>
                  <a:pt x="2556" y="1058"/>
                </a:cubicBezTo>
                <a:cubicBezTo>
                  <a:pt x="2555" y="1058"/>
                  <a:pt x="2555" y="1058"/>
                  <a:pt x="2554" y="1058"/>
                </a:cubicBezTo>
                <a:cubicBezTo>
                  <a:pt x="2542" y="1059"/>
                  <a:pt x="2542" y="1059"/>
                  <a:pt x="2535" y="1050"/>
                </a:cubicBezTo>
                <a:cubicBezTo>
                  <a:pt x="2534" y="1050"/>
                  <a:pt x="2534" y="1050"/>
                  <a:pt x="2534" y="1050"/>
                </a:cubicBezTo>
                <a:cubicBezTo>
                  <a:pt x="2534" y="1049"/>
                  <a:pt x="2534" y="1049"/>
                  <a:pt x="2534" y="1049"/>
                </a:cubicBezTo>
                <a:cubicBezTo>
                  <a:pt x="2534" y="1049"/>
                  <a:pt x="2534" y="1049"/>
                  <a:pt x="2535" y="1050"/>
                </a:cubicBezTo>
                <a:cubicBezTo>
                  <a:pt x="2535" y="1050"/>
                  <a:pt x="2535" y="1050"/>
                  <a:pt x="2535" y="1050"/>
                </a:cubicBezTo>
                <a:cubicBezTo>
                  <a:pt x="2539" y="1045"/>
                  <a:pt x="2544" y="1041"/>
                  <a:pt x="2551" y="1040"/>
                </a:cubicBezTo>
                <a:cubicBezTo>
                  <a:pt x="2555" y="1039"/>
                  <a:pt x="2558" y="1038"/>
                  <a:pt x="2561" y="1035"/>
                </a:cubicBezTo>
                <a:cubicBezTo>
                  <a:pt x="2567" y="1030"/>
                  <a:pt x="2573" y="1029"/>
                  <a:pt x="2581" y="1030"/>
                </a:cubicBezTo>
                <a:cubicBezTo>
                  <a:pt x="2581" y="1030"/>
                  <a:pt x="2582" y="1030"/>
                  <a:pt x="2583" y="1030"/>
                </a:cubicBezTo>
                <a:cubicBezTo>
                  <a:pt x="2583" y="1030"/>
                  <a:pt x="2583" y="1030"/>
                  <a:pt x="2583" y="1030"/>
                </a:cubicBezTo>
                <a:cubicBezTo>
                  <a:pt x="2584" y="1029"/>
                  <a:pt x="2584" y="1029"/>
                  <a:pt x="2584" y="1029"/>
                </a:cubicBezTo>
                <a:cubicBezTo>
                  <a:pt x="2584" y="1030"/>
                  <a:pt x="2584" y="1030"/>
                  <a:pt x="2584" y="1030"/>
                </a:cubicBezTo>
                <a:cubicBezTo>
                  <a:pt x="2584" y="1030"/>
                  <a:pt x="2583" y="1030"/>
                  <a:pt x="2583" y="1030"/>
                </a:cubicBezTo>
                <a:cubicBezTo>
                  <a:pt x="2581" y="1032"/>
                  <a:pt x="2578" y="1035"/>
                  <a:pt x="2575" y="1038"/>
                </a:cubicBezTo>
                <a:cubicBezTo>
                  <a:pt x="2573" y="1039"/>
                  <a:pt x="2574" y="1041"/>
                  <a:pt x="2575" y="1044"/>
                </a:cubicBezTo>
                <a:cubicBezTo>
                  <a:pt x="2575" y="1045"/>
                  <a:pt x="2576" y="1047"/>
                  <a:pt x="2575" y="1048"/>
                </a:cubicBezTo>
                <a:cubicBezTo>
                  <a:pt x="2572" y="1053"/>
                  <a:pt x="2570" y="1058"/>
                  <a:pt x="2565" y="1061"/>
                </a:cubicBezTo>
                <a:cubicBezTo>
                  <a:pt x="2565" y="1061"/>
                  <a:pt x="2564" y="1063"/>
                  <a:pt x="2565" y="1064"/>
                </a:cubicBezTo>
                <a:cubicBezTo>
                  <a:pt x="2568" y="1069"/>
                  <a:pt x="2571" y="1072"/>
                  <a:pt x="2577" y="1074"/>
                </a:cubicBezTo>
                <a:cubicBezTo>
                  <a:pt x="2584" y="1076"/>
                  <a:pt x="2590" y="1080"/>
                  <a:pt x="2595" y="1085"/>
                </a:cubicBezTo>
                <a:cubicBezTo>
                  <a:pt x="2602" y="1091"/>
                  <a:pt x="2609" y="1095"/>
                  <a:pt x="2617" y="1099"/>
                </a:cubicBezTo>
                <a:cubicBezTo>
                  <a:pt x="2625" y="1103"/>
                  <a:pt x="2629" y="1110"/>
                  <a:pt x="2630" y="1119"/>
                </a:cubicBezTo>
                <a:cubicBezTo>
                  <a:pt x="2630" y="1123"/>
                  <a:pt x="2629" y="1126"/>
                  <a:pt x="2626" y="1128"/>
                </a:cubicBezTo>
                <a:close/>
                <a:moveTo>
                  <a:pt x="2692" y="871"/>
                </a:moveTo>
                <a:cubicBezTo>
                  <a:pt x="2693" y="870"/>
                  <a:pt x="2693" y="870"/>
                  <a:pt x="2693" y="870"/>
                </a:cubicBezTo>
                <a:cubicBezTo>
                  <a:pt x="2693" y="871"/>
                  <a:pt x="2693" y="871"/>
                  <a:pt x="2693" y="871"/>
                </a:cubicBezTo>
                <a:lnTo>
                  <a:pt x="2692" y="871"/>
                </a:lnTo>
                <a:close/>
                <a:moveTo>
                  <a:pt x="2803" y="1199"/>
                </a:moveTo>
                <a:cubicBezTo>
                  <a:pt x="2795" y="1200"/>
                  <a:pt x="2788" y="1201"/>
                  <a:pt x="2781" y="1201"/>
                </a:cubicBezTo>
                <a:cubicBezTo>
                  <a:pt x="2780" y="1202"/>
                  <a:pt x="2778" y="1202"/>
                  <a:pt x="2776" y="1202"/>
                </a:cubicBezTo>
                <a:cubicBezTo>
                  <a:pt x="2769" y="1201"/>
                  <a:pt x="2761" y="1200"/>
                  <a:pt x="2755" y="1194"/>
                </a:cubicBezTo>
                <a:cubicBezTo>
                  <a:pt x="2753" y="1192"/>
                  <a:pt x="2751" y="1191"/>
                  <a:pt x="2748" y="1191"/>
                </a:cubicBezTo>
                <a:cubicBezTo>
                  <a:pt x="2746" y="1190"/>
                  <a:pt x="2744" y="1190"/>
                  <a:pt x="2742" y="1189"/>
                </a:cubicBezTo>
                <a:cubicBezTo>
                  <a:pt x="2740" y="1189"/>
                  <a:pt x="2738" y="1188"/>
                  <a:pt x="2738" y="1186"/>
                </a:cubicBezTo>
                <a:cubicBezTo>
                  <a:pt x="2735" y="1179"/>
                  <a:pt x="2732" y="1172"/>
                  <a:pt x="2735" y="1164"/>
                </a:cubicBezTo>
                <a:cubicBezTo>
                  <a:pt x="2736" y="1161"/>
                  <a:pt x="2738" y="1157"/>
                  <a:pt x="2738" y="1153"/>
                </a:cubicBezTo>
                <a:cubicBezTo>
                  <a:pt x="2739" y="1148"/>
                  <a:pt x="2742" y="1144"/>
                  <a:pt x="2746" y="1141"/>
                </a:cubicBezTo>
                <a:cubicBezTo>
                  <a:pt x="2747" y="1141"/>
                  <a:pt x="2747" y="1139"/>
                  <a:pt x="2746" y="1138"/>
                </a:cubicBezTo>
                <a:cubicBezTo>
                  <a:pt x="2745" y="1138"/>
                  <a:pt x="2744" y="1137"/>
                  <a:pt x="2743" y="1137"/>
                </a:cubicBezTo>
                <a:cubicBezTo>
                  <a:pt x="2738" y="1135"/>
                  <a:pt x="2734" y="1131"/>
                  <a:pt x="2732" y="1126"/>
                </a:cubicBezTo>
                <a:cubicBezTo>
                  <a:pt x="2729" y="1120"/>
                  <a:pt x="2725" y="1116"/>
                  <a:pt x="2720" y="1112"/>
                </a:cubicBezTo>
                <a:cubicBezTo>
                  <a:pt x="2713" y="1107"/>
                  <a:pt x="2708" y="1100"/>
                  <a:pt x="2707" y="1092"/>
                </a:cubicBezTo>
                <a:cubicBezTo>
                  <a:pt x="2705" y="1085"/>
                  <a:pt x="2702" y="1079"/>
                  <a:pt x="2696" y="1074"/>
                </a:cubicBezTo>
                <a:cubicBezTo>
                  <a:pt x="2693" y="1072"/>
                  <a:pt x="2693" y="1068"/>
                  <a:pt x="2694" y="1065"/>
                </a:cubicBezTo>
                <a:cubicBezTo>
                  <a:pt x="2695" y="1062"/>
                  <a:pt x="2696" y="1059"/>
                  <a:pt x="2697" y="1056"/>
                </a:cubicBezTo>
                <a:cubicBezTo>
                  <a:pt x="2698" y="1053"/>
                  <a:pt x="2700" y="1051"/>
                  <a:pt x="2702" y="1050"/>
                </a:cubicBezTo>
                <a:cubicBezTo>
                  <a:pt x="2708" y="1048"/>
                  <a:pt x="2713" y="1045"/>
                  <a:pt x="2717" y="1040"/>
                </a:cubicBezTo>
                <a:cubicBezTo>
                  <a:pt x="2718" y="1038"/>
                  <a:pt x="2719" y="1037"/>
                  <a:pt x="2720" y="1036"/>
                </a:cubicBezTo>
                <a:cubicBezTo>
                  <a:pt x="2726" y="1033"/>
                  <a:pt x="2733" y="1029"/>
                  <a:pt x="2739" y="1026"/>
                </a:cubicBezTo>
                <a:cubicBezTo>
                  <a:pt x="2740" y="1025"/>
                  <a:pt x="2742" y="1024"/>
                  <a:pt x="2743" y="1025"/>
                </a:cubicBezTo>
                <a:cubicBezTo>
                  <a:pt x="2749" y="1027"/>
                  <a:pt x="2754" y="1027"/>
                  <a:pt x="2759" y="1026"/>
                </a:cubicBezTo>
                <a:cubicBezTo>
                  <a:pt x="2762" y="1026"/>
                  <a:pt x="2764" y="1028"/>
                  <a:pt x="2766" y="1031"/>
                </a:cubicBezTo>
                <a:cubicBezTo>
                  <a:pt x="2767" y="1033"/>
                  <a:pt x="2768" y="1036"/>
                  <a:pt x="2768" y="1039"/>
                </a:cubicBezTo>
                <a:cubicBezTo>
                  <a:pt x="2767" y="1042"/>
                  <a:pt x="2766" y="1045"/>
                  <a:pt x="2766" y="1048"/>
                </a:cubicBezTo>
                <a:cubicBezTo>
                  <a:pt x="2766" y="1050"/>
                  <a:pt x="2765" y="1051"/>
                  <a:pt x="2763" y="1052"/>
                </a:cubicBezTo>
                <a:cubicBezTo>
                  <a:pt x="2760" y="1052"/>
                  <a:pt x="2758" y="1052"/>
                  <a:pt x="2755" y="1052"/>
                </a:cubicBezTo>
                <a:cubicBezTo>
                  <a:pt x="2748" y="1053"/>
                  <a:pt x="2746" y="1055"/>
                  <a:pt x="2747" y="1063"/>
                </a:cubicBezTo>
                <a:cubicBezTo>
                  <a:pt x="2747" y="1067"/>
                  <a:pt x="2747" y="1067"/>
                  <a:pt x="2744" y="1068"/>
                </a:cubicBezTo>
                <a:cubicBezTo>
                  <a:pt x="2744" y="1068"/>
                  <a:pt x="2743" y="1068"/>
                  <a:pt x="2742" y="1068"/>
                </a:cubicBezTo>
                <a:cubicBezTo>
                  <a:pt x="2738" y="1070"/>
                  <a:pt x="2737" y="1071"/>
                  <a:pt x="2740" y="1073"/>
                </a:cubicBezTo>
                <a:cubicBezTo>
                  <a:pt x="2743" y="1077"/>
                  <a:pt x="2747" y="1080"/>
                  <a:pt x="2749" y="1085"/>
                </a:cubicBezTo>
                <a:cubicBezTo>
                  <a:pt x="2753" y="1092"/>
                  <a:pt x="2759" y="1097"/>
                  <a:pt x="2768" y="1100"/>
                </a:cubicBezTo>
                <a:cubicBezTo>
                  <a:pt x="2770" y="1100"/>
                  <a:pt x="2771" y="1102"/>
                  <a:pt x="2771" y="1104"/>
                </a:cubicBezTo>
                <a:cubicBezTo>
                  <a:pt x="2771" y="1105"/>
                  <a:pt x="2771" y="1107"/>
                  <a:pt x="2771" y="1108"/>
                </a:cubicBezTo>
                <a:cubicBezTo>
                  <a:pt x="2770" y="1113"/>
                  <a:pt x="2771" y="1118"/>
                  <a:pt x="2774" y="1122"/>
                </a:cubicBezTo>
                <a:cubicBezTo>
                  <a:pt x="2778" y="1126"/>
                  <a:pt x="2779" y="1131"/>
                  <a:pt x="2778" y="1137"/>
                </a:cubicBezTo>
                <a:cubicBezTo>
                  <a:pt x="2778" y="1139"/>
                  <a:pt x="2778" y="1142"/>
                  <a:pt x="2779" y="1144"/>
                </a:cubicBezTo>
                <a:cubicBezTo>
                  <a:pt x="2780" y="1147"/>
                  <a:pt x="2782" y="1150"/>
                  <a:pt x="2786" y="1150"/>
                </a:cubicBezTo>
                <a:cubicBezTo>
                  <a:pt x="2787" y="1150"/>
                  <a:pt x="2789" y="1150"/>
                  <a:pt x="2790" y="1151"/>
                </a:cubicBezTo>
                <a:cubicBezTo>
                  <a:pt x="2791" y="1153"/>
                  <a:pt x="2790" y="1154"/>
                  <a:pt x="2790" y="1156"/>
                </a:cubicBezTo>
                <a:cubicBezTo>
                  <a:pt x="2790" y="1156"/>
                  <a:pt x="2789" y="1157"/>
                  <a:pt x="2790" y="1157"/>
                </a:cubicBezTo>
                <a:cubicBezTo>
                  <a:pt x="2791" y="1159"/>
                  <a:pt x="2792" y="1160"/>
                  <a:pt x="2793" y="1161"/>
                </a:cubicBezTo>
                <a:cubicBezTo>
                  <a:pt x="2797" y="1164"/>
                  <a:pt x="2799" y="1168"/>
                  <a:pt x="2798" y="1172"/>
                </a:cubicBezTo>
                <a:cubicBezTo>
                  <a:pt x="2798" y="1181"/>
                  <a:pt x="2801" y="1188"/>
                  <a:pt x="2804" y="1196"/>
                </a:cubicBezTo>
                <a:cubicBezTo>
                  <a:pt x="2804" y="1198"/>
                  <a:pt x="2804" y="1199"/>
                  <a:pt x="2803" y="1199"/>
                </a:cubicBezTo>
                <a:close/>
                <a:moveTo>
                  <a:pt x="2839" y="499"/>
                </a:moveTo>
                <a:cubicBezTo>
                  <a:pt x="2838" y="499"/>
                  <a:pt x="2838" y="499"/>
                  <a:pt x="2838" y="499"/>
                </a:cubicBezTo>
                <a:cubicBezTo>
                  <a:pt x="2839" y="498"/>
                  <a:pt x="2839" y="498"/>
                  <a:pt x="2839" y="498"/>
                </a:cubicBezTo>
                <a:lnTo>
                  <a:pt x="2839" y="499"/>
                </a:lnTo>
                <a:close/>
                <a:moveTo>
                  <a:pt x="2867" y="1064"/>
                </a:moveTo>
                <a:cubicBezTo>
                  <a:pt x="2866" y="1067"/>
                  <a:pt x="2860" y="1069"/>
                  <a:pt x="2857" y="1068"/>
                </a:cubicBezTo>
                <a:cubicBezTo>
                  <a:pt x="2854" y="1067"/>
                  <a:pt x="2850" y="1066"/>
                  <a:pt x="2846" y="1065"/>
                </a:cubicBezTo>
                <a:cubicBezTo>
                  <a:pt x="2844" y="1064"/>
                  <a:pt x="2844" y="1062"/>
                  <a:pt x="2843" y="1060"/>
                </a:cubicBezTo>
                <a:cubicBezTo>
                  <a:pt x="2842" y="1049"/>
                  <a:pt x="2853" y="1039"/>
                  <a:pt x="2863" y="1040"/>
                </a:cubicBezTo>
                <a:cubicBezTo>
                  <a:pt x="2865" y="1041"/>
                  <a:pt x="2867" y="1041"/>
                  <a:pt x="2868" y="1044"/>
                </a:cubicBezTo>
                <a:cubicBezTo>
                  <a:pt x="2869" y="1046"/>
                  <a:pt x="2870" y="1049"/>
                  <a:pt x="2871" y="1051"/>
                </a:cubicBezTo>
                <a:cubicBezTo>
                  <a:pt x="2869" y="1055"/>
                  <a:pt x="2868" y="1060"/>
                  <a:pt x="2867" y="1064"/>
                </a:cubicBezTo>
                <a:close/>
                <a:moveTo>
                  <a:pt x="2936" y="542"/>
                </a:moveTo>
                <a:cubicBezTo>
                  <a:pt x="2936" y="542"/>
                  <a:pt x="2936" y="542"/>
                  <a:pt x="2935" y="542"/>
                </a:cubicBezTo>
                <a:cubicBezTo>
                  <a:pt x="2932" y="536"/>
                  <a:pt x="2927" y="531"/>
                  <a:pt x="2923" y="525"/>
                </a:cubicBezTo>
                <a:cubicBezTo>
                  <a:pt x="2922" y="525"/>
                  <a:pt x="2922" y="524"/>
                  <a:pt x="2923" y="524"/>
                </a:cubicBezTo>
                <a:cubicBezTo>
                  <a:pt x="2923" y="523"/>
                  <a:pt x="2925" y="522"/>
                  <a:pt x="2925" y="523"/>
                </a:cubicBezTo>
                <a:cubicBezTo>
                  <a:pt x="2927" y="523"/>
                  <a:pt x="2929" y="524"/>
                  <a:pt x="2931" y="525"/>
                </a:cubicBezTo>
                <a:cubicBezTo>
                  <a:pt x="2933" y="527"/>
                  <a:pt x="2935" y="530"/>
                  <a:pt x="2937" y="533"/>
                </a:cubicBezTo>
                <a:cubicBezTo>
                  <a:pt x="2939" y="534"/>
                  <a:pt x="2938" y="539"/>
                  <a:pt x="2936" y="542"/>
                </a:cubicBezTo>
                <a:close/>
                <a:moveTo>
                  <a:pt x="2941" y="555"/>
                </a:moveTo>
                <a:cubicBezTo>
                  <a:pt x="2941" y="555"/>
                  <a:pt x="2940" y="555"/>
                  <a:pt x="2940" y="554"/>
                </a:cubicBezTo>
                <a:cubicBezTo>
                  <a:pt x="2940" y="553"/>
                  <a:pt x="2940" y="553"/>
                  <a:pt x="2942" y="554"/>
                </a:cubicBezTo>
                <a:cubicBezTo>
                  <a:pt x="2941" y="554"/>
                  <a:pt x="2941" y="555"/>
                  <a:pt x="2941" y="555"/>
                </a:cubicBezTo>
                <a:close/>
                <a:moveTo>
                  <a:pt x="2966" y="1123"/>
                </a:moveTo>
                <a:cubicBezTo>
                  <a:pt x="2965" y="1122"/>
                  <a:pt x="2965" y="1122"/>
                  <a:pt x="2965" y="1122"/>
                </a:cubicBezTo>
                <a:cubicBezTo>
                  <a:pt x="2966" y="1122"/>
                  <a:pt x="2966" y="1122"/>
                  <a:pt x="2966" y="1122"/>
                </a:cubicBezTo>
                <a:lnTo>
                  <a:pt x="2966" y="1123"/>
                </a:lnTo>
                <a:close/>
                <a:moveTo>
                  <a:pt x="2974" y="474"/>
                </a:moveTo>
                <a:cubicBezTo>
                  <a:pt x="2973" y="476"/>
                  <a:pt x="2971" y="476"/>
                  <a:pt x="2970" y="475"/>
                </a:cubicBezTo>
                <a:cubicBezTo>
                  <a:pt x="2970" y="475"/>
                  <a:pt x="2970" y="474"/>
                  <a:pt x="2970" y="474"/>
                </a:cubicBezTo>
                <a:cubicBezTo>
                  <a:pt x="2971" y="472"/>
                  <a:pt x="2972" y="471"/>
                  <a:pt x="2974" y="471"/>
                </a:cubicBezTo>
                <a:cubicBezTo>
                  <a:pt x="2974" y="472"/>
                  <a:pt x="2974" y="472"/>
                  <a:pt x="2974" y="473"/>
                </a:cubicBezTo>
                <a:cubicBezTo>
                  <a:pt x="2974" y="473"/>
                  <a:pt x="2974" y="474"/>
                  <a:pt x="2974" y="474"/>
                </a:cubicBezTo>
                <a:close/>
                <a:moveTo>
                  <a:pt x="3043" y="245"/>
                </a:moveTo>
                <a:cubicBezTo>
                  <a:pt x="3045" y="246"/>
                  <a:pt x="3046" y="247"/>
                  <a:pt x="3047" y="248"/>
                </a:cubicBezTo>
                <a:cubicBezTo>
                  <a:pt x="3047" y="249"/>
                  <a:pt x="3047" y="249"/>
                  <a:pt x="3047" y="249"/>
                </a:cubicBezTo>
                <a:cubicBezTo>
                  <a:pt x="3047" y="249"/>
                  <a:pt x="3047" y="249"/>
                  <a:pt x="3047" y="249"/>
                </a:cubicBezTo>
                <a:cubicBezTo>
                  <a:pt x="3045" y="248"/>
                  <a:pt x="3044" y="247"/>
                  <a:pt x="3043" y="246"/>
                </a:cubicBezTo>
                <a:cubicBezTo>
                  <a:pt x="3043" y="245"/>
                  <a:pt x="3043" y="245"/>
                  <a:pt x="3042" y="245"/>
                </a:cubicBezTo>
                <a:cubicBezTo>
                  <a:pt x="3043" y="245"/>
                  <a:pt x="3043" y="245"/>
                  <a:pt x="3043" y="245"/>
                </a:cubicBezTo>
                <a:close/>
                <a:moveTo>
                  <a:pt x="3042" y="855"/>
                </a:moveTo>
                <a:cubicBezTo>
                  <a:pt x="3043" y="855"/>
                  <a:pt x="3043" y="855"/>
                  <a:pt x="3043" y="856"/>
                </a:cubicBezTo>
                <a:cubicBezTo>
                  <a:pt x="3043" y="856"/>
                  <a:pt x="3042" y="857"/>
                  <a:pt x="3042" y="857"/>
                </a:cubicBezTo>
                <a:cubicBezTo>
                  <a:pt x="3041" y="857"/>
                  <a:pt x="3040" y="857"/>
                  <a:pt x="3039" y="857"/>
                </a:cubicBezTo>
                <a:cubicBezTo>
                  <a:pt x="3039" y="856"/>
                  <a:pt x="3038" y="856"/>
                  <a:pt x="3038" y="856"/>
                </a:cubicBezTo>
                <a:cubicBezTo>
                  <a:pt x="3039" y="855"/>
                  <a:pt x="3041" y="855"/>
                  <a:pt x="3042" y="855"/>
                </a:cubicBezTo>
                <a:close/>
                <a:moveTo>
                  <a:pt x="3046" y="1023"/>
                </a:moveTo>
                <a:cubicBezTo>
                  <a:pt x="3043" y="1027"/>
                  <a:pt x="3041" y="1031"/>
                  <a:pt x="3040" y="1036"/>
                </a:cubicBezTo>
                <a:cubicBezTo>
                  <a:pt x="3039" y="1036"/>
                  <a:pt x="3038" y="1037"/>
                  <a:pt x="3037" y="1037"/>
                </a:cubicBezTo>
                <a:cubicBezTo>
                  <a:pt x="3036" y="1038"/>
                  <a:pt x="3034" y="1036"/>
                  <a:pt x="3034" y="1034"/>
                </a:cubicBezTo>
                <a:cubicBezTo>
                  <a:pt x="3034" y="1034"/>
                  <a:pt x="3034" y="1033"/>
                  <a:pt x="3034" y="1033"/>
                </a:cubicBezTo>
                <a:cubicBezTo>
                  <a:pt x="3034" y="1028"/>
                  <a:pt x="3035" y="1024"/>
                  <a:pt x="3038" y="1021"/>
                </a:cubicBezTo>
                <a:cubicBezTo>
                  <a:pt x="3040" y="1019"/>
                  <a:pt x="3042" y="1017"/>
                  <a:pt x="3044" y="1015"/>
                </a:cubicBezTo>
                <a:cubicBezTo>
                  <a:pt x="3045" y="1014"/>
                  <a:pt x="3047" y="1014"/>
                  <a:pt x="3048" y="1014"/>
                </a:cubicBezTo>
                <a:cubicBezTo>
                  <a:pt x="3049" y="1014"/>
                  <a:pt x="3050" y="1016"/>
                  <a:pt x="3050" y="1016"/>
                </a:cubicBezTo>
                <a:cubicBezTo>
                  <a:pt x="3049" y="1018"/>
                  <a:pt x="3048" y="1021"/>
                  <a:pt x="3046" y="1023"/>
                </a:cubicBezTo>
                <a:close/>
                <a:moveTo>
                  <a:pt x="3067" y="191"/>
                </a:moveTo>
                <a:cubicBezTo>
                  <a:pt x="3067" y="191"/>
                  <a:pt x="3067" y="191"/>
                  <a:pt x="3067" y="191"/>
                </a:cubicBezTo>
                <a:cubicBezTo>
                  <a:pt x="3068" y="191"/>
                  <a:pt x="3068" y="191"/>
                  <a:pt x="3068" y="191"/>
                </a:cubicBezTo>
                <a:lnTo>
                  <a:pt x="3067" y="191"/>
                </a:lnTo>
                <a:close/>
                <a:moveTo>
                  <a:pt x="3103" y="286"/>
                </a:moveTo>
                <a:cubicBezTo>
                  <a:pt x="3103" y="286"/>
                  <a:pt x="3103" y="286"/>
                  <a:pt x="3103" y="286"/>
                </a:cubicBezTo>
                <a:cubicBezTo>
                  <a:pt x="3102" y="289"/>
                  <a:pt x="3101" y="292"/>
                  <a:pt x="3101" y="296"/>
                </a:cubicBezTo>
                <a:cubicBezTo>
                  <a:pt x="3100" y="298"/>
                  <a:pt x="3099" y="298"/>
                  <a:pt x="3097" y="298"/>
                </a:cubicBezTo>
                <a:cubicBezTo>
                  <a:pt x="3093" y="299"/>
                  <a:pt x="3093" y="302"/>
                  <a:pt x="3093" y="305"/>
                </a:cubicBezTo>
                <a:cubicBezTo>
                  <a:pt x="3093" y="305"/>
                  <a:pt x="3093" y="305"/>
                  <a:pt x="3093" y="305"/>
                </a:cubicBezTo>
                <a:cubicBezTo>
                  <a:pt x="3094" y="306"/>
                  <a:pt x="3095" y="307"/>
                  <a:pt x="3096" y="308"/>
                </a:cubicBezTo>
                <a:cubicBezTo>
                  <a:pt x="3098" y="309"/>
                  <a:pt x="3099" y="310"/>
                  <a:pt x="3100" y="311"/>
                </a:cubicBezTo>
                <a:cubicBezTo>
                  <a:pt x="3100" y="312"/>
                  <a:pt x="3100" y="312"/>
                  <a:pt x="3100" y="312"/>
                </a:cubicBezTo>
                <a:cubicBezTo>
                  <a:pt x="3100" y="312"/>
                  <a:pt x="3100" y="312"/>
                  <a:pt x="3100" y="312"/>
                </a:cubicBezTo>
                <a:cubicBezTo>
                  <a:pt x="3098" y="311"/>
                  <a:pt x="3097" y="310"/>
                  <a:pt x="3096" y="309"/>
                </a:cubicBezTo>
                <a:cubicBezTo>
                  <a:pt x="3095" y="307"/>
                  <a:pt x="3094" y="306"/>
                  <a:pt x="3093" y="305"/>
                </a:cubicBezTo>
                <a:cubicBezTo>
                  <a:pt x="3093" y="305"/>
                  <a:pt x="3093" y="305"/>
                  <a:pt x="3093" y="305"/>
                </a:cubicBezTo>
                <a:cubicBezTo>
                  <a:pt x="3090" y="302"/>
                  <a:pt x="3086" y="302"/>
                  <a:pt x="3084" y="299"/>
                </a:cubicBezTo>
                <a:cubicBezTo>
                  <a:pt x="3083" y="296"/>
                  <a:pt x="3082" y="293"/>
                  <a:pt x="3081" y="290"/>
                </a:cubicBezTo>
                <a:cubicBezTo>
                  <a:pt x="3081" y="288"/>
                  <a:pt x="3081" y="287"/>
                  <a:pt x="3081" y="286"/>
                </a:cubicBezTo>
                <a:cubicBezTo>
                  <a:pt x="3081" y="285"/>
                  <a:pt x="3080" y="285"/>
                  <a:pt x="3080" y="285"/>
                </a:cubicBezTo>
                <a:cubicBezTo>
                  <a:pt x="3079" y="285"/>
                  <a:pt x="3079" y="285"/>
                  <a:pt x="3079" y="285"/>
                </a:cubicBezTo>
                <a:cubicBezTo>
                  <a:pt x="3081" y="285"/>
                  <a:pt x="3081" y="285"/>
                  <a:pt x="3081" y="285"/>
                </a:cubicBezTo>
                <a:cubicBezTo>
                  <a:pt x="3081" y="285"/>
                  <a:pt x="3081" y="285"/>
                  <a:pt x="3081" y="286"/>
                </a:cubicBezTo>
                <a:cubicBezTo>
                  <a:pt x="3082" y="287"/>
                  <a:pt x="3084" y="288"/>
                  <a:pt x="3086" y="289"/>
                </a:cubicBezTo>
                <a:cubicBezTo>
                  <a:pt x="3089" y="290"/>
                  <a:pt x="3093" y="291"/>
                  <a:pt x="3096" y="288"/>
                </a:cubicBezTo>
                <a:cubicBezTo>
                  <a:pt x="3098" y="287"/>
                  <a:pt x="3100" y="286"/>
                  <a:pt x="3103" y="286"/>
                </a:cubicBezTo>
                <a:cubicBezTo>
                  <a:pt x="3103" y="285"/>
                  <a:pt x="3103" y="285"/>
                  <a:pt x="3103" y="285"/>
                </a:cubicBezTo>
                <a:cubicBezTo>
                  <a:pt x="3103" y="285"/>
                  <a:pt x="3103" y="285"/>
                  <a:pt x="3104" y="285"/>
                </a:cubicBezTo>
                <a:cubicBezTo>
                  <a:pt x="3103" y="285"/>
                  <a:pt x="3103" y="285"/>
                  <a:pt x="3103" y="286"/>
                </a:cubicBezTo>
                <a:close/>
                <a:moveTo>
                  <a:pt x="3123" y="273"/>
                </a:moveTo>
                <a:cubicBezTo>
                  <a:pt x="3119" y="275"/>
                  <a:pt x="3114" y="278"/>
                  <a:pt x="3111" y="281"/>
                </a:cubicBezTo>
                <a:cubicBezTo>
                  <a:pt x="3110" y="282"/>
                  <a:pt x="3108" y="281"/>
                  <a:pt x="3107" y="282"/>
                </a:cubicBezTo>
                <a:cubicBezTo>
                  <a:pt x="3107" y="282"/>
                  <a:pt x="3107" y="282"/>
                  <a:pt x="3107" y="282"/>
                </a:cubicBezTo>
                <a:cubicBezTo>
                  <a:pt x="3106" y="282"/>
                  <a:pt x="3106" y="282"/>
                  <a:pt x="3106" y="283"/>
                </a:cubicBezTo>
                <a:cubicBezTo>
                  <a:pt x="3106" y="282"/>
                  <a:pt x="3106" y="282"/>
                  <a:pt x="3106" y="282"/>
                </a:cubicBezTo>
                <a:cubicBezTo>
                  <a:pt x="3106" y="282"/>
                  <a:pt x="3107" y="282"/>
                  <a:pt x="3107" y="282"/>
                </a:cubicBezTo>
                <a:cubicBezTo>
                  <a:pt x="3108" y="280"/>
                  <a:pt x="3109" y="278"/>
                  <a:pt x="3110" y="277"/>
                </a:cubicBezTo>
                <a:cubicBezTo>
                  <a:pt x="3112" y="274"/>
                  <a:pt x="3114" y="271"/>
                  <a:pt x="3117" y="269"/>
                </a:cubicBezTo>
                <a:cubicBezTo>
                  <a:pt x="3117" y="269"/>
                  <a:pt x="3117" y="269"/>
                  <a:pt x="3117" y="269"/>
                </a:cubicBezTo>
                <a:cubicBezTo>
                  <a:pt x="3116" y="269"/>
                  <a:pt x="3116" y="268"/>
                  <a:pt x="3116" y="268"/>
                </a:cubicBezTo>
                <a:cubicBezTo>
                  <a:pt x="3113" y="268"/>
                  <a:pt x="3110" y="268"/>
                  <a:pt x="3108" y="263"/>
                </a:cubicBezTo>
                <a:cubicBezTo>
                  <a:pt x="3108" y="263"/>
                  <a:pt x="3109" y="262"/>
                  <a:pt x="3110" y="261"/>
                </a:cubicBezTo>
                <a:cubicBezTo>
                  <a:pt x="3110" y="261"/>
                  <a:pt x="3111" y="261"/>
                  <a:pt x="3111" y="261"/>
                </a:cubicBezTo>
                <a:cubicBezTo>
                  <a:pt x="3112" y="262"/>
                  <a:pt x="3113" y="263"/>
                  <a:pt x="3113" y="263"/>
                </a:cubicBezTo>
                <a:cubicBezTo>
                  <a:pt x="3114" y="265"/>
                  <a:pt x="3115" y="267"/>
                  <a:pt x="3116" y="268"/>
                </a:cubicBezTo>
                <a:cubicBezTo>
                  <a:pt x="3117" y="268"/>
                  <a:pt x="3117" y="268"/>
                  <a:pt x="3117" y="268"/>
                </a:cubicBezTo>
                <a:cubicBezTo>
                  <a:pt x="3117" y="268"/>
                  <a:pt x="3117" y="269"/>
                  <a:pt x="3117" y="269"/>
                </a:cubicBezTo>
                <a:cubicBezTo>
                  <a:pt x="3118" y="269"/>
                  <a:pt x="3120" y="269"/>
                  <a:pt x="3121" y="270"/>
                </a:cubicBezTo>
                <a:cubicBezTo>
                  <a:pt x="3122" y="270"/>
                  <a:pt x="3123" y="271"/>
                  <a:pt x="3123" y="272"/>
                </a:cubicBezTo>
                <a:cubicBezTo>
                  <a:pt x="3124" y="272"/>
                  <a:pt x="3123" y="273"/>
                  <a:pt x="3123" y="273"/>
                </a:cubicBezTo>
                <a:close/>
                <a:moveTo>
                  <a:pt x="3146" y="271"/>
                </a:moveTo>
                <a:cubicBezTo>
                  <a:pt x="3145" y="270"/>
                  <a:pt x="3145" y="270"/>
                  <a:pt x="3145" y="270"/>
                </a:cubicBezTo>
                <a:cubicBezTo>
                  <a:pt x="3146" y="270"/>
                  <a:pt x="3146" y="270"/>
                  <a:pt x="3146" y="270"/>
                </a:cubicBezTo>
                <a:lnTo>
                  <a:pt x="3146" y="271"/>
                </a:lnTo>
                <a:close/>
                <a:moveTo>
                  <a:pt x="3170" y="987"/>
                </a:moveTo>
                <a:cubicBezTo>
                  <a:pt x="3169" y="988"/>
                  <a:pt x="3167" y="989"/>
                  <a:pt x="3165" y="989"/>
                </a:cubicBezTo>
                <a:cubicBezTo>
                  <a:pt x="3160" y="987"/>
                  <a:pt x="3155" y="984"/>
                  <a:pt x="3150" y="982"/>
                </a:cubicBezTo>
                <a:cubicBezTo>
                  <a:pt x="3148" y="981"/>
                  <a:pt x="3148" y="980"/>
                  <a:pt x="3148" y="977"/>
                </a:cubicBezTo>
                <a:cubicBezTo>
                  <a:pt x="3149" y="975"/>
                  <a:pt x="3149" y="973"/>
                  <a:pt x="3150" y="972"/>
                </a:cubicBezTo>
                <a:cubicBezTo>
                  <a:pt x="3151" y="971"/>
                  <a:pt x="3152" y="973"/>
                  <a:pt x="3153" y="974"/>
                </a:cubicBezTo>
                <a:cubicBezTo>
                  <a:pt x="3155" y="978"/>
                  <a:pt x="3158" y="980"/>
                  <a:pt x="3162" y="981"/>
                </a:cubicBezTo>
                <a:cubicBezTo>
                  <a:pt x="3165" y="981"/>
                  <a:pt x="3167" y="983"/>
                  <a:pt x="3169" y="984"/>
                </a:cubicBezTo>
                <a:cubicBezTo>
                  <a:pt x="3170" y="984"/>
                  <a:pt x="3170" y="985"/>
                  <a:pt x="3170" y="985"/>
                </a:cubicBezTo>
                <a:cubicBezTo>
                  <a:pt x="3170" y="986"/>
                  <a:pt x="3170" y="986"/>
                  <a:pt x="3170" y="987"/>
                </a:cubicBezTo>
                <a:close/>
                <a:moveTo>
                  <a:pt x="3170" y="335"/>
                </a:moveTo>
                <a:cubicBezTo>
                  <a:pt x="3169" y="335"/>
                  <a:pt x="3169" y="335"/>
                  <a:pt x="3169" y="335"/>
                </a:cubicBezTo>
                <a:cubicBezTo>
                  <a:pt x="3169" y="334"/>
                  <a:pt x="3169" y="334"/>
                  <a:pt x="3169" y="334"/>
                </a:cubicBezTo>
                <a:cubicBezTo>
                  <a:pt x="3169" y="334"/>
                  <a:pt x="3169" y="334"/>
                  <a:pt x="3169" y="334"/>
                </a:cubicBezTo>
                <a:cubicBezTo>
                  <a:pt x="3170" y="335"/>
                  <a:pt x="3170" y="335"/>
                  <a:pt x="3170" y="335"/>
                </a:cubicBezTo>
                <a:cubicBezTo>
                  <a:pt x="3170" y="335"/>
                  <a:pt x="3170" y="335"/>
                  <a:pt x="3170" y="336"/>
                </a:cubicBezTo>
                <a:cubicBezTo>
                  <a:pt x="3170" y="336"/>
                  <a:pt x="3170" y="336"/>
                  <a:pt x="3170" y="335"/>
                </a:cubicBezTo>
                <a:close/>
                <a:moveTo>
                  <a:pt x="3258" y="934"/>
                </a:moveTo>
                <a:cubicBezTo>
                  <a:pt x="3257" y="936"/>
                  <a:pt x="3254" y="935"/>
                  <a:pt x="3254" y="934"/>
                </a:cubicBezTo>
                <a:cubicBezTo>
                  <a:pt x="3253" y="932"/>
                  <a:pt x="3253" y="931"/>
                  <a:pt x="3253" y="929"/>
                </a:cubicBezTo>
                <a:cubicBezTo>
                  <a:pt x="3253" y="928"/>
                  <a:pt x="3254" y="928"/>
                  <a:pt x="3255" y="927"/>
                </a:cubicBezTo>
                <a:cubicBezTo>
                  <a:pt x="3256" y="926"/>
                  <a:pt x="3258" y="927"/>
                  <a:pt x="3259" y="929"/>
                </a:cubicBezTo>
                <a:cubicBezTo>
                  <a:pt x="3259" y="929"/>
                  <a:pt x="3259" y="931"/>
                  <a:pt x="3260" y="932"/>
                </a:cubicBezTo>
                <a:cubicBezTo>
                  <a:pt x="3259" y="933"/>
                  <a:pt x="3259" y="934"/>
                  <a:pt x="3258" y="934"/>
                </a:cubicBezTo>
                <a:close/>
                <a:moveTo>
                  <a:pt x="3265" y="975"/>
                </a:moveTo>
                <a:cubicBezTo>
                  <a:pt x="3265" y="975"/>
                  <a:pt x="3265" y="976"/>
                  <a:pt x="3264" y="976"/>
                </a:cubicBezTo>
                <a:cubicBezTo>
                  <a:pt x="3264" y="978"/>
                  <a:pt x="3263" y="978"/>
                  <a:pt x="3262" y="977"/>
                </a:cubicBezTo>
                <a:cubicBezTo>
                  <a:pt x="3261" y="976"/>
                  <a:pt x="3261" y="976"/>
                  <a:pt x="3261" y="975"/>
                </a:cubicBezTo>
                <a:cubicBezTo>
                  <a:pt x="3261" y="975"/>
                  <a:pt x="3261" y="974"/>
                  <a:pt x="3261" y="974"/>
                </a:cubicBezTo>
                <a:cubicBezTo>
                  <a:pt x="3262" y="972"/>
                  <a:pt x="3264" y="970"/>
                  <a:pt x="3265" y="972"/>
                </a:cubicBezTo>
                <a:cubicBezTo>
                  <a:pt x="3265" y="973"/>
                  <a:pt x="3265" y="974"/>
                  <a:pt x="3265" y="975"/>
                </a:cubicBezTo>
                <a:close/>
                <a:moveTo>
                  <a:pt x="3271" y="954"/>
                </a:moveTo>
                <a:cubicBezTo>
                  <a:pt x="3271" y="953"/>
                  <a:pt x="3271" y="953"/>
                  <a:pt x="3271" y="953"/>
                </a:cubicBezTo>
                <a:cubicBezTo>
                  <a:pt x="3271" y="954"/>
                  <a:pt x="3271" y="954"/>
                  <a:pt x="3271" y="954"/>
                </a:cubicBezTo>
                <a:cubicBezTo>
                  <a:pt x="3272" y="954"/>
                  <a:pt x="3272" y="954"/>
                  <a:pt x="3272" y="954"/>
                </a:cubicBezTo>
                <a:lnTo>
                  <a:pt x="3271" y="954"/>
                </a:lnTo>
                <a:close/>
                <a:moveTo>
                  <a:pt x="3337" y="806"/>
                </a:moveTo>
                <a:cubicBezTo>
                  <a:pt x="3337" y="806"/>
                  <a:pt x="3336" y="806"/>
                  <a:pt x="3336" y="806"/>
                </a:cubicBezTo>
                <a:cubicBezTo>
                  <a:pt x="3333" y="804"/>
                  <a:pt x="3330" y="801"/>
                  <a:pt x="3329" y="797"/>
                </a:cubicBezTo>
                <a:cubicBezTo>
                  <a:pt x="3329" y="797"/>
                  <a:pt x="3329" y="796"/>
                  <a:pt x="3329" y="796"/>
                </a:cubicBezTo>
                <a:cubicBezTo>
                  <a:pt x="3330" y="794"/>
                  <a:pt x="3330" y="794"/>
                  <a:pt x="3331" y="795"/>
                </a:cubicBezTo>
                <a:cubicBezTo>
                  <a:pt x="3332" y="797"/>
                  <a:pt x="3333" y="798"/>
                  <a:pt x="3334" y="800"/>
                </a:cubicBezTo>
                <a:cubicBezTo>
                  <a:pt x="3335" y="801"/>
                  <a:pt x="3336" y="803"/>
                  <a:pt x="3338" y="805"/>
                </a:cubicBezTo>
                <a:cubicBezTo>
                  <a:pt x="3338" y="805"/>
                  <a:pt x="3338" y="806"/>
                  <a:pt x="3337" y="806"/>
                </a:cubicBezTo>
                <a:close/>
                <a:moveTo>
                  <a:pt x="3337" y="790"/>
                </a:moveTo>
                <a:cubicBezTo>
                  <a:pt x="3336" y="790"/>
                  <a:pt x="3337" y="789"/>
                  <a:pt x="3338" y="789"/>
                </a:cubicBezTo>
                <a:cubicBezTo>
                  <a:pt x="3338" y="789"/>
                  <a:pt x="3339" y="790"/>
                  <a:pt x="3339" y="790"/>
                </a:cubicBezTo>
                <a:cubicBezTo>
                  <a:pt x="3338" y="790"/>
                  <a:pt x="3338" y="790"/>
                  <a:pt x="3337" y="790"/>
                </a:cubicBezTo>
                <a:close/>
                <a:moveTo>
                  <a:pt x="3350" y="907"/>
                </a:moveTo>
                <a:cubicBezTo>
                  <a:pt x="3350" y="908"/>
                  <a:pt x="3350" y="909"/>
                  <a:pt x="3349" y="909"/>
                </a:cubicBezTo>
                <a:cubicBezTo>
                  <a:pt x="3349" y="908"/>
                  <a:pt x="3349" y="907"/>
                  <a:pt x="3348" y="907"/>
                </a:cubicBezTo>
                <a:cubicBezTo>
                  <a:pt x="3348" y="906"/>
                  <a:pt x="3348" y="905"/>
                  <a:pt x="3348" y="904"/>
                </a:cubicBezTo>
                <a:cubicBezTo>
                  <a:pt x="3348" y="903"/>
                  <a:pt x="3348" y="902"/>
                  <a:pt x="3348" y="902"/>
                </a:cubicBezTo>
                <a:cubicBezTo>
                  <a:pt x="3350" y="902"/>
                  <a:pt x="3350" y="903"/>
                  <a:pt x="3350" y="904"/>
                </a:cubicBezTo>
                <a:cubicBezTo>
                  <a:pt x="3350" y="905"/>
                  <a:pt x="3350" y="906"/>
                  <a:pt x="3350" y="907"/>
                </a:cubicBezTo>
                <a:close/>
                <a:moveTo>
                  <a:pt x="3394" y="889"/>
                </a:moveTo>
                <a:cubicBezTo>
                  <a:pt x="3394" y="889"/>
                  <a:pt x="3394" y="888"/>
                  <a:pt x="3394" y="888"/>
                </a:cubicBezTo>
                <a:cubicBezTo>
                  <a:pt x="3396" y="885"/>
                  <a:pt x="3397" y="883"/>
                  <a:pt x="3398" y="881"/>
                </a:cubicBezTo>
                <a:cubicBezTo>
                  <a:pt x="3398" y="881"/>
                  <a:pt x="3398" y="880"/>
                  <a:pt x="3398" y="880"/>
                </a:cubicBezTo>
                <a:cubicBezTo>
                  <a:pt x="3397" y="881"/>
                  <a:pt x="3396" y="881"/>
                  <a:pt x="3397" y="880"/>
                </a:cubicBezTo>
                <a:cubicBezTo>
                  <a:pt x="3398" y="880"/>
                  <a:pt x="3398" y="880"/>
                  <a:pt x="3398" y="881"/>
                </a:cubicBezTo>
                <a:cubicBezTo>
                  <a:pt x="3398" y="881"/>
                  <a:pt x="3398" y="881"/>
                  <a:pt x="3398" y="881"/>
                </a:cubicBezTo>
                <a:cubicBezTo>
                  <a:pt x="3400" y="882"/>
                  <a:pt x="3402" y="883"/>
                  <a:pt x="3404" y="882"/>
                </a:cubicBezTo>
                <a:cubicBezTo>
                  <a:pt x="3405" y="881"/>
                  <a:pt x="3407" y="880"/>
                  <a:pt x="3407" y="879"/>
                </a:cubicBezTo>
                <a:cubicBezTo>
                  <a:pt x="3409" y="873"/>
                  <a:pt x="3411" y="868"/>
                  <a:pt x="3414" y="864"/>
                </a:cubicBezTo>
                <a:cubicBezTo>
                  <a:pt x="3415" y="862"/>
                  <a:pt x="3416" y="860"/>
                  <a:pt x="3417" y="858"/>
                </a:cubicBezTo>
                <a:cubicBezTo>
                  <a:pt x="3418" y="854"/>
                  <a:pt x="3419" y="851"/>
                  <a:pt x="3421" y="847"/>
                </a:cubicBezTo>
                <a:cubicBezTo>
                  <a:pt x="3428" y="832"/>
                  <a:pt x="3430" y="816"/>
                  <a:pt x="3427" y="799"/>
                </a:cubicBezTo>
                <a:cubicBezTo>
                  <a:pt x="3427" y="798"/>
                  <a:pt x="3428" y="797"/>
                  <a:pt x="3428" y="796"/>
                </a:cubicBezTo>
                <a:cubicBezTo>
                  <a:pt x="3428" y="795"/>
                  <a:pt x="3429" y="795"/>
                  <a:pt x="3429" y="795"/>
                </a:cubicBezTo>
                <a:cubicBezTo>
                  <a:pt x="3430" y="795"/>
                  <a:pt x="3431" y="795"/>
                  <a:pt x="3432" y="796"/>
                </a:cubicBezTo>
                <a:cubicBezTo>
                  <a:pt x="3434" y="802"/>
                  <a:pt x="3435" y="808"/>
                  <a:pt x="3436" y="815"/>
                </a:cubicBezTo>
                <a:cubicBezTo>
                  <a:pt x="3437" y="819"/>
                  <a:pt x="3437" y="822"/>
                  <a:pt x="3439" y="826"/>
                </a:cubicBezTo>
                <a:cubicBezTo>
                  <a:pt x="3441" y="830"/>
                  <a:pt x="3440" y="833"/>
                  <a:pt x="3437" y="836"/>
                </a:cubicBezTo>
                <a:cubicBezTo>
                  <a:pt x="3435" y="838"/>
                  <a:pt x="3435" y="840"/>
                  <a:pt x="3436" y="842"/>
                </a:cubicBezTo>
                <a:cubicBezTo>
                  <a:pt x="3437" y="844"/>
                  <a:pt x="3438" y="846"/>
                  <a:pt x="3436" y="848"/>
                </a:cubicBezTo>
                <a:cubicBezTo>
                  <a:pt x="3432" y="857"/>
                  <a:pt x="3426" y="864"/>
                  <a:pt x="3419" y="870"/>
                </a:cubicBezTo>
                <a:cubicBezTo>
                  <a:pt x="3416" y="872"/>
                  <a:pt x="3414" y="875"/>
                  <a:pt x="3413" y="879"/>
                </a:cubicBezTo>
                <a:cubicBezTo>
                  <a:pt x="3413" y="883"/>
                  <a:pt x="3411" y="885"/>
                  <a:pt x="3408" y="887"/>
                </a:cubicBezTo>
                <a:cubicBezTo>
                  <a:pt x="3404" y="889"/>
                  <a:pt x="3401" y="890"/>
                  <a:pt x="3397" y="890"/>
                </a:cubicBezTo>
                <a:cubicBezTo>
                  <a:pt x="3396" y="890"/>
                  <a:pt x="3395" y="890"/>
                  <a:pt x="3394" y="889"/>
                </a:cubicBezTo>
                <a:close/>
                <a:moveTo>
                  <a:pt x="3463" y="1605"/>
                </a:moveTo>
                <a:cubicBezTo>
                  <a:pt x="3463" y="1605"/>
                  <a:pt x="3463" y="1605"/>
                  <a:pt x="3463" y="1605"/>
                </a:cubicBezTo>
                <a:cubicBezTo>
                  <a:pt x="3463" y="1605"/>
                  <a:pt x="3463" y="1605"/>
                  <a:pt x="3464" y="1605"/>
                </a:cubicBezTo>
                <a:lnTo>
                  <a:pt x="3463" y="1605"/>
                </a:lnTo>
                <a:close/>
                <a:moveTo>
                  <a:pt x="2369" y="1185"/>
                </a:moveTo>
                <a:cubicBezTo>
                  <a:pt x="2369" y="1185"/>
                  <a:pt x="2369" y="1185"/>
                  <a:pt x="2369" y="1185"/>
                </a:cubicBezTo>
                <a:cubicBezTo>
                  <a:pt x="2369" y="1185"/>
                  <a:pt x="2369" y="1185"/>
                  <a:pt x="2369" y="1185"/>
                </a:cubicBezTo>
                <a:cubicBezTo>
                  <a:pt x="2369" y="1185"/>
                  <a:pt x="2369" y="1185"/>
                  <a:pt x="2369" y="1185"/>
                </a:cubicBezTo>
                <a:cubicBezTo>
                  <a:pt x="2369" y="1185"/>
                  <a:pt x="2369" y="1185"/>
                  <a:pt x="2369" y="1185"/>
                </a:cubicBezTo>
                <a:close/>
                <a:moveTo>
                  <a:pt x="1433" y="1734"/>
                </a:moveTo>
                <a:cubicBezTo>
                  <a:pt x="1433" y="1734"/>
                  <a:pt x="1433" y="1734"/>
                  <a:pt x="1433" y="1734"/>
                </a:cubicBezTo>
                <a:cubicBezTo>
                  <a:pt x="1433" y="1734"/>
                  <a:pt x="1433" y="1734"/>
                  <a:pt x="1432" y="1734"/>
                </a:cubicBezTo>
                <a:cubicBezTo>
                  <a:pt x="1433" y="1734"/>
                  <a:pt x="1433" y="1734"/>
                  <a:pt x="1433" y="1734"/>
                </a:cubicBezTo>
                <a:cubicBezTo>
                  <a:pt x="1433" y="1734"/>
                  <a:pt x="1433" y="1734"/>
                  <a:pt x="1433" y="1734"/>
                </a:cubicBezTo>
                <a:close/>
                <a:moveTo>
                  <a:pt x="1076" y="464"/>
                </a:moveTo>
                <a:cubicBezTo>
                  <a:pt x="1076" y="464"/>
                  <a:pt x="1075" y="464"/>
                  <a:pt x="1075" y="464"/>
                </a:cubicBezTo>
                <a:cubicBezTo>
                  <a:pt x="1075" y="464"/>
                  <a:pt x="1075" y="464"/>
                  <a:pt x="1075" y="464"/>
                </a:cubicBezTo>
                <a:cubicBezTo>
                  <a:pt x="1075" y="464"/>
                  <a:pt x="1076" y="464"/>
                  <a:pt x="1076" y="464"/>
                </a:cubicBezTo>
                <a:cubicBezTo>
                  <a:pt x="1076" y="464"/>
                  <a:pt x="1076" y="464"/>
                  <a:pt x="1076" y="464"/>
                </a:cubicBezTo>
                <a:close/>
                <a:moveTo>
                  <a:pt x="1132" y="589"/>
                </a:moveTo>
                <a:cubicBezTo>
                  <a:pt x="1132" y="590"/>
                  <a:pt x="1132" y="590"/>
                  <a:pt x="1131" y="590"/>
                </a:cubicBezTo>
                <a:cubicBezTo>
                  <a:pt x="1132" y="589"/>
                  <a:pt x="1132" y="589"/>
                  <a:pt x="1132" y="589"/>
                </a:cubicBezTo>
                <a:cubicBezTo>
                  <a:pt x="1131" y="593"/>
                  <a:pt x="1130" y="596"/>
                  <a:pt x="1129" y="599"/>
                </a:cubicBezTo>
                <a:cubicBezTo>
                  <a:pt x="1126" y="609"/>
                  <a:pt x="1120" y="618"/>
                  <a:pt x="1117" y="628"/>
                </a:cubicBezTo>
                <a:cubicBezTo>
                  <a:pt x="1117" y="630"/>
                  <a:pt x="1115" y="631"/>
                  <a:pt x="1113" y="632"/>
                </a:cubicBezTo>
                <a:cubicBezTo>
                  <a:pt x="1112" y="633"/>
                  <a:pt x="1110" y="634"/>
                  <a:pt x="1109" y="636"/>
                </a:cubicBezTo>
                <a:cubicBezTo>
                  <a:pt x="1108" y="637"/>
                  <a:pt x="1109" y="642"/>
                  <a:pt x="1111" y="643"/>
                </a:cubicBezTo>
                <a:cubicBezTo>
                  <a:pt x="1112" y="643"/>
                  <a:pt x="1113" y="643"/>
                  <a:pt x="1114" y="644"/>
                </a:cubicBezTo>
                <a:cubicBezTo>
                  <a:pt x="1116" y="645"/>
                  <a:pt x="1118" y="646"/>
                  <a:pt x="1117" y="649"/>
                </a:cubicBezTo>
                <a:cubicBezTo>
                  <a:pt x="1117" y="650"/>
                  <a:pt x="1117" y="651"/>
                  <a:pt x="1117" y="652"/>
                </a:cubicBezTo>
                <a:cubicBezTo>
                  <a:pt x="1117" y="656"/>
                  <a:pt x="1120" y="658"/>
                  <a:pt x="1123" y="657"/>
                </a:cubicBezTo>
                <a:cubicBezTo>
                  <a:pt x="1126" y="656"/>
                  <a:pt x="1128" y="656"/>
                  <a:pt x="1130" y="655"/>
                </a:cubicBezTo>
                <a:cubicBezTo>
                  <a:pt x="1135" y="649"/>
                  <a:pt x="1144" y="646"/>
                  <a:pt x="1147" y="638"/>
                </a:cubicBezTo>
                <a:cubicBezTo>
                  <a:pt x="1148" y="638"/>
                  <a:pt x="1149" y="637"/>
                  <a:pt x="1150" y="638"/>
                </a:cubicBezTo>
                <a:cubicBezTo>
                  <a:pt x="1154" y="639"/>
                  <a:pt x="1157" y="641"/>
                  <a:pt x="1157" y="646"/>
                </a:cubicBezTo>
                <a:cubicBezTo>
                  <a:pt x="1157" y="648"/>
                  <a:pt x="1158" y="649"/>
                  <a:pt x="1160" y="650"/>
                </a:cubicBezTo>
                <a:cubicBezTo>
                  <a:pt x="1164" y="652"/>
                  <a:pt x="1168" y="653"/>
                  <a:pt x="1172" y="654"/>
                </a:cubicBezTo>
                <a:cubicBezTo>
                  <a:pt x="1173" y="655"/>
                  <a:pt x="1174" y="654"/>
                  <a:pt x="1175" y="654"/>
                </a:cubicBezTo>
                <a:cubicBezTo>
                  <a:pt x="1177" y="652"/>
                  <a:pt x="1179" y="650"/>
                  <a:pt x="1181" y="648"/>
                </a:cubicBezTo>
                <a:cubicBezTo>
                  <a:pt x="1183" y="646"/>
                  <a:pt x="1181" y="643"/>
                  <a:pt x="1179" y="641"/>
                </a:cubicBezTo>
                <a:cubicBezTo>
                  <a:pt x="1178" y="641"/>
                  <a:pt x="1178" y="641"/>
                  <a:pt x="1177" y="641"/>
                </a:cubicBezTo>
                <a:cubicBezTo>
                  <a:pt x="1174" y="640"/>
                  <a:pt x="1172" y="637"/>
                  <a:pt x="1172" y="634"/>
                </a:cubicBezTo>
                <a:cubicBezTo>
                  <a:pt x="1172" y="629"/>
                  <a:pt x="1170" y="625"/>
                  <a:pt x="1167" y="622"/>
                </a:cubicBezTo>
                <a:cubicBezTo>
                  <a:pt x="1165" y="620"/>
                  <a:pt x="1163" y="618"/>
                  <a:pt x="1162" y="615"/>
                </a:cubicBezTo>
                <a:cubicBezTo>
                  <a:pt x="1159" y="609"/>
                  <a:pt x="1152" y="607"/>
                  <a:pt x="1149" y="600"/>
                </a:cubicBezTo>
                <a:cubicBezTo>
                  <a:pt x="1149" y="600"/>
                  <a:pt x="1147" y="600"/>
                  <a:pt x="1146" y="599"/>
                </a:cubicBezTo>
                <a:cubicBezTo>
                  <a:pt x="1143" y="598"/>
                  <a:pt x="1143" y="598"/>
                  <a:pt x="1145" y="596"/>
                </a:cubicBezTo>
                <a:cubicBezTo>
                  <a:pt x="1147" y="594"/>
                  <a:pt x="1149" y="592"/>
                  <a:pt x="1150" y="590"/>
                </a:cubicBezTo>
                <a:cubicBezTo>
                  <a:pt x="1151" y="589"/>
                  <a:pt x="1151" y="587"/>
                  <a:pt x="1150" y="586"/>
                </a:cubicBezTo>
                <a:cubicBezTo>
                  <a:pt x="1150" y="585"/>
                  <a:pt x="1149" y="585"/>
                  <a:pt x="1148" y="586"/>
                </a:cubicBezTo>
                <a:cubicBezTo>
                  <a:pt x="1146" y="587"/>
                  <a:pt x="1144" y="588"/>
                  <a:pt x="1141" y="587"/>
                </a:cubicBezTo>
                <a:cubicBezTo>
                  <a:pt x="1139" y="586"/>
                  <a:pt x="1137" y="587"/>
                  <a:pt x="1135" y="586"/>
                </a:cubicBezTo>
                <a:cubicBezTo>
                  <a:pt x="1134" y="587"/>
                  <a:pt x="1133" y="588"/>
                  <a:pt x="1132" y="589"/>
                </a:cubicBezTo>
                <a:cubicBezTo>
                  <a:pt x="1132" y="589"/>
                  <a:pt x="1132" y="589"/>
                  <a:pt x="1132" y="589"/>
                </a:cubicBezTo>
                <a:close/>
                <a:moveTo>
                  <a:pt x="1221" y="2597"/>
                </a:moveTo>
                <a:cubicBezTo>
                  <a:pt x="1221" y="2597"/>
                  <a:pt x="1221" y="2597"/>
                  <a:pt x="1221" y="2597"/>
                </a:cubicBezTo>
                <a:cubicBezTo>
                  <a:pt x="1221" y="2597"/>
                  <a:pt x="1221" y="2597"/>
                  <a:pt x="1221" y="2597"/>
                </a:cubicBezTo>
                <a:cubicBezTo>
                  <a:pt x="1221" y="2597"/>
                  <a:pt x="1221" y="2597"/>
                  <a:pt x="1221" y="2597"/>
                </a:cubicBezTo>
                <a:cubicBezTo>
                  <a:pt x="1221" y="2597"/>
                  <a:pt x="1221" y="2597"/>
                  <a:pt x="1221" y="2597"/>
                </a:cubicBezTo>
                <a:close/>
                <a:moveTo>
                  <a:pt x="1204" y="481"/>
                </a:moveTo>
                <a:cubicBezTo>
                  <a:pt x="1205" y="481"/>
                  <a:pt x="1205" y="481"/>
                  <a:pt x="1205" y="481"/>
                </a:cubicBezTo>
                <a:cubicBezTo>
                  <a:pt x="1205" y="480"/>
                  <a:pt x="1205" y="480"/>
                  <a:pt x="1204" y="480"/>
                </a:cubicBezTo>
                <a:cubicBezTo>
                  <a:pt x="1204" y="480"/>
                  <a:pt x="1204" y="480"/>
                  <a:pt x="1204" y="480"/>
                </a:cubicBezTo>
                <a:cubicBezTo>
                  <a:pt x="1204" y="480"/>
                  <a:pt x="1204" y="480"/>
                  <a:pt x="1204" y="481"/>
                </a:cubicBezTo>
                <a:close/>
                <a:moveTo>
                  <a:pt x="1310" y="1040"/>
                </a:moveTo>
                <a:cubicBezTo>
                  <a:pt x="1310" y="1040"/>
                  <a:pt x="1311" y="1039"/>
                  <a:pt x="1311" y="1039"/>
                </a:cubicBezTo>
                <a:cubicBezTo>
                  <a:pt x="1311" y="1039"/>
                  <a:pt x="1310" y="1039"/>
                  <a:pt x="1310" y="1039"/>
                </a:cubicBezTo>
                <a:cubicBezTo>
                  <a:pt x="1310" y="1039"/>
                  <a:pt x="1310" y="1040"/>
                  <a:pt x="1310" y="1040"/>
                </a:cubicBezTo>
                <a:cubicBezTo>
                  <a:pt x="1310" y="1040"/>
                  <a:pt x="1310" y="1040"/>
                  <a:pt x="1310" y="1040"/>
                </a:cubicBezTo>
                <a:close/>
                <a:moveTo>
                  <a:pt x="1247" y="2617"/>
                </a:moveTo>
                <a:cubicBezTo>
                  <a:pt x="1247" y="2617"/>
                  <a:pt x="1247" y="2617"/>
                  <a:pt x="1247" y="2617"/>
                </a:cubicBezTo>
                <a:cubicBezTo>
                  <a:pt x="1247" y="2617"/>
                  <a:pt x="1247" y="2617"/>
                  <a:pt x="1247" y="2617"/>
                </a:cubicBezTo>
                <a:close/>
                <a:moveTo>
                  <a:pt x="351" y="596"/>
                </a:moveTo>
                <a:cubicBezTo>
                  <a:pt x="351" y="596"/>
                  <a:pt x="351" y="596"/>
                  <a:pt x="351" y="596"/>
                </a:cubicBezTo>
                <a:cubicBezTo>
                  <a:pt x="351" y="597"/>
                  <a:pt x="351" y="597"/>
                  <a:pt x="351" y="597"/>
                </a:cubicBezTo>
                <a:cubicBezTo>
                  <a:pt x="351" y="597"/>
                  <a:pt x="351" y="596"/>
                  <a:pt x="351" y="596"/>
                </a:cubicBezTo>
                <a:cubicBezTo>
                  <a:pt x="351" y="596"/>
                  <a:pt x="351" y="596"/>
                  <a:pt x="351" y="596"/>
                </a:cubicBezTo>
                <a:close/>
                <a:moveTo>
                  <a:pt x="1628" y="1811"/>
                </a:moveTo>
                <a:cubicBezTo>
                  <a:pt x="1627" y="1809"/>
                  <a:pt x="1626" y="1808"/>
                  <a:pt x="1624" y="1807"/>
                </a:cubicBezTo>
                <a:cubicBezTo>
                  <a:pt x="1622" y="1806"/>
                  <a:pt x="1619" y="1805"/>
                  <a:pt x="1616" y="1805"/>
                </a:cubicBezTo>
                <a:cubicBezTo>
                  <a:pt x="1612" y="1806"/>
                  <a:pt x="1608" y="1804"/>
                  <a:pt x="1604" y="1801"/>
                </a:cubicBezTo>
                <a:cubicBezTo>
                  <a:pt x="1600" y="1797"/>
                  <a:pt x="1594" y="1796"/>
                  <a:pt x="1591" y="1791"/>
                </a:cubicBezTo>
                <a:cubicBezTo>
                  <a:pt x="1586" y="1784"/>
                  <a:pt x="1578" y="1780"/>
                  <a:pt x="1570" y="1776"/>
                </a:cubicBezTo>
                <a:cubicBezTo>
                  <a:pt x="1567" y="1774"/>
                  <a:pt x="1563" y="1773"/>
                  <a:pt x="1559" y="1773"/>
                </a:cubicBezTo>
                <a:cubicBezTo>
                  <a:pt x="1546" y="1774"/>
                  <a:pt x="1533" y="1771"/>
                  <a:pt x="1520" y="1768"/>
                </a:cubicBezTo>
                <a:cubicBezTo>
                  <a:pt x="1519" y="1767"/>
                  <a:pt x="1517" y="1768"/>
                  <a:pt x="1515" y="1768"/>
                </a:cubicBezTo>
                <a:cubicBezTo>
                  <a:pt x="1513" y="1769"/>
                  <a:pt x="1511" y="1770"/>
                  <a:pt x="1509" y="1771"/>
                </a:cubicBezTo>
                <a:cubicBezTo>
                  <a:pt x="1508" y="1772"/>
                  <a:pt x="1506" y="1771"/>
                  <a:pt x="1506" y="1769"/>
                </a:cubicBezTo>
                <a:cubicBezTo>
                  <a:pt x="1505" y="1767"/>
                  <a:pt x="1504" y="1764"/>
                  <a:pt x="1503" y="1762"/>
                </a:cubicBezTo>
                <a:cubicBezTo>
                  <a:pt x="1502" y="1760"/>
                  <a:pt x="1500" y="1758"/>
                  <a:pt x="1498" y="1757"/>
                </a:cubicBezTo>
                <a:cubicBezTo>
                  <a:pt x="1490" y="1757"/>
                  <a:pt x="1485" y="1752"/>
                  <a:pt x="1478" y="1750"/>
                </a:cubicBezTo>
                <a:cubicBezTo>
                  <a:pt x="1473" y="1748"/>
                  <a:pt x="1468" y="1746"/>
                  <a:pt x="1462" y="1746"/>
                </a:cubicBezTo>
                <a:cubicBezTo>
                  <a:pt x="1457" y="1745"/>
                  <a:pt x="1454" y="1746"/>
                  <a:pt x="1451" y="1751"/>
                </a:cubicBezTo>
                <a:cubicBezTo>
                  <a:pt x="1451" y="1751"/>
                  <a:pt x="1450" y="1752"/>
                  <a:pt x="1450" y="1752"/>
                </a:cubicBezTo>
                <a:cubicBezTo>
                  <a:pt x="1449" y="1752"/>
                  <a:pt x="1448" y="1751"/>
                  <a:pt x="1449" y="1749"/>
                </a:cubicBezTo>
                <a:cubicBezTo>
                  <a:pt x="1449" y="1748"/>
                  <a:pt x="1449" y="1747"/>
                  <a:pt x="1449" y="1746"/>
                </a:cubicBezTo>
                <a:cubicBezTo>
                  <a:pt x="1451" y="1742"/>
                  <a:pt x="1448" y="1739"/>
                  <a:pt x="1445" y="1738"/>
                </a:cubicBezTo>
                <a:cubicBezTo>
                  <a:pt x="1441" y="1737"/>
                  <a:pt x="1437" y="1736"/>
                  <a:pt x="1433" y="1734"/>
                </a:cubicBezTo>
                <a:cubicBezTo>
                  <a:pt x="1433" y="1735"/>
                  <a:pt x="1432" y="1736"/>
                  <a:pt x="1432" y="1737"/>
                </a:cubicBezTo>
                <a:cubicBezTo>
                  <a:pt x="1432" y="1737"/>
                  <a:pt x="1432" y="1737"/>
                  <a:pt x="1433" y="1737"/>
                </a:cubicBezTo>
                <a:cubicBezTo>
                  <a:pt x="1433" y="1738"/>
                  <a:pt x="1433" y="1738"/>
                  <a:pt x="1433" y="1738"/>
                </a:cubicBezTo>
                <a:cubicBezTo>
                  <a:pt x="1432" y="1737"/>
                  <a:pt x="1432" y="1737"/>
                  <a:pt x="1432" y="1737"/>
                </a:cubicBezTo>
                <a:cubicBezTo>
                  <a:pt x="1432" y="1737"/>
                  <a:pt x="1432" y="1737"/>
                  <a:pt x="1432" y="1737"/>
                </a:cubicBezTo>
                <a:cubicBezTo>
                  <a:pt x="1428" y="1736"/>
                  <a:pt x="1423" y="1737"/>
                  <a:pt x="1420" y="1740"/>
                </a:cubicBezTo>
                <a:cubicBezTo>
                  <a:pt x="1418" y="1738"/>
                  <a:pt x="1416" y="1737"/>
                  <a:pt x="1413" y="1737"/>
                </a:cubicBezTo>
                <a:cubicBezTo>
                  <a:pt x="1417" y="1734"/>
                  <a:pt x="1421" y="1732"/>
                  <a:pt x="1426" y="1731"/>
                </a:cubicBezTo>
                <a:cubicBezTo>
                  <a:pt x="1427" y="1726"/>
                  <a:pt x="1428" y="1722"/>
                  <a:pt x="1429" y="1718"/>
                </a:cubicBezTo>
                <a:cubicBezTo>
                  <a:pt x="1430" y="1715"/>
                  <a:pt x="1430" y="1713"/>
                  <a:pt x="1428" y="1710"/>
                </a:cubicBezTo>
                <a:cubicBezTo>
                  <a:pt x="1426" y="1708"/>
                  <a:pt x="1424" y="1705"/>
                  <a:pt x="1422" y="1702"/>
                </a:cubicBezTo>
                <a:cubicBezTo>
                  <a:pt x="1418" y="1697"/>
                  <a:pt x="1414" y="1692"/>
                  <a:pt x="1413" y="1685"/>
                </a:cubicBezTo>
                <a:cubicBezTo>
                  <a:pt x="1413" y="1682"/>
                  <a:pt x="1411" y="1679"/>
                  <a:pt x="1409" y="1676"/>
                </a:cubicBezTo>
                <a:cubicBezTo>
                  <a:pt x="1400" y="1667"/>
                  <a:pt x="1391" y="1658"/>
                  <a:pt x="1378" y="1655"/>
                </a:cubicBezTo>
                <a:cubicBezTo>
                  <a:pt x="1376" y="1655"/>
                  <a:pt x="1375" y="1654"/>
                  <a:pt x="1373" y="1654"/>
                </a:cubicBezTo>
                <a:cubicBezTo>
                  <a:pt x="1368" y="1651"/>
                  <a:pt x="1362" y="1650"/>
                  <a:pt x="1356" y="1650"/>
                </a:cubicBezTo>
                <a:cubicBezTo>
                  <a:pt x="1350" y="1651"/>
                  <a:pt x="1343" y="1650"/>
                  <a:pt x="1337" y="1650"/>
                </a:cubicBezTo>
                <a:cubicBezTo>
                  <a:pt x="1336" y="1650"/>
                  <a:pt x="1334" y="1650"/>
                  <a:pt x="1333" y="1649"/>
                </a:cubicBezTo>
                <a:cubicBezTo>
                  <a:pt x="1327" y="1646"/>
                  <a:pt x="1323" y="1640"/>
                  <a:pt x="1316" y="1639"/>
                </a:cubicBezTo>
                <a:cubicBezTo>
                  <a:pt x="1315" y="1639"/>
                  <a:pt x="1314" y="1637"/>
                  <a:pt x="1314" y="1637"/>
                </a:cubicBezTo>
                <a:cubicBezTo>
                  <a:pt x="1313" y="1634"/>
                  <a:pt x="1312" y="1631"/>
                  <a:pt x="1310" y="1629"/>
                </a:cubicBezTo>
                <a:cubicBezTo>
                  <a:pt x="1307" y="1626"/>
                  <a:pt x="1303" y="1622"/>
                  <a:pt x="1299" y="1619"/>
                </a:cubicBezTo>
                <a:cubicBezTo>
                  <a:pt x="1297" y="1617"/>
                  <a:pt x="1294" y="1616"/>
                  <a:pt x="1291" y="1615"/>
                </a:cubicBezTo>
                <a:cubicBezTo>
                  <a:pt x="1288" y="1614"/>
                  <a:pt x="1285" y="1614"/>
                  <a:pt x="1283" y="1614"/>
                </a:cubicBezTo>
                <a:cubicBezTo>
                  <a:pt x="1281" y="1613"/>
                  <a:pt x="1279" y="1612"/>
                  <a:pt x="1280" y="1611"/>
                </a:cubicBezTo>
                <a:cubicBezTo>
                  <a:pt x="1280" y="1605"/>
                  <a:pt x="1277" y="1602"/>
                  <a:pt x="1273" y="1600"/>
                </a:cubicBezTo>
                <a:cubicBezTo>
                  <a:pt x="1269" y="1599"/>
                  <a:pt x="1265" y="1597"/>
                  <a:pt x="1261" y="1595"/>
                </a:cubicBezTo>
                <a:cubicBezTo>
                  <a:pt x="1259" y="1594"/>
                  <a:pt x="1258" y="1593"/>
                  <a:pt x="1257" y="1592"/>
                </a:cubicBezTo>
                <a:cubicBezTo>
                  <a:pt x="1257" y="1590"/>
                  <a:pt x="1259" y="1590"/>
                  <a:pt x="1260" y="1589"/>
                </a:cubicBezTo>
                <a:cubicBezTo>
                  <a:pt x="1261" y="1589"/>
                  <a:pt x="1262" y="1589"/>
                  <a:pt x="1262" y="1588"/>
                </a:cubicBezTo>
                <a:cubicBezTo>
                  <a:pt x="1263" y="1588"/>
                  <a:pt x="1264" y="1587"/>
                  <a:pt x="1263" y="1586"/>
                </a:cubicBezTo>
                <a:cubicBezTo>
                  <a:pt x="1263" y="1586"/>
                  <a:pt x="1262" y="1585"/>
                  <a:pt x="1262" y="1585"/>
                </a:cubicBezTo>
                <a:cubicBezTo>
                  <a:pt x="1257" y="1583"/>
                  <a:pt x="1252" y="1584"/>
                  <a:pt x="1247" y="1585"/>
                </a:cubicBezTo>
                <a:cubicBezTo>
                  <a:pt x="1244" y="1585"/>
                  <a:pt x="1242" y="1584"/>
                  <a:pt x="1240" y="1581"/>
                </a:cubicBezTo>
                <a:cubicBezTo>
                  <a:pt x="1239" y="1581"/>
                  <a:pt x="1238" y="1581"/>
                  <a:pt x="1237" y="1582"/>
                </a:cubicBezTo>
                <a:cubicBezTo>
                  <a:pt x="1236" y="1584"/>
                  <a:pt x="1236" y="1586"/>
                  <a:pt x="1235" y="1587"/>
                </a:cubicBezTo>
                <a:cubicBezTo>
                  <a:pt x="1230" y="1591"/>
                  <a:pt x="1222" y="1595"/>
                  <a:pt x="1216" y="1590"/>
                </a:cubicBezTo>
                <a:cubicBezTo>
                  <a:pt x="1212" y="1587"/>
                  <a:pt x="1208" y="1587"/>
                  <a:pt x="1203" y="1587"/>
                </a:cubicBezTo>
                <a:cubicBezTo>
                  <a:pt x="1198" y="1588"/>
                  <a:pt x="1193" y="1588"/>
                  <a:pt x="1188" y="1588"/>
                </a:cubicBezTo>
                <a:cubicBezTo>
                  <a:pt x="1186" y="1588"/>
                  <a:pt x="1184" y="1587"/>
                  <a:pt x="1183" y="1585"/>
                </a:cubicBezTo>
                <a:cubicBezTo>
                  <a:pt x="1183" y="1584"/>
                  <a:pt x="1183" y="1584"/>
                  <a:pt x="1183" y="1583"/>
                </a:cubicBezTo>
                <a:cubicBezTo>
                  <a:pt x="1182" y="1580"/>
                  <a:pt x="1180" y="1577"/>
                  <a:pt x="1177" y="1577"/>
                </a:cubicBezTo>
                <a:cubicBezTo>
                  <a:pt x="1174" y="1576"/>
                  <a:pt x="1172" y="1576"/>
                  <a:pt x="1170" y="1575"/>
                </a:cubicBezTo>
                <a:cubicBezTo>
                  <a:pt x="1166" y="1575"/>
                  <a:pt x="1163" y="1573"/>
                  <a:pt x="1162" y="1568"/>
                </a:cubicBezTo>
                <a:cubicBezTo>
                  <a:pt x="1161" y="1567"/>
                  <a:pt x="1160" y="1566"/>
                  <a:pt x="1158" y="1566"/>
                </a:cubicBezTo>
                <a:cubicBezTo>
                  <a:pt x="1157" y="1565"/>
                  <a:pt x="1154" y="1567"/>
                  <a:pt x="1153" y="1569"/>
                </a:cubicBezTo>
                <a:cubicBezTo>
                  <a:pt x="1153" y="1570"/>
                  <a:pt x="1152" y="1571"/>
                  <a:pt x="1152" y="1572"/>
                </a:cubicBezTo>
                <a:cubicBezTo>
                  <a:pt x="1152" y="1576"/>
                  <a:pt x="1150" y="1578"/>
                  <a:pt x="1146" y="1579"/>
                </a:cubicBezTo>
                <a:cubicBezTo>
                  <a:pt x="1144" y="1580"/>
                  <a:pt x="1141" y="1581"/>
                  <a:pt x="1139" y="1582"/>
                </a:cubicBezTo>
                <a:cubicBezTo>
                  <a:pt x="1137" y="1583"/>
                  <a:pt x="1136" y="1582"/>
                  <a:pt x="1135" y="1580"/>
                </a:cubicBezTo>
                <a:cubicBezTo>
                  <a:pt x="1134" y="1579"/>
                  <a:pt x="1133" y="1577"/>
                  <a:pt x="1134" y="1576"/>
                </a:cubicBezTo>
                <a:cubicBezTo>
                  <a:pt x="1137" y="1573"/>
                  <a:pt x="1139" y="1571"/>
                  <a:pt x="1141" y="1569"/>
                </a:cubicBezTo>
                <a:cubicBezTo>
                  <a:pt x="1143" y="1567"/>
                  <a:pt x="1142" y="1564"/>
                  <a:pt x="1140" y="1563"/>
                </a:cubicBezTo>
                <a:cubicBezTo>
                  <a:pt x="1138" y="1562"/>
                  <a:pt x="1137" y="1562"/>
                  <a:pt x="1135" y="1562"/>
                </a:cubicBezTo>
                <a:cubicBezTo>
                  <a:pt x="1131" y="1563"/>
                  <a:pt x="1128" y="1564"/>
                  <a:pt x="1125" y="1567"/>
                </a:cubicBezTo>
                <a:cubicBezTo>
                  <a:pt x="1121" y="1571"/>
                  <a:pt x="1117" y="1573"/>
                  <a:pt x="1112" y="1575"/>
                </a:cubicBezTo>
                <a:cubicBezTo>
                  <a:pt x="1107" y="1576"/>
                  <a:pt x="1101" y="1576"/>
                  <a:pt x="1097" y="1580"/>
                </a:cubicBezTo>
                <a:cubicBezTo>
                  <a:pt x="1096" y="1580"/>
                  <a:pt x="1095" y="1580"/>
                  <a:pt x="1094" y="1580"/>
                </a:cubicBezTo>
                <a:cubicBezTo>
                  <a:pt x="1090" y="1580"/>
                  <a:pt x="1087" y="1581"/>
                  <a:pt x="1085" y="1584"/>
                </a:cubicBezTo>
                <a:cubicBezTo>
                  <a:pt x="1082" y="1587"/>
                  <a:pt x="1079" y="1591"/>
                  <a:pt x="1079" y="1595"/>
                </a:cubicBezTo>
                <a:cubicBezTo>
                  <a:pt x="1078" y="1599"/>
                  <a:pt x="1077" y="1602"/>
                  <a:pt x="1073" y="1604"/>
                </a:cubicBezTo>
                <a:cubicBezTo>
                  <a:pt x="1070" y="1607"/>
                  <a:pt x="1067" y="1609"/>
                  <a:pt x="1064" y="1612"/>
                </a:cubicBezTo>
                <a:cubicBezTo>
                  <a:pt x="1063" y="1613"/>
                  <a:pt x="1063" y="1616"/>
                  <a:pt x="1062" y="1618"/>
                </a:cubicBezTo>
                <a:cubicBezTo>
                  <a:pt x="1062" y="1618"/>
                  <a:pt x="1063" y="1618"/>
                  <a:pt x="1063" y="1618"/>
                </a:cubicBezTo>
                <a:cubicBezTo>
                  <a:pt x="1063" y="1619"/>
                  <a:pt x="1063" y="1619"/>
                  <a:pt x="1063" y="1619"/>
                </a:cubicBezTo>
                <a:cubicBezTo>
                  <a:pt x="1062" y="1618"/>
                  <a:pt x="1062" y="1618"/>
                  <a:pt x="1062" y="1618"/>
                </a:cubicBezTo>
                <a:cubicBezTo>
                  <a:pt x="1062" y="1618"/>
                  <a:pt x="1062" y="1618"/>
                  <a:pt x="1062" y="1618"/>
                </a:cubicBezTo>
                <a:cubicBezTo>
                  <a:pt x="1061" y="1617"/>
                  <a:pt x="1060" y="1617"/>
                  <a:pt x="1060" y="1617"/>
                </a:cubicBezTo>
                <a:cubicBezTo>
                  <a:pt x="1057" y="1614"/>
                  <a:pt x="1054" y="1612"/>
                  <a:pt x="1051" y="1609"/>
                </a:cubicBezTo>
                <a:cubicBezTo>
                  <a:pt x="1048" y="1605"/>
                  <a:pt x="1043" y="1603"/>
                  <a:pt x="1038" y="1602"/>
                </a:cubicBezTo>
                <a:cubicBezTo>
                  <a:pt x="1032" y="1601"/>
                  <a:pt x="1025" y="1601"/>
                  <a:pt x="1019" y="1604"/>
                </a:cubicBezTo>
                <a:cubicBezTo>
                  <a:pt x="1017" y="1605"/>
                  <a:pt x="1015" y="1606"/>
                  <a:pt x="1013" y="1607"/>
                </a:cubicBezTo>
                <a:cubicBezTo>
                  <a:pt x="1009" y="1610"/>
                  <a:pt x="1004" y="1612"/>
                  <a:pt x="999" y="1608"/>
                </a:cubicBezTo>
                <a:cubicBezTo>
                  <a:pt x="990" y="1608"/>
                  <a:pt x="985" y="1602"/>
                  <a:pt x="980" y="1595"/>
                </a:cubicBezTo>
                <a:cubicBezTo>
                  <a:pt x="977" y="1591"/>
                  <a:pt x="974" y="1587"/>
                  <a:pt x="972" y="1582"/>
                </a:cubicBezTo>
                <a:cubicBezTo>
                  <a:pt x="971" y="1581"/>
                  <a:pt x="971" y="1579"/>
                  <a:pt x="971" y="1578"/>
                </a:cubicBezTo>
                <a:cubicBezTo>
                  <a:pt x="971" y="1572"/>
                  <a:pt x="971" y="1567"/>
                  <a:pt x="974" y="1562"/>
                </a:cubicBezTo>
                <a:cubicBezTo>
                  <a:pt x="975" y="1560"/>
                  <a:pt x="976" y="1558"/>
                  <a:pt x="976" y="1556"/>
                </a:cubicBezTo>
                <a:cubicBezTo>
                  <a:pt x="976" y="1550"/>
                  <a:pt x="978" y="1545"/>
                  <a:pt x="979" y="1540"/>
                </a:cubicBezTo>
                <a:cubicBezTo>
                  <a:pt x="981" y="1535"/>
                  <a:pt x="980" y="1529"/>
                  <a:pt x="981" y="1524"/>
                </a:cubicBezTo>
                <a:cubicBezTo>
                  <a:pt x="981" y="1523"/>
                  <a:pt x="980" y="1522"/>
                  <a:pt x="979" y="1521"/>
                </a:cubicBezTo>
                <a:cubicBezTo>
                  <a:pt x="977" y="1520"/>
                  <a:pt x="975" y="1520"/>
                  <a:pt x="973" y="1519"/>
                </a:cubicBezTo>
                <a:cubicBezTo>
                  <a:pt x="973" y="1519"/>
                  <a:pt x="973" y="1519"/>
                  <a:pt x="973" y="1519"/>
                </a:cubicBezTo>
                <a:cubicBezTo>
                  <a:pt x="973" y="1519"/>
                  <a:pt x="973" y="1519"/>
                  <a:pt x="973" y="1519"/>
                </a:cubicBezTo>
                <a:cubicBezTo>
                  <a:pt x="972" y="1520"/>
                  <a:pt x="972" y="1520"/>
                  <a:pt x="972" y="1520"/>
                </a:cubicBezTo>
                <a:cubicBezTo>
                  <a:pt x="973" y="1519"/>
                  <a:pt x="973" y="1519"/>
                  <a:pt x="973" y="1519"/>
                </a:cubicBezTo>
                <a:cubicBezTo>
                  <a:pt x="969" y="1516"/>
                  <a:pt x="965" y="1513"/>
                  <a:pt x="960" y="1513"/>
                </a:cubicBezTo>
                <a:cubicBezTo>
                  <a:pt x="955" y="1513"/>
                  <a:pt x="950" y="1512"/>
                  <a:pt x="946" y="1511"/>
                </a:cubicBezTo>
                <a:cubicBezTo>
                  <a:pt x="940" y="1510"/>
                  <a:pt x="935" y="1513"/>
                  <a:pt x="929" y="1513"/>
                </a:cubicBezTo>
                <a:cubicBezTo>
                  <a:pt x="925" y="1512"/>
                  <a:pt x="921" y="1513"/>
                  <a:pt x="916" y="1513"/>
                </a:cubicBezTo>
                <a:cubicBezTo>
                  <a:pt x="914" y="1513"/>
                  <a:pt x="911" y="1513"/>
                  <a:pt x="908" y="1512"/>
                </a:cubicBezTo>
                <a:cubicBezTo>
                  <a:pt x="907" y="1512"/>
                  <a:pt x="906" y="1510"/>
                  <a:pt x="907" y="1510"/>
                </a:cubicBezTo>
                <a:cubicBezTo>
                  <a:pt x="912" y="1505"/>
                  <a:pt x="914" y="1499"/>
                  <a:pt x="914" y="1492"/>
                </a:cubicBezTo>
                <a:cubicBezTo>
                  <a:pt x="914" y="1489"/>
                  <a:pt x="914" y="1485"/>
                  <a:pt x="915" y="1482"/>
                </a:cubicBezTo>
                <a:cubicBezTo>
                  <a:pt x="915" y="1480"/>
                  <a:pt x="916" y="1479"/>
                  <a:pt x="918" y="1479"/>
                </a:cubicBezTo>
                <a:cubicBezTo>
                  <a:pt x="922" y="1479"/>
                  <a:pt x="924" y="1476"/>
                  <a:pt x="924" y="1473"/>
                </a:cubicBezTo>
                <a:cubicBezTo>
                  <a:pt x="925" y="1469"/>
                  <a:pt x="926" y="1465"/>
                  <a:pt x="926" y="1461"/>
                </a:cubicBezTo>
                <a:cubicBezTo>
                  <a:pt x="926" y="1456"/>
                  <a:pt x="927" y="1452"/>
                  <a:pt x="931" y="1448"/>
                </a:cubicBezTo>
                <a:cubicBezTo>
                  <a:pt x="933" y="1446"/>
                  <a:pt x="935" y="1443"/>
                  <a:pt x="937" y="1440"/>
                </a:cubicBezTo>
                <a:cubicBezTo>
                  <a:pt x="938" y="1439"/>
                  <a:pt x="938" y="1437"/>
                  <a:pt x="939" y="1436"/>
                </a:cubicBezTo>
                <a:cubicBezTo>
                  <a:pt x="939" y="1433"/>
                  <a:pt x="937" y="1428"/>
                  <a:pt x="934" y="1428"/>
                </a:cubicBezTo>
                <a:cubicBezTo>
                  <a:pt x="927" y="1428"/>
                  <a:pt x="920" y="1427"/>
                  <a:pt x="914" y="1430"/>
                </a:cubicBezTo>
                <a:cubicBezTo>
                  <a:pt x="909" y="1432"/>
                  <a:pt x="903" y="1433"/>
                  <a:pt x="898" y="1433"/>
                </a:cubicBezTo>
                <a:cubicBezTo>
                  <a:pt x="893" y="1433"/>
                  <a:pt x="890" y="1436"/>
                  <a:pt x="888" y="1440"/>
                </a:cubicBezTo>
                <a:cubicBezTo>
                  <a:pt x="887" y="1442"/>
                  <a:pt x="886" y="1445"/>
                  <a:pt x="885" y="1448"/>
                </a:cubicBezTo>
                <a:cubicBezTo>
                  <a:pt x="883" y="1456"/>
                  <a:pt x="880" y="1463"/>
                  <a:pt x="873" y="1469"/>
                </a:cubicBezTo>
                <a:cubicBezTo>
                  <a:pt x="871" y="1475"/>
                  <a:pt x="867" y="1475"/>
                  <a:pt x="862" y="1473"/>
                </a:cubicBezTo>
                <a:cubicBezTo>
                  <a:pt x="859" y="1472"/>
                  <a:pt x="856" y="1473"/>
                  <a:pt x="854" y="1473"/>
                </a:cubicBezTo>
                <a:cubicBezTo>
                  <a:pt x="848" y="1475"/>
                  <a:pt x="843" y="1477"/>
                  <a:pt x="838" y="1478"/>
                </a:cubicBezTo>
                <a:cubicBezTo>
                  <a:pt x="834" y="1479"/>
                  <a:pt x="829" y="1479"/>
                  <a:pt x="826" y="1475"/>
                </a:cubicBezTo>
                <a:cubicBezTo>
                  <a:pt x="823" y="1472"/>
                  <a:pt x="820" y="1471"/>
                  <a:pt x="816" y="1469"/>
                </a:cubicBezTo>
                <a:cubicBezTo>
                  <a:pt x="812" y="1468"/>
                  <a:pt x="809" y="1465"/>
                  <a:pt x="807" y="1460"/>
                </a:cubicBezTo>
                <a:cubicBezTo>
                  <a:pt x="805" y="1455"/>
                  <a:pt x="802" y="1450"/>
                  <a:pt x="798" y="1445"/>
                </a:cubicBezTo>
                <a:cubicBezTo>
                  <a:pt x="796" y="1443"/>
                  <a:pt x="795" y="1440"/>
                  <a:pt x="794" y="1438"/>
                </a:cubicBezTo>
                <a:cubicBezTo>
                  <a:pt x="794" y="1433"/>
                  <a:pt x="793" y="1428"/>
                  <a:pt x="792" y="1423"/>
                </a:cubicBezTo>
                <a:cubicBezTo>
                  <a:pt x="791" y="1420"/>
                  <a:pt x="791" y="1416"/>
                  <a:pt x="791" y="1413"/>
                </a:cubicBezTo>
                <a:cubicBezTo>
                  <a:pt x="792" y="1402"/>
                  <a:pt x="793" y="1390"/>
                  <a:pt x="796" y="1379"/>
                </a:cubicBezTo>
                <a:cubicBezTo>
                  <a:pt x="796" y="1377"/>
                  <a:pt x="797" y="1374"/>
                  <a:pt x="798" y="1373"/>
                </a:cubicBezTo>
                <a:cubicBezTo>
                  <a:pt x="802" y="1368"/>
                  <a:pt x="803" y="1363"/>
                  <a:pt x="802" y="1358"/>
                </a:cubicBezTo>
                <a:cubicBezTo>
                  <a:pt x="801" y="1350"/>
                  <a:pt x="803" y="1342"/>
                  <a:pt x="806" y="1335"/>
                </a:cubicBezTo>
                <a:cubicBezTo>
                  <a:pt x="808" y="1328"/>
                  <a:pt x="812" y="1323"/>
                  <a:pt x="819" y="1321"/>
                </a:cubicBezTo>
                <a:cubicBezTo>
                  <a:pt x="827" y="1320"/>
                  <a:pt x="834" y="1317"/>
                  <a:pt x="839" y="1312"/>
                </a:cubicBezTo>
                <a:cubicBezTo>
                  <a:pt x="844" y="1308"/>
                  <a:pt x="849" y="1307"/>
                  <a:pt x="854" y="1305"/>
                </a:cubicBezTo>
                <a:cubicBezTo>
                  <a:pt x="858" y="1304"/>
                  <a:pt x="863" y="1305"/>
                  <a:pt x="867" y="1306"/>
                </a:cubicBezTo>
                <a:cubicBezTo>
                  <a:pt x="870" y="1307"/>
                  <a:pt x="873" y="1308"/>
                  <a:pt x="877" y="1307"/>
                </a:cubicBezTo>
                <a:cubicBezTo>
                  <a:pt x="880" y="1305"/>
                  <a:pt x="883" y="1306"/>
                  <a:pt x="885" y="1309"/>
                </a:cubicBezTo>
                <a:cubicBezTo>
                  <a:pt x="889" y="1315"/>
                  <a:pt x="895" y="1315"/>
                  <a:pt x="901" y="1314"/>
                </a:cubicBezTo>
                <a:cubicBezTo>
                  <a:pt x="904" y="1313"/>
                  <a:pt x="907" y="1312"/>
                  <a:pt x="910" y="1311"/>
                </a:cubicBezTo>
                <a:cubicBezTo>
                  <a:pt x="911" y="1307"/>
                  <a:pt x="912" y="1304"/>
                  <a:pt x="912" y="1301"/>
                </a:cubicBezTo>
                <a:cubicBezTo>
                  <a:pt x="913" y="1298"/>
                  <a:pt x="915" y="1297"/>
                  <a:pt x="917" y="1296"/>
                </a:cubicBezTo>
                <a:cubicBezTo>
                  <a:pt x="919" y="1295"/>
                  <a:pt x="922" y="1295"/>
                  <a:pt x="924" y="1295"/>
                </a:cubicBezTo>
                <a:cubicBezTo>
                  <a:pt x="932" y="1293"/>
                  <a:pt x="939" y="1295"/>
                  <a:pt x="947" y="1295"/>
                </a:cubicBezTo>
                <a:cubicBezTo>
                  <a:pt x="956" y="1294"/>
                  <a:pt x="963" y="1296"/>
                  <a:pt x="969" y="1303"/>
                </a:cubicBezTo>
                <a:cubicBezTo>
                  <a:pt x="971" y="1305"/>
                  <a:pt x="974" y="1305"/>
                  <a:pt x="977" y="1304"/>
                </a:cubicBezTo>
                <a:cubicBezTo>
                  <a:pt x="979" y="1303"/>
                  <a:pt x="981" y="1302"/>
                  <a:pt x="983" y="1301"/>
                </a:cubicBezTo>
                <a:cubicBezTo>
                  <a:pt x="985" y="1301"/>
                  <a:pt x="988" y="1301"/>
                  <a:pt x="989" y="1303"/>
                </a:cubicBezTo>
                <a:cubicBezTo>
                  <a:pt x="993" y="1307"/>
                  <a:pt x="996" y="1312"/>
                  <a:pt x="999" y="1316"/>
                </a:cubicBezTo>
                <a:cubicBezTo>
                  <a:pt x="1001" y="1318"/>
                  <a:pt x="1001" y="1321"/>
                  <a:pt x="1000" y="1324"/>
                </a:cubicBezTo>
                <a:cubicBezTo>
                  <a:pt x="1000" y="1325"/>
                  <a:pt x="999" y="1327"/>
                  <a:pt x="999" y="1328"/>
                </a:cubicBezTo>
                <a:cubicBezTo>
                  <a:pt x="997" y="1332"/>
                  <a:pt x="997" y="1335"/>
                  <a:pt x="1000" y="1338"/>
                </a:cubicBezTo>
                <a:cubicBezTo>
                  <a:pt x="1002" y="1347"/>
                  <a:pt x="1007" y="1355"/>
                  <a:pt x="1011" y="1363"/>
                </a:cubicBezTo>
                <a:cubicBezTo>
                  <a:pt x="1012" y="1367"/>
                  <a:pt x="1015" y="1370"/>
                  <a:pt x="1018" y="1374"/>
                </a:cubicBezTo>
                <a:cubicBezTo>
                  <a:pt x="1021" y="1377"/>
                  <a:pt x="1026" y="1376"/>
                  <a:pt x="1028" y="1373"/>
                </a:cubicBezTo>
                <a:cubicBezTo>
                  <a:pt x="1032" y="1366"/>
                  <a:pt x="1035" y="1359"/>
                  <a:pt x="1036" y="1351"/>
                </a:cubicBezTo>
                <a:cubicBezTo>
                  <a:pt x="1036" y="1350"/>
                  <a:pt x="1036" y="1349"/>
                  <a:pt x="1035" y="1348"/>
                </a:cubicBezTo>
                <a:cubicBezTo>
                  <a:pt x="1034" y="1344"/>
                  <a:pt x="1032" y="1339"/>
                  <a:pt x="1031" y="1335"/>
                </a:cubicBezTo>
                <a:cubicBezTo>
                  <a:pt x="1030" y="1331"/>
                  <a:pt x="1030" y="1327"/>
                  <a:pt x="1030" y="1322"/>
                </a:cubicBezTo>
                <a:cubicBezTo>
                  <a:pt x="1030" y="1322"/>
                  <a:pt x="1030" y="1321"/>
                  <a:pt x="1029" y="1321"/>
                </a:cubicBezTo>
                <a:cubicBezTo>
                  <a:pt x="1024" y="1308"/>
                  <a:pt x="1025" y="1295"/>
                  <a:pt x="1026" y="1282"/>
                </a:cubicBezTo>
                <a:cubicBezTo>
                  <a:pt x="1026" y="1279"/>
                  <a:pt x="1027" y="1277"/>
                  <a:pt x="1028" y="1275"/>
                </a:cubicBezTo>
                <a:cubicBezTo>
                  <a:pt x="1034" y="1269"/>
                  <a:pt x="1040" y="1262"/>
                  <a:pt x="1049" y="1259"/>
                </a:cubicBezTo>
                <a:cubicBezTo>
                  <a:pt x="1050" y="1259"/>
                  <a:pt x="1051" y="1259"/>
                  <a:pt x="1052" y="1258"/>
                </a:cubicBezTo>
                <a:cubicBezTo>
                  <a:pt x="1055" y="1257"/>
                  <a:pt x="1058" y="1255"/>
                  <a:pt x="1060" y="1253"/>
                </a:cubicBezTo>
                <a:cubicBezTo>
                  <a:pt x="1062" y="1250"/>
                  <a:pt x="1063" y="1248"/>
                  <a:pt x="1065" y="1246"/>
                </a:cubicBezTo>
                <a:cubicBezTo>
                  <a:pt x="1066" y="1244"/>
                  <a:pt x="1068" y="1243"/>
                  <a:pt x="1070" y="1242"/>
                </a:cubicBezTo>
                <a:cubicBezTo>
                  <a:pt x="1074" y="1241"/>
                  <a:pt x="1077" y="1239"/>
                  <a:pt x="1080" y="1236"/>
                </a:cubicBezTo>
                <a:cubicBezTo>
                  <a:pt x="1084" y="1232"/>
                  <a:pt x="1089" y="1229"/>
                  <a:pt x="1095" y="1227"/>
                </a:cubicBezTo>
                <a:cubicBezTo>
                  <a:pt x="1098" y="1227"/>
                  <a:pt x="1100" y="1225"/>
                  <a:pt x="1100" y="1221"/>
                </a:cubicBezTo>
                <a:cubicBezTo>
                  <a:pt x="1100" y="1219"/>
                  <a:pt x="1102" y="1219"/>
                  <a:pt x="1103" y="1218"/>
                </a:cubicBezTo>
                <a:cubicBezTo>
                  <a:pt x="1105" y="1217"/>
                  <a:pt x="1107" y="1216"/>
                  <a:pt x="1108" y="1214"/>
                </a:cubicBezTo>
                <a:cubicBezTo>
                  <a:pt x="1109" y="1213"/>
                  <a:pt x="1110" y="1211"/>
                  <a:pt x="1109" y="1210"/>
                </a:cubicBezTo>
                <a:cubicBezTo>
                  <a:pt x="1108" y="1207"/>
                  <a:pt x="1107" y="1205"/>
                  <a:pt x="1108" y="1202"/>
                </a:cubicBezTo>
                <a:cubicBezTo>
                  <a:pt x="1110" y="1198"/>
                  <a:pt x="1111" y="1194"/>
                  <a:pt x="1108" y="1190"/>
                </a:cubicBezTo>
                <a:cubicBezTo>
                  <a:pt x="1107" y="1188"/>
                  <a:pt x="1107" y="1186"/>
                  <a:pt x="1107" y="1185"/>
                </a:cubicBezTo>
                <a:cubicBezTo>
                  <a:pt x="1107" y="1180"/>
                  <a:pt x="1108" y="1175"/>
                  <a:pt x="1108" y="1170"/>
                </a:cubicBezTo>
                <a:cubicBezTo>
                  <a:pt x="1108" y="1170"/>
                  <a:pt x="1109" y="1170"/>
                  <a:pt x="1109" y="1170"/>
                </a:cubicBezTo>
                <a:cubicBezTo>
                  <a:pt x="1110" y="1170"/>
                  <a:pt x="1110" y="1170"/>
                  <a:pt x="1111" y="1170"/>
                </a:cubicBezTo>
                <a:cubicBezTo>
                  <a:pt x="1113" y="1172"/>
                  <a:pt x="1113" y="1175"/>
                  <a:pt x="1113" y="1178"/>
                </a:cubicBezTo>
                <a:cubicBezTo>
                  <a:pt x="1113" y="1179"/>
                  <a:pt x="1114" y="1179"/>
                  <a:pt x="1115" y="1180"/>
                </a:cubicBezTo>
                <a:cubicBezTo>
                  <a:pt x="1115" y="1180"/>
                  <a:pt x="1116" y="1180"/>
                  <a:pt x="1116" y="1179"/>
                </a:cubicBezTo>
                <a:cubicBezTo>
                  <a:pt x="1119" y="1175"/>
                  <a:pt x="1122" y="1171"/>
                  <a:pt x="1124" y="1167"/>
                </a:cubicBezTo>
                <a:cubicBezTo>
                  <a:pt x="1125" y="1165"/>
                  <a:pt x="1126" y="1163"/>
                  <a:pt x="1126" y="1161"/>
                </a:cubicBezTo>
                <a:cubicBezTo>
                  <a:pt x="1126" y="1159"/>
                  <a:pt x="1126" y="1158"/>
                  <a:pt x="1126" y="1156"/>
                </a:cubicBezTo>
                <a:cubicBezTo>
                  <a:pt x="1126" y="1155"/>
                  <a:pt x="1127" y="1154"/>
                  <a:pt x="1128" y="1154"/>
                </a:cubicBezTo>
                <a:cubicBezTo>
                  <a:pt x="1131" y="1154"/>
                  <a:pt x="1133" y="1152"/>
                  <a:pt x="1135" y="1150"/>
                </a:cubicBezTo>
                <a:cubicBezTo>
                  <a:pt x="1140" y="1146"/>
                  <a:pt x="1144" y="1140"/>
                  <a:pt x="1145" y="1133"/>
                </a:cubicBezTo>
                <a:cubicBezTo>
                  <a:pt x="1146" y="1128"/>
                  <a:pt x="1149" y="1126"/>
                  <a:pt x="1154" y="1126"/>
                </a:cubicBezTo>
                <a:cubicBezTo>
                  <a:pt x="1157" y="1126"/>
                  <a:pt x="1160" y="1125"/>
                  <a:pt x="1164" y="1124"/>
                </a:cubicBezTo>
                <a:cubicBezTo>
                  <a:pt x="1165" y="1124"/>
                  <a:pt x="1167" y="1123"/>
                  <a:pt x="1168" y="1122"/>
                </a:cubicBezTo>
                <a:cubicBezTo>
                  <a:pt x="1168" y="1122"/>
                  <a:pt x="1169" y="1121"/>
                  <a:pt x="1169" y="1121"/>
                </a:cubicBezTo>
                <a:cubicBezTo>
                  <a:pt x="1169" y="1120"/>
                  <a:pt x="1168" y="1120"/>
                  <a:pt x="1168" y="1119"/>
                </a:cubicBezTo>
                <a:cubicBezTo>
                  <a:pt x="1167" y="1119"/>
                  <a:pt x="1166" y="1119"/>
                  <a:pt x="1165" y="1119"/>
                </a:cubicBezTo>
                <a:cubicBezTo>
                  <a:pt x="1163" y="1118"/>
                  <a:pt x="1163" y="1118"/>
                  <a:pt x="1163" y="1117"/>
                </a:cubicBezTo>
                <a:cubicBezTo>
                  <a:pt x="1163" y="1117"/>
                  <a:pt x="1164" y="1117"/>
                  <a:pt x="1165" y="1116"/>
                </a:cubicBezTo>
                <a:cubicBezTo>
                  <a:pt x="1165" y="1116"/>
                  <a:pt x="1166" y="1116"/>
                  <a:pt x="1166" y="1116"/>
                </a:cubicBezTo>
                <a:cubicBezTo>
                  <a:pt x="1176" y="1118"/>
                  <a:pt x="1184" y="1113"/>
                  <a:pt x="1194" y="1113"/>
                </a:cubicBezTo>
                <a:cubicBezTo>
                  <a:pt x="1195" y="1113"/>
                  <a:pt x="1197" y="1112"/>
                  <a:pt x="1198" y="1111"/>
                </a:cubicBezTo>
                <a:cubicBezTo>
                  <a:pt x="1201" y="1108"/>
                  <a:pt x="1201" y="1107"/>
                  <a:pt x="1197" y="1104"/>
                </a:cubicBezTo>
                <a:cubicBezTo>
                  <a:pt x="1194" y="1102"/>
                  <a:pt x="1192" y="1099"/>
                  <a:pt x="1193" y="1096"/>
                </a:cubicBezTo>
                <a:cubicBezTo>
                  <a:pt x="1194" y="1092"/>
                  <a:pt x="1195" y="1089"/>
                  <a:pt x="1197" y="1085"/>
                </a:cubicBezTo>
                <a:cubicBezTo>
                  <a:pt x="1200" y="1079"/>
                  <a:pt x="1204" y="1074"/>
                  <a:pt x="1211" y="1071"/>
                </a:cubicBezTo>
                <a:cubicBezTo>
                  <a:pt x="1214" y="1070"/>
                  <a:pt x="1218" y="1069"/>
                  <a:pt x="1221" y="1066"/>
                </a:cubicBezTo>
                <a:cubicBezTo>
                  <a:pt x="1223" y="1064"/>
                  <a:pt x="1225" y="1063"/>
                  <a:pt x="1228" y="1063"/>
                </a:cubicBezTo>
                <a:cubicBezTo>
                  <a:pt x="1236" y="1064"/>
                  <a:pt x="1242" y="1060"/>
                  <a:pt x="1249" y="1059"/>
                </a:cubicBezTo>
                <a:cubicBezTo>
                  <a:pt x="1252" y="1059"/>
                  <a:pt x="1252" y="1056"/>
                  <a:pt x="1253" y="1054"/>
                </a:cubicBezTo>
                <a:cubicBezTo>
                  <a:pt x="1253" y="1053"/>
                  <a:pt x="1255" y="1052"/>
                  <a:pt x="1256" y="1051"/>
                </a:cubicBezTo>
                <a:cubicBezTo>
                  <a:pt x="1262" y="1050"/>
                  <a:pt x="1267" y="1049"/>
                  <a:pt x="1272" y="1048"/>
                </a:cubicBezTo>
                <a:cubicBezTo>
                  <a:pt x="1273" y="1048"/>
                  <a:pt x="1274" y="1048"/>
                  <a:pt x="1274" y="1048"/>
                </a:cubicBezTo>
                <a:cubicBezTo>
                  <a:pt x="1273" y="1049"/>
                  <a:pt x="1273" y="1050"/>
                  <a:pt x="1273" y="1051"/>
                </a:cubicBezTo>
                <a:cubicBezTo>
                  <a:pt x="1271" y="1052"/>
                  <a:pt x="1269" y="1052"/>
                  <a:pt x="1267" y="1053"/>
                </a:cubicBezTo>
                <a:cubicBezTo>
                  <a:pt x="1262" y="1056"/>
                  <a:pt x="1258" y="1059"/>
                  <a:pt x="1257" y="1064"/>
                </a:cubicBezTo>
                <a:cubicBezTo>
                  <a:pt x="1256" y="1066"/>
                  <a:pt x="1255" y="1068"/>
                  <a:pt x="1256" y="1070"/>
                </a:cubicBezTo>
                <a:cubicBezTo>
                  <a:pt x="1256" y="1074"/>
                  <a:pt x="1258" y="1076"/>
                  <a:pt x="1261" y="1078"/>
                </a:cubicBezTo>
                <a:cubicBezTo>
                  <a:pt x="1262" y="1078"/>
                  <a:pt x="1264" y="1079"/>
                  <a:pt x="1265" y="1078"/>
                </a:cubicBezTo>
                <a:cubicBezTo>
                  <a:pt x="1271" y="1076"/>
                  <a:pt x="1277" y="1072"/>
                  <a:pt x="1282" y="1066"/>
                </a:cubicBezTo>
                <a:cubicBezTo>
                  <a:pt x="1284" y="1062"/>
                  <a:pt x="1287" y="1061"/>
                  <a:pt x="1291" y="1062"/>
                </a:cubicBezTo>
                <a:cubicBezTo>
                  <a:pt x="1300" y="1059"/>
                  <a:pt x="1308" y="1056"/>
                  <a:pt x="1316" y="1054"/>
                </a:cubicBezTo>
                <a:cubicBezTo>
                  <a:pt x="1319" y="1053"/>
                  <a:pt x="1322" y="1052"/>
                  <a:pt x="1324" y="1051"/>
                </a:cubicBezTo>
                <a:cubicBezTo>
                  <a:pt x="1325" y="1045"/>
                  <a:pt x="1331" y="1047"/>
                  <a:pt x="1335" y="1045"/>
                </a:cubicBezTo>
                <a:cubicBezTo>
                  <a:pt x="1336" y="1044"/>
                  <a:pt x="1338" y="1043"/>
                  <a:pt x="1339" y="1043"/>
                </a:cubicBezTo>
                <a:cubicBezTo>
                  <a:pt x="1340" y="1042"/>
                  <a:pt x="1341" y="1041"/>
                  <a:pt x="1342" y="1041"/>
                </a:cubicBezTo>
                <a:cubicBezTo>
                  <a:pt x="1343" y="1040"/>
                  <a:pt x="1344" y="1037"/>
                  <a:pt x="1343" y="1036"/>
                </a:cubicBezTo>
                <a:cubicBezTo>
                  <a:pt x="1339" y="1033"/>
                  <a:pt x="1337" y="1030"/>
                  <a:pt x="1339" y="1025"/>
                </a:cubicBezTo>
                <a:cubicBezTo>
                  <a:pt x="1339" y="1025"/>
                  <a:pt x="1338" y="1024"/>
                  <a:pt x="1338" y="1024"/>
                </a:cubicBezTo>
                <a:cubicBezTo>
                  <a:pt x="1338" y="1022"/>
                  <a:pt x="1335" y="1021"/>
                  <a:pt x="1334" y="1022"/>
                </a:cubicBezTo>
                <a:cubicBezTo>
                  <a:pt x="1329" y="1027"/>
                  <a:pt x="1324" y="1033"/>
                  <a:pt x="1320" y="1038"/>
                </a:cubicBezTo>
                <a:cubicBezTo>
                  <a:pt x="1319" y="1041"/>
                  <a:pt x="1317" y="1041"/>
                  <a:pt x="1315" y="1041"/>
                </a:cubicBezTo>
                <a:cubicBezTo>
                  <a:pt x="1314" y="1040"/>
                  <a:pt x="1312" y="1040"/>
                  <a:pt x="1310" y="1040"/>
                </a:cubicBezTo>
                <a:cubicBezTo>
                  <a:pt x="1310" y="1041"/>
                  <a:pt x="1309" y="1042"/>
                  <a:pt x="1307" y="1041"/>
                </a:cubicBezTo>
                <a:cubicBezTo>
                  <a:pt x="1306" y="1041"/>
                  <a:pt x="1305" y="1040"/>
                  <a:pt x="1304" y="1040"/>
                </a:cubicBezTo>
                <a:cubicBezTo>
                  <a:pt x="1302" y="1039"/>
                  <a:pt x="1301" y="1039"/>
                  <a:pt x="1299" y="1039"/>
                </a:cubicBezTo>
                <a:cubicBezTo>
                  <a:pt x="1295" y="1039"/>
                  <a:pt x="1294" y="1036"/>
                  <a:pt x="1294" y="1033"/>
                </a:cubicBezTo>
                <a:cubicBezTo>
                  <a:pt x="1288" y="1032"/>
                  <a:pt x="1285" y="1029"/>
                  <a:pt x="1284" y="1023"/>
                </a:cubicBezTo>
                <a:cubicBezTo>
                  <a:pt x="1283" y="1017"/>
                  <a:pt x="1283" y="1012"/>
                  <a:pt x="1285" y="1007"/>
                </a:cubicBezTo>
                <a:cubicBezTo>
                  <a:pt x="1286" y="1005"/>
                  <a:pt x="1285" y="1003"/>
                  <a:pt x="1282" y="1002"/>
                </a:cubicBezTo>
                <a:cubicBezTo>
                  <a:pt x="1281" y="1002"/>
                  <a:pt x="1280" y="1002"/>
                  <a:pt x="1279" y="1002"/>
                </a:cubicBezTo>
                <a:cubicBezTo>
                  <a:pt x="1279" y="1002"/>
                  <a:pt x="1278" y="1002"/>
                  <a:pt x="1278" y="1001"/>
                </a:cubicBezTo>
                <a:cubicBezTo>
                  <a:pt x="1279" y="1001"/>
                  <a:pt x="1280" y="1001"/>
                  <a:pt x="1281" y="1000"/>
                </a:cubicBezTo>
                <a:cubicBezTo>
                  <a:pt x="1285" y="999"/>
                  <a:pt x="1288" y="997"/>
                  <a:pt x="1292" y="994"/>
                </a:cubicBezTo>
                <a:cubicBezTo>
                  <a:pt x="1294" y="992"/>
                  <a:pt x="1294" y="989"/>
                  <a:pt x="1293" y="986"/>
                </a:cubicBezTo>
                <a:cubicBezTo>
                  <a:pt x="1292" y="985"/>
                  <a:pt x="1291" y="982"/>
                  <a:pt x="1289" y="981"/>
                </a:cubicBezTo>
                <a:cubicBezTo>
                  <a:pt x="1285" y="978"/>
                  <a:pt x="1280" y="976"/>
                  <a:pt x="1274" y="977"/>
                </a:cubicBezTo>
                <a:cubicBezTo>
                  <a:pt x="1259" y="981"/>
                  <a:pt x="1244" y="984"/>
                  <a:pt x="1232" y="993"/>
                </a:cubicBezTo>
                <a:cubicBezTo>
                  <a:pt x="1232" y="993"/>
                  <a:pt x="1232" y="993"/>
                  <a:pt x="1232" y="994"/>
                </a:cubicBezTo>
                <a:cubicBezTo>
                  <a:pt x="1231" y="994"/>
                  <a:pt x="1231" y="994"/>
                  <a:pt x="1231" y="994"/>
                </a:cubicBezTo>
                <a:cubicBezTo>
                  <a:pt x="1229" y="996"/>
                  <a:pt x="1227" y="997"/>
                  <a:pt x="1225" y="999"/>
                </a:cubicBezTo>
                <a:cubicBezTo>
                  <a:pt x="1225" y="1000"/>
                  <a:pt x="1225" y="1000"/>
                  <a:pt x="1225" y="1000"/>
                </a:cubicBezTo>
                <a:cubicBezTo>
                  <a:pt x="1223" y="1001"/>
                  <a:pt x="1220" y="1002"/>
                  <a:pt x="1218" y="1003"/>
                </a:cubicBezTo>
                <a:cubicBezTo>
                  <a:pt x="1217" y="1004"/>
                  <a:pt x="1215" y="1005"/>
                  <a:pt x="1214" y="1006"/>
                </a:cubicBezTo>
                <a:cubicBezTo>
                  <a:pt x="1214" y="1007"/>
                  <a:pt x="1214" y="1007"/>
                  <a:pt x="1214" y="1007"/>
                </a:cubicBezTo>
                <a:cubicBezTo>
                  <a:pt x="1214" y="1006"/>
                  <a:pt x="1214" y="1006"/>
                  <a:pt x="1214" y="1006"/>
                </a:cubicBezTo>
                <a:cubicBezTo>
                  <a:pt x="1215" y="1005"/>
                  <a:pt x="1217" y="1004"/>
                  <a:pt x="1218" y="1003"/>
                </a:cubicBezTo>
                <a:cubicBezTo>
                  <a:pt x="1220" y="1002"/>
                  <a:pt x="1222" y="1001"/>
                  <a:pt x="1225" y="1000"/>
                </a:cubicBezTo>
                <a:cubicBezTo>
                  <a:pt x="1225" y="1000"/>
                  <a:pt x="1225" y="1000"/>
                  <a:pt x="1225" y="999"/>
                </a:cubicBezTo>
                <a:cubicBezTo>
                  <a:pt x="1226" y="995"/>
                  <a:pt x="1226" y="994"/>
                  <a:pt x="1231" y="994"/>
                </a:cubicBezTo>
                <a:cubicBezTo>
                  <a:pt x="1231" y="994"/>
                  <a:pt x="1231" y="993"/>
                  <a:pt x="1231" y="993"/>
                </a:cubicBezTo>
                <a:cubicBezTo>
                  <a:pt x="1231" y="993"/>
                  <a:pt x="1232" y="993"/>
                  <a:pt x="1232" y="993"/>
                </a:cubicBezTo>
                <a:cubicBezTo>
                  <a:pt x="1231" y="990"/>
                  <a:pt x="1233" y="988"/>
                  <a:pt x="1235" y="986"/>
                </a:cubicBezTo>
                <a:cubicBezTo>
                  <a:pt x="1240" y="982"/>
                  <a:pt x="1246" y="978"/>
                  <a:pt x="1253" y="976"/>
                </a:cubicBezTo>
                <a:cubicBezTo>
                  <a:pt x="1257" y="975"/>
                  <a:pt x="1261" y="973"/>
                  <a:pt x="1263" y="968"/>
                </a:cubicBezTo>
                <a:cubicBezTo>
                  <a:pt x="1264" y="967"/>
                  <a:pt x="1264" y="966"/>
                  <a:pt x="1265" y="966"/>
                </a:cubicBezTo>
                <a:cubicBezTo>
                  <a:pt x="1268" y="963"/>
                  <a:pt x="1271" y="960"/>
                  <a:pt x="1275" y="957"/>
                </a:cubicBezTo>
                <a:cubicBezTo>
                  <a:pt x="1279" y="955"/>
                  <a:pt x="1283" y="957"/>
                  <a:pt x="1286" y="957"/>
                </a:cubicBezTo>
                <a:cubicBezTo>
                  <a:pt x="1302" y="958"/>
                  <a:pt x="1317" y="960"/>
                  <a:pt x="1332" y="962"/>
                </a:cubicBezTo>
                <a:cubicBezTo>
                  <a:pt x="1339" y="963"/>
                  <a:pt x="1345" y="960"/>
                  <a:pt x="1352" y="961"/>
                </a:cubicBezTo>
                <a:cubicBezTo>
                  <a:pt x="1353" y="961"/>
                  <a:pt x="1355" y="961"/>
                  <a:pt x="1356" y="960"/>
                </a:cubicBezTo>
                <a:cubicBezTo>
                  <a:pt x="1358" y="960"/>
                  <a:pt x="1360" y="959"/>
                  <a:pt x="1361" y="958"/>
                </a:cubicBezTo>
                <a:cubicBezTo>
                  <a:pt x="1365" y="956"/>
                  <a:pt x="1369" y="953"/>
                  <a:pt x="1372" y="949"/>
                </a:cubicBezTo>
                <a:cubicBezTo>
                  <a:pt x="1374" y="945"/>
                  <a:pt x="1378" y="944"/>
                  <a:pt x="1382" y="943"/>
                </a:cubicBezTo>
                <a:cubicBezTo>
                  <a:pt x="1384" y="943"/>
                  <a:pt x="1387" y="942"/>
                  <a:pt x="1390" y="942"/>
                </a:cubicBezTo>
                <a:cubicBezTo>
                  <a:pt x="1398" y="941"/>
                  <a:pt x="1404" y="937"/>
                  <a:pt x="1411" y="933"/>
                </a:cubicBezTo>
                <a:cubicBezTo>
                  <a:pt x="1414" y="930"/>
                  <a:pt x="1416" y="927"/>
                  <a:pt x="1414" y="923"/>
                </a:cubicBezTo>
                <a:cubicBezTo>
                  <a:pt x="1413" y="920"/>
                  <a:pt x="1412" y="918"/>
                  <a:pt x="1414" y="915"/>
                </a:cubicBezTo>
                <a:cubicBezTo>
                  <a:pt x="1415" y="913"/>
                  <a:pt x="1416" y="911"/>
                  <a:pt x="1416" y="909"/>
                </a:cubicBezTo>
                <a:cubicBezTo>
                  <a:pt x="1416" y="907"/>
                  <a:pt x="1416" y="905"/>
                  <a:pt x="1415" y="904"/>
                </a:cubicBezTo>
                <a:cubicBezTo>
                  <a:pt x="1413" y="900"/>
                  <a:pt x="1409" y="896"/>
                  <a:pt x="1404" y="897"/>
                </a:cubicBezTo>
                <a:cubicBezTo>
                  <a:pt x="1404" y="897"/>
                  <a:pt x="1404" y="897"/>
                  <a:pt x="1404" y="897"/>
                </a:cubicBezTo>
                <a:cubicBezTo>
                  <a:pt x="1402" y="898"/>
                  <a:pt x="1402" y="898"/>
                  <a:pt x="1402" y="898"/>
                </a:cubicBezTo>
                <a:cubicBezTo>
                  <a:pt x="1403" y="897"/>
                  <a:pt x="1403" y="897"/>
                  <a:pt x="1403" y="897"/>
                </a:cubicBezTo>
                <a:cubicBezTo>
                  <a:pt x="1403" y="897"/>
                  <a:pt x="1403" y="897"/>
                  <a:pt x="1404" y="897"/>
                </a:cubicBezTo>
                <a:cubicBezTo>
                  <a:pt x="1403" y="896"/>
                  <a:pt x="1403" y="894"/>
                  <a:pt x="1403" y="892"/>
                </a:cubicBezTo>
                <a:cubicBezTo>
                  <a:pt x="1402" y="890"/>
                  <a:pt x="1400" y="888"/>
                  <a:pt x="1397" y="887"/>
                </a:cubicBezTo>
                <a:cubicBezTo>
                  <a:pt x="1396" y="887"/>
                  <a:pt x="1394" y="887"/>
                  <a:pt x="1392" y="887"/>
                </a:cubicBezTo>
                <a:cubicBezTo>
                  <a:pt x="1392" y="887"/>
                  <a:pt x="1391" y="886"/>
                  <a:pt x="1391" y="886"/>
                </a:cubicBezTo>
                <a:cubicBezTo>
                  <a:pt x="1391" y="886"/>
                  <a:pt x="1392" y="885"/>
                  <a:pt x="1393" y="885"/>
                </a:cubicBezTo>
                <a:cubicBezTo>
                  <a:pt x="1394" y="884"/>
                  <a:pt x="1396" y="884"/>
                  <a:pt x="1397" y="883"/>
                </a:cubicBezTo>
                <a:cubicBezTo>
                  <a:pt x="1399" y="882"/>
                  <a:pt x="1400" y="879"/>
                  <a:pt x="1398" y="877"/>
                </a:cubicBezTo>
                <a:cubicBezTo>
                  <a:pt x="1397" y="875"/>
                  <a:pt x="1395" y="873"/>
                  <a:pt x="1392" y="873"/>
                </a:cubicBezTo>
                <a:cubicBezTo>
                  <a:pt x="1391" y="873"/>
                  <a:pt x="1389" y="873"/>
                  <a:pt x="1388" y="873"/>
                </a:cubicBezTo>
                <a:cubicBezTo>
                  <a:pt x="1384" y="868"/>
                  <a:pt x="1379" y="866"/>
                  <a:pt x="1373" y="864"/>
                </a:cubicBezTo>
                <a:cubicBezTo>
                  <a:pt x="1372" y="863"/>
                  <a:pt x="1371" y="862"/>
                  <a:pt x="1371" y="861"/>
                </a:cubicBezTo>
                <a:cubicBezTo>
                  <a:pt x="1370" y="855"/>
                  <a:pt x="1365" y="852"/>
                  <a:pt x="1361" y="848"/>
                </a:cubicBezTo>
                <a:cubicBezTo>
                  <a:pt x="1359" y="846"/>
                  <a:pt x="1358" y="844"/>
                  <a:pt x="1356" y="842"/>
                </a:cubicBezTo>
                <a:cubicBezTo>
                  <a:pt x="1354" y="840"/>
                  <a:pt x="1354" y="838"/>
                  <a:pt x="1356" y="836"/>
                </a:cubicBezTo>
                <a:cubicBezTo>
                  <a:pt x="1358" y="834"/>
                  <a:pt x="1360" y="832"/>
                  <a:pt x="1362" y="830"/>
                </a:cubicBezTo>
                <a:cubicBezTo>
                  <a:pt x="1363" y="828"/>
                  <a:pt x="1364" y="826"/>
                  <a:pt x="1362" y="824"/>
                </a:cubicBezTo>
                <a:cubicBezTo>
                  <a:pt x="1360" y="820"/>
                  <a:pt x="1358" y="817"/>
                  <a:pt x="1359" y="812"/>
                </a:cubicBezTo>
                <a:cubicBezTo>
                  <a:pt x="1359" y="811"/>
                  <a:pt x="1358" y="809"/>
                  <a:pt x="1357" y="808"/>
                </a:cubicBezTo>
                <a:cubicBezTo>
                  <a:pt x="1355" y="806"/>
                  <a:pt x="1356" y="802"/>
                  <a:pt x="1354" y="801"/>
                </a:cubicBezTo>
                <a:cubicBezTo>
                  <a:pt x="1351" y="799"/>
                  <a:pt x="1353" y="797"/>
                  <a:pt x="1353" y="794"/>
                </a:cubicBezTo>
                <a:cubicBezTo>
                  <a:pt x="1352" y="792"/>
                  <a:pt x="1352" y="789"/>
                  <a:pt x="1352" y="786"/>
                </a:cubicBezTo>
                <a:cubicBezTo>
                  <a:pt x="1351" y="783"/>
                  <a:pt x="1351" y="780"/>
                  <a:pt x="1349" y="777"/>
                </a:cubicBezTo>
                <a:cubicBezTo>
                  <a:pt x="1347" y="770"/>
                  <a:pt x="1345" y="762"/>
                  <a:pt x="1344" y="755"/>
                </a:cubicBezTo>
                <a:cubicBezTo>
                  <a:pt x="1344" y="752"/>
                  <a:pt x="1344" y="750"/>
                  <a:pt x="1343" y="748"/>
                </a:cubicBezTo>
                <a:cubicBezTo>
                  <a:pt x="1343" y="747"/>
                  <a:pt x="1342" y="747"/>
                  <a:pt x="1341" y="746"/>
                </a:cubicBezTo>
                <a:cubicBezTo>
                  <a:pt x="1340" y="746"/>
                  <a:pt x="1339" y="747"/>
                  <a:pt x="1339" y="747"/>
                </a:cubicBezTo>
                <a:cubicBezTo>
                  <a:pt x="1335" y="753"/>
                  <a:pt x="1330" y="759"/>
                  <a:pt x="1327" y="766"/>
                </a:cubicBezTo>
                <a:cubicBezTo>
                  <a:pt x="1323" y="773"/>
                  <a:pt x="1319" y="779"/>
                  <a:pt x="1312" y="783"/>
                </a:cubicBezTo>
                <a:cubicBezTo>
                  <a:pt x="1310" y="783"/>
                  <a:pt x="1308" y="785"/>
                  <a:pt x="1306" y="787"/>
                </a:cubicBezTo>
                <a:cubicBezTo>
                  <a:pt x="1304" y="788"/>
                  <a:pt x="1302" y="789"/>
                  <a:pt x="1299" y="790"/>
                </a:cubicBezTo>
                <a:cubicBezTo>
                  <a:pt x="1296" y="791"/>
                  <a:pt x="1294" y="790"/>
                  <a:pt x="1291" y="788"/>
                </a:cubicBezTo>
                <a:cubicBezTo>
                  <a:pt x="1290" y="787"/>
                  <a:pt x="1288" y="785"/>
                  <a:pt x="1288" y="783"/>
                </a:cubicBezTo>
                <a:cubicBezTo>
                  <a:pt x="1287" y="780"/>
                  <a:pt x="1285" y="779"/>
                  <a:pt x="1282" y="777"/>
                </a:cubicBezTo>
                <a:cubicBezTo>
                  <a:pt x="1279" y="775"/>
                  <a:pt x="1278" y="772"/>
                  <a:pt x="1278" y="769"/>
                </a:cubicBezTo>
                <a:cubicBezTo>
                  <a:pt x="1279" y="763"/>
                  <a:pt x="1282" y="758"/>
                  <a:pt x="1280" y="753"/>
                </a:cubicBezTo>
                <a:cubicBezTo>
                  <a:pt x="1279" y="752"/>
                  <a:pt x="1281" y="750"/>
                  <a:pt x="1281" y="748"/>
                </a:cubicBezTo>
                <a:cubicBezTo>
                  <a:pt x="1283" y="743"/>
                  <a:pt x="1285" y="738"/>
                  <a:pt x="1288" y="733"/>
                </a:cubicBezTo>
                <a:cubicBezTo>
                  <a:pt x="1289" y="732"/>
                  <a:pt x="1288" y="729"/>
                  <a:pt x="1286" y="729"/>
                </a:cubicBezTo>
                <a:cubicBezTo>
                  <a:pt x="1282" y="729"/>
                  <a:pt x="1278" y="724"/>
                  <a:pt x="1273" y="724"/>
                </a:cubicBezTo>
                <a:cubicBezTo>
                  <a:pt x="1271" y="724"/>
                  <a:pt x="1269" y="722"/>
                  <a:pt x="1267" y="721"/>
                </a:cubicBezTo>
                <a:cubicBezTo>
                  <a:pt x="1266" y="720"/>
                  <a:pt x="1265" y="719"/>
                  <a:pt x="1265" y="717"/>
                </a:cubicBezTo>
                <a:cubicBezTo>
                  <a:pt x="1265" y="715"/>
                  <a:pt x="1266" y="714"/>
                  <a:pt x="1264" y="712"/>
                </a:cubicBezTo>
                <a:cubicBezTo>
                  <a:pt x="1262" y="709"/>
                  <a:pt x="1259" y="705"/>
                  <a:pt x="1258" y="701"/>
                </a:cubicBezTo>
                <a:cubicBezTo>
                  <a:pt x="1257" y="698"/>
                  <a:pt x="1255" y="696"/>
                  <a:pt x="1253" y="694"/>
                </a:cubicBezTo>
                <a:cubicBezTo>
                  <a:pt x="1251" y="690"/>
                  <a:pt x="1247" y="688"/>
                  <a:pt x="1242" y="690"/>
                </a:cubicBezTo>
                <a:cubicBezTo>
                  <a:pt x="1240" y="691"/>
                  <a:pt x="1238" y="691"/>
                  <a:pt x="1236" y="691"/>
                </a:cubicBezTo>
                <a:cubicBezTo>
                  <a:pt x="1229" y="689"/>
                  <a:pt x="1223" y="689"/>
                  <a:pt x="1217" y="685"/>
                </a:cubicBezTo>
                <a:cubicBezTo>
                  <a:pt x="1215" y="684"/>
                  <a:pt x="1212" y="683"/>
                  <a:pt x="1209" y="682"/>
                </a:cubicBezTo>
                <a:cubicBezTo>
                  <a:pt x="1203" y="680"/>
                  <a:pt x="1196" y="684"/>
                  <a:pt x="1194" y="691"/>
                </a:cubicBezTo>
                <a:cubicBezTo>
                  <a:pt x="1192" y="695"/>
                  <a:pt x="1192" y="698"/>
                  <a:pt x="1194" y="702"/>
                </a:cubicBezTo>
                <a:cubicBezTo>
                  <a:pt x="1195" y="704"/>
                  <a:pt x="1196" y="707"/>
                  <a:pt x="1194" y="709"/>
                </a:cubicBezTo>
                <a:cubicBezTo>
                  <a:pt x="1191" y="713"/>
                  <a:pt x="1188" y="716"/>
                  <a:pt x="1186" y="720"/>
                </a:cubicBezTo>
                <a:cubicBezTo>
                  <a:pt x="1184" y="725"/>
                  <a:pt x="1189" y="729"/>
                  <a:pt x="1188" y="735"/>
                </a:cubicBezTo>
                <a:cubicBezTo>
                  <a:pt x="1187" y="737"/>
                  <a:pt x="1188" y="739"/>
                  <a:pt x="1188" y="741"/>
                </a:cubicBezTo>
                <a:cubicBezTo>
                  <a:pt x="1190" y="745"/>
                  <a:pt x="1188" y="747"/>
                  <a:pt x="1184" y="749"/>
                </a:cubicBezTo>
                <a:cubicBezTo>
                  <a:pt x="1183" y="750"/>
                  <a:pt x="1181" y="751"/>
                  <a:pt x="1180" y="752"/>
                </a:cubicBezTo>
                <a:cubicBezTo>
                  <a:pt x="1177" y="759"/>
                  <a:pt x="1171" y="763"/>
                  <a:pt x="1167" y="768"/>
                </a:cubicBezTo>
                <a:cubicBezTo>
                  <a:pt x="1164" y="771"/>
                  <a:pt x="1164" y="774"/>
                  <a:pt x="1167" y="777"/>
                </a:cubicBezTo>
                <a:cubicBezTo>
                  <a:pt x="1168" y="779"/>
                  <a:pt x="1170" y="781"/>
                  <a:pt x="1172" y="784"/>
                </a:cubicBezTo>
                <a:cubicBezTo>
                  <a:pt x="1173" y="785"/>
                  <a:pt x="1174" y="787"/>
                  <a:pt x="1174" y="789"/>
                </a:cubicBezTo>
                <a:cubicBezTo>
                  <a:pt x="1175" y="795"/>
                  <a:pt x="1176" y="801"/>
                  <a:pt x="1177" y="807"/>
                </a:cubicBezTo>
                <a:cubicBezTo>
                  <a:pt x="1178" y="814"/>
                  <a:pt x="1174" y="820"/>
                  <a:pt x="1176" y="827"/>
                </a:cubicBezTo>
                <a:cubicBezTo>
                  <a:pt x="1176" y="827"/>
                  <a:pt x="1175" y="829"/>
                  <a:pt x="1174" y="829"/>
                </a:cubicBezTo>
                <a:cubicBezTo>
                  <a:pt x="1172" y="831"/>
                  <a:pt x="1170" y="832"/>
                  <a:pt x="1168" y="834"/>
                </a:cubicBezTo>
                <a:cubicBezTo>
                  <a:pt x="1161" y="841"/>
                  <a:pt x="1153" y="845"/>
                  <a:pt x="1144" y="849"/>
                </a:cubicBezTo>
                <a:cubicBezTo>
                  <a:pt x="1140" y="851"/>
                  <a:pt x="1136" y="852"/>
                  <a:pt x="1132" y="854"/>
                </a:cubicBezTo>
                <a:cubicBezTo>
                  <a:pt x="1129" y="855"/>
                  <a:pt x="1128" y="857"/>
                  <a:pt x="1128" y="860"/>
                </a:cubicBezTo>
                <a:cubicBezTo>
                  <a:pt x="1128" y="867"/>
                  <a:pt x="1129" y="873"/>
                  <a:pt x="1128" y="880"/>
                </a:cubicBezTo>
                <a:cubicBezTo>
                  <a:pt x="1127" y="884"/>
                  <a:pt x="1126" y="889"/>
                  <a:pt x="1126" y="893"/>
                </a:cubicBezTo>
                <a:cubicBezTo>
                  <a:pt x="1126" y="897"/>
                  <a:pt x="1127" y="902"/>
                  <a:pt x="1127" y="906"/>
                </a:cubicBezTo>
                <a:cubicBezTo>
                  <a:pt x="1127" y="908"/>
                  <a:pt x="1127" y="909"/>
                  <a:pt x="1126" y="911"/>
                </a:cubicBezTo>
                <a:cubicBezTo>
                  <a:pt x="1125" y="914"/>
                  <a:pt x="1123" y="917"/>
                  <a:pt x="1121" y="919"/>
                </a:cubicBezTo>
                <a:cubicBezTo>
                  <a:pt x="1121" y="920"/>
                  <a:pt x="1119" y="921"/>
                  <a:pt x="1119" y="921"/>
                </a:cubicBezTo>
                <a:cubicBezTo>
                  <a:pt x="1115" y="920"/>
                  <a:pt x="1113" y="923"/>
                  <a:pt x="1110" y="925"/>
                </a:cubicBezTo>
                <a:cubicBezTo>
                  <a:pt x="1109" y="926"/>
                  <a:pt x="1105" y="925"/>
                  <a:pt x="1104" y="924"/>
                </a:cubicBezTo>
                <a:cubicBezTo>
                  <a:pt x="1104" y="922"/>
                  <a:pt x="1103" y="921"/>
                  <a:pt x="1103" y="919"/>
                </a:cubicBezTo>
                <a:cubicBezTo>
                  <a:pt x="1101" y="917"/>
                  <a:pt x="1101" y="914"/>
                  <a:pt x="1099" y="912"/>
                </a:cubicBezTo>
                <a:cubicBezTo>
                  <a:pt x="1093" y="907"/>
                  <a:pt x="1092" y="900"/>
                  <a:pt x="1088" y="894"/>
                </a:cubicBezTo>
                <a:cubicBezTo>
                  <a:pt x="1087" y="892"/>
                  <a:pt x="1087" y="890"/>
                  <a:pt x="1088" y="888"/>
                </a:cubicBezTo>
                <a:cubicBezTo>
                  <a:pt x="1092" y="880"/>
                  <a:pt x="1095" y="873"/>
                  <a:pt x="1095" y="864"/>
                </a:cubicBezTo>
                <a:cubicBezTo>
                  <a:pt x="1095" y="861"/>
                  <a:pt x="1097" y="859"/>
                  <a:pt x="1097" y="856"/>
                </a:cubicBezTo>
                <a:cubicBezTo>
                  <a:pt x="1098" y="854"/>
                  <a:pt x="1099" y="851"/>
                  <a:pt x="1100" y="848"/>
                </a:cubicBezTo>
                <a:cubicBezTo>
                  <a:pt x="1100" y="847"/>
                  <a:pt x="1099" y="844"/>
                  <a:pt x="1098" y="844"/>
                </a:cubicBezTo>
                <a:cubicBezTo>
                  <a:pt x="1089" y="843"/>
                  <a:pt x="1080" y="840"/>
                  <a:pt x="1072" y="840"/>
                </a:cubicBezTo>
                <a:cubicBezTo>
                  <a:pt x="1069" y="840"/>
                  <a:pt x="1067" y="839"/>
                  <a:pt x="1066" y="837"/>
                </a:cubicBezTo>
                <a:cubicBezTo>
                  <a:pt x="1062" y="832"/>
                  <a:pt x="1057" y="828"/>
                  <a:pt x="1051" y="825"/>
                </a:cubicBezTo>
                <a:cubicBezTo>
                  <a:pt x="1045" y="822"/>
                  <a:pt x="1041" y="818"/>
                  <a:pt x="1038" y="812"/>
                </a:cubicBezTo>
                <a:cubicBezTo>
                  <a:pt x="1035" y="806"/>
                  <a:pt x="1030" y="802"/>
                  <a:pt x="1024" y="798"/>
                </a:cubicBezTo>
                <a:cubicBezTo>
                  <a:pt x="1019" y="795"/>
                  <a:pt x="1014" y="792"/>
                  <a:pt x="1008" y="789"/>
                </a:cubicBezTo>
                <a:cubicBezTo>
                  <a:pt x="1006" y="788"/>
                  <a:pt x="1003" y="788"/>
                  <a:pt x="1000" y="788"/>
                </a:cubicBezTo>
                <a:cubicBezTo>
                  <a:pt x="996" y="790"/>
                  <a:pt x="991" y="792"/>
                  <a:pt x="987" y="791"/>
                </a:cubicBezTo>
                <a:cubicBezTo>
                  <a:pt x="987" y="791"/>
                  <a:pt x="986" y="791"/>
                  <a:pt x="986" y="791"/>
                </a:cubicBezTo>
                <a:cubicBezTo>
                  <a:pt x="986" y="792"/>
                  <a:pt x="986" y="792"/>
                  <a:pt x="986" y="792"/>
                </a:cubicBezTo>
                <a:cubicBezTo>
                  <a:pt x="986" y="791"/>
                  <a:pt x="986" y="791"/>
                  <a:pt x="986" y="791"/>
                </a:cubicBezTo>
                <a:cubicBezTo>
                  <a:pt x="986" y="791"/>
                  <a:pt x="986" y="791"/>
                  <a:pt x="987" y="791"/>
                </a:cubicBezTo>
                <a:cubicBezTo>
                  <a:pt x="989" y="787"/>
                  <a:pt x="991" y="783"/>
                  <a:pt x="991" y="777"/>
                </a:cubicBezTo>
                <a:cubicBezTo>
                  <a:pt x="990" y="772"/>
                  <a:pt x="990" y="765"/>
                  <a:pt x="990" y="759"/>
                </a:cubicBezTo>
                <a:cubicBezTo>
                  <a:pt x="990" y="757"/>
                  <a:pt x="990" y="755"/>
                  <a:pt x="989" y="753"/>
                </a:cubicBezTo>
                <a:cubicBezTo>
                  <a:pt x="989" y="752"/>
                  <a:pt x="988" y="751"/>
                  <a:pt x="987" y="751"/>
                </a:cubicBezTo>
                <a:cubicBezTo>
                  <a:pt x="985" y="751"/>
                  <a:pt x="982" y="750"/>
                  <a:pt x="980" y="750"/>
                </a:cubicBezTo>
                <a:cubicBezTo>
                  <a:pt x="978" y="750"/>
                  <a:pt x="976" y="749"/>
                  <a:pt x="976" y="747"/>
                </a:cubicBezTo>
                <a:cubicBezTo>
                  <a:pt x="975" y="745"/>
                  <a:pt x="975" y="743"/>
                  <a:pt x="975" y="742"/>
                </a:cubicBezTo>
                <a:cubicBezTo>
                  <a:pt x="976" y="739"/>
                  <a:pt x="978" y="736"/>
                  <a:pt x="978" y="733"/>
                </a:cubicBezTo>
                <a:cubicBezTo>
                  <a:pt x="981" y="719"/>
                  <a:pt x="987" y="707"/>
                  <a:pt x="998" y="698"/>
                </a:cubicBezTo>
                <a:cubicBezTo>
                  <a:pt x="1000" y="696"/>
                  <a:pt x="1002" y="693"/>
                  <a:pt x="1004" y="690"/>
                </a:cubicBezTo>
                <a:cubicBezTo>
                  <a:pt x="1010" y="682"/>
                  <a:pt x="1015" y="674"/>
                  <a:pt x="1025" y="671"/>
                </a:cubicBezTo>
                <a:cubicBezTo>
                  <a:pt x="1030" y="667"/>
                  <a:pt x="1035" y="664"/>
                  <a:pt x="1037" y="657"/>
                </a:cubicBezTo>
                <a:cubicBezTo>
                  <a:pt x="1037" y="656"/>
                  <a:pt x="1038" y="654"/>
                  <a:pt x="1040" y="655"/>
                </a:cubicBezTo>
                <a:cubicBezTo>
                  <a:pt x="1043" y="655"/>
                  <a:pt x="1045" y="656"/>
                  <a:pt x="1047" y="656"/>
                </a:cubicBezTo>
                <a:cubicBezTo>
                  <a:pt x="1052" y="656"/>
                  <a:pt x="1057" y="652"/>
                  <a:pt x="1057" y="647"/>
                </a:cubicBezTo>
                <a:cubicBezTo>
                  <a:pt x="1057" y="645"/>
                  <a:pt x="1056" y="642"/>
                  <a:pt x="1056" y="639"/>
                </a:cubicBezTo>
                <a:cubicBezTo>
                  <a:pt x="1056" y="639"/>
                  <a:pt x="1056" y="639"/>
                  <a:pt x="1056" y="639"/>
                </a:cubicBezTo>
                <a:cubicBezTo>
                  <a:pt x="1055" y="639"/>
                  <a:pt x="1055" y="639"/>
                  <a:pt x="1055" y="639"/>
                </a:cubicBezTo>
                <a:cubicBezTo>
                  <a:pt x="1055" y="639"/>
                  <a:pt x="1056" y="639"/>
                  <a:pt x="1056" y="639"/>
                </a:cubicBezTo>
                <a:cubicBezTo>
                  <a:pt x="1056" y="639"/>
                  <a:pt x="1056" y="639"/>
                  <a:pt x="1056" y="639"/>
                </a:cubicBezTo>
                <a:cubicBezTo>
                  <a:pt x="1064" y="640"/>
                  <a:pt x="1070" y="638"/>
                  <a:pt x="1073" y="630"/>
                </a:cubicBezTo>
                <a:cubicBezTo>
                  <a:pt x="1073" y="629"/>
                  <a:pt x="1075" y="628"/>
                  <a:pt x="1077" y="629"/>
                </a:cubicBezTo>
                <a:cubicBezTo>
                  <a:pt x="1080" y="630"/>
                  <a:pt x="1082" y="631"/>
                  <a:pt x="1085" y="632"/>
                </a:cubicBezTo>
                <a:cubicBezTo>
                  <a:pt x="1087" y="633"/>
                  <a:pt x="1090" y="633"/>
                  <a:pt x="1092" y="631"/>
                </a:cubicBezTo>
                <a:cubicBezTo>
                  <a:pt x="1101" y="623"/>
                  <a:pt x="1109" y="615"/>
                  <a:pt x="1117" y="607"/>
                </a:cubicBezTo>
                <a:cubicBezTo>
                  <a:pt x="1118" y="607"/>
                  <a:pt x="1118" y="605"/>
                  <a:pt x="1118" y="604"/>
                </a:cubicBezTo>
                <a:cubicBezTo>
                  <a:pt x="1118" y="602"/>
                  <a:pt x="1119" y="600"/>
                  <a:pt x="1121" y="599"/>
                </a:cubicBezTo>
                <a:cubicBezTo>
                  <a:pt x="1124" y="596"/>
                  <a:pt x="1128" y="593"/>
                  <a:pt x="1132" y="589"/>
                </a:cubicBezTo>
                <a:cubicBezTo>
                  <a:pt x="1133" y="588"/>
                  <a:pt x="1134" y="587"/>
                  <a:pt x="1135" y="586"/>
                </a:cubicBezTo>
                <a:cubicBezTo>
                  <a:pt x="1135" y="586"/>
                  <a:pt x="1135" y="586"/>
                  <a:pt x="1135" y="586"/>
                </a:cubicBezTo>
                <a:cubicBezTo>
                  <a:pt x="1136" y="586"/>
                  <a:pt x="1137" y="585"/>
                  <a:pt x="1137" y="584"/>
                </a:cubicBezTo>
                <a:cubicBezTo>
                  <a:pt x="1141" y="580"/>
                  <a:pt x="1141" y="580"/>
                  <a:pt x="1139" y="575"/>
                </a:cubicBezTo>
                <a:cubicBezTo>
                  <a:pt x="1138" y="574"/>
                  <a:pt x="1138" y="574"/>
                  <a:pt x="1138" y="573"/>
                </a:cubicBezTo>
                <a:cubicBezTo>
                  <a:pt x="1137" y="572"/>
                  <a:pt x="1138" y="571"/>
                  <a:pt x="1139" y="570"/>
                </a:cubicBezTo>
                <a:cubicBezTo>
                  <a:pt x="1144" y="570"/>
                  <a:pt x="1149" y="569"/>
                  <a:pt x="1151" y="576"/>
                </a:cubicBezTo>
                <a:cubicBezTo>
                  <a:pt x="1151" y="576"/>
                  <a:pt x="1152" y="577"/>
                  <a:pt x="1152" y="577"/>
                </a:cubicBezTo>
                <a:cubicBezTo>
                  <a:pt x="1160" y="580"/>
                  <a:pt x="1168" y="581"/>
                  <a:pt x="1176" y="577"/>
                </a:cubicBezTo>
                <a:cubicBezTo>
                  <a:pt x="1181" y="575"/>
                  <a:pt x="1187" y="572"/>
                  <a:pt x="1191" y="567"/>
                </a:cubicBezTo>
                <a:cubicBezTo>
                  <a:pt x="1193" y="566"/>
                  <a:pt x="1195" y="564"/>
                  <a:pt x="1197" y="564"/>
                </a:cubicBezTo>
                <a:cubicBezTo>
                  <a:pt x="1201" y="563"/>
                  <a:pt x="1203" y="560"/>
                  <a:pt x="1205" y="556"/>
                </a:cubicBezTo>
                <a:cubicBezTo>
                  <a:pt x="1206" y="554"/>
                  <a:pt x="1207" y="551"/>
                  <a:pt x="1206" y="549"/>
                </a:cubicBezTo>
                <a:cubicBezTo>
                  <a:pt x="1205" y="546"/>
                  <a:pt x="1205" y="544"/>
                  <a:pt x="1204" y="542"/>
                </a:cubicBezTo>
                <a:cubicBezTo>
                  <a:pt x="1202" y="539"/>
                  <a:pt x="1202" y="536"/>
                  <a:pt x="1203" y="533"/>
                </a:cubicBezTo>
                <a:cubicBezTo>
                  <a:pt x="1204" y="530"/>
                  <a:pt x="1205" y="526"/>
                  <a:pt x="1205" y="523"/>
                </a:cubicBezTo>
                <a:cubicBezTo>
                  <a:pt x="1205" y="523"/>
                  <a:pt x="1205" y="523"/>
                  <a:pt x="1205" y="523"/>
                </a:cubicBezTo>
                <a:cubicBezTo>
                  <a:pt x="1204" y="523"/>
                  <a:pt x="1204" y="523"/>
                  <a:pt x="1204" y="523"/>
                </a:cubicBezTo>
                <a:cubicBezTo>
                  <a:pt x="1205" y="523"/>
                  <a:pt x="1205" y="523"/>
                  <a:pt x="1205" y="523"/>
                </a:cubicBezTo>
                <a:cubicBezTo>
                  <a:pt x="1205" y="523"/>
                  <a:pt x="1205" y="523"/>
                  <a:pt x="1205" y="523"/>
                </a:cubicBezTo>
                <a:cubicBezTo>
                  <a:pt x="1207" y="524"/>
                  <a:pt x="1209" y="524"/>
                  <a:pt x="1211" y="524"/>
                </a:cubicBezTo>
                <a:cubicBezTo>
                  <a:pt x="1217" y="524"/>
                  <a:pt x="1220" y="521"/>
                  <a:pt x="1220" y="515"/>
                </a:cubicBezTo>
                <a:cubicBezTo>
                  <a:pt x="1220" y="513"/>
                  <a:pt x="1220" y="511"/>
                  <a:pt x="1222" y="509"/>
                </a:cubicBezTo>
                <a:cubicBezTo>
                  <a:pt x="1224" y="506"/>
                  <a:pt x="1223" y="503"/>
                  <a:pt x="1221" y="501"/>
                </a:cubicBezTo>
                <a:cubicBezTo>
                  <a:pt x="1217" y="499"/>
                  <a:pt x="1214" y="496"/>
                  <a:pt x="1215" y="491"/>
                </a:cubicBezTo>
                <a:cubicBezTo>
                  <a:pt x="1215" y="487"/>
                  <a:pt x="1213" y="485"/>
                  <a:pt x="1209" y="486"/>
                </a:cubicBezTo>
                <a:cubicBezTo>
                  <a:pt x="1206" y="486"/>
                  <a:pt x="1205" y="483"/>
                  <a:pt x="1204" y="481"/>
                </a:cubicBezTo>
                <a:cubicBezTo>
                  <a:pt x="1201" y="481"/>
                  <a:pt x="1197" y="480"/>
                  <a:pt x="1195" y="477"/>
                </a:cubicBezTo>
                <a:cubicBezTo>
                  <a:pt x="1195" y="477"/>
                  <a:pt x="1195" y="477"/>
                  <a:pt x="1195" y="477"/>
                </a:cubicBezTo>
                <a:cubicBezTo>
                  <a:pt x="1194" y="477"/>
                  <a:pt x="1194" y="477"/>
                  <a:pt x="1194" y="477"/>
                </a:cubicBezTo>
                <a:cubicBezTo>
                  <a:pt x="1195" y="477"/>
                  <a:pt x="1195" y="477"/>
                  <a:pt x="1195" y="477"/>
                </a:cubicBezTo>
                <a:cubicBezTo>
                  <a:pt x="1194" y="478"/>
                  <a:pt x="1193" y="478"/>
                  <a:pt x="1192" y="478"/>
                </a:cubicBezTo>
                <a:cubicBezTo>
                  <a:pt x="1186" y="478"/>
                  <a:pt x="1183" y="481"/>
                  <a:pt x="1182" y="485"/>
                </a:cubicBezTo>
                <a:cubicBezTo>
                  <a:pt x="1181" y="490"/>
                  <a:pt x="1178" y="494"/>
                  <a:pt x="1180" y="500"/>
                </a:cubicBezTo>
                <a:cubicBezTo>
                  <a:pt x="1180" y="501"/>
                  <a:pt x="1180" y="502"/>
                  <a:pt x="1179" y="503"/>
                </a:cubicBezTo>
                <a:cubicBezTo>
                  <a:pt x="1177" y="504"/>
                  <a:pt x="1175" y="506"/>
                  <a:pt x="1173" y="508"/>
                </a:cubicBezTo>
                <a:cubicBezTo>
                  <a:pt x="1168" y="509"/>
                  <a:pt x="1166" y="512"/>
                  <a:pt x="1164" y="517"/>
                </a:cubicBezTo>
                <a:cubicBezTo>
                  <a:pt x="1163" y="519"/>
                  <a:pt x="1162" y="521"/>
                  <a:pt x="1160" y="524"/>
                </a:cubicBezTo>
                <a:cubicBezTo>
                  <a:pt x="1159" y="525"/>
                  <a:pt x="1157" y="526"/>
                  <a:pt x="1155" y="526"/>
                </a:cubicBezTo>
                <a:cubicBezTo>
                  <a:pt x="1155" y="527"/>
                  <a:pt x="1155" y="527"/>
                  <a:pt x="1155" y="527"/>
                </a:cubicBezTo>
                <a:cubicBezTo>
                  <a:pt x="1155" y="527"/>
                  <a:pt x="1155" y="527"/>
                  <a:pt x="1154" y="528"/>
                </a:cubicBezTo>
                <a:cubicBezTo>
                  <a:pt x="1155" y="527"/>
                  <a:pt x="1155" y="527"/>
                  <a:pt x="1155" y="526"/>
                </a:cubicBezTo>
                <a:cubicBezTo>
                  <a:pt x="1155" y="526"/>
                  <a:pt x="1155" y="526"/>
                  <a:pt x="1155" y="526"/>
                </a:cubicBezTo>
                <a:cubicBezTo>
                  <a:pt x="1154" y="525"/>
                  <a:pt x="1154" y="523"/>
                  <a:pt x="1151" y="522"/>
                </a:cubicBezTo>
                <a:cubicBezTo>
                  <a:pt x="1149" y="521"/>
                  <a:pt x="1148" y="524"/>
                  <a:pt x="1147" y="528"/>
                </a:cubicBezTo>
                <a:cubicBezTo>
                  <a:pt x="1146" y="530"/>
                  <a:pt x="1146" y="532"/>
                  <a:pt x="1147" y="534"/>
                </a:cubicBezTo>
                <a:cubicBezTo>
                  <a:pt x="1148" y="537"/>
                  <a:pt x="1147" y="539"/>
                  <a:pt x="1146" y="540"/>
                </a:cubicBezTo>
                <a:cubicBezTo>
                  <a:pt x="1145" y="542"/>
                  <a:pt x="1142" y="543"/>
                  <a:pt x="1140" y="543"/>
                </a:cubicBezTo>
                <a:cubicBezTo>
                  <a:pt x="1139" y="542"/>
                  <a:pt x="1137" y="541"/>
                  <a:pt x="1136" y="539"/>
                </a:cubicBezTo>
                <a:cubicBezTo>
                  <a:pt x="1135" y="536"/>
                  <a:pt x="1135" y="533"/>
                  <a:pt x="1134" y="530"/>
                </a:cubicBezTo>
                <a:cubicBezTo>
                  <a:pt x="1133" y="524"/>
                  <a:pt x="1135" y="518"/>
                  <a:pt x="1140" y="514"/>
                </a:cubicBezTo>
                <a:cubicBezTo>
                  <a:pt x="1142" y="512"/>
                  <a:pt x="1142" y="510"/>
                  <a:pt x="1143" y="508"/>
                </a:cubicBezTo>
                <a:cubicBezTo>
                  <a:pt x="1144" y="500"/>
                  <a:pt x="1141" y="494"/>
                  <a:pt x="1138" y="487"/>
                </a:cubicBezTo>
                <a:cubicBezTo>
                  <a:pt x="1137" y="486"/>
                  <a:pt x="1134" y="486"/>
                  <a:pt x="1133" y="487"/>
                </a:cubicBezTo>
                <a:cubicBezTo>
                  <a:pt x="1130" y="491"/>
                  <a:pt x="1126" y="495"/>
                  <a:pt x="1125" y="500"/>
                </a:cubicBezTo>
                <a:cubicBezTo>
                  <a:pt x="1124" y="502"/>
                  <a:pt x="1122" y="504"/>
                  <a:pt x="1120" y="506"/>
                </a:cubicBezTo>
                <a:cubicBezTo>
                  <a:pt x="1120" y="506"/>
                  <a:pt x="1119" y="507"/>
                  <a:pt x="1119" y="507"/>
                </a:cubicBezTo>
                <a:cubicBezTo>
                  <a:pt x="1117" y="507"/>
                  <a:pt x="1117" y="506"/>
                  <a:pt x="1117" y="505"/>
                </a:cubicBezTo>
                <a:cubicBezTo>
                  <a:pt x="1119" y="499"/>
                  <a:pt x="1120" y="494"/>
                  <a:pt x="1120" y="489"/>
                </a:cubicBezTo>
                <a:cubicBezTo>
                  <a:pt x="1119" y="486"/>
                  <a:pt x="1122" y="486"/>
                  <a:pt x="1124" y="485"/>
                </a:cubicBezTo>
                <a:cubicBezTo>
                  <a:pt x="1127" y="483"/>
                  <a:pt x="1127" y="480"/>
                  <a:pt x="1125" y="478"/>
                </a:cubicBezTo>
                <a:cubicBezTo>
                  <a:pt x="1122" y="476"/>
                  <a:pt x="1120" y="474"/>
                  <a:pt x="1116" y="473"/>
                </a:cubicBezTo>
                <a:cubicBezTo>
                  <a:pt x="1113" y="473"/>
                  <a:pt x="1111" y="472"/>
                  <a:pt x="1109" y="470"/>
                </a:cubicBezTo>
                <a:cubicBezTo>
                  <a:pt x="1108" y="469"/>
                  <a:pt x="1107" y="468"/>
                  <a:pt x="1108" y="467"/>
                </a:cubicBezTo>
                <a:cubicBezTo>
                  <a:pt x="1111" y="464"/>
                  <a:pt x="1114" y="461"/>
                  <a:pt x="1117" y="458"/>
                </a:cubicBezTo>
                <a:cubicBezTo>
                  <a:pt x="1118" y="457"/>
                  <a:pt x="1119" y="457"/>
                  <a:pt x="1120" y="457"/>
                </a:cubicBezTo>
                <a:cubicBezTo>
                  <a:pt x="1124" y="455"/>
                  <a:pt x="1125" y="454"/>
                  <a:pt x="1124" y="451"/>
                </a:cubicBezTo>
                <a:cubicBezTo>
                  <a:pt x="1122" y="441"/>
                  <a:pt x="1120" y="431"/>
                  <a:pt x="1124" y="421"/>
                </a:cubicBezTo>
                <a:cubicBezTo>
                  <a:pt x="1125" y="419"/>
                  <a:pt x="1125" y="417"/>
                  <a:pt x="1125" y="416"/>
                </a:cubicBezTo>
                <a:cubicBezTo>
                  <a:pt x="1122" y="410"/>
                  <a:pt x="1123" y="403"/>
                  <a:pt x="1120" y="397"/>
                </a:cubicBezTo>
                <a:cubicBezTo>
                  <a:pt x="1119" y="394"/>
                  <a:pt x="1120" y="393"/>
                  <a:pt x="1122" y="391"/>
                </a:cubicBezTo>
                <a:cubicBezTo>
                  <a:pt x="1126" y="388"/>
                  <a:pt x="1130" y="385"/>
                  <a:pt x="1134" y="382"/>
                </a:cubicBezTo>
                <a:cubicBezTo>
                  <a:pt x="1137" y="380"/>
                  <a:pt x="1138" y="377"/>
                  <a:pt x="1139" y="374"/>
                </a:cubicBezTo>
                <a:cubicBezTo>
                  <a:pt x="1139" y="373"/>
                  <a:pt x="1139" y="372"/>
                  <a:pt x="1140" y="371"/>
                </a:cubicBezTo>
                <a:cubicBezTo>
                  <a:pt x="1141" y="370"/>
                  <a:pt x="1142" y="369"/>
                  <a:pt x="1143" y="369"/>
                </a:cubicBezTo>
                <a:cubicBezTo>
                  <a:pt x="1145" y="370"/>
                  <a:pt x="1148" y="372"/>
                  <a:pt x="1150" y="373"/>
                </a:cubicBezTo>
                <a:cubicBezTo>
                  <a:pt x="1153" y="375"/>
                  <a:pt x="1156" y="374"/>
                  <a:pt x="1159" y="372"/>
                </a:cubicBezTo>
                <a:cubicBezTo>
                  <a:pt x="1161" y="371"/>
                  <a:pt x="1163" y="370"/>
                  <a:pt x="1164" y="368"/>
                </a:cubicBezTo>
                <a:cubicBezTo>
                  <a:pt x="1172" y="361"/>
                  <a:pt x="1180" y="354"/>
                  <a:pt x="1187" y="346"/>
                </a:cubicBezTo>
                <a:cubicBezTo>
                  <a:pt x="1189" y="345"/>
                  <a:pt x="1190" y="343"/>
                  <a:pt x="1191" y="341"/>
                </a:cubicBezTo>
                <a:cubicBezTo>
                  <a:pt x="1193" y="339"/>
                  <a:pt x="1191" y="334"/>
                  <a:pt x="1188" y="332"/>
                </a:cubicBezTo>
                <a:cubicBezTo>
                  <a:pt x="1188" y="332"/>
                  <a:pt x="1187" y="332"/>
                  <a:pt x="1187" y="332"/>
                </a:cubicBezTo>
                <a:cubicBezTo>
                  <a:pt x="1180" y="331"/>
                  <a:pt x="1175" y="328"/>
                  <a:pt x="1169" y="324"/>
                </a:cubicBezTo>
                <a:cubicBezTo>
                  <a:pt x="1168" y="323"/>
                  <a:pt x="1166" y="322"/>
                  <a:pt x="1163" y="321"/>
                </a:cubicBezTo>
                <a:cubicBezTo>
                  <a:pt x="1159" y="320"/>
                  <a:pt x="1154" y="320"/>
                  <a:pt x="1149" y="321"/>
                </a:cubicBezTo>
                <a:cubicBezTo>
                  <a:pt x="1147" y="322"/>
                  <a:pt x="1145" y="322"/>
                  <a:pt x="1144" y="323"/>
                </a:cubicBezTo>
                <a:cubicBezTo>
                  <a:pt x="1142" y="326"/>
                  <a:pt x="1140" y="330"/>
                  <a:pt x="1136" y="331"/>
                </a:cubicBezTo>
                <a:cubicBezTo>
                  <a:pt x="1134" y="334"/>
                  <a:pt x="1132" y="338"/>
                  <a:pt x="1130" y="341"/>
                </a:cubicBezTo>
                <a:cubicBezTo>
                  <a:pt x="1127" y="346"/>
                  <a:pt x="1124" y="351"/>
                  <a:pt x="1122" y="357"/>
                </a:cubicBezTo>
                <a:cubicBezTo>
                  <a:pt x="1120" y="360"/>
                  <a:pt x="1119" y="363"/>
                  <a:pt x="1119" y="366"/>
                </a:cubicBezTo>
                <a:cubicBezTo>
                  <a:pt x="1119" y="374"/>
                  <a:pt x="1115" y="380"/>
                  <a:pt x="1113" y="387"/>
                </a:cubicBezTo>
                <a:cubicBezTo>
                  <a:pt x="1112" y="388"/>
                  <a:pt x="1112" y="389"/>
                  <a:pt x="1110" y="390"/>
                </a:cubicBezTo>
                <a:cubicBezTo>
                  <a:pt x="1107" y="392"/>
                  <a:pt x="1104" y="395"/>
                  <a:pt x="1101" y="397"/>
                </a:cubicBezTo>
                <a:cubicBezTo>
                  <a:pt x="1098" y="399"/>
                  <a:pt x="1098" y="401"/>
                  <a:pt x="1099" y="404"/>
                </a:cubicBezTo>
                <a:cubicBezTo>
                  <a:pt x="1099" y="404"/>
                  <a:pt x="1099" y="404"/>
                  <a:pt x="1099" y="404"/>
                </a:cubicBezTo>
                <a:cubicBezTo>
                  <a:pt x="1099" y="404"/>
                  <a:pt x="1099" y="404"/>
                  <a:pt x="1099" y="405"/>
                </a:cubicBezTo>
                <a:cubicBezTo>
                  <a:pt x="1099" y="405"/>
                  <a:pt x="1099" y="405"/>
                  <a:pt x="1100" y="405"/>
                </a:cubicBezTo>
                <a:cubicBezTo>
                  <a:pt x="1099" y="406"/>
                  <a:pt x="1099" y="405"/>
                  <a:pt x="1099" y="405"/>
                </a:cubicBezTo>
                <a:cubicBezTo>
                  <a:pt x="1099" y="405"/>
                  <a:pt x="1099" y="404"/>
                  <a:pt x="1099" y="404"/>
                </a:cubicBezTo>
                <a:cubicBezTo>
                  <a:pt x="1099" y="404"/>
                  <a:pt x="1099" y="404"/>
                  <a:pt x="1099" y="404"/>
                </a:cubicBezTo>
                <a:cubicBezTo>
                  <a:pt x="1096" y="405"/>
                  <a:pt x="1093" y="405"/>
                  <a:pt x="1091" y="406"/>
                </a:cubicBezTo>
                <a:cubicBezTo>
                  <a:pt x="1084" y="411"/>
                  <a:pt x="1080" y="418"/>
                  <a:pt x="1079" y="426"/>
                </a:cubicBezTo>
                <a:cubicBezTo>
                  <a:pt x="1078" y="430"/>
                  <a:pt x="1078" y="432"/>
                  <a:pt x="1075" y="435"/>
                </a:cubicBezTo>
                <a:cubicBezTo>
                  <a:pt x="1074" y="435"/>
                  <a:pt x="1073" y="436"/>
                  <a:pt x="1073" y="437"/>
                </a:cubicBezTo>
                <a:cubicBezTo>
                  <a:pt x="1070" y="440"/>
                  <a:pt x="1069" y="444"/>
                  <a:pt x="1070" y="448"/>
                </a:cubicBezTo>
                <a:cubicBezTo>
                  <a:pt x="1070" y="452"/>
                  <a:pt x="1071" y="455"/>
                  <a:pt x="1073" y="458"/>
                </a:cubicBezTo>
                <a:cubicBezTo>
                  <a:pt x="1074" y="460"/>
                  <a:pt x="1075" y="462"/>
                  <a:pt x="1076" y="464"/>
                </a:cubicBezTo>
                <a:cubicBezTo>
                  <a:pt x="1077" y="464"/>
                  <a:pt x="1079" y="464"/>
                  <a:pt x="1080" y="465"/>
                </a:cubicBezTo>
                <a:cubicBezTo>
                  <a:pt x="1083" y="467"/>
                  <a:pt x="1086" y="469"/>
                  <a:pt x="1089" y="471"/>
                </a:cubicBezTo>
                <a:cubicBezTo>
                  <a:pt x="1090" y="472"/>
                  <a:pt x="1090" y="472"/>
                  <a:pt x="1090" y="472"/>
                </a:cubicBezTo>
                <a:cubicBezTo>
                  <a:pt x="1090" y="474"/>
                  <a:pt x="1089" y="474"/>
                  <a:pt x="1088" y="474"/>
                </a:cubicBezTo>
                <a:cubicBezTo>
                  <a:pt x="1087" y="474"/>
                  <a:pt x="1085" y="475"/>
                  <a:pt x="1084" y="476"/>
                </a:cubicBezTo>
                <a:cubicBezTo>
                  <a:pt x="1081" y="478"/>
                  <a:pt x="1079" y="482"/>
                  <a:pt x="1077" y="485"/>
                </a:cubicBezTo>
                <a:cubicBezTo>
                  <a:pt x="1076" y="486"/>
                  <a:pt x="1076" y="488"/>
                  <a:pt x="1079" y="490"/>
                </a:cubicBezTo>
                <a:cubicBezTo>
                  <a:pt x="1080" y="490"/>
                  <a:pt x="1081" y="490"/>
                  <a:pt x="1082" y="490"/>
                </a:cubicBezTo>
                <a:cubicBezTo>
                  <a:pt x="1082" y="490"/>
                  <a:pt x="1082" y="490"/>
                  <a:pt x="1082" y="490"/>
                </a:cubicBezTo>
                <a:cubicBezTo>
                  <a:pt x="1083" y="490"/>
                  <a:pt x="1083" y="490"/>
                  <a:pt x="1083" y="490"/>
                </a:cubicBezTo>
                <a:cubicBezTo>
                  <a:pt x="1082" y="491"/>
                  <a:pt x="1082" y="491"/>
                  <a:pt x="1082" y="491"/>
                </a:cubicBezTo>
                <a:cubicBezTo>
                  <a:pt x="1082" y="490"/>
                  <a:pt x="1082" y="490"/>
                  <a:pt x="1082" y="490"/>
                </a:cubicBezTo>
                <a:cubicBezTo>
                  <a:pt x="1082" y="493"/>
                  <a:pt x="1082" y="495"/>
                  <a:pt x="1081" y="496"/>
                </a:cubicBezTo>
                <a:cubicBezTo>
                  <a:pt x="1078" y="499"/>
                  <a:pt x="1075" y="502"/>
                  <a:pt x="1072" y="504"/>
                </a:cubicBezTo>
                <a:cubicBezTo>
                  <a:pt x="1069" y="507"/>
                  <a:pt x="1065" y="509"/>
                  <a:pt x="1060" y="509"/>
                </a:cubicBezTo>
                <a:cubicBezTo>
                  <a:pt x="1054" y="509"/>
                  <a:pt x="1052" y="514"/>
                  <a:pt x="1051" y="519"/>
                </a:cubicBezTo>
                <a:cubicBezTo>
                  <a:pt x="1050" y="522"/>
                  <a:pt x="1049" y="526"/>
                  <a:pt x="1049" y="530"/>
                </a:cubicBezTo>
                <a:cubicBezTo>
                  <a:pt x="1048" y="531"/>
                  <a:pt x="1048" y="531"/>
                  <a:pt x="1047" y="532"/>
                </a:cubicBezTo>
                <a:cubicBezTo>
                  <a:pt x="1047" y="532"/>
                  <a:pt x="1046" y="531"/>
                  <a:pt x="1046" y="531"/>
                </a:cubicBezTo>
                <a:cubicBezTo>
                  <a:pt x="1045" y="529"/>
                  <a:pt x="1044" y="527"/>
                  <a:pt x="1042" y="525"/>
                </a:cubicBezTo>
                <a:cubicBezTo>
                  <a:pt x="1040" y="522"/>
                  <a:pt x="1040" y="521"/>
                  <a:pt x="1043" y="518"/>
                </a:cubicBezTo>
                <a:cubicBezTo>
                  <a:pt x="1046" y="514"/>
                  <a:pt x="1049" y="510"/>
                  <a:pt x="1051" y="506"/>
                </a:cubicBezTo>
                <a:cubicBezTo>
                  <a:pt x="1052" y="505"/>
                  <a:pt x="1051" y="502"/>
                  <a:pt x="1050" y="502"/>
                </a:cubicBezTo>
                <a:cubicBezTo>
                  <a:pt x="1044" y="502"/>
                  <a:pt x="1043" y="498"/>
                  <a:pt x="1042" y="493"/>
                </a:cubicBezTo>
                <a:cubicBezTo>
                  <a:pt x="1042" y="493"/>
                  <a:pt x="1041" y="493"/>
                  <a:pt x="1041" y="492"/>
                </a:cubicBezTo>
                <a:cubicBezTo>
                  <a:pt x="1041" y="493"/>
                  <a:pt x="1042" y="493"/>
                  <a:pt x="1042" y="493"/>
                </a:cubicBezTo>
                <a:cubicBezTo>
                  <a:pt x="1042" y="493"/>
                  <a:pt x="1042" y="493"/>
                  <a:pt x="1042" y="493"/>
                </a:cubicBezTo>
                <a:cubicBezTo>
                  <a:pt x="1042" y="494"/>
                  <a:pt x="1043" y="494"/>
                  <a:pt x="1043" y="494"/>
                </a:cubicBezTo>
                <a:cubicBezTo>
                  <a:pt x="1042" y="493"/>
                  <a:pt x="1042" y="493"/>
                  <a:pt x="1042" y="493"/>
                </a:cubicBezTo>
                <a:cubicBezTo>
                  <a:pt x="1044" y="494"/>
                  <a:pt x="1046" y="494"/>
                  <a:pt x="1049" y="495"/>
                </a:cubicBezTo>
                <a:cubicBezTo>
                  <a:pt x="1051" y="496"/>
                  <a:pt x="1053" y="496"/>
                  <a:pt x="1055" y="495"/>
                </a:cubicBezTo>
                <a:cubicBezTo>
                  <a:pt x="1058" y="494"/>
                  <a:pt x="1062" y="492"/>
                  <a:pt x="1065" y="490"/>
                </a:cubicBezTo>
                <a:cubicBezTo>
                  <a:pt x="1066" y="490"/>
                  <a:pt x="1067" y="489"/>
                  <a:pt x="1067" y="488"/>
                </a:cubicBezTo>
                <a:cubicBezTo>
                  <a:pt x="1067" y="484"/>
                  <a:pt x="1066" y="480"/>
                  <a:pt x="1066" y="476"/>
                </a:cubicBezTo>
                <a:cubicBezTo>
                  <a:pt x="1066" y="473"/>
                  <a:pt x="1066" y="473"/>
                  <a:pt x="1070" y="472"/>
                </a:cubicBezTo>
                <a:cubicBezTo>
                  <a:pt x="1075" y="471"/>
                  <a:pt x="1075" y="468"/>
                  <a:pt x="1075" y="464"/>
                </a:cubicBezTo>
                <a:cubicBezTo>
                  <a:pt x="1074" y="464"/>
                  <a:pt x="1073" y="464"/>
                  <a:pt x="1073" y="464"/>
                </a:cubicBezTo>
                <a:cubicBezTo>
                  <a:pt x="1065" y="465"/>
                  <a:pt x="1060" y="462"/>
                  <a:pt x="1057" y="455"/>
                </a:cubicBezTo>
                <a:cubicBezTo>
                  <a:pt x="1057" y="454"/>
                  <a:pt x="1056" y="453"/>
                  <a:pt x="1056" y="452"/>
                </a:cubicBezTo>
                <a:cubicBezTo>
                  <a:pt x="1055" y="451"/>
                  <a:pt x="1052" y="450"/>
                  <a:pt x="1051" y="451"/>
                </a:cubicBezTo>
                <a:cubicBezTo>
                  <a:pt x="1049" y="453"/>
                  <a:pt x="1047" y="455"/>
                  <a:pt x="1045" y="457"/>
                </a:cubicBezTo>
                <a:cubicBezTo>
                  <a:pt x="1041" y="463"/>
                  <a:pt x="1036" y="468"/>
                  <a:pt x="1029" y="469"/>
                </a:cubicBezTo>
                <a:cubicBezTo>
                  <a:pt x="1028" y="469"/>
                  <a:pt x="1027" y="470"/>
                  <a:pt x="1026" y="470"/>
                </a:cubicBezTo>
                <a:cubicBezTo>
                  <a:pt x="1025" y="470"/>
                  <a:pt x="1025" y="471"/>
                  <a:pt x="1025" y="471"/>
                </a:cubicBezTo>
                <a:cubicBezTo>
                  <a:pt x="1024" y="472"/>
                  <a:pt x="1023" y="475"/>
                  <a:pt x="1025" y="476"/>
                </a:cubicBezTo>
                <a:cubicBezTo>
                  <a:pt x="1030" y="480"/>
                  <a:pt x="1036" y="484"/>
                  <a:pt x="1039" y="491"/>
                </a:cubicBezTo>
                <a:cubicBezTo>
                  <a:pt x="1039" y="490"/>
                  <a:pt x="1039" y="490"/>
                  <a:pt x="1039" y="490"/>
                </a:cubicBezTo>
                <a:cubicBezTo>
                  <a:pt x="1039" y="490"/>
                  <a:pt x="1039" y="490"/>
                  <a:pt x="1039" y="491"/>
                </a:cubicBezTo>
                <a:cubicBezTo>
                  <a:pt x="1037" y="491"/>
                  <a:pt x="1034" y="492"/>
                  <a:pt x="1031" y="492"/>
                </a:cubicBezTo>
                <a:cubicBezTo>
                  <a:pt x="1028" y="492"/>
                  <a:pt x="1026" y="492"/>
                  <a:pt x="1025" y="495"/>
                </a:cubicBezTo>
                <a:cubicBezTo>
                  <a:pt x="1024" y="497"/>
                  <a:pt x="1022" y="499"/>
                  <a:pt x="1021" y="500"/>
                </a:cubicBezTo>
                <a:cubicBezTo>
                  <a:pt x="1019" y="501"/>
                  <a:pt x="1018" y="502"/>
                  <a:pt x="1018" y="504"/>
                </a:cubicBezTo>
                <a:cubicBezTo>
                  <a:pt x="1018" y="506"/>
                  <a:pt x="1018" y="507"/>
                  <a:pt x="1017" y="508"/>
                </a:cubicBezTo>
                <a:cubicBezTo>
                  <a:pt x="1014" y="510"/>
                  <a:pt x="1012" y="509"/>
                  <a:pt x="1010" y="508"/>
                </a:cubicBezTo>
                <a:cubicBezTo>
                  <a:pt x="1008" y="508"/>
                  <a:pt x="1006" y="507"/>
                  <a:pt x="1004" y="506"/>
                </a:cubicBezTo>
                <a:cubicBezTo>
                  <a:pt x="1001" y="504"/>
                  <a:pt x="997" y="503"/>
                  <a:pt x="993" y="505"/>
                </a:cubicBezTo>
                <a:cubicBezTo>
                  <a:pt x="992" y="506"/>
                  <a:pt x="990" y="506"/>
                  <a:pt x="988" y="507"/>
                </a:cubicBezTo>
                <a:cubicBezTo>
                  <a:pt x="986" y="507"/>
                  <a:pt x="984" y="507"/>
                  <a:pt x="982" y="506"/>
                </a:cubicBezTo>
                <a:cubicBezTo>
                  <a:pt x="979" y="504"/>
                  <a:pt x="975" y="502"/>
                  <a:pt x="973" y="498"/>
                </a:cubicBezTo>
                <a:cubicBezTo>
                  <a:pt x="971" y="493"/>
                  <a:pt x="967" y="491"/>
                  <a:pt x="962" y="490"/>
                </a:cubicBezTo>
                <a:cubicBezTo>
                  <a:pt x="960" y="489"/>
                  <a:pt x="958" y="488"/>
                  <a:pt x="957" y="485"/>
                </a:cubicBezTo>
                <a:cubicBezTo>
                  <a:pt x="956" y="480"/>
                  <a:pt x="953" y="475"/>
                  <a:pt x="954" y="469"/>
                </a:cubicBezTo>
                <a:cubicBezTo>
                  <a:pt x="954" y="468"/>
                  <a:pt x="954" y="466"/>
                  <a:pt x="954" y="465"/>
                </a:cubicBezTo>
                <a:cubicBezTo>
                  <a:pt x="953" y="461"/>
                  <a:pt x="949" y="457"/>
                  <a:pt x="946" y="458"/>
                </a:cubicBezTo>
                <a:cubicBezTo>
                  <a:pt x="938" y="459"/>
                  <a:pt x="931" y="460"/>
                  <a:pt x="923" y="460"/>
                </a:cubicBezTo>
                <a:cubicBezTo>
                  <a:pt x="920" y="461"/>
                  <a:pt x="917" y="464"/>
                  <a:pt x="916" y="467"/>
                </a:cubicBezTo>
                <a:cubicBezTo>
                  <a:pt x="915" y="469"/>
                  <a:pt x="916" y="472"/>
                  <a:pt x="918" y="474"/>
                </a:cubicBezTo>
                <a:cubicBezTo>
                  <a:pt x="920" y="475"/>
                  <a:pt x="921" y="476"/>
                  <a:pt x="923" y="475"/>
                </a:cubicBezTo>
                <a:cubicBezTo>
                  <a:pt x="924" y="474"/>
                  <a:pt x="925" y="473"/>
                  <a:pt x="926" y="473"/>
                </a:cubicBezTo>
                <a:cubicBezTo>
                  <a:pt x="929" y="472"/>
                  <a:pt x="932" y="472"/>
                  <a:pt x="935" y="471"/>
                </a:cubicBezTo>
                <a:cubicBezTo>
                  <a:pt x="939" y="471"/>
                  <a:pt x="942" y="469"/>
                  <a:pt x="945" y="468"/>
                </a:cubicBezTo>
                <a:cubicBezTo>
                  <a:pt x="945" y="468"/>
                  <a:pt x="946" y="469"/>
                  <a:pt x="947" y="470"/>
                </a:cubicBezTo>
                <a:cubicBezTo>
                  <a:pt x="947" y="470"/>
                  <a:pt x="946" y="471"/>
                  <a:pt x="946" y="471"/>
                </a:cubicBezTo>
                <a:cubicBezTo>
                  <a:pt x="943" y="473"/>
                  <a:pt x="940" y="473"/>
                  <a:pt x="937" y="475"/>
                </a:cubicBezTo>
                <a:cubicBezTo>
                  <a:pt x="933" y="478"/>
                  <a:pt x="930" y="479"/>
                  <a:pt x="925" y="480"/>
                </a:cubicBezTo>
                <a:cubicBezTo>
                  <a:pt x="923" y="481"/>
                  <a:pt x="921" y="481"/>
                  <a:pt x="919" y="482"/>
                </a:cubicBezTo>
                <a:cubicBezTo>
                  <a:pt x="916" y="483"/>
                  <a:pt x="913" y="485"/>
                  <a:pt x="912" y="489"/>
                </a:cubicBezTo>
                <a:cubicBezTo>
                  <a:pt x="911" y="494"/>
                  <a:pt x="909" y="500"/>
                  <a:pt x="909" y="505"/>
                </a:cubicBezTo>
                <a:cubicBezTo>
                  <a:pt x="909" y="506"/>
                  <a:pt x="908" y="508"/>
                  <a:pt x="906" y="509"/>
                </a:cubicBezTo>
                <a:cubicBezTo>
                  <a:pt x="905" y="510"/>
                  <a:pt x="903" y="511"/>
                  <a:pt x="902" y="511"/>
                </a:cubicBezTo>
                <a:cubicBezTo>
                  <a:pt x="900" y="510"/>
                  <a:pt x="901" y="508"/>
                  <a:pt x="902" y="507"/>
                </a:cubicBezTo>
                <a:cubicBezTo>
                  <a:pt x="904" y="504"/>
                  <a:pt x="904" y="502"/>
                  <a:pt x="902" y="499"/>
                </a:cubicBezTo>
                <a:cubicBezTo>
                  <a:pt x="901" y="496"/>
                  <a:pt x="899" y="492"/>
                  <a:pt x="897" y="489"/>
                </a:cubicBezTo>
                <a:cubicBezTo>
                  <a:pt x="896" y="486"/>
                  <a:pt x="894" y="483"/>
                  <a:pt x="893" y="480"/>
                </a:cubicBezTo>
                <a:cubicBezTo>
                  <a:pt x="892" y="478"/>
                  <a:pt x="889" y="477"/>
                  <a:pt x="887" y="477"/>
                </a:cubicBezTo>
                <a:cubicBezTo>
                  <a:pt x="885" y="477"/>
                  <a:pt x="883" y="478"/>
                  <a:pt x="881" y="479"/>
                </a:cubicBezTo>
                <a:cubicBezTo>
                  <a:pt x="865" y="482"/>
                  <a:pt x="850" y="479"/>
                  <a:pt x="836" y="468"/>
                </a:cubicBezTo>
                <a:cubicBezTo>
                  <a:pt x="835" y="468"/>
                  <a:pt x="835" y="465"/>
                  <a:pt x="836" y="464"/>
                </a:cubicBezTo>
                <a:cubicBezTo>
                  <a:pt x="838" y="461"/>
                  <a:pt x="840" y="459"/>
                  <a:pt x="844" y="459"/>
                </a:cubicBezTo>
                <a:cubicBezTo>
                  <a:pt x="845" y="459"/>
                  <a:pt x="847" y="459"/>
                  <a:pt x="849" y="459"/>
                </a:cubicBezTo>
                <a:cubicBezTo>
                  <a:pt x="856" y="458"/>
                  <a:pt x="859" y="455"/>
                  <a:pt x="857" y="448"/>
                </a:cubicBezTo>
                <a:cubicBezTo>
                  <a:pt x="857" y="445"/>
                  <a:pt x="855" y="442"/>
                  <a:pt x="854" y="439"/>
                </a:cubicBezTo>
                <a:cubicBezTo>
                  <a:pt x="852" y="435"/>
                  <a:pt x="848" y="432"/>
                  <a:pt x="843" y="433"/>
                </a:cubicBezTo>
                <a:cubicBezTo>
                  <a:pt x="837" y="433"/>
                  <a:pt x="833" y="431"/>
                  <a:pt x="828" y="428"/>
                </a:cubicBezTo>
                <a:cubicBezTo>
                  <a:pt x="822" y="423"/>
                  <a:pt x="816" y="418"/>
                  <a:pt x="810" y="413"/>
                </a:cubicBezTo>
                <a:cubicBezTo>
                  <a:pt x="806" y="410"/>
                  <a:pt x="803" y="407"/>
                  <a:pt x="802" y="402"/>
                </a:cubicBezTo>
                <a:cubicBezTo>
                  <a:pt x="801" y="395"/>
                  <a:pt x="796" y="391"/>
                  <a:pt x="790" y="389"/>
                </a:cubicBezTo>
                <a:cubicBezTo>
                  <a:pt x="785" y="387"/>
                  <a:pt x="781" y="387"/>
                  <a:pt x="777" y="392"/>
                </a:cubicBezTo>
                <a:cubicBezTo>
                  <a:pt x="776" y="393"/>
                  <a:pt x="774" y="395"/>
                  <a:pt x="772" y="396"/>
                </a:cubicBezTo>
                <a:cubicBezTo>
                  <a:pt x="771" y="397"/>
                  <a:pt x="769" y="397"/>
                  <a:pt x="767" y="397"/>
                </a:cubicBezTo>
                <a:cubicBezTo>
                  <a:pt x="765" y="397"/>
                  <a:pt x="764" y="395"/>
                  <a:pt x="765" y="394"/>
                </a:cubicBezTo>
                <a:cubicBezTo>
                  <a:pt x="769" y="388"/>
                  <a:pt x="770" y="382"/>
                  <a:pt x="771" y="376"/>
                </a:cubicBezTo>
                <a:cubicBezTo>
                  <a:pt x="771" y="375"/>
                  <a:pt x="771" y="375"/>
                  <a:pt x="770" y="374"/>
                </a:cubicBezTo>
                <a:cubicBezTo>
                  <a:pt x="770" y="374"/>
                  <a:pt x="769" y="374"/>
                  <a:pt x="769" y="374"/>
                </a:cubicBezTo>
                <a:cubicBezTo>
                  <a:pt x="767" y="374"/>
                  <a:pt x="766" y="375"/>
                  <a:pt x="765" y="376"/>
                </a:cubicBezTo>
                <a:cubicBezTo>
                  <a:pt x="760" y="380"/>
                  <a:pt x="755" y="384"/>
                  <a:pt x="751" y="388"/>
                </a:cubicBezTo>
                <a:cubicBezTo>
                  <a:pt x="750" y="388"/>
                  <a:pt x="749" y="388"/>
                  <a:pt x="748" y="388"/>
                </a:cubicBezTo>
                <a:cubicBezTo>
                  <a:pt x="747" y="388"/>
                  <a:pt x="746" y="387"/>
                  <a:pt x="746" y="386"/>
                </a:cubicBezTo>
                <a:cubicBezTo>
                  <a:pt x="745" y="382"/>
                  <a:pt x="745" y="377"/>
                  <a:pt x="746" y="373"/>
                </a:cubicBezTo>
                <a:cubicBezTo>
                  <a:pt x="748" y="365"/>
                  <a:pt x="749" y="358"/>
                  <a:pt x="748" y="350"/>
                </a:cubicBezTo>
                <a:cubicBezTo>
                  <a:pt x="748" y="348"/>
                  <a:pt x="748" y="347"/>
                  <a:pt x="747" y="345"/>
                </a:cubicBezTo>
                <a:cubicBezTo>
                  <a:pt x="747" y="345"/>
                  <a:pt x="745" y="344"/>
                  <a:pt x="744" y="345"/>
                </a:cubicBezTo>
                <a:cubicBezTo>
                  <a:pt x="742" y="346"/>
                  <a:pt x="741" y="349"/>
                  <a:pt x="741" y="352"/>
                </a:cubicBezTo>
                <a:cubicBezTo>
                  <a:pt x="740" y="355"/>
                  <a:pt x="739" y="357"/>
                  <a:pt x="737" y="359"/>
                </a:cubicBezTo>
                <a:cubicBezTo>
                  <a:pt x="733" y="361"/>
                  <a:pt x="730" y="363"/>
                  <a:pt x="727" y="364"/>
                </a:cubicBezTo>
                <a:cubicBezTo>
                  <a:pt x="725" y="366"/>
                  <a:pt x="723" y="365"/>
                  <a:pt x="721" y="363"/>
                </a:cubicBezTo>
                <a:cubicBezTo>
                  <a:pt x="720" y="363"/>
                  <a:pt x="719" y="362"/>
                  <a:pt x="719" y="361"/>
                </a:cubicBezTo>
                <a:cubicBezTo>
                  <a:pt x="719" y="362"/>
                  <a:pt x="719" y="362"/>
                  <a:pt x="719" y="362"/>
                </a:cubicBezTo>
                <a:cubicBezTo>
                  <a:pt x="718" y="362"/>
                  <a:pt x="718" y="362"/>
                  <a:pt x="717" y="362"/>
                </a:cubicBezTo>
                <a:cubicBezTo>
                  <a:pt x="717" y="362"/>
                  <a:pt x="716" y="363"/>
                  <a:pt x="715" y="364"/>
                </a:cubicBezTo>
                <a:cubicBezTo>
                  <a:pt x="714" y="364"/>
                  <a:pt x="714" y="364"/>
                  <a:pt x="713" y="364"/>
                </a:cubicBezTo>
                <a:cubicBezTo>
                  <a:pt x="712" y="363"/>
                  <a:pt x="712" y="362"/>
                  <a:pt x="714" y="362"/>
                </a:cubicBezTo>
                <a:cubicBezTo>
                  <a:pt x="715" y="362"/>
                  <a:pt x="716" y="362"/>
                  <a:pt x="717" y="362"/>
                </a:cubicBezTo>
                <a:cubicBezTo>
                  <a:pt x="718" y="362"/>
                  <a:pt x="718" y="361"/>
                  <a:pt x="718" y="361"/>
                </a:cubicBezTo>
                <a:cubicBezTo>
                  <a:pt x="718" y="361"/>
                  <a:pt x="719" y="361"/>
                  <a:pt x="719" y="361"/>
                </a:cubicBezTo>
                <a:cubicBezTo>
                  <a:pt x="719" y="360"/>
                  <a:pt x="720" y="358"/>
                  <a:pt x="720" y="357"/>
                </a:cubicBezTo>
                <a:cubicBezTo>
                  <a:pt x="720" y="355"/>
                  <a:pt x="720" y="353"/>
                  <a:pt x="718" y="353"/>
                </a:cubicBezTo>
                <a:cubicBezTo>
                  <a:pt x="714" y="352"/>
                  <a:pt x="711" y="351"/>
                  <a:pt x="707" y="352"/>
                </a:cubicBezTo>
                <a:cubicBezTo>
                  <a:pt x="699" y="356"/>
                  <a:pt x="691" y="358"/>
                  <a:pt x="682" y="359"/>
                </a:cubicBezTo>
                <a:cubicBezTo>
                  <a:pt x="679" y="359"/>
                  <a:pt x="676" y="360"/>
                  <a:pt x="674" y="361"/>
                </a:cubicBezTo>
                <a:cubicBezTo>
                  <a:pt x="669" y="365"/>
                  <a:pt x="664" y="365"/>
                  <a:pt x="659" y="364"/>
                </a:cubicBezTo>
                <a:cubicBezTo>
                  <a:pt x="659" y="364"/>
                  <a:pt x="659" y="364"/>
                  <a:pt x="659" y="364"/>
                </a:cubicBezTo>
                <a:cubicBezTo>
                  <a:pt x="658" y="365"/>
                  <a:pt x="658" y="365"/>
                  <a:pt x="658" y="365"/>
                </a:cubicBezTo>
                <a:cubicBezTo>
                  <a:pt x="659" y="364"/>
                  <a:pt x="659" y="364"/>
                  <a:pt x="659" y="364"/>
                </a:cubicBezTo>
                <a:cubicBezTo>
                  <a:pt x="659" y="364"/>
                  <a:pt x="659" y="364"/>
                  <a:pt x="659" y="364"/>
                </a:cubicBezTo>
                <a:cubicBezTo>
                  <a:pt x="659" y="364"/>
                  <a:pt x="660" y="363"/>
                  <a:pt x="660" y="363"/>
                </a:cubicBezTo>
                <a:cubicBezTo>
                  <a:pt x="661" y="361"/>
                  <a:pt x="662" y="359"/>
                  <a:pt x="660" y="357"/>
                </a:cubicBezTo>
                <a:cubicBezTo>
                  <a:pt x="659" y="355"/>
                  <a:pt x="657" y="355"/>
                  <a:pt x="654" y="357"/>
                </a:cubicBezTo>
                <a:cubicBezTo>
                  <a:pt x="653" y="358"/>
                  <a:pt x="651" y="359"/>
                  <a:pt x="649" y="359"/>
                </a:cubicBezTo>
                <a:cubicBezTo>
                  <a:pt x="645" y="360"/>
                  <a:pt x="641" y="361"/>
                  <a:pt x="638" y="362"/>
                </a:cubicBezTo>
                <a:cubicBezTo>
                  <a:pt x="633" y="364"/>
                  <a:pt x="630" y="366"/>
                  <a:pt x="629" y="371"/>
                </a:cubicBezTo>
                <a:cubicBezTo>
                  <a:pt x="629" y="373"/>
                  <a:pt x="627" y="374"/>
                  <a:pt x="626" y="373"/>
                </a:cubicBezTo>
                <a:cubicBezTo>
                  <a:pt x="624" y="372"/>
                  <a:pt x="621" y="370"/>
                  <a:pt x="619" y="369"/>
                </a:cubicBezTo>
                <a:cubicBezTo>
                  <a:pt x="616" y="366"/>
                  <a:pt x="614" y="363"/>
                  <a:pt x="613" y="360"/>
                </a:cubicBezTo>
                <a:cubicBezTo>
                  <a:pt x="612" y="356"/>
                  <a:pt x="610" y="352"/>
                  <a:pt x="609" y="349"/>
                </a:cubicBezTo>
                <a:cubicBezTo>
                  <a:pt x="608" y="346"/>
                  <a:pt x="607" y="344"/>
                  <a:pt x="606" y="341"/>
                </a:cubicBezTo>
                <a:cubicBezTo>
                  <a:pt x="602" y="337"/>
                  <a:pt x="597" y="335"/>
                  <a:pt x="593" y="332"/>
                </a:cubicBezTo>
                <a:cubicBezTo>
                  <a:pt x="586" y="327"/>
                  <a:pt x="579" y="323"/>
                  <a:pt x="576" y="314"/>
                </a:cubicBezTo>
                <a:cubicBezTo>
                  <a:pt x="576" y="313"/>
                  <a:pt x="575" y="312"/>
                  <a:pt x="574" y="311"/>
                </a:cubicBezTo>
                <a:cubicBezTo>
                  <a:pt x="573" y="310"/>
                  <a:pt x="571" y="308"/>
                  <a:pt x="569" y="308"/>
                </a:cubicBezTo>
                <a:cubicBezTo>
                  <a:pt x="567" y="308"/>
                  <a:pt x="565" y="308"/>
                  <a:pt x="562" y="308"/>
                </a:cubicBezTo>
                <a:cubicBezTo>
                  <a:pt x="558" y="308"/>
                  <a:pt x="554" y="306"/>
                  <a:pt x="550" y="303"/>
                </a:cubicBezTo>
                <a:cubicBezTo>
                  <a:pt x="545" y="299"/>
                  <a:pt x="540" y="295"/>
                  <a:pt x="534" y="292"/>
                </a:cubicBezTo>
                <a:cubicBezTo>
                  <a:pt x="531" y="291"/>
                  <a:pt x="528" y="289"/>
                  <a:pt x="526" y="286"/>
                </a:cubicBezTo>
                <a:cubicBezTo>
                  <a:pt x="523" y="284"/>
                  <a:pt x="521" y="281"/>
                  <a:pt x="520" y="277"/>
                </a:cubicBezTo>
                <a:cubicBezTo>
                  <a:pt x="518" y="273"/>
                  <a:pt x="514" y="272"/>
                  <a:pt x="510" y="272"/>
                </a:cubicBezTo>
                <a:cubicBezTo>
                  <a:pt x="507" y="273"/>
                  <a:pt x="505" y="274"/>
                  <a:pt x="502" y="274"/>
                </a:cubicBezTo>
                <a:cubicBezTo>
                  <a:pt x="500" y="275"/>
                  <a:pt x="499" y="274"/>
                  <a:pt x="498" y="272"/>
                </a:cubicBezTo>
                <a:cubicBezTo>
                  <a:pt x="495" y="268"/>
                  <a:pt x="495" y="263"/>
                  <a:pt x="493" y="259"/>
                </a:cubicBezTo>
                <a:cubicBezTo>
                  <a:pt x="492" y="258"/>
                  <a:pt x="493" y="257"/>
                  <a:pt x="494" y="256"/>
                </a:cubicBezTo>
                <a:cubicBezTo>
                  <a:pt x="495" y="255"/>
                  <a:pt x="496" y="253"/>
                  <a:pt x="495" y="251"/>
                </a:cubicBezTo>
                <a:cubicBezTo>
                  <a:pt x="494" y="250"/>
                  <a:pt x="493" y="249"/>
                  <a:pt x="492" y="248"/>
                </a:cubicBezTo>
                <a:cubicBezTo>
                  <a:pt x="490" y="247"/>
                  <a:pt x="487" y="246"/>
                  <a:pt x="484" y="245"/>
                </a:cubicBezTo>
                <a:cubicBezTo>
                  <a:pt x="483" y="245"/>
                  <a:pt x="481" y="245"/>
                  <a:pt x="479" y="244"/>
                </a:cubicBezTo>
                <a:cubicBezTo>
                  <a:pt x="477" y="244"/>
                  <a:pt x="476" y="243"/>
                  <a:pt x="477" y="239"/>
                </a:cubicBezTo>
                <a:cubicBezTo>
                  <a:pt x="477" y="237"/>
                  <a:pt x="477" y="234"/>
                  <a:pt x="474" y="233"/>
                </a:cubicBezTo>
                <a:cubicBezTo>
                  <a:pt x="474" y="233"/>
                  <a:pt x="474" y="233"/>
                  <a:pt x="474" y="233"/>
                </a:cubicBezTo>
                <a:cubicBezTo>
                  <a:pt x="474" y="233"/>
                  <a:pt x="474" y="233"/>
                  <a:pt x="473" y="233"/>
                </a:cubicBezTo>
                <a:cubicBezTo>
                  <a:pt x="472" y="234"/>
                  <a:pt x="470" y="234"/>
                  <a:pt x="468" y="235"/>
                </a:cubicBezTo>
                <a:cubicBezTo>
                  <a:pt x="468" y="235"/>
                  <a:pt x="467" y="235"/>
                  <a:pt x="467" y="236"/>
                </a:cubicBezTo>
                <a:cubicBezTo>
                  <a:pt x="466" y="236"/>
                  <a:pt x="466" y="236"/>
                  <a:pt x="466" y="236"/>
                </a:cubicBezTo>
                <a:cubicBezTo>
                  <a:pt x="466" y="237"/>
                  <a:pt x="466" y="238"/>
                  <a:pt x="466" y="239"/>
                </a:cubicBezTo>
                <a:cubicBezTo>
                  <a:pt x="464" y="241"/>
                  <a:pt x="463" y="242"/>
                  <a:pt x="460" y="240"/>
                </a:cubicBezTo>
                <a:cubicBezTo>
                  <a:pt x="460" y="240"/>
                  <a:pt x="459" y="238"/>
                  <a:pt x="459" y="237"/>
                </a:cubicBezTo>
                <a:cubicBezTo>
                  <a:pt x="459" y="237"/>
                  <a:pt x="460" y="236"/>
                  <a:pt x="460" y="236"/>
                </a:cubicBezTo>
                <a:cubicBezTo>
                  <a:pt x="462" y="236"/>
                  <a:pt x="464" y="236"/>
                  <a:pt x="466" y="236"/>
                </a:cubicBezTo>
                <a:cubicBezTo>
                  <a:pt x="466" y="236"/>
                  <a:pt x="466" y="235"/>
                  <a:pt x="466" y="235"/>
                </a:cubicBezTo>
                <a:cubicBezTo>
                  <a:pt x="467" y="235"/>
                  <a:pt x="468" y="235"/>
                  <a:pt x="468" y="235"/>
                </a:cubicBezTo>
                <a:cubicBezTo>
                  <a:pt x="470" y="234"/>
                  <a:pt x="471" y="233"/>
                  <a:pt x="473" y="233"/>
                </a:cubicBezTo>
                <a:cubicBezTo>
                  <a:pt x="473" y="233"/>
                  <a:pt x="474" y="233"/>
                  <a:pt x="474" y="233"/>
                </a:cubicBezTo>
                <a:cubicBezTo>
                  <a:pt x="474" y="233"/>
                  <a:pt x="474" y="233"/>
                  <a:pt x="474" y="233"/>
                </a:cubicBezTo>
                <a:cubicBezTo>
                  <a:pt x="473" y="229"/>
                  <a:pt x="471" y="225"/>
                  <a:pt x="468" y="222"/>
                </a:cubicBezTo>
                <a:cubicBezTo>
                  <a:pt x="466" y="220"/>
                  <a:pt x="464" y="220"/>
                  <a:pt x="462" y="221"/>
                </a:cubicBezTo>
                <a:cubicBezTo>
                  <a:pt x="458" y="222"/>
                  <a:pt x="454" y="223"/>
                  <a:pt x="451" y="225"/>
                </a:cubicBezTo>
                <a:cubicBezTo>
                  <a:pt x="447" y="229"/>
                  <a:pt x="441" y="229"/>
                  <a:pt x="436" y="228"/>
                </a:cubicBezTo>
                <a:cubicBezTo>
                  <a:pt x="433" y="227"/>
                  <a:pt x="429" y="226"/>
                  <a:pt x="426" y="225"/>
                </a:cubicBezTo>
                <a:cubicBezTo>
                  <a:pt x="421" y="223"/>
                  <a:pt x="417" y="226"/>
                  <a:pt x="413" y="229"/>
                </a:cubicBezTo>
                <a:cubicBezTo>
                  <a:pt x="412" y="230"/>
                  <a:pt x="411" y="232"/>
                  <a:pt x="410" y="234"/>
                </a:cubicBezTo>
                <a:cubicBezTo>
                  <a:pt x="409" y="235"/>
                  <a:pt x="408" y="236"/>
                  <a:pt x="407" y="236"/>
                </a:cubicBezTo>
                <a:cubicBezTo>
                  <a:pt x="402" y="237"/>
                  <a:pt x="398" y="239"/>
                  <a:pt x="394" y="238"/>
                </a:cubicBezTo>
                <a:cubicBezTo>
                  <a:pt x="387" y="236"/>
                  <a:pt x="382" y="238"/>
                  <a:pt x="377" y="241"/>
                </a:cubicBezTo>
                <a:cubicBezTo>
                  <a:pt x="367" y="248"/>
                  <a:pt x="356" y="253"/>
                  <a:pt x="348" y="261"/>
                </a:cubicBezTo>
                <a:cubicBezTo>
                  <a:pt x="347" y="262"/>
                  <a:pt x="346" y="263"/>
                  <a:pt x="344" y="264"/>
                </a:cubicBezTo>
                <a:cubicBezTo>
                  <a:pt x="334" y="270"/>
                  <a:pt x="323" y="276"/>
                  <a:pt x="310" y="269"/>
                </a:cubicBezTo>
                <a:cubicBezTo>
                  <a:pt x="310" y="269"/>
                  <a:pt x="309" y="268"/>
                  <a:pt x="309" y="268"/>
                </a:cubicBezTo>
                <a:cubicBezTo>
                  <a:pt x="304" y="266"/>
                  <a:pt x="301" y="267"/>
                  <a:pt x="297" y="271"/>
                </a:cubicBezTo>
                <a:cubicBezTo>
                  <a:pt x="295" y="274"/>
                  <a:pt x="293" y="278"/>
                  <a:pt x="290" y="280"/>
                </a:cubicBezTo>
                <a:cubicBezTo>
                  <a:pt x="285" y="284"/>
                  <a:pt x="284" y="288"/>
                  <a:pt x="286" y="293"/>
                </a:cubicBezTo>
                <a:cubicBezTo>
                  <a:pt x="288" y="297"/>
                  <a:pt x="288" y="301"/>
                  <a:pt x="290" y="304"/>
                </a:cubicBezTo>
                <a:cubicBezTo>
                  <a:pt x="293" y="315"/>
                  <a:pt x="294" y="325"/>
                  <a:pt x="289" y="335"/>
                </a:cubicBezTo>
                <a:cubicBezTo>
                  <a:pt x="288" y="337"/>
                  <a:pt x="289" y="340"/>
                  <a:pt x="291" y="342"/>
                </a:cubicBezTo>
                <a:cubicBezTo>
                  <a:pt x="294" y="344"/>
                  <a:pt x="297" y="345"/>
                  <a:pt x="300" y="347"/>
                </a:cubicBezTo>
                <a:cubicBezTo>
                  <a:pt x="300" y="347"/>
                  <a:pt x="300" y="349"/>
                  <a:pt x="300" y="350"/>
                </a:cubicBezTo>
                <a:cubicBezTo>
                  <a:pt x="301" y="350"/>
                  <a:pt x="300" y="350"/>
                  <a:pt x="299" y="350"/>
                </a:cubicBezTo>
                <a:cubicBezTo>
                  <a:pt x="297" y="350"/>
                  <a:pt x="296" y="351"/>
                  <a:pt x="295" y="353"/>
                </a:cubicBezTo>
                <a:cubicBezTo>
                  <a:pt x="295" y="357"/>
                  <a:pt x="295" y="361"/>
                  <a:pt x="294" y="366"/>
                </a:cubicBezTo>
                <a:cubicBezTo>
                  <a:pt x="294" y="366"/>
                  <a:pt x="296" y="368"/>
                  <a:pt x="297" y="368"/>
                </a:cubicBezTo>
                <a:cubicBezTo>
                  <a:pt x="298" y="368"/>
                  <a:pt x="299" y="368"/>
                  <a:pt x="301" y="368"/>
                </a:cubicBezTo>
                <a:cubicBezTo>
                  <a:pt x="301" y="368"/>
                  <a:pt x="301" y="368"/>
                  <a:pt x="301" y="368"/>
                </a:cubicBezTo>
                <a:cubicBezTo>
                  <a:pt x="301" y="368"/>
                  <a:pt x="301" y="368"/>
                  <a:pt x="302" y="368"/>
                </a:cubicBezTo>
                <a:cubicBezTo>
                  <a:pt x="302" y="367"/>
                  <a:pt x="302" y="366"/>
                  <a:pt x="302" y="365"/>
                </a:cubicBezTo>
                <a:cubicBezTo>
                  <a:pt x="302" y="365"/>
                  <a:pt x="302" y="365"/>
                  <a:pt x="302" y="365"/>
                </a:cubicBezTo>
                <a:cubicBezTo>
                  <a:pt x="301" y="364"/>
                  <a:pt x="301" y="364"/>
                  <a:pt x="301" y="364"/>
                </a:cubicBezTo>
                <a:cubicBezTo>
                  <a:pt x="302" y="365"/>
                  <a:pt x="302" y="365"/>
                  <a:pt x="302" y="365"/>
                </a:cubicBezTo>
                <a:cubicBezTo>
                  <a:pt x="302" y="365"/>
                  <a:pt x="302" y="365"/>
                  <a:pt x="302" y="365"/>
                </a:cubicBezTo>
                <a:cubicBezTo>
                  <a:pt x="307" y="364"/>
                  <a:pt x="311" y="364"/>
                  <a:pt x="316" y="366"/>
                </a:cubicBezTo>
                <a:cubicBezTo>
                  <a:pt x="317" y="367"/>
                  <a:pt x="318" y="369"/>
                  <a:pt x="317" y="370"/>
                </a:cubicBezTo>
                <a:cubicBezTo>
                  <a:pt x="316" y="371"/>
                  <a:pt x="315" y="372"/>
                  <a:pt x="315" y="372"/>
                </a:cubicBezTo>
                <a:cubicBezTo>
                  <a:pt x="310" y="372"/>
                  <a:pt x="306" y="370"/>
                  <a:pt x="302" y="368"/>
                </a:cubicBezTo>
                <a:cubicBezTo>
                  <a:pt x="302" y="368"/>
                  <a:pt x="302" y="368"/>
                  <a:pt x="302" y="368"/>
                </a:cubicBezTo>
                <a:cubicBezTo>
                  <a:pt x="301" y="368"/>
                  <a:pt x="301" y="368"/>
                  <a:pt x="301" y="368"/>
                </a:cubicBezTo>
                <a:cubicBezTo>
                  <a:pt x="300" y="370"/>
                  <a:pt x="300" y="372"/>
                  <a:pt x="298" y="373"/>
                </a:cubicBezTo>
                <a:cubicBezTo>
                  <a:pt x="294" y="373"/>
                  <a:pt x="291" y="374"/>
                  <a:pt x="289" y="376"/>
                </a:cubicBezTo>
                <a:cubicBezTo>
                  <a:pt x="286" y="378"/>
                  <a:pt x="282" y="378"/>
                  <a:pt x="279" y="376"/>
                </a:cubicBezTo>
                <a:cubicBezTo>
                  <a:pt x="276" y="375"/>
                  <a:pt x="273" y="373"/>
                  <a:pt x="269" y="371"/>
                </a:cubicBezTo>
                <a:cubicBezTo>
                  <a:pt x="267" y="370"/>
                  <a:pt x="266" y="367"/>
                  <a:pt x="268" y="365"/>
                </a:cubicBezTo>
                <a:cubicBezTo>
                  <a:pt x="269" y="364"/>
                  <a:pt x="270" y="362"/>
                  <a:pt x="272" y="360"/>
                </a:cubicBezTo>
                <a:cubicBezTo>
                  <a:pt x="274" y="356"/>
                  <a:pt x="270" y="352"/>
                  <a:pt x="267" y="352"/>
                </a:cubicBezTo>
                <a:cubicBezTo>
                  <a:pt x="262" y="352"/>
                  <a:pt x="258" y="352"/>
                  <a:pt x="254" y="352"/>
                </a:cubicBezTo>
                <a:cubicBezTo>
                  <a:pt x="251" y="353"/>
                  <a:pt x="248" y="354"/>
                  <a:pt x="246" y="356"/>
                </a:cubicBezTo>
                <a:cubicBezTo>
                  <a:pt x="244" y="359"/>
                  <a:pt x="241" y="359"/>
                  <a:pt x="238" y="358"/>
                </a:cubicBezTo>
                <a:cubicBezTo>
                  <a:pt x="235" y="358"/>
                  <a:pt x="232" y="359"/>
                  <a:pt x="230" y="360"/>
                </a:cubicBezTo>
                <a:cubicBezTo>
                  <a:pt x="222" y="361"/>
                  <a:pt x="216" y="366"/>
                  <a:pt x="209" y="369"/>
                </a:cubicBezTo>
                <a:cubicBezTo>
                  <a:pt x="206" y="370"/>
                  <a:pt x="205" y="373"/>
                  <a:pt x="207" y="376"/>
                </a:cubicBezTo>
                <a:cubicBezTo>
                  <a:pt x="209" y="379"/>
                  <a:pt x="212" y="383"/>
                  <a:pt x="214" y="386"/>
                </a:cubicBezTo>
                <a:cubicBezTo>
                  <a:pt x="215" y="388"/>
                  <a:pt x="215" y="388"/>
                  <a:pt x="212" y="390"/>
                </a:cubicBezTo>
                <a:cubicBezTo>
                  <a:pt x="211" y="390"/>
                  <a:pt x="210" y="390"/>
                  <a:pt x="209" y="391"/>
                </a:cubicBezTo>
                <a:cubicBezTo>
                  <a:pt x="208" y="396"/>
                  <a:pt x="205" y="401"/>
                  <a:pt x="204" y="406"/>
                </a:cubicBezTo>
                <a:cubicBezTo>
                  <a:pt x="203" y="408"/>
                  <a:pt x="204" y="411"/>
                  <a:pt x="205" y="413"/>
                </a:cubicBezTo>
                <a:cubicBezTo>
                  <a:pt x="209" y="418"/>
                  <a:pt x="213" y="423"/>
                  <a:pt x="221" y="422"/>
                </a:cubicBezTo>
                <a:cubicBezTo>
                  <a:pt x="227" y="421"/>
                  <a:pt x="233" y="421"/>
                  <a:pt x="238" y="425"/>
                </a:cubicBezTo>
                <a:cubicBezTo>
                  <a:pt x="241" y="428"/>
                  <a:pt x="244" y="428"/>
                  <a:pt x="247" y="426"/>
                </a:cubicBezTo>
                <a:cubicBezTo>
                  <a:pt x="253" y="424"/>
                  <a:pt x="258" y="421"/>
                  <a:pt x="264" y="419"/>
                </a:cubicBezTo>
                <a:cubicBezTo>
                  <a:pt x="265" y="419"/>
                  <a:pt x="267" y="419"/>
                  <a:pt x="269" y="420"/>
                </a:cubicBezTo>
                <a:cubicBezTo>
                  <a:pt x="269" y="420"/>
                  <a:pt x="270" y="420"/>
                  <a:pt x="270" y="421"/>
                </a:cubicBezTo>
                <a:cubicBezTo>
                  <a:pt x="270" y="421"/>
                  <a:pt x="270" y="422"/>
                  <a:pt x="270" y="422"/>
                </a:cubicBezTo>
                <a:cubicBezTo>
                  <a:pt x="269" y="423"/>
                  <a:pt x="268" y="424"/>
                  <a:pt x="267" y="424"/>
                </a:cubicBezTo>
                <a:cubicBezTo>
                  <a:pt x="264" y="425"/>
                  <a:pt x="262" y="426"/>
                  <a:pt x="262" y="429"/>
                </a:cubicBezTo>
                <a:cubicBezTo>
                  <a:pt x="263" y="431"/>
                  <a:pt x="263" y="433"/>
                  <a:pt x="262" y="434"/>
                </a:cubicBezTo>
                <a:cubicBezTo>
                  <a:pt x="260" y="438"/>
                  <a:pt x="258" y="443"/>
                  <a:pt x="257" y="448"/>
                </a:cubicBezTo>
                <a:cubicBezTo>
                  <a:pt x="256" y="453"/>
                  <a:pt x="248" y="459"/>
                  <a:pt x="242" y="459"/>
                </a:cubicBezTo>
                <a:cubicBezTo>
                  <a:pt x="241" y="459"/>
                  <a:pt x="240" y="459"/>
                  <a:pt x="239" y="458"/>
                </a:cubicBezTo>
                <a:cubicBezTo>
                  <a:pt x="237" y="457"/>
                  <a:pt x="236" y="456"/>
                  <a:pt x="234" y="454"/>
                </a:cubicBezTo>
                <a:cubicBezTo>
                  <a:pt x="233" y="453"/>
                  <a:pt x="232" y="451"/>
                  <a:pt x="231" y="451"/>
                </a:cubicBezTo>
                <a:cubicBezTo>
                  <a:pt x="229" y="451"/>
                  <a:pt x="229" y="453"/>
                  <a:pt x="229" y="455"/>
                </a:cubicBezTo>
                <a:cubicBezTo>
                  <a:pt x="226" y="461"/>
                  <a:pt x="221" y="464"/>
                  <a:pt x="215" y="465"/>
                </a:cubicBezTo>
                <a:cubicBezTo>
                  <a:pt x="214" y="465"/>
                  <a:pt x="213" y="464"/>
                  <a:pt x="212" y="464"/>
                </a:cubicBezTo>
                <a:cubicBezTo>
                  <a:pt x="211" y="463"/>
                  <a:pt x="211" y="462"/>
                  <a:pt x="210" y="461"/>
                </a:cubicBezTo>
                <a:cubicBezTo>
                  <a:pt x="207" y="457"/>
                  <a:pt x="204" y="456"/>
                  <a:pt x="201" y="458"/>
                </a:cubicBezTo>
                <a:cubicBezTo>
                  <a:pt x="194" y="461"/>
                  <a:pt x="188" y="465"/>
                  <a:pt x="186" y="473"/>
                </a:cubicBezTo>
                <a:cubicBezTo>
                  <a:pt x="186" y="474"/>
                  <a:pt x="185" y="475"/>
                  <a:pt x="184" y="475"/>
                </a:cubicBezTo>
                <a:cubicBezTo>
                  <a:pt x="174" y="481"/>
                  <a:pt x="168" y="490"/>
                  <a:pt x="159" y="496"/>
                </a:cubicBezTo>
                <a:cubicBezTo>
                  <a:pt x="153" y="501"/>
                  <a:pt x="151" y="506"/>
                  <a:pt x="153" y="513"/>
                </a:cubicBezTo>
                <a:cubicBezTo>
                  <a:pt x="153" y="516"/>
                  <a:pt x="154" y="519"/>
                  <a:pt x="155" y="521"/>
                </a:cubicBezTo>
                <a:cubicBezTo>
                  <a:pt x="156" y="524"/>
                  <a:pt x="155" y="527"/>
                  <a:pt x="153" y="529"/>
                </a:cubicBezTo>
                <a:cubicBezTo>
                  <a:pt x="148" y="534"/>
                  <a:pt x="148" y="540"/>
                  <a:pt x="150" y="546"/>
                </a:cubicBezTo>
                <a:cubicBezTo>
                  <a:pt x="151" y="550"/>
                  <a:pt x="152" y="553"/>
                  <a:pt x="153" y="557"/>
                </a:cubicBezTo>
                <a:cubicBezTo>
                  <a:pt x="153" y="559"/>
                  <a:pt x="155" y="561"/>
                  <a:pt x="157" y="561"/>
                </a:cubicBezTo>
                <a:cubicBezTo>
                  <a:pt x="159" y="562"/>
                  <a:pt x="162" y="563"/>
                  <a:pt x="164" y="562"/>
                </a:cubicBezTo>
                <a:cubicBezTo>
                  <a:pt x="168" y="561"/>
                  <a:pt x="172" y="560"/>
                  <a:pt x="176" y="561"/>
                </a:cubicBezTo>
                <a:cubicBezTo>
                  <a:pt x="176" y="561"/>
                  <a:pt x="176" y="561"/>
                  <a:pt x="176" y="560"/>
                </a:cubicBezTo>
                <a:cubicBezTo>
                  <a:pt x="176" y="560"/>
                  <a:pt x="176" y="560"/>
                  <a:pt x="177" y="559"/>
                </a:cubicBezTo>
                <a:cubicBezTo>
                  <a:pt x="177" y="558"/>
                  <a:pt x="177" y="557"/>
                  <a:pt x="177" y="556"/>
                </a:cubicBezTo>
                <a:cubicBezTo>
                  <a:pt x="177" y="555"/>
                  <a:pt x="177" y="555"/>
                  <a:pt x="177" y="554"/>
                </a:cubicBezTo>
                <a:cubicBezTo>
                  <a:pt x="178" y="554"/>
                  <a:pt x="179" y="554"/>
                  <a:pt x="178" y="556"/>
                </a:cubicBezTo>
                <a:cubicBezTo>
                  <a:pt x="178" y="557"/>
                  <a:pt x="177" y="558"/>
                  <a:pt x="177" y="559"/>
                </a:cubicBezTo>
                <a:cubicBezTo>
                  <a:pt x="177" y="560"/>
                  <a:pt x="177" y="560"/>
                  <a:pt x="177" y="561"/>
                </a:cubicBezTo>
                <a:cubicBezTo>
                  <a:pt x="176" y="561"/>
                  <a:pt x="176" y="561"/>
                  <a:pt x="176" y="561"/>
                </a:cubicBezTo>
                <a:cubicBezTo>
                  <a:pt x="176" y="563"/>
                  <a:pt x="175" y="566"/>
                  <a:pt x="175" y="569"/>
                </a:cubicBezTo>
                <a:cubicBezTo>
                  <a:pt x="175" y="573"/>
                  <a:pt x="173" y="576"/>
                  <a:pt x="170" y="578"/>
                </a:cubicBezTo>
                <a:cubicBezTo>
                  <a:pt x="167" y="580"/>
                  <a:pt x="167" y="583"/>
                  <a:pt x="169" y="586"/>
                </a:cubicBezTo>
                <a:cubicBezTo>
                  <a:pt x="170" y="588"/>
                  <a:pt x="169" y="590"/>
                  <a:pt x="168" y="592"/>
                </a:cubicBezTo>
                <a:cubicBezTo>
                  <a:pt x="168" y="594"/>
                  <a:pt x="167" y="595"/>
                  <a:pt x="166" y="596"/>
                </a:cubicBezTo>
                <a:cubicBezTo>
                  <a:pt x="165" y="598"/>
                  <a:pt x="165" y="599"/>
                  <a:pt x="167" y="600"/>
                </a:cubicBezTo>
                <a:cubicBezTo>
                  <a:pt x="172" y="601"/>
                  <a:pt x="176" y="603"/>
                  <a:pt x="179" y="597"/>
                </a:cubicBezTo>
                <a:cubicBezTo>
                  <a:pt x="180" y="596"/>
                  <a:pt x="181" y="596"/>
                  <a:pt x="181" y="596"/>
                </a:cubicBezTo>
                <a:cubicBezTo>
                  <a:pt x="185" y="600"/>
                  <a:pt x="191" y="603"/>
                  <a:pt x="192" y="610"/>
                </a:cubicBezTo>
                <a:cubicBezTo>
                  <a:pt x="193" y="611"/>
                  <a:pt x="195" y="611"/>
                  <a:pt x="196" y="610"/>
                </a:cubicBezTo>
                <a:cubicBezTo>
                  <a:pt x="196" y="610"/>
                  <a:pt x="197" y="609"/>
                  <a:pt x="197" y="609"/>
                </a:cubicBezTo>
                <a:cubicBezTo>
                  <a:pt x="199" y="605"/>
                  <a:pt x="200" y="606"/>
                  <a:pt x="205" y="608"/>
                </a:cubicBezTo>
                <a:cubicBezTo>
                  <a:pt x="206" y="608"/>
                  <a:pt x="208" y="608"/>
                  <a:pt x="209" y="608"/>
                </a:cubicBezTo>
                <a:cubicBezTo>
                  <a:pt x="211" y="608"/>
                  <a:pt x="212" y="608"/>
                  <a:pt x="214" y="607"/>
                </a:cubicBezTo>
                <a:cubicBezTo>
                  <a:pt x="215" y="607"/>
                  <a:pt x="215" y="607"/>
                  <a:pt x="216" y="608"/>
                </a:cubicBezTo>
                <a:cubicBezTo>
                  <a:pt x="217" y="608"/>
                  <a:pt x="217" y="609"/>
                  <a:pt x="215" y="610"/>
                </a:cubicBezTo>
                <a:cubicBezTo>
                  <a:pt x="211" y="613"/>
                  <a:pt x="208" y="618"/>
                  <a:pt x="205" y="623"/>
                </a:cubicBezTo>
                <a:cubicBezTo>
                  <a:pt x="199" y="634"/>
                  <a:pt x="192" y="644"/>
                  <a:pt x="180" y="650"/>
                </a:cubicBezTo>
                <a:cubicBezTo>
                  <a:pt x="176" y="652"/>
                  <a:pt x="173" y="655"/>
                  <a:pt x="169" y="657"/>
                </a:cubicBezTo>
                <a:cubicBezTo>
                  <a:pt x="162" y="660"/>
                  <a:pt x="156" y="664"/>
                  <a:pt x="150" y="667"/>
                </a:cubicBezTo>
                <a:cubicBezTo>
                  <a:pt x="146" y="669"/>
                  <a:pt x="143" y="672"/>
                  <a:pt x="140" y="675"/>
                </a:cubicBezTo>
                <a:cubicBezTo>
                  <a:pt x="139" y="678"/>
                  <a:pt x="137" y="678"/>
                  <a:pt x="134" y="677"/>
                </a:cubicBezTo>
                <a:cubicBezTo>
                  <a:pt x="129" y="675"/>
                  <a:pt x="124" y="676"/>
                  <a:pt x="120" y="679"/>
                </a:cubicBezTo>
                <a:cubicBezTo>
                  <a:pt x="116" y="681"/>
                  <a:pt x="113" y="684"/>
                  <a:pt x="109" y="687"/>
                </a:cubicBezTo>
                <a:cubicBezTo>
                  <a:pt x="104" y="692"/>
                  <a:pt x="98" y="695"/>
                  <a:pt x="90" y="695"/>
                </a:cubicBezTo>
                <a:cubicBezTo>
                  <a:pt x="87" y="695"/>
                  <a:pt x="85" y="696"/>
                  <a:pt x="82" y="696"/>
                </a:cubicBezTo>
                <a:cubicBezTo>
                  <a:pt x="76" y="696"/>
                  <a:pt x="73" y="700"/>
                  <a:pt x="70" y="704"/>
                </a:cubicBezTo>
                <a:cubicBezTo>
                  <a:pt x="70" y="705"/>
                  <a:pt x="70" y="707"/>
                  <a:pt x="71" y="707"/>
                </a:cubicBezTo>
                <a:cubicBezTo>
                  <a:pt x="71" y="708"/>
                  <a:pt x="72" y="709"/>
                  <a:pt x="73" y="709"/>
                </a:cubicBezTo>
                <a:cubicBezTo>
                  <a:pt x="75" y="709"/>
                  <a:pt x="77" y="709"/>
                  <a:pt x="78" y="708"/>
                </a:cubicBezTo>
                <a:cubicBezTo>
                  <a:pt x="81" y="707"/>
                  <a:pt x="85" y="708"/>
                  <a:pt x="88" y="707"/>
                </a:cubicBezTo>
                <a:cubicBezTo>
                  <a:pt x="90" y="707"/>
                  <a:pt x="93" y="706"/>
                  <a:pt x="94" y="705"/>
                </a:cubicBezTo>
                <a:cubicBezTo>
                  <a:pt x="97" y="701"/>
                  <a:pt x="102" y="699"/>
                  <a:pt x="107" y="699"/>
                </a:cubicBezTo>
                <a:cubicBezTo>
                  <a:pt x="114" y="699"/>
                  <a:pt x="119" y="696"/>
                  <a:pt x="123" y="689"/>
                </a:cubicBezTo>
                <a:cubicBezTo>
                  <a:pt x="123" y="689"/>
                  <a:pt x="122" y="689"/>
                  <a:pt x="122" y="689"/>
                </a:cubicBezTo>
                <a:cubicBezTo>
                  <a:pt x="123" y="688"/>
                  <a:pt x="123" y="688"/>
                  <a:pt x="123" y="688"/>
                </a:cubicBezTo>
                <a:cubicBezTo>
                  <a:pt x="123" y="689"/>
                  <a:pt x="123" y="689"/>
                  <a:pt x="123" y="689"/>
                </a:cubicBezTo>
                <a:cubicBezTo>
                  <a:pt x="123" y="689"/>
                  <a:pt x="123" y="689"/>
                  <a:pt x="123" y="689"/>
                </a:cubicBezTo>
                <a:cubicBezTo>
                  <a:pt x="124" y="691"/>
                  <a:pt x="125" y="694"/>
                  <a:pt x="127" y="696"/>
                </a:cubicBezTo>
                <a:cubicBezTo>
                  <a:pt x="128" y="697"/>
                  <a:pt x="128" y="697"/>
                  <a:pt x="129" y="694"/>
                </a:cubicBezTo>
                <a:cubicBezTo>
                  <a:pt x="130" y="693"/>
                  <a:pt x="130" y="692"/>
                  <a:pt x="131" y="692"/>
                </a:cubicBezTo>
                <a:cubicBezTo>
                  <a:pt x="136" y="691"/>
                  <a:pt x="140" y="688"/>
                  <a:pt x="145" y="689"/>
                </a:cubicBezTo>
                <a:cubicBezTo>
                  <a:pt x="148" y="689"/>
                  <a:pt x="149" y="690"/>
                  <a:pt x="151" y="688"/>
                </a:cubicBezTo>
                <a:cubicBezTo>
                  <a:pt x="154" y="686"/>
                  <a:pt x="157" y="685"/>
                  <a:pt x="160" y="684"/>
                </a:cubicBezTo>
                <a:cubicBezTo>
                  <a:pt x="165" y="682"/>
                  <a:pt x="171" y="681"/>
                  <a:pt x="173" y="675"/>
                </a:cubicBezTo>
                <a:cubicBezTo>
                  <a:pt x="177" y="673"/>
                  <a:pt x="180" y="670"/>
                  <a:pt x="184" y="668"/>
                </a:cubicBezTo>
                <a:cubicBezTo>
                  <a:pt x="185" y="668"/>
                  <a:pt x="187" y="668"/>
                  <a:pt x="189" y="669"/>
                </a:cubicBezTo>
                <a:cubicBezTo>
                  <a:pt x="190" y="667"/>
                  <a:pt x="190" y="665"/>
                  <a:pt x="191" y="665"/>
                </a:cubicBezTo>
                <a:cubicBezTo>
                  <a:pt x="195" y="664"/>
                  <a:pt x="198" y="662"/>
                  <a:pt x="202" y="660"/>
                </a:cubicBezTo>
                <a:cubicBezTo>
                  <a:pt x="206" y="659"/>
                  <a:pt x="208" y="657"/>
                  <a:pt x="210" y="653"/>
                </a:cubicBezTo>
                <a:cubicBezTo>
                  <a:pt x="210" y="652"/>
                  <a:pt x="212" y="650"/>
                  <a:pt x="213" y="649"/>
                </a:cubicBezTo>
                <a:cubicBezTo>
                  <a:pt x="221" y="645"/>
                  <a:pt x="228" y="640"/>
                  <a:pt x="237" y="638"/>
                </a:cubicBezTo>
                <a:cubicBezTo>
                  <a:pt x="243" y="636"/>
                  <a:pt x="247" y="633"/>
                  <a:pt x="251" y="628"/>
                </a:cubicBezTo>
                <a:cubicBezTo>
                  <a:pt x="253" y="626"/>
                  <a:pt x="255" y="625"/>
                  <a:pt x="258" y="623"/>
                </a:cubicBezTo>
                <a:cubicBezTo>
                  <a:pt x="260" y="622"/>
                  <a:pt x="262" y="621"/>
                  <a:pt x="263" y="620"/>
                </a:cubicBezTo>
                <a:cubicBezTo>
                  <a:pt x="267" y="618"/>
                  <a:pt x="268" y="615"/>
                  <a:pt x="266" y="612"/>
                </a:cubicBezTo>
                <a:cubicBezTo>
                  <a:pt x="265" y="610"/>
                  <a:pt x="264" y="609"/>
                  <a:pt x="264" y="608"/>
                </a:cubicBezTo>
                <a:cubicBezTo>
                  <a:pt x="262" y="605"/>
                  <a:pt x="263" y="603"/>
                  <a:pt x="264" y="602"/>
                </a:cubicBezTo>
                <a:cubicBezTo>
                  <a:pt x="268" y="598"/>
                  <a:pt x="272" y="596"/>
                  <a:pt x="276" y="597"/>
                </a:cubicBezTo>
                <a:cubicBezTo>
                  <a:pt x="279" y="598"/>
                  <a:pt x="281" y="597"/>
                  <a:pt x="284" y="596"/>
                </a:cubicBezTo>
                <a:cubicBezTo>
                  <a:pt x="287" y="593"/>
                  <a:pt x="291" y="591"/>
                  <a:pt x="292" y="586"/>
                </a:cubicBezTo>
                <a:cubicBezTo>
                  <a:pt x="293" y="583"/>
                  <a:pt x="295" y="581"/>
                  <a:pt x="298" y="581"/>
                </a:cubicBezTo>
                <a:cubicBezTo>
                  <a:pt x="301" y="581"/>
                  <a:pt x="303" y="580"/>
                  <a:pt x="304" y="578"/>
                </a:cubicBezTo>
                <a:cubicBezTo>
                  <a:pt x="309" y="568"/>
                  <a:pt x="319" y="565"/>
                  <a:pt x="329" y="561"/>
                </a:cubicBezTo>
                <a:cubicBezTo>
                  <a:pt x="332" y="559"/>
                  <a:pt x="335" y="562"/>
                  <a:pt x="336" y="565"/>
                </a:cubicBezTo>
                <a:cubicBezTo>
                  <a:pt x="336" y="567"/>
                  <a:pt x="336" y="569"/>
                  <a:pt x="335" y="570"/>
                </a:cubicBezTo>
                <a:cubicBezTo>
                  <a:pt x="335" y="571"/>
                  <a:pt x="334" y="572"/>
                  <a:pt x="333" y="572"/>
                </a:cubicBezTo>
                <a:cubicBezTo>
                  <a:pt x="327" y="568"/>
                  <a:pt x="321" y="569"/>
                  <a:pt x="315" y="573"/>
                </a:cubicBezTo>
                <a:cubicBezTo>
                  <a:pt x="313" y="574"/>
                  <a:pt x="312" y="575"/>
                  <a:pt x="311" y="576"/>
                </a:cubicBezTo>
                <a:cubicBezTo>
                  <a:pt x="308" y="584"/>
                  <a:pt x="302" y="590"/>
                  <a:pt x="297" y="596"/>
                </a:cubicBezTo>
                <a:cubicBezTo>
                  <a:pt x="295" y="598"/>
                  <a:pt x="294" y="601"/>
                  <a:pt x="297" y="603"/>
                </a:cubicBezTo>
                <a:cubicBezTo>
                  <a:pt x="298" y="604"/>
                  <a:pt x="298" y="605"/>
                  <a:pt x="297" y="606"/>
                </a:cubicBezTo>
                <a:cubicBezTo>
                  <a:pt x="294" y="607"/>
                  <a:pt x="291" y="609"/>
                  <a:pt x="288" y="610"/>
                </a:cubicBezTo>
                <a:cubicBezTo>
                  <a:pt x="287" y="611"/>
                  <a:pt x="286" y="613"/>
                  <a:pt x="287" y="615"/>
                </a:cubicBezTo>
                <a:cubicBezTo>
                  <a:pt x="288" y="616"/>
                  <a:pt x="289" y="617"/>
                  <a:pt x="291" y="617"/>
                </a:cubicBezTo>
                <a:cubicBezTo>
                  <a:pt x="293" y="617"/>
                  <a:pt x="296" y="617"/>
                  <a:pt x="299" y="616"/>
                </a:cubicBezTo>
                <a:cubicBezTo>
                  <a:pt x="303" y="613"/>
                  <a:pt x="308" y="611"/>
                  <a:pt x="314" y="609"/>
                </a:cubicBezTo>
                <a:cubicBezTo>
                  <a:pt x="316" y="609"/>
                  <a:pt x="318" y="608"/>
                  <a:pt x="320" y="607"/>
                </a:cubicBezTo>
                <a:cubicBezTo>
                  <a:pt x="325" y="605"/>
                  <a:pt x="329" y="602"/>
                  <a:pt x="335" y="603"/>
                </a:cubicBezTo>
                <a:cubicBezTo>
                  <a:pt x="337" y="603"/>
                  <a:pt x="338" y="602"/>
                  <a:pt x="340" y="601"/>
                </a:cubicBezTo>
                <a:cubicBezTo>
                  <a:pt x="343" y="600"/>
                  <a:pt x="344" y="598"/>
                  <a:pt x="346" y="596"/>
                </a:cubicBezTo>
                <a:cubicBezTo>
                  <a:pt x="348" y="594"/>
                  <a:pt x="349" y="594"/>
                  <a:pt x="351" y="596"/>
                </a:cubicBezTo>
                <a:cubicBezTo>
                  <a:pt x="352" y="596"/>
                  <a:pt x="353" y="596"/>
                  <a:pt x="354" y="596"/>
                </a:cubicBezTo>
                <a:cubicBezTo>
                  <a:pt x="355" y="594"/>
                  <a:pt x="356" y="591"/>
                  <a:pt x="353" y="589"/>
                </a:cubicBezTo>
                <a:cubicBezTo>
                  <a:pt x="352" y="588"/>
                  <a:pt x="351" y="586"/>
                  <a:pt x="350" y="584"/>
                </a:cubicBezTo>
                <a:cubicBezTo>
                  <a:pt x="348" y="581"/>
                  <a:pt x="349" y="578"/>
                  <a:pt x="352" y="576"/>
                </a:cubicBezTo>
                <a:cubicBezTo>
                  <a:pt x="354" y="574"/>
                  <a:pt x="355" y="574"/>
                  <a:pt x="356" y="576"/>
                </a:cubicBezTo>
                <a:cubicBezTo>
                  <a:pt x="357" y="579"/>
                  <a:pt x="359" y="582"/>
                  <a:pt x="363" y="581"/>
                </a:cubicBezTo>
                <a:cubicBezTo>
                  <a:pt x="366" y="580"/>
                  <a:pt x="368" y="580"/>
                  <a:pt x="371" y="580"/>
                </a:cubicBezTo>
                <a:cubicBezTo>
                  <a:pt x="371" y="580"/>
                  <a:pt x="371" y="580"/>
                  <a:pt x="371" y="580"/>
                </a:cubicBezTo>
                <a:cubicBezTo>
                  <a:pt x="371" y="579"/>
                  <a:pt x="371" y="579"/>
                  <a:pt x="371" y="579"/>
                </a:cubicBezTo>
                <a:cubicBezTo>
                  <a:pt x="371" y="580"/>
                  <a:pt x="371" y="580"/>
                  <a:pt x="371" y="580"/>
                </a:cubicBezTo>
                <a:cubicBezTo>
                  <a:pt x="371" y="580"/>
                  <a:pt x="371" y="580"/>
                  <a:pt x="371" y="580"/>
                </a:cubicBezTo>
                <a:cubicBezTo>
                  <a:pt x="371" y="582"/>
                  <a:pt x="371" y="583"/>
                  <a:pt x="371" y="585"/>
                </a:cubicBezTo>
                <a:cubicBezTo>
                  <a:pt x="372" y="591"/>
                  <a:pt x="375" y="596"/>
                  <a:pt x="381" y="598"/>
                </a:cubicBezTo>
                <a:cubicBezTo>
                  <a:pt x="385" y="600"/>
                  <a:pt x="387" y="603"/>
                  <a:pt x="389" y="606"/>
                </a:cubicBezTo>
                <a:cubicBezTo>
                  <a:pt x="390" y="608"/>
                  <a:pt x="390" y="609"/>
                  <a:pt x="391" y="611"/>
                </a:cubicBezTo>
                <a:cubicBezTo>
                  <a:pt x="392" y="613"/>
                  <a:pt x="394" y="614"/>
                  <a:pt x="396" y="615"/>
                </a:cubicBezTo>
                <a:cubicBezTo>
                  <a:pt x="398" y="615"/>
                  <a:pt x="401" y="615"/>
                  <a:pt x="403" y="615"/>
                </a:cubicBezTo>
                <a:cubicBezTo>
                  <a:pt x="408" y="615"/>
                  <a:pt x="412" y="617"/>
                  <a:pt x="416" y="620"/>
                </a:cubicBezTo>
                <a:cubicBezTo>
                  <a:pt x="418" y="622"/>
                  <a:pt x="419" y="622"/>
                  <a:pt x="420" y="623"/>
                </a:cubicBezTo>
                <a:cubicBezTo>
                  <a:pt x="420" y="623"/>
                  <a:pt x="420" y="623"/>
                  <a:pt x="420" y="623"/>
                </a:cubicBezTo>
                <a:cubicBezTo>
                  <a:pt x="421" y="622"/>
                  <a:pt x="421" y="622"/>
                  <a:pt x="421" y="622"/>
                </a:cubicBezTo>
                <a:cubicBezTo>
                  <a:pt x="421" y="623"/>
                  <a:pt x="421" y="623"/>
                  <a:pt x="421" y="623"/>
                </a:cubicBezTo>
                <a:cubicBezTo>
                  <a:pt x="421" y="623"/>
                  <a:pt x="421" y="623"/>
                  <a:pt x="420" y="623"/>
                </a:cubicBezTo>
                <a:cubicBezTo>
                  <a:pt x="421" y="624"/>
                  <a:pt x="422" y="625"/>
                  <a:pt x="423" y="627"/>
                </a:cubicBezTo>
                <a:cubicBezTo>
                  <a:pt x="427" y="630"/>
                  <a:pt x="431" y="633"/>
                  <a:pt x="436" y="631"/>
                </a:cubicBezTo>
                <a:cubicBezTo>
                  <a:pt x="437" y="631"/>
                  <a:pt x="438" y="631"/>
                  <a:pt x="438" y="632"/>
                </a:cubicBezTo>
                <a:cubicBezTo>
                  <a:pt x="439" y="632"/>
                  <a:pt x="440" y="633"/>
                  <a:pt x="439" y="634"/>
                </a:cubicBezTo>
                <a:cubicBezTo>
                  <a:pt x="436" y="638"/>
                  <a:pt x="436" y="641"/>
                  <a:pt x="439" y="644"/>
                </a:cubicBezTo>
                <a:cubicBezTo>
                  <a:pt x="441" y="646"/>
                  <a:pt x="442" y="648"/>
                  <a:pt x="443" y="649"/>
                </a:cubicBezTo>
                <a:cubicBezTo>
                  <a:pt x="446" y="650"/>
                  <a:pt x="448" y="651"/>
                  <a:pt x="448" y="655"/>
                </a:cubicBezTo>
                <a:cubicBezTo>
                  <a:pt x="448" y="657"/>
                  <a:pt x="448" y="659"/>
                  <a:pt x="449" y="661"/>
                </a:cubicBezTo>
                <a:cubicBezTo>
                  <a:pt x="450" y="666"/>
                  <a:pt x="452" y="671"/>
                  <a:pt x="455" y="674"/>
                </a:cubicBezTo>
                <a:cubicBezTo>
                  <a:pt x="457" y="676"/>
                  <a:pt x="460" y="678"/>
                  <a:pt x="463" y="677"/>
                </a:cubicBezTo>
                <a:cubicBezTo>
                  <a:pt x="465" y="677"/>
                  <a:pt x="467" y="675"/>
                  <a:pt x="466" y="673"/>
                </a:cubicBezTo>
                <a:cubicBezTo>
                  <a:pt x="466" y="671"/>
                  <a:pt x="465" y="670"/>
                  <a:pt x="465" y="668"/>
                </a:cubicBezTo>
                <a:cubicBezTo>
                  <a:pt x="465" y="668"/>
                  <a:pt x="465" y="667"/>
                  <a:pt x="465" y="666"/>
                </a:cubicBezTo>
                <a:cubicBezTo>
                  <a:pt x="466" y="665"/>
                  <a:pt x="466" y="666"/>
                  <a:pt x="467" y="667"/>
                </a:cubicBezTo>
                <a:cubicBezTo>
                  <a:pt x="468" y="669"/>
                  <a:pt x="469" y="671"/>
                  <a:pt x="469" y="673"/>
                </a:cubicBezTo>
                <a:cubicBezTo>
                  <a:pt x="469" y="677"/>
                  <a:pt x="472" y="679"/>
                  <a:pt x="474" y="682"/>
                </a:cubicBezTo>
                <a:cubicBezTo>
                  <a:pt x="474" y="682"/>
                  <a:pt x="474" y="683"/>
                  <a:pt x="474" y="683"/>
                </a:cubicBezTo>
                <a:cubicBezTo>
                  <a:pt x="473" y="684"/>
                  <a:pt x="472" y="684"/>
                  <a:pt x="471" y="684"/>
                </a:cubicBezTo>
                <a:cubicBezTo>
                  <a:pt x="470" y="683"/>
                  <a:pt x="469" y="682"/>
                  <a:pt x="468" y="682"/>
                </a:cubicBezTo>
                <a:cubicBezTo>
                  <a:pt x="465" y="681"/>
                  <a:pt x="461" y="683"/>
                  <a:pt x="460" y="686"/>
                </a:cubicBezTo>
                <a:cubicBezTo>
                  <a:pt x="459" y="689"/>
                  <a:pt x="458" y="692"/>
                  <a:pt x="458" y="695"/>
                </a:cubicBezTo>
                <a:cubicBezTo>
                  <a:pt x="459" y="699"/>
                  <a:pt x="460" y="702"/>
                  <a:pt x="460" y="705"/>
                </a:cubicBezTo>
                <a:cubicBezTo>
                  <a:pt x="460" y="705"/>
                  <a:pt x="460" y="705"/>
                  <a:pt x="460" y="705"/>
                </a:cubicBezTo>
                <a:cubicBezTo>
                  <a:pt x="460" y="705"/>
                  <a:pt x="460" y="705"/>
                  <a:pt x="460" y="706"/>
                </a:cubicBezTo>
                <a:cubicBezTo>
                  <a:pt x="460" y="705"/>
                  <a:pt x="460" y="705"/>
                  <a:pt x="460" y="705"/>
                </a:cubicBezTo>
                <a:cubicBezTo>
                  <a:pt x="462" y="708"/>
                  <a:pt x="463" y="711"/>
                  <a:pt x="462" y="714"/>
                </a:cubicBezTo>
                <a:cubicBezTo>
                  <a:pt x="460" y="719"/>
                  <a:pt x="460" y="724"/>
                  <a:pt x="461" y="730"/>
                </a:cubicBezTo>
                <a:cubicBezTo>
                  <a:pt x="461" y="730"/>
                  <a:pt x="461" y="731"/>
                  <a:pt x="461" y="731"/>
                </a:cubicBezTo>
                <a:cubicBezTo>
                  <a:pt x="462" y="731"/>
                  <a:pt x="464" y="731"/>
                  <a:pt x="464" y="730"/>
                </a:cubicBezTo>
                <a:cubicBezTo>
                  <a:pt x="466" y="727"/>
                  <a:pt x="468" y="723"/>
                  <a:pt x="469" y="720"/>
                </a:cubicBezTo>
                <a:cubicBezTo>
                  <a:pt x="470" y="719"/>
                  <a:pt x="470" y="719"/>
                  <a:pt x="470" y="718"/>
                </a:cubicBezTo>
                <a:cubicBezTo>
                  <a:pt x="470" y="718"/>
                  <a:pt x="470" y="718"/>
                  <a:pt x="470" y="718"/>
                </a:cubicBezTo>
                <a:cubicBezTo>
                  <a:pt x="472" y="716"/>
                  <a:pt x="474" y="715"/>
                  <a:pt x="477" y="716"/>
                </a:cubicBezTo>
                <a:cubicBezTo>
                  <a:pt x="477" y="715"/>
                  <a:pt x="477" y="715"/>
                  <a:pt x="477" y="715"/>
                </a:cubicBezTo>
                <a:cubicBezTo>
                  <a:pt x="477" y="715"/>
                  <a:pt x="477" y="715"/>
                  <a:pt x="477" y="715"/>
                </a:cubicBezTo>
                <a:cubicBezTo>
                  <a:pt x="477" y="715"/>
                  <a:pt x="477" y="714"/>
                  <a:pt x="478" y="714"/>
                </a:cubicBezTo>
                <a:cubicBezTo>
                  <a:pt x="482" y="708"/>
                  <a:pt x="487" y="702"/>
                  <a:pt x="489" y="695"/>
                </a:cubicBezTo>
                <a:cubicBezTo>
                  <a:pt x="489" y="694"/>
                  <a:pt x="491" y="694"/>
                  <a:pt x="492" y="694"/>
                </a:cubicBezTo>
                <a:cubicBezTo>
                  <a:pt x="492" y="694"/>
                  <a:pt x="493" y="695"/>
                  <a:pt x="493" y="696"/>
                </a:cubicBezTo>
                <a:cubicBezTo>
                  <a:pt x="493" y="697"/>
                  <a:pt x="493" y="699"/>
                  <a:pt x="492" y="700"/>
                </a:cubicBezTo>
                <a:cubicBezTo>
                  <a:pt x="491" y="704"/>
                  <a:pt x="490" y="707"/>
                  <a:pt x="488" y="711"/>
                </a:cubicBezTo>
                <a:cubicBezTo>
                  <a:pt x="487" y="714"/>
                  <a:pt x="489" y="716"/>
                  <a:pt x="490" y="718"/>
                </a:cubicBezTo>
                <a:cubicBezTo>
                  <a:pt x="490" y="718"/>
                  <a:pt x="490" y="718"/>
                  <a:pt x="491" y="718"/>
                </a:cubicBezTo>
                <a:cubicBezTo>
                  <a:pt x="491" y="718"/>
                  <a:pt x="491" y="718"/>
                  <a:pt x="491" y="719"/>
                </a:cubicBezTo>
                <a:cubicBezTo>
                  <a:pt x="492" y="720"/>
                  <a:pt x="493" y="722"/>
                  <a:pt x="493" y="724"/>
                </a:cubicBezTo>
                <a:cubicBezTo>
                  <a:pt x="493" y="725"/>
                  <a:pt x="493" y="725"/>
                  <a:pt x="493" y="725"/>
                </a:cubicBezTo>
                <a:cubicBezTo>
                  <a:pt x="494" y="726"/>
                  <a:pt x="494" y="726"/>
                  <a:pt x="494" y="726"/>
                </a:cubicBezTo>
                <a:cubicBezTo>
                  <a:pt x="493" y="725"/>
                  <a:pt x="493" y="725"/>
                  <a:pt x="493" y="725"/>
                </a:cubicBezTo>
                <a:cubicBezTo>
                  <a:pt x="493" y="725"/>
                  <a:pt x="493" y="725"/>
                  <a:pt x="493" y="724"/>
                </a:cubicBezTo>
                <a:cubicBezTo>
                  <a:pt x="491" y="723"/>
                  <a:pt x="491" y="721"/>
                  <a:pt x="491" y="719"/>
                </a:cubicBezTo>
                <a:cubicBezTo>
                  <a:pt x="490" y="719"/>
                  <a:pt x="490" y="718"/>
                  <a:pt x="490" y="718"/>
                </a:cubicBezTo>
                <a:cubicBezTo>
                  <a:pt x="490" y="718"/>
                  <a:pt x="490" y="718"/>
                  <a:pt x="490" y="718"/>
                </a:cubicBezTo>
                <a:cubicBezTo>
                  <a:pt x="488" y="717"/>
                  <a:pt x="486" y="717"/>
                  <a:pt x="485" y="717"/>
                </a:cubicBezTo>
                <a:cubicBezTo>
                  <a:pt x="482" y="716"/>
                  <a:pt x="480" y="715"/>
                  <a:pt x="477" y="715"/>
                </a:cubicBezTo>
                <a:cubicBezTo>
                  <a:pt x="477" y="715"/>
                  <a:pt x="477" y="716"/>
                  <a:pt x="477" y="716"/>
                </a:cubicBezTo>
                <a:cubicBezTo>
                  <a:pt x="477" y="716"/>
                  <a:pt x="477" y="716"/>
                  <a:pt x="477" y="716"/>
                </a:cubicBezTo>
                <a:cubicBezTo>
                  <a:pt x="475" y="718"/>
                  <a:pt x="473" y="718"/>
                  <a:pt x="470" y="718"/>
                </a:cubicBezTo>
                <a:cubicBezTo>
                  <a:pt x="470" y="718"/>
                  <a:pt x="470" y="718"/>
                  <a:pt x="470" y="719"/>
                </a:cubicBezTo>
                <a:cubicBezTo>
                  <a:pt x="470" y="719"/>
                  <a:pt x="470" y="719"/>
                  <a:pt x="469" y="720"/>
                </a:cubicBezTo>
                <a:cubicBezTo>
                  <a:pt x="469" y="724"/>
                  <a:pt x="470" y="729"/>
                  <a:pt x="467" y="734"/>
                </a:cubicBezTo>
                <a:cubicBezTo>
                  <a:pt x="467" y="736"/>
                  <a:pt x="468" y="738"/>
                  <a:pt x="471" y="738"/>
                </a:cubicBezTo>
                <a:cubicBezTo>
                  <a:pt x="472" y="739"/>
                  <a:pt x="472" y="739"/>
                  <a:pt x="473" y="739"/>
                </a:cubicBezTo>
                <a:cubicBezTo>
                  <a:pt x="473" y="739"/>
                  <a:pt x="473" y="739"/>
                  <a:pt x="473" y="739"/>
                </a:cubicBezTo>
                <a:cubicBezTo>
                  <a:pt x="474" y="738"/>
                  <a:pt x="474" y="738"/>
                  <a:pt x="474" y="738"/>
                </a:cubicBezTo>
                <a:cubicBezTo>
                  <a:pt x="475" y="737"/>
                  <a:pt x="475" y="736"/>
                  <a:pt x="475" y="735"/>
                </a:cubicBezTo>
                <a:cubicBezTo>
                  <a:pt x="475" y="736"/>
                  <a:pt x="476" y="736"/>
                  <a:pt x="475" y="736"/>
                </a:cubicBezTo>
                <a:cubicBezTo>
                  <a:pt x="475" y="737"/>
                  <a:pt x="475" y="737"/>
                  <a:pt x="474" y="738"/>
                </a:cubicBezTo>
                <a:cubicBezTo>
                  <a:pt x="474" y="738"/>
                  <a:pt x="474" y="739"/>
                  <a:pt x="474" y="739"/>
                </a:cubicBezTo>
                <a:cubicBezTo>
                  <a:pt x="474" y="739"/>
                  <a:pt x="473" y="739"/>
                  <a:pt x="473" y="739"/>
                </a:cubicBezTo>
                <a:cubicBezTo>
                  <a:pt x="473" y="740"/>
                  <a:pt x="472" y="742"/>
                  <a:pt x="473" y="743"/>
                </a:cubicBezTo>
                <a:cubicBezTo>
                  <a:pt x="474" y="746"/>
                  <a:pt x="476" y="748"/>
                  <a:pt x="475" y="751"/>
                </a:cubicBezTo>
                <a:cubicBezTo>
                  <a:pt x="474" y="753"/>
                  <a:pt x="473" y="755"/>
                  <a:pt x="473" y="757"/>
                </a:cubicBezTo>
                <a:cubicBezTo>
                  <a:pt x="473" y="759"/>
                  <a:pt x="472" y="761"/>
                  <a:pt x="473" y="762"/>
                </a:cubicBezTo>
                <a:cubicBezTo>
                  <a:pt x="475" y="765"/>
                  <a:pt x="475" y="770"/>
                  <a:pt x="477" y="774"/>
                </a:cubicBezTo>
                <a:cubicBezTo>
                  <a:pt x="477" y="775"/>
                  <a:pt x="479" y="775"/>
                  <a:pt x="480" y="775"/>
                </a:cubicBezTo>
                <a:cubicBezTo>
                  <a:pt x="481" y="775"/>
                  <a:pt x="482" y="774"/>
                  <a:pt x="482" y="774"/>
                </a:cubicBezTo>
                <a:cubicBezTo>
                  <a:pt x="484" y="769"/>
                  <a:pt x="487" y="764"/>
                  <a:pt x="487" y="759"/>
                </a:cubicBezTo>
                <a:cubicBezTo>
                  <a:pt x="487" y="759"/>
                  <a:pt x="487" y="759"/>
                  <a:pt x="487" y="759"/>
                </a:cubicBezTo>
                <a:cubicBezTo>
                  <a:pt x="487" y="758"/>
                  <a:pt x="487" y="758"/>
                  <a:pt x="486" y="758"/>
                </a:cubicBezTo>
                <a:cubicBezTo>
                  <a:pt x="486" y="757"/>
                  <a:pt x="486" y="757"/>
                  <a:pt x="486" y="757"/>
                </a:cubicBezTo>
                <a:cubicBezTo>
                  <a:pt x="486" y="757"/>
                  <a:pt x="486" y="757"/>
                  <a:pt x="486" y="757"/>
                </a:cubicBezTo>
                <a:cubicBezTo>
                  <a:pt x="486" y="757"/>
                  <a:pt x="486" y="758"/>
                  <a:pt x="486" y="758"/>
                </a:cubicBezTo>
                <a:cubicBezTo>
                  <a:pt x="487" y="758"/>
                  <a:pt x="487" y="758"/>
                  <a:pt x="487" y="758"/>
                </a:cubicBezTo>
                <a:cubicBezTo>
                  <a:pt x="487" y="758"/>
                  <a:pt x="487" y="758"/>
                  <a:pt x="487" y="759"/>
                </a:cubicBezTo>
                <a:cubicBezTo>
                  <a:pt x="488" y="759"/>
                  <a:pt x="489" y="759"/>
                  <a:pt x="490" y="759"/>
                </a:cubicBezTo>
                <a:cubicBezTo>
                  <a:pt x="490" y="758"/>
                  <a:pt x="490" y="758"/>
                  <a:pt x="490" y="758"/>
                </a:cubicBezTo>
                <a:cubicBezTo>
                  <a:pt x="490" y="758"/>
                  <a:pt x="490" y="758"/>
                  <a:pt x="490" y="758"/>
                </a:cubicBezTo>
                <a:cubicBezTo>
                  <a:pt x="490" y="758"/>
                  <a:pt x="490" y="758"/>
                  <a:pt x="490" y="759"/>
                </a:cubicBezTo>
                <a:cubicBezTo>
                  <a:pt x="490" y="759"/>
                  <a:pt x="490" y="759"/>
                  <a:pt x="490" y="759"/>
                </a:cubicBezTo>
                <a:cubicBezTo>
                  <a:pt x="491" y="761"/>
                  <a:pt x="492" y="762"/>
                  <a:pt x="493" y="764"/>
                </a:cubicBezTo>
                <a:cubicBezTo>
                  <a:pt x="494" y="764"/>
                  <a:pt x="494" y="764"/>
                  <a:pt x="494" y="764"/>
                </a:cubicBezTo>
                <a:cubicBezTo>
                  <a:pt x="494" y="764"/>
                  <a:pt x="494" y="765"/>
                  <a:pt x="494" y="765"/>
                </a:cubicBezTo>
                <a:cubicBezTo>
                  <a:pt x="494" y="766"/>
                  <a:pt x="495" y="767"/>
                  <a:pt x="495" y="767"/>
                </a:cubicBezTo>
                <a:cubicBezTo>
                  <a:pt x="495" y="769"/>
                  <a:pt x="494" y="769"/>
                  <a:pt x="494" y="767"/>
                </a:cubicBezTo>
                <a:cubicBezTo>
                  <a:pt x="494" y="767"/>
                  <a:pt x="494" y="766"/>
                  <a:pt x="494" y="766"/>
                </a:cubicBezTo>
                <a:cubicBezTo>
                  <a:pt x="494" y="766"/>
                  <a:pt x="494" y="765"/>
                  <a:pt x="494" y="765"/>
                </a:cubicBezTo>
                <a:cubicBezTo>
                  <a:pt x="494" y="765"/>
                  <a:pt x="494" y="765"/>
                  <a:pt x="494" y="764"/>
                </a:cubicBezTo>
                <a:cubicBezTo>
                  <a:pt x="493" y="764"/>
                  <a:pt x="493" y="764"/>
                  <a:pt x="493" y="764"/>
                </a:cubicBezTo>
                <a:cubicBezTo>
                  <a:pt x="491" y="766"/>
                  <a:pt x="490" y="768"/>
                  <a:pt x="491" y="771"/>
                </a:cubicBezTo>
                <a:cubicBezTo>
                  <a:pt x="491" y="773"/>
                  <a:pt x="493" y="775"/>
                  <a:pt x="495" y="776"/>
                </a:cubicBezTo>
                <a:cubicBezTo>
                  <a:pt x="496" y="777"/>
                  <a:pt x="498" y="777"/>
                  <a:pt x="499" y="777"/>
                </a:cubicBezTo>
                <a:cubicBezTo>
                  <a:pt x="502" y="777"/>
                  <a:pt x="502" y="779"/>
                  <a:pt x="501" y="780"/>
                </a:cubicBezTo>
                <a:cubicBezTo>
                  <a:pt x="498" y="784"/>
                  <a:pt x="496" y="787"/>
                  <a:pt x="496" y="792"/>
                </a:cubicBezTo>
                <a:cubicBezTo>
                  <a:pt x="496" y="794"/>
                  <a:pt x="493" y="794"/>
                  <a:pt x="492" y="794"/>
                </a:cubicBezTo>
                <a:cubicBezTo>
                  <a:pt x="490" y="796"/>
                  <a:pt x="490" y="797"/>
                  <a:pt x="491" y="798"/>
                </a:cubicBezTo>
                <a:cubicBezTo>
                  <a:pt x="495" y="802"/>
                  <a:pt x="494" y="804"/>
                  <a:pt x="490" y="806"/>
                </a:cubicBezTo>
                <a:cubicBezTo>
                  <a:pt x="489" y="806"/>
                  <a:pt x="488" y="807"/>
                  <a:pt x="488" y="808"/>
                </a:cubicBezTo>
                <a:cubicBezTo>
                  <a:pt x="489" y="812"/>
                  <a:pt x="492" y="815"/>
                  <a:pt x="495" y="814"/>
                </a:cubicBezTo>
                <a:cubicBezTo>
                  <a:pt x="498" y="812"/>
                  <a:pt x="502" y="811"/>
                  <a:pt x="506" y="811"/>
                </a:cubicBezTo>
                <a:cubicBezTo>
                  <a:pt x="506" y="811"/>
                  <a:pt x="507" y="811"/>
                  <a:pt x="507" y="811"/>
                </a:cubicBezTo>
                <a:cubicBezTo>
                  <a:pt x="507" y="812"/>
                  <a:pt x="507" y="814"/>
                  <a:pt x="507" y="814"/>
                </a:cubicBezTo>
                <a:cubicBezTo>
                  <a:pt x="506" y="816"/>
                  <a:pt x="504" y="817"/>
                  <a:pt x="502" y="819"/>
                </a:cubicBezTo>
                <a:cubicBezTo>
                  <a:pt x="499" y="821"/>
                  <a:pt x="498" y="825"/>
                  <a:pt x="498" y="829"/>
                </a:cubicBezTo>
                <a:cubicBezTo>
                  <a:pt x="498" y="830"/>
                  <a:pt x="499" y="830"/>
                  <a:pt x="500" y="831"/>
                </a:cubicBezTo>
                <a:cubicBezTo>
                  <a:pt x="500" y="831"/>
                  <a:pt x="500" y="831"/>
                  <a:pt x="500" y="831"/>
                </a:cubicBezTo>
                <a:cubicBezTo>
                  <a:pt x="500" y="831"/>
                  <a:pt x="500" y="831"/>
                  <a:pt x="500" y="831"/>
                </a:cubicBezTo>
                <a:cubicBezTo>
                  <a:pt x="500" y="830"/>
                  <a:pt x="501" y="830"/>
                  <a:pt x="501" y="830"/>
                </a:cubicBezTo>
                <a:cubicBezTo>
                  <a:pt x="501" y="830"/>
                  <a:pt x="501" y="831"/>
                  <a:pt x="500" y="831"/>
                </a:cubicBezTo>
                <a:cubicBezTo>
                  <a:pt x="500" y="831"/>
                  <a:pt x="500" y="831"/>
                  <a:pt x="500" y="831"/>
                </a:cubicBezTo>
                <a:cubicBezTo>
                  <a:pt x="503" y="834"/>
                  <a:pt x="505" y="837"/>
                  <a:pt x="508" y="840"/>
                </a:cubicBezTo>
                <a:cubicBezTo>
                  <a:pt x="510" y="842"/>
                  <a:pt x="510" y="844"/>
                  <a:pt x="509" y="846"/>
                </a:cubicBezTo>
                <a:cubicBezTo>
                  <a:pt x="509" y="847"/>
                  <a:pt x="508" y="849"/>
                  <a:pt x="507" y="851"/>
                </a:cubicBezTo>
                <a:cubicBezTo>
                  <a:pt x="507" y="851"/>
                  <a:pt x="506" y="851"/>
                  <a:pt x="506" y="851"/>
                </a:cubicBezTo>
                <a:cubicBezTo>
                  <a:pt x="506" y="851"/>
                  <a:pt x="506" y="851"/>
                  <a:pt x="506" y="851"/>
                </a:cubicBezTo>
                <a:cubicBezTo>
                  <a:pt x="507" y="851"/>
                  <a:pt x="507" y="851"/>
                  <a:pt x="507" y="851"/>
                </a:cubicBezTo>
                <a:cubicBezTo>
                  <a:pt x="507" y="852"/>
                  <a:pt x="506" y="854"/>
                  <a:pt x="506" y="856"/>
                </a:cubicBezTo>
                <a:cubicBezTo>
                  <a:pt x="507" y="858"/>
                  <a:pt x="507" y="861"/>
                  <a:pt x="506" y="863"/>
                </a:cubicBezTo>
                <a:cubicBezTo>
                  <a:pt x="505" y="864"/>
                  <a:pt x="505" y="864"/>
                  <a:pt x="505" y="865"/>
                </a:cubicBezTo>
                <a:cubicBezTo>
                  <a:pt x="510" y="874"/>
                  <a:pt x="510" y="874"/>
                  <a:pt x="510" y="874"/>
                </a:cubicBezTo>
                <a:cubicBezTo>
                  <a:pt x="513" y="876"/>
                  <a:pt x="515" y="878"/>
                  <a:pt x="517" y="880"/>
                </a:cubicBezTo>
                <a:cubicBezTo>
                  <a:pt x="519" y="883"/>
                  <a:pt x="522" y="885"/>
                  <a:pt x="525" y="886"/>
                </a:cubicBezTo>
                <a:cubicBezTo>
                  <a:pt x="528" y="887"/>
                  <a:pt x="530" y="888"/>
                  <a:pt x="532" y="890"/>
                </a:cubicBezTo>
                <a:cubicBezTo>
                  <a:pt x="534" y="891"/>
                  <a:pt x="535" y="892"/>
                  <a:pt x="534" y="894"/>
                </a:cubicBezTo>
                <a:cubicBezTo>
                  <a:pt x="533" y="897"/>
                  <a:pt x="532" y="900"/>
                  <a:pt x="534" y="903"/>
                </a:cubicBezTo>
                <a:cubicBezTo>
                  <a:pt x="534" y="905"/>
                  <a:pt x="535" y="906"/>
                  <a:pt x="536" y="907"/>
                </a:cubicBezTo>
                <a:cubicBezTo>
                  <a:pt x="537" y="907"/>
                  <a:pt x="537" y="907"/>
                  <a:pt x="537" y="907"/>
                </a:cubicBezTo>
                <a:cubicBezTo>
                  <a:pt x="536" y="907"/>
                  <a:pt x="536" y="907"/>
                  <a:pt x="536" y="907"/>
                </a:cubicBezTo>
                <a:cubicBezTo>
                  <a:pt x="536" y="907"/>
                  <a:pt x="536" y="907"/>
                  <a:pt x="536" y="907"/>
                </a:cubicBezTo>
                <a:cubicBezTo>
                  <a:pt x="536" y="907"/>
                  <a:pt x="536" y="907"/>
                  <a:pt x="536" y="907"/>
                </a:cubicBezTo>
                <a:cubicBezTo>
                  <a:pt x="536" y="908"/>
                  <a:pt x="536" y="909"/>
                  <a:pt x="537" y="910"/>
                </a:cubicBezTo>
                <a:cubicBezTo>
                  <a:pt x="538" y="911"/>
                  <a:pt x="539" y="911"/>
                  <a:pt x="541" y="911"/>
                </a:cubicBezTo>
                <a:cubicBezTo>
                  <a:pt x="543" y="912"/>
                  <a:pt x="545" y="912"/>
                  <a:pt x="546" y="915"/>
                </a:cubicBezTo>
                <a:cubicBezTo>
                  <a:pt x="547" y="919"/>
                  <a:pt x="548" y="922"/>
                  <a:pt x="550" y="926"/>
                </a:cubicBezTo>
                <a:cubicBezTo>
                  <a:pt x="552" y="929"/>
                  <a:pt x="550" y="932"/>
                  <a:pt x="549" y="935"/>
                </a:cubicBezTo>
                <a:cubicBezTo>
                  <a:pt x="549" y="936"/>
                  <a:pt x="548" y="937"/>
                  <a:pt x="547" y="937"/>
                </a:cubicBezTo>
                <a:cubicBezTo>
                  <a:pt x="546" y="938"/>
                  <a:pt x="544" y="940"/>
                  <a:pt x="543" y="939"/>
                </a:cubicBezTo>
                <a:cubicBezTo>
                  <a:pt x="538" y="938"/>
                  <a:pt x="533" y="937"/>
                  <a:pt x="529" y="933"/>
                </a:cubicBezTo>
                <a:cubicBezTo>
                  <a:pt x="530" y="934"/>
                  <a:pt x="530" y="934"/>
                  <a:pt x="530" y="934"/>
                </a:cubicBezTo>
                <a:cubicBezTo>
                  <a:pt x="530" y="934"/>
                  <a:pt x="530" y="934"/>
                  <a:pt x="530" y="933"/>
                </a:cubicBezTo>
                <a:cubicBezTo>
                  <a:pt x="531" y="934"/>
                  <a:pt x="533" y="934"/>
                  <a:pt x="534" y="934"/>
                </a:cubicBezTo>
                <a:cubicBezTo>
                  <a:pt x="537" y="934"/>
                  <a:pt x="539" y="932"/>
                  <a:pt x="539" y="929"/>
                </a:cubicBezTo>
                <a:cubicBezTo>
                  <a:pt x="540" y="923"/>
                  <a:pt x="539" y="917"/>
                  <a:pt x="536" y="911"/>
                </a:cubicBezTo>
                <a:cubicBezTo>
                  <a:pt x="534" y="910"/>
                  <a:pt x="532" y="908"/>
                  <a:pt x="531" y="906"/>
                </a:cubicBezTo>
                <a:cubicBezTo>
                  <a:pt x="530" y="903"/>
                  <a:pt x="529" y="900"/>
                  <a:pt x="528" y="898"/>
                </a:cubicBezTo>
                <a:cubicBezTo>
                  <a:pt x="527" y="892"/>
                  <a:pt x="523" y="888"/>
                  <a:pt x="518" y="886"/>
                </a:cubicBezTo>
                <a:cubicBezTo>
                  <a:pt x="513" y="885"/>
                  <a:pt x="510" y="883"/>
                  <a:pt x="506" y="880"/>
                </a:cubicBezTo>
                <a:cubicBezTo>
                  <a:pt x="504" y="878"/>
                  <a:pt x="502" y="876"/>
                  <a:pt x="500" y="875"/>
                </a:cubicBezTo>
                <a:cubicBezTo>
                  <a:pt x="498" y="874"/>
                  <a:pt x="497" y="874"/>
                  <a:pt x="495" y="874"/>
                </a:cubicBezTo>
                <a:cubicBezTo>
                  <a:pt x="494" y="873"/>
                  <a:pt x="491" y="875"/>
                  <a:pt x="492" y="877"/>
                </a:cubicBezTo>
                <a:cubicBezTo>
                  <a:pt x="492" y="880"/>
                  <a:pt x="493" y="883"/>
                  <a:pt x="493" y="886"/>
                </a:cubicBezTo>
                <a:cubicBezTo>
                  <a:pt x="493" y="888"/>
                  <a:pt x="494" y="890"/>
                  <a:pt x="495" y="891"/>
                </a:cubicBezTo>
                <a:cubicBezTo>
                  <a:pt x="497" y="894"/>
                  <a:pt x="500" y="897"/>
                  <a:pt x="502" y="900"/>
                </a:cubicBezTo>
                <a:cubicBezTo>
                  <a:pt x="508" y="909"/>
                  <a:pt x="517" y="917"/>
                  <a:pt x="523" y="927"/>
                </a:cubicBezTo>
                <a:cubicBezTo>
                  <a:pt x="524" y="928"/>
                  <a:pt x="525" y="929"/>
                  <a:pt x="527" y="930"/>
                </a:cubicBezTo>
                <a:cubicBezTo>
                  <a:pt x="526" y="930"/>
                  <a:pt x="526" y="930"/>
                  <a:pt x="526" y="930"/>
                </a:cubicBezTo>
                <a:cubicBezTo>
                  <a:pt x="526" y="930"/>
                  <a:pt x="526" y="930"/>
                  <a:pt x="527" y="930"/>
                </a:cubicBezTo>
                <a:cubicBezTo>
                  <a:pt x="522" y="932"/>
                  <a:pt x="519" y="935"/>
                  <a:pt x="519" y="940"/>
                </a:cubicBezTo>
                <a:cubicBezTo>
                  <a:pt x="519" y="947"/>
                  <a:pt x="519" y="955"/>
                  <a:pt x="519" y="962"/>
                </a:cubicBezTo>
                <a:cubicBezTo>
                  <a:pt x="520" y="971"/>
                  <a:pt x="518" y="979"/>
                  <a:pt x="515" y="987"/>
                </a:cubicBezTo>
                <a:cubicBezTo>
                  <a:pt x="512" y="996"/>
                  <a:pt x="508" y="1005"/>
                  <a:pt x="505" y="1014"/>
                </a:cubicBezTo>
                <a:cubicBezTo>
                  <a:pt x="503" y="1022"/>
                  <a:pt x="500" y="1031"/>
                  <a:pt x="495" y="1038"/>
                </a:cubicBezTo>
                <a:cubicBezTo>
                  <a:pt x="491" y="1045"/>
                  <a:pt x="489" y="1052"/>
                  <a:pt x="489" y="1060"/>
                </a:cubicBezTo>
                <a:cubicBezTo>
                  <a:pt x="489" y="1062"/>
                  <a:pt x="490" y="1063"/>
                  <a:pt x="490" y="1065"/>
                </a:cubicBezTo>
                <a:cubicBezTo>
                  <a:pt x="490" y="1074"/>
                  <a:pt x="489" y="1082"/>
                  <a:pt x="483" y="1090"/>
                </a:cubicBezTo>
                <a:cubicBezTo>
                  <a:pt x="482" y="1092"/>
                  <a:pt x="482" y="1095"/>
                  <a:pt x="483" y="1098"/>
                </a:cubicBezTo>
                <a:cubicBezTo>
                  <a:pt x="486" y="1104"/>
                  <a:pt x="486" y="1109"/>
                  <a:pt x="485" y="1116"/>
                </a:cubicBezTo>
                <a:cubicBezTo>
                  <a:pt x="484" y="1118"/>
                  <a:pt x="485" y="1121"/>
                  <a:pt x="485" y="1124"/>
                </a:cubicBezTo>
                <a:cubicBezTo>
                  <a:pt x="485" y="1125"/>
                  <a:pt x="485" y="1127"/>
                  <a:pt x="485" y="1128"/>
                </a:cubicBezTo>
                <a:cubicBezTo>
                  <a:pt x="487" y="1133"/>
                  <a:pt x="489" y="1138"/>
                  <a:pt x="491" y="1142"/>
                </a:cubicBezTo>
                <a:cubicBezTo>
                  <a:pt x="492" y="1143"/>
                  <a:pt x="494" y="1144"/>
                  <a:pt x="495" y="1145"/>
                </a:cubicBezTo>
                <a:cubicBezTo>
                  <a:pt x="498" y="1147"/>
                  <a:pt x="498" y="1147"/>
                  <a:pt x="497" y="1149"/>
                </a:cubicBezTo>
                <a:cubicBezTo>
                  <a:pt x="497" y="1151"/>
                  <a:pt x="496" y="1152"/>
                  <a:pt x="495" y="1154"/>
                </a:cubicBezTo>
                <a:cubicBezTo>
                  <a:pt x="495" y="1156"/>
                  <a:pt x="495" y="1157"/>
                  <a:pt x="495" y="1159"/>
                </a:cubicBezTo>
                <a:cubicBezTo>
                  <a:pt x="497" y="1163"/>
                  <a:pt x="499" y="1168"/>
                  <a:pt x="497" y="1173"/>
                </a:cubicBezTo>
                <a:cubicBezTo>
                  <a:pt x="497" y="1174"/>
                  <a:pt x="498" y="1176"/>
                  <a:pt x="498" y="1178"/>
                </a:cubicBezTo>
                <a:cubicBezTo>
                  <a:pt x="501" y="1184"/>
                  <a:pt x="504" y="1190"/>
                  <a:pt x="506" y="1196"/>
                </a:cubicBezTo>
                <a:cubicBezTo>
                  <a:pt x="508" y="1199"/>
                  <a:pt x="509" y="1202"/>
                  <a:pt x="508" y="1205"/>
                </a:cubicBezTo>
                <a:cubicBezTo>
                  <a:pt x="508" y="1209"/>
                  <a:pt x="509" y="1211"/>
                  <a:pt x="512" y="1212"/>
                </a:cubicBezTo>
                <a:cubicBezTo>
                  <a:pt x="522" y="1213"/>
                  <a:pt x="529" y="1219"/>
                  <a:pt x="537" y="1224"/>
                </a:cubicBezTo>
                <a:cubicBezTo>
                  <a:pt x="544" y="1228"/>
                  <a:pt x="547" y="1234"/>
                  <a:pt x="548" y="1241"/>
                </a:cubicBezTo>
                <a:cubicBezTo>
                  <a:pt x="548" y="1248"/>
                  <a:pt x="550" y="1253"/>
                  <a:pt x="551" y="1259"/>
                </a:cubicBezTo>
                <a:cubicBezTo>
                  <a:pt x="554" y="1269"/>
                  <a:pt x="559" y="1279"/>
                  <a:pt x="560" y="1289"/>
                </a:cubicBezTo>
                <a:cubicBezTo>
                  <a:pt x="561" y="1292"/>
                  <a:pt x="563" y="1295"/>
                  <a:pt x="565" y="1297"/>
                </a:cubicBezTo>
                <a:cubicBezTo>
                  <a:pt x="571" y="1302"/>
                  <a:pt x="574" y="1307"/>
                  <a:pt x="577" y="1313"/>
                </a:cubicBezTo>
                <a:cubicBezTo>
                  <a:pt x="579" y="1316"/>
                  <a:pt x="578" y="1320"/>
                  <a:pt x="577" y="1323"/>
                </a:cubicBezTo>
                <a:cubicBezTo>
                  <a:pt x="575" y="1325"/>
                  <a:pt x="573" y="1325"/>
                  <a:pt x="571" y="1325"/>
                </a:cubicBezTo>
                <a:cubicBezTo>
                  <a:pt x="570" y="1325"/>
                  <a:pt x="570" y="1325"/>
                  <a:pt x="569" y="1325"/>
                </a:cubicBezTo>
                <a:cubicBezTo>
                  <a:pt x="568" y="1326"/>
                  <a:pt x="567" y="1328"/>
                  <a:pt x="568" y="1329"/>
                </a:cubicBezTo>
                <a:cubicBezTo>
                  <a:pt x="570" y="1334"/>
                  <a:pt x="574" y="1339"/>
                  <a:pt x="579" y="1341"/>
                </a:cubicBezTo>
                <a:cubicBezTo>
                  <a:pt x="586" y="1344"/>
                  <a:pt x="590" y="1349"/>
                  <a:pt x="596" y="1354"/>
                </a:cubicBezTo>
                <a:cubicBezTo>
                  <a:pt x="598" y="1356"/>
                  <a:pt x="599" y="1359"/>
                  <a:pt x="599" y="1361"/>
                </a:cubicBezTo>
                <a:cubicBezTo>
                  <a:pt x="599" y="1364"/>
                  <a:pt x="599" y="1367"/>
                  <a:pt x="598" y="1370"/>
                </a:cubicBezTo>
                <a:cubicBezTo>
                  <a:pt x="597" y="1373"/>
                  <a:pt x="598" y="1376"/>
                  <a:pt x="601" y="1378"/>
                </a:cubicBezTo>
                <a:cubicBezTo>
                  <a:pt x="609" y="1387"/>
                  <a:pt x="619" y="1393"/>
                  <a:pt x="624" y="1404"/>
                </a:cubicBezTo>
                <a:cubicBezTo>
                  <a:pt x="625" y="1406"/>
                  <a:pt x="628" y="1406"/>
                  <a:pt x="630" y="1404"/>
                </a:cubicBezTo>
                <a:cubicBezTo>
                  <a:pt x="632" y="1402"/>
                  <a:pt x="633" y="1399"/>
                  <a:pt x="633" y="1397"/>
                </a:cubicBezTo>
                <a:cubicBezTo>
                  <a:pt x="631" y="1393"/>
                  <a:pt x="629" y="1390"/>
                  <a:pt x="627" y="1387"/>
                </a:cubicBezTo>
                <a:cubicBezTo>
                  <a:pt x="625" y="1385"/>
                  <a:pt x="618" y="1373"/>
                  <a:pt x="617" y="1370"/>
                </a:cubicBezTo>
                <a:cubicBezTo>
                  <a:pt x="616" y="1367"/>
                  <a:pt x="615" y="1365"/>
                  <a:pt x="614" y="1362"/>
                </a:cubicBezTo>
                <a:cubicBezTo>
                  <a:pt x="614" y="1358"/>
                  <a:pt x="613" y="1353"/>
                  <a:pt x="612" y="1349"/>
                </a:cubicBezTo>
                <a:cubicBezTo>
                  <a:pt x="611" y="1344"/>
                  <a:pt x="606" y="1342"/>
                  <a:pt x="605" y="1337"/>
                </a:cubicBezTo>
                <a:cubicBezTo>
                  <a:pt x="602" y="1329"/>
                  <a:pt x="599" y="1322"/>
                  <a:pt x="595" y="1316"/>
                </a:cubicBezTo>
                <a:cubicBezTo>
                  <a:pt x="590" y="1309"/>
                  <a:pt x="587" y="1301"/>
                  <a:pt x="582" y="1295"/>
                </a:cubicBezTo>
                <a:cubicBezTo>
                  <a:pt x="581" y="1294"/>
                  <a:pt x="580" y="1292"/>
                  <a:pt x="580" y="1290"/>
                </a:cubicBezTo>
                <a:cubicBezTo>
                  <a:pt x="579" y="1282"/>
                  <a:pt x="578" y="1274"/>
                  <a:pt x="580" y="1266"/>
                </a:cubicBezTo>
                <a:cubicBezTo>
                  <a:pt x="580" y="1264"/>
                  <a:pt x="581" y="1264"/>
                  <a:pt x="583" y="1264"/>
                </a:cubicBezTo>
                <a:cubicBezTo>
                  <a:pt x="586" y="1266"/>
                  <a:pt x="588" y="1267"/>
                  <a:pt x="591" y="1268"/>
                </a:cubicBezTo>
                <a:cubicBezTo>
                  <a:pt x="594" y="1270"/>
                  <a:pt x="597" y="1272"/>
                  <a:pt x="597" y="1276"/>
                </a:cubicBezTo>
                <a:cubicBezTo>
                  <a:pt x="598" y="1283"/>
                  <a:pt x="599" y="1290"/>
                  <a:pt x="602" y="1297"/>
                </a:cubicBezTo>
                <a:cubicBezTo>
                  <a:pt x="606" y="1307"/>
                  <a:pt x="611" y="1317"/>
                  <a:pt x="618" y="1325"/>
                </a:cubicBezTo>
                <a:cubicBezTo>
                  <a:pt x="620" y="1327"/>
                  <a:pt x="622" y="1328"/>
                  <a:pt x="622" y="1330"/>
                </a:cubicBezTo>
                <a:cubicBezTo>
                  <a:pt x="623" y="1336"/>
                  <a:pt x="627" y="1339"/>
                  <a:pt x="631" y="1342"/>
                </a:cubicBezTo>
                <a:cubicBezTo>
                  <a:pt x="633" y="1344"/>
                  <a:pt x="636" y="1346"/>
                  <a:pt x="638" y="1349"/>
                </a:cubicBezTo>
                <a:cubicBezTo>
                  <a:pt x="639" y="1350"/>
                  <a:pt x="640" y="1351"/>
                  <a:pt x="639" y="1353"/>
                </a:cubicBezTo>
                <a:cubicBezTo>
                  <a:pt x="638" y="1354"/>
                  <a:pt x="637" y="1355"/>
                  <a:pt x="637" y="1356"/>
                </a:cubicBezTo>
                <a:cubicBezTo>
                  <a:pt x="635" y="1358"/>
                  <a:pt x="636" y="1362"/>
                  <a:pt x="638" y="1363"/>
                </a:cubicBezTo>
                <a:cubicBezTo>
                  <a:pt x="641" y="1366"/>
                  <a:pt x="644" y="1368"/>
                  <a:pt x="648" y="1370"/>
                </a:cubicBezTo>
                <a:cubicBezTo>
                  <a:pt x="651" y="1372"/>
                  <a:pt x="654" y="1374"/>
                  <a:pt x="654" y="1378"/>
                </a:cubicBezTo>
                <a:cubicBezTo>
                  <a:pt x="654" y="1380"/>
                  <a:pt x="656" y="1382"/>
                  <a:pt x="657" y="1384"/>
                </a:cubicBezTo>
                <a:cubicBezTo>
                  <a:pt x="674" y="1401"/>
                  <a:pt x="679" y="1410"/>
                  <a:pt x="684" y="1430"/>
                </a:cubicBezTo>
                <a:cubicBezTo>
                  <a:pt x="684" y="1432"/>
                  <a:pt x="684" y="1433"/>
                  <a:pt x="684" y="1435"/>
                </a:cubicBezTo>
                <a:cubicBezTo>
                  <a:pt x="683" y="1437"/>
                  <a:pt x="682" y="1439"/>
                  <a:pt x="681" y="1441"/>
                </a:cubicBezTo>
                <a:cubicBezTo>
                  <a:pt x="677" y="1446"/>
                  <a:pt x="679" y="1451"/>
                  <a:pt x="682" y="1456"/>
                </a:cubicBezTo>
                <a:cubicBezTo>
                  <a:pt x="684" y="1461"/>
                  <a:pt x="687" y="1465"/>
                  <a:pt x="692" y="1466"/>
                </a:cubicBezTo>
                <a:cubicBezTo>
                  <a:pt x="697" y="1468"/>
                  <a:pt x="701" y="1471"/>
                  <a:pt x="704" y="1475"/>
                </a:cubicBezTo>
                <a:cubicBezTo>
                  <a:pt x="707" y="1479"/>
                  <a:pt x="711" y="1481"/>
                  <a:pt x="716" y="1483"/>
                </a:cubicBezTo>
                <a:cubicBezTo>
                  <a:pt x="718" y="1483"/>
                  <a:pt x="721" y="1483"/>
                  <a:pt x="723" y="1484"/>
                </a:cubicBezTo>
                <a:cubicBezTo>
                  <a:pt x="725" y="1485"/>
                  <a:pt x="727" y="1485"/>
                  <a:pt x="729" y="1487"/>
                </a:cubicBezTo>
                <a:cubicBezTo>
                  <a:pt x="736" y="1493"/>
                  <a:pt x="743" y="1498"/>
                  <a:pt x="753" y="1500"/>
                </a:cubicBezTo>
                <a:cubicBezTo>
                  <a:pt x="758" y="1501"/>
                  <a:pt x="762" y="1504"/>
                  <a:pt x="766" y="1506"/>
                </a:cubicBezTo>
                <a:cubicBezTo>
                  <a:pt x="771" y="1509"/>
                  <a:pt x="776" y="1511"/>
                  <a:pt x="782" y="1512"/>
                </a:cubicBezTo>
                <a:cubicBezTo>
                  <a:pt x="800" y="1518"/>
                  <a:pt x="800" y="1518"/>
                  <a:pt x="818" y="1511"/>
                </a:cubicBezTo>
                <a:cubicBezTo>
                  <a:pt x="823" y="1509"/>
                  <a:pt x="828" y="1510"/>
                  <a:pt x="832" y="1513"/>
                </a:cubicBezTo>
                <a:cubicBezTo>
                  <a:pt x="840" y="1521"/>
                  <a:pt x="850" y="1527"/>
                  <a:pt x="858" y="1536"/>
                </a:cubicBezTo>
                <a:cubicBezTo>
                  <a:pt x="861" y="1540"/>
                  <a:pt x="865" y="1543"/>
                  <a:pt x="871" y="1543"/>
                </a:cubicBezTo>
                <a:cubicBezTo>
                  <a:pt x="878" y="1544"/>
                  <a:pt x="884" y="1546"/>
                  <a:pt x="891" y="1548"/>
                </a:cubicBezTo>
                <a:cubicBezTo>
                  <a:pt x="899" y="1551"/>
                  <a:pt x="907" y="1554"/>
                  <a:pt x="915" y="1554"/>
                </a:cubicBezTo>
                <a:cubicBezTo>
                  <a:pt x="917" y="1554"/>
                  <a:pt x="918" y="1555"/>
                  <a:pt x="919" y="1556"/>
                </a:cubicBezTo>
                <a:cubicBezTo>
                  <a:pt x="921" y="1561"/>
                  <a:pt x="925" y="1564"/>
                  <a:pt x="928" y="1568"/>
                </a:cubicBezTo>
                <a:cubicBezTo>
                  <a:pt x="931" y="1572"/>
                  <a:pt x="935" y="1576"/>
                  <a:pt x="939" y="1581"/>
                </a:cubicBezTo>
                <a:cubicBezTo>
                  <a:pt x="940" y="1583"/>
                  <a:pt x="942" y="1586"/>
                  <a:pt x="941" y="1590"/>
                </a:cubicBezTo>
                <a:cubicBezTo>
                  <a:pt x="939" y="1595"/>
                  <a:pt x="942" y="1598"/>
                  <a:pt x="947" y="1600"/>
                </a:cubicBezTo>
                <a:cubicBezTo>
                  <a:pt x="949" y="1600"/>
                  <a:pt x="951" y="1601"/>
                  <a:pt x="953" y="1601"/>
                </a:cubicBezTo>
                <a:cubicBezTo>
                  <a:pt x="955" y="1601"/>
                  <a:pt x="956" y="1601"/>
                  <a:pt x="958" y="1602"/>
                </a:cubicBezTo>
                <a:cubicBezTo>
                  <a:pt x="962" y="1605"/>
                  <a:pt x="966" y="1608"/>
                  <a:pt x="967" y="1613"/>
                </a:cubicBezTo>
                <a:cubicBezTo>
                  <a:pt x="968" y="1619"/>
                  <a:pt x="973" y="1620"/>
                  <a:pt x="978" y="1621"/>
                </a:cubicBezTo>
                <a:cubicBezTo>
                  <a:pt x="980" y="1622"/>
                  <a:pt x="981" y="1621"/>
                  <a:pt x="983" y="1621"/>
                </a:cubicBezTo>
                <a:cubicBezTo>
                  <a:pt x="988" y="1619"/>
                  <a:pt x="993" y="1621"/>
                  <a:pt x="996" y="1625"/>
                </a:cubicBezTo>
                <a:cubicBezTo>
                  <a:pt x="999" y="1628"/>
                  <a:pt x="1004" y="1630"/>
                  <a:pt x="1007" y="1632"/>
                </a:cubicBezTo>
                <a:cubicBezTo>
                  <a:pt x="1010" y="1636"/>
                  <a:pt x="1012" y="1635"/>
                  <a:pt x="1017" y="1632"/>
                </a:cubicBezTo>
                <a:cubicBezTo>
                  <a:pt x="1019" y="1630"/>
                  <a:pt x="1019" y="1628"/>
                  <a:pt x="1018" y="1626"/>
                </a:cubicBezTo>
                <a:cubicBezTo>
                  <a:pt x="1018" y="1625"/>
                  <a:pt x="1017" y="1622"/>
                  <a:pt x="1018" y="1622"/>
                </a:cubicBezTo>
                <a:cubicBezTo>
                  <a:pt x="1023" y="1619"/>
                  <a:pt x="1025" y="1614"/>
                  <a:pt x="1028" y="1611"/>
                </a:cubicBezTo>
                <a:cubicBezTo>
                  <a:pt x="1029" y="1610"/>
                  <a:pt x="1032" y="1610"/>
                  <a:pt x="1033" y="1611"/>
                </a:cubicBezTo>
                <a:cubicBezTo>
                  <a:pt x="1037" y="1613"/>
                  <a:pt x="1041" y="1617"/>
                  <a:pt x="1041" y="1622"/>
                </a:cubicBezTo>
                <a:cubicBezTo>
                  <a:pt x="1042" y="1626"/>
                  <a:pt x="1043" y="1629"/>
                  <a:pt x="1045" y="1632"/>
                </a:cubicBezTo>
                <a:cubicBezTo>
                  <a:pt x="1049" y="1636"/>
                  <a:pt x="1049" y="1642"/>
                  <a:pt x="1053" y="1645"/>
                </a:cubicBezTo>
                <a:cubicBezTo>
                  <a:pt x="1054" y="1646"/>
                  <a:pt x="1054" y="1648"/>
                  <a:pt x="1054" y="1650"/>
                </a:cubicBezTo>
                <a:cubicBezTo>
                  <a:pt x="1054" y="1657"/>
                  <a:pt x="1054" y="1664"/>
                  <a:pt x="1054" y="1671"/>
                </a:cubicBezTo>
                <a:cubicBezTo>
                  <a:pt x="1053" y="1675"/>
                  <a:pt x="1053" y="1679"/>
                  <a:pt x="1056" y="1682"/>
                </a:cubicBezTo>
                <a:cubicBezTo>
                  <a:pt x="1057" y="1683"/>
                  <a:pt x="1057" y="1685"/>
                  <a:pt x="1056" y="1686"/>
                </a:cubicBezTo>
                <a:cubicBezTo>
                  <a:pt x="1053" y="1691"/>
                  <a:pt x="1049" y="1697"/>
                  <a:pt x="1043" y="1699"/>
                </a:cubicBezTo>
                <a:cubicBezTo>
                  <a:pt x="1037" y="1702"/>
                  <a:pt x="1034" y="1706"/>
                  <a:pt x="1032" y="1713"/>
                </a:cubicBezTo>
                <a:cubicBezTo>
                  <a:pt x="1031" y="1716"/>
                  <a:pt x="1029" y="1718"/>
                  <a:pt x="1026" y="1720"/>
                </a:cubicBezTo>
                <a:cubicBezTo>
                  <a:pt x="1023" y="1722"/>
                  <a:pt x="1020" y="1723"/>
                  <a:pt x="1018" y="1725"/>
                </a:cubicBezTo>
                <a:cubicBezTo>
                  <a:pt x="1017" y="1725"/>
                  <a:pt x="1016" y="1727"/>
                  <a:pt x="1016" y="1728"/>
                </a:cubicBezTo>
                <a:cubicBezTo>
                  <a:pt x="1013" y="1741"/>
                  <a:pt x="1013" y="1741"/>
                  <a:pt x="1007" y="1750"/>
                </a:cubicBezTo>
                <a:cubicBezTo>
                  <a:pt x="1007" y="1751"/>
                  <a:pt x="1006" y="1752"/>
                  <a:pt x="1006" y="1753"/>
                </a:cubicBezTo>
                <a:cubicBezTo>
                  <a:pt x="1005" y="1759"/>
                  <a:pt x="1004" y="1764"/>
                  <a:pt x="1005" y="1769"/>
                </a:cubicBezTo>
                <a:cubicBezTo>
                  <a:pt x="1006" y="1774"/>
                  <a:pt x="1010" y="1776"/>
                  <a:pt x="1014" y="1778"/>
                </a:cubicBezTo>
                <a:cubicBezTo>
                  <a:pt x="1015" y="1778"/>
                  <a:pt x="1015" y="1778"/>
                  <a:pt x="1016" y="1777"/>
                </a:cubicBezTo>
                <a:cubicBezTo>
                  <a:pt x="1016" y="1777"/>
                  <a:pt x="1017" y="1776"/>
                  <a:pt x="1018" y="1775"/>
                </a:cubicBezTo>
                <a:cubicBezTo>
                  <a:pt x="1018" y="1776"/>
                  <a:pt x="1018" y="1776"/>
                  <a:pt x="1018" y="1777"/>
                </a:cubicBezTo>
                <a:cubicBezTo>
                  <a:pt x="1018" y="1780"/>
                  <a:pt x="1017" y="1783"/>
                  <a:pt x="1015" y="1785"/>
                </a:cubicBezTo>
                <a:cubicBezTo>
                  <a:pt x="1012" y="1787"/>
                  <a:pt x="1009" y="1789"/>
                  <a:pt x="1006" y="1791"/>
                </a:cubicBezTo>
                <a:cubicBezTo>
                  <a:pt x="1001" y="1795"/>
                  <a:pt x="998" y="1800"/>
                  <a:pt x="1000" y="1806"/>
                </a:cubicBezTo>
                <a:cubicBezTo>
                  <a:pt x="1001" y="1808"/>
                  <a:pt x="1002" y="1811"/>
                  <a:pt x="1002" y="1814"/>
                </a:cubicBezTo>
                <a:cubicBezTo>
                  <a:pt x="1003" y="1815"/>
                  <a:pt x="1002" y="1817"/>
                  <a:pt x="1002" y="1819"/>
                </a:cubicBezTo>
                <a:cubicBezTo>
                  <a:pt x="1001" y="1822"/>
                  <a:pt x="1002" y="1824"/>
                  <a:pt x="1004" y="1825"/>
                </a:cubicBezTo>
                <a:cubicBezTo>
                  <a:pt x="1008" y="1827"/>
                  <a:pt x="1011" y="1829"/>
                  <a:pt x="1014" y="1831"/>
                </a:cubicBezTo>
                <a:cubicBezTo>
                  <a:pt x="1018" y="1833"/>
                  <a:pt x="1022" y="1836"/>
                  <a:pt x="1024" y="1840"/>
                </a:cubicBezTo>
                <a:cubicBezTo>
                  <a:pt x="1025" y="1844"/>
                  <a:pt x="1027" y="1847"/>
                  <a:pt x="1030" y="1849"/>
                </a:cubicBezTo>
                <a:cubicBezTo>
                  <a:pt x="1032" y="1851"/>
                  <a:pt x="1034" y="1853"/>
                  <a:pt x="1034" y="1855"/>
                </a:cubicBezTo>
                <a:cubicBezTo>
                  <a:pt x="1036" y="1862"/>
                  <a:pt x="1040" y="1868"/>
                  <a:pt x="1043" y="1874"/>
                </a:cubicBezTo>
                <a:cubicBezTo>
                  <a:pt x="1046" y="1883"/>
                  <a:pt x="1051" y="1891"/>
                  <a:pt x="1056" y="1899"/>
                </a:cubicBezTo>
                <a:cubicBezTo>
                  <a:pt x="1062" y="1907"/>
                  <a:pt x="1066" y="1915"/>
                  <a:pt x="1071" y="1924"/>
                </a:cubicBezTo>
                <a:cubicBezTo>
                  <a:pt x="1072" y="1925"/>
                  <a:pt x="1073" y="1927"/>
                  <a:pt x="1073" y="1929"/>
                </a:cubicBezTo>
                <a:cubicBezTo>
                  <a:pt x="1072" y="1934"/>
                  <a:pt x="1075" y="1937"/>
                  <a:pt x="1078" y="1940"/>
                </a:cubicBezTo>
                <a:cubicBezTo>
                  <a:pt x="1087" y="1951"/>
                  <a:pt x="1099" y="1957"/>
                  <a:pt x="1110" y="1965"/>
                </a:cubicBezTo>
                <a:cubicBezTo>
                  <a:pt x="1112" y="1967"/>
                  <a:pt x="1115" y="1967"/>
                  <a:pt x="1118" y="1968"/>
                </a:cubicBezTo>
                <a:cubicBezTo>
                  <a:pt x="1124" y="1971"/>
                  <a:pt x="1130" y="1974"/>
                  <a:pt x="1135" y="1978"/>
                </a:cubicBezTo>
                <a:cubicBezTo>
                  <a:pt x="1141" y="1985"/>
                  <a:pt x="1148" y="1990"/>
                  <a:pt x="1154" y="1996"/>
                </a:cubicBezTo>
                <a:cubicBezTo>
                  <a:pt x="1156" y="1997"/>
                  <a:pt x="1157" y="1999"/>
                  <a:pt x="1157" y="2002"/>
                </a:cubicBezTo>
                <a:cubicBezTo>
                  <a:pt x="1158" y="2004"/>
                  <a:pt x="1158" y="2007"/>
                  <a:pt x="1158" y="2010"/>
                </a:cubicBezTo>
                <a:cubicBezTo>
                  <a:pt x="1159" y="2015"/>
                  <a:pt x="1160" y="2020"/>
                  <a:pt x="1159" y="2026"/>
                </a:cubicBezTo>
                <a:cubicBezTo>
                  <a:pt x="1158" y="2028"/>
                  <a:pt x="1159" y="2030"/>
                  <a:pt x="1159" y="2033"/>
                </a:cubicBezTo>
                <a:cubicBezTo>
                  <a:pt x="1163" y="2043"/>
                  <a:pt x="1162" y="2054"/>
                  <a:pt x="1159" y="2065"/>
                </a:cubicBezTo>
                <a:cubicBezTo>
                  <a:pt x="1159" y="2067"/>
                  <a:pt x="1158" y="2068"/>
                  <a:pt x="1159" y="2070"/>
                </a:cubicBezTo>
                <a:cubicBezTo>
                  <a:pt x="1163" y="2086"/>
                  <a:pt x="1160" y="2103"/>
                  <a:pt x="1161" y="2119"/>
                </a:cubicBezTo>
                <a:cubicBezTo>
                  <a:pt x="1161" y="2123"/>
                  <a:pt x="1160" y="2128"/>
                  <a:pt x="1160" y="2132"/>
                </a:cubicBezTo>
                <a:cubicBezTo>
                  <a:pt x="1159" y="2138"/>
                  <a:pt x="1158" y="2143"/>
                  <a:pt x="1156" y="2148"/>
                </a:cubicBezTo>
                <a:cubicBezTo>
                  <a:pt x="1155" y="2152"/>
                  <a:pt x="1155" y="2155"/>
                  <a:pt x="1156" y="2158"/>
                </a:cubicBezTo>
                <a:cubicBezTo>
                  <a:pt x="1158" y="2163"/>
                  <a:pt x="1158" y="2168"/>
                  <a:pt x="1156" y="2172"/>
                </a:cubicBezTo>
                <a:cubicBezTo>
                  <a:pt x="1154" y="2177"/>
                  <a:pt x="1154" y="2182"/>
                  <a:pt x="1156" y="2187"/>
                </a:cubicBezTo>
                <a:cubicBezTo>
                  <a:pt x="1159" y="2193"/>
                  <a:pt x="1157" y="2200"/>
                  <a:pt x="1159" y="2206"/>
                </a:cubicBezTo>
                <a:cubicBezTo>
                  <a:pt x="1161" y="2209"/>
                  <a:pt x="1159" y="2213"/>
                  <a:pt x="1159" y="2216"/>
                </a:cubicBezTo>
                <a:cubicBezTo>
                  <a:pt x="1160" y="2219"/>
                  <a:pt x="1160" y="2222"/>
                  <a:pt x="1161" y="2224"/>
                </a:cubicBezTo>
                <a:cubicBezTo>
                  <a:pt x="1161" y="2227"/>
                  <a:pt x="1161" y="2230"/>
                  <a:pt x="1160" y="2232"/>
                </a:cubicBezTo>
                <a:cubicBezTo>
                  <a:pt x="1159" y="2236"/>
                  <a:pt x="1158" y="2240"/>
                  <a:pt x="1157" y="2243"/>
                </a:cubicBezTo>
                <a:cubicBezTo>
                  <a:pt x="1154" y="2256"/>
                  <a:pt x="1151" y="2268"/>
                  <a:pt x="1149" y="2280"/>
                </a:cubicBezTo>
                <a:cubicBezTo>
                  <a:pt x="1148" y="2283"/>
                  <a:pt x="1148" y="2285"/>
                  <a:pt x="1146" y="2286"/>
                </a:cubicBezTo>
                <a:cubicBezTo>
                  <a:pt x="1142" y="2289"/>
                  <a:pt x="1142" y="2293"/>
                  <a:pt x="1144" y="2297"/>
                </a:cubicBezTo>
                <a:cubicBezTo>
                  <a:pt x="1148" y="2302"/>
                  <a:pt x="1148" y="2309"/>
                  <a:pt x="1152" y="2315"/>
                </a:cubicBezTo>
                <a:cubicBezTo>
                  <a:pt x="1155" y="2320"/>
                  <a:pt x="1155" y="2325"/>
                  <a:pt x="1152" y="2330"/>
                </a:cubicBezTo>
                <a:cubicBezTo>
                  <a:pt x="1150" y="2333"/>
                  <a:pt x="1150" y="2336"/>
                  <a:pt x="1150" y="2340"/>
                </a:cubicBezTo>
                <a:cubicBezTo>
                  <a:pt x="1151" y="2343"/>
                  <a:pt x="1150" y="2347"/>
                  <a:pt x="1150" y="2350"/>
                </a:cubicBezTo>
                <a:cubicBezTo>
                  <a:pt x="1150" y="2354"/>
                  <a:pt x="1152" y="2357"/>
                  <a:pt x="1154" y="2361"/>
                </a:cubicBezTo>
                <a:cubicBezTo>
                  <a:pt x="1155" y="2362"/>
                  <a:pt x="1157" y="2364"/>
                  <a:pt x="1158" y="2366"/>
                </a:cubicBezTo>
                <a:cubicBezTo>
                  <a:pt x="1152" y="2366"/>
                  <a:pt x="1151" y="2366"/>
                  <a:pt x="1150" y="2371"/>
                </a:cubicBezTo>
                <a:cubicBezTo>
                  <a:pt x="1150" y="2372"/>
                  <a:pt x="1149" y="2374"/>
                  <a:pt x="1149" y="2375"/>
                </a:cubicBezTo>
                <a:cubicBezTo>
                  <a:pt x="1150" y="2381"/>
                  <a:pt x="1151" y="2386"/>
                  <a:pt x="1152" y="2391"/>
                </a:cubicBezTo>
                <a:cubicBezTo>
                  <a:pt x="1152" y="2393"/>
                  <a:pt x="1156" y="2394"/>
                  <a:pt x="1157" y="2393"/>
                </a:cubicBezTo>
                <a:cubicBezTo>
                  <a:pt x="1159" y="2391"/>
                  <a:pt x="1161" y="2389"/>
                  <a:pt x="1161" y="2386"/>
                </a:cubicBezTo>
                <a:cubicBezTo>
                  <a:pt x="1161" y="2382"/>
                  <a:pt x="1161" y="2378"/>
                  <a:pt x="1161" y="2375"/>
                </a:cubicBezTo>
                <a:cubicBezTo>
                  <a:pt x="1162" y="2371"/>
                  <a:pt x="1160" y="2369"/>
                  <a:pt x="1158" y="2366"/>
                </a:cubicBezTo>
                <a:cubicBezTo>
                  <a:pt x="1161" y="2367"/>
                  <a:pt x="1164" y="2366"/>
                  <a:pt x="1166" y="2364"/>
                </a:cubicBezTo>
                <a:cubicBezTo>
                  <a:pt x="1168" y="2363"/>
                  <a:pt x="1168" y="2364"/>
                  <a:pt x="1169" y="2367"/>
                </a:cubicBezTo>
                <a:cubicBezTo>
                  <a:pt x="1169" y="2368"/>
                  <a:pt x="1170" y="2370"/>
                  <a:pt x="1170" y="2371"/>
                </a:cubicBezTo>
                <a:cubicBezTo>
                  <a:pt x="1170" y="2378"/>
                  <a:pt x="1169" y="2385"/>
                  <a:pt x="1169" y="2392"/>
                </a:cubicBezTo>
                <a:cubicBezTo>
                  <a:pt x="1169" y="2399"/>
                  <a:pt x="1168" y="2406"/>
                  <a:pt x="1167" y="2413"/>
                </a:cubicBezTo>
                <a:cubicBezTo>
                  <a:pt x="1167" y="2415"/>
                  <a:pt x="1167" y="2417"/>
                  <a:pt x="1168" y="2419"/>
                </a:cubicBezTo>
                <a:cubicBezTo>
                  <a:pt x="1172" y="2426"/>
                  <a:pt x="1170" y="2432"/>
                  <a:pt x="1167" y="2438"/>
                </a:cubicBezTo>
                <a:cubicBezTo>
                  <a:pt x="1167" y="2439"/>
                  <a:pt x="1166" y="2440"/>
                  <a:pt x="1165" y="2439"/>
                </a:cubicBezTo>
                <a:cubicBezTo>
                  <a:pt x="1164" y="2439"/>
                  <a:pt x="1164" y="2439"/>
                  <a:pt x="1164" y="2438"/>
                </a:cubicBezTo>
                <a:cubicBezTo>
                  <a:pt x="1163" y="2436"/>
                  <a:pt x="1162" y="2434"/>
                  <a:pt x="1162" y="2432"/>
                </a:cubicBezTo>
                <a:cubicBezTo>
                  <a:pt x="1157" y="2432"/>
                  <a:pt x="1153" y="2435"/>
                  <a:pt x="1152" y="2439"/>
                </a:cubicBezTo>
                <a:cubicBezTo>
                  <a:pt x="1151" y="2445"/>
                  <a:pt x="1148" y="2449"/>
                  <a:pt x="1145" y="2454"/>
                </a:cubicBezTo>
                <a:cubicBezTo>
                  <a:pt x="1145" y="2454"/>
                  <a:pt x="1146" y="2456"/>
                  <a:pt x="1147" y="2457"/>
                </a:cubicBezTo>
                <a:cubicBezTo>
                  <a:pt x="1147" y="2457"/>
                  <a:pt x="1149" y="2458"/>
                  <a:pt x="1149" y="2457"/>
                </a:cubicBezTo>
                <a:cubicBezTo>
                  <a:pt x="1151" y="2457"/>
                  <a:pt x="1152" y="2455"/>
                  <a:pt x="1153" y="2455"/>
                </a:cubicBezTo>
                <a:cubicBezTo>
                  <a:pt x="1156" y="2455"/>
                  <a:pt x="1160" y="2456"/>
                  <a:pt x="1163" y="2457"/>
                </a:cubicBezTo>
                <a:cubicBezTo>
                  <a:pt x="1165" y="2457"/>
                  <a:pt x="1166" y="2460"/>
                  <a:pt x="1166" y="2462"/>
                </a:cubicBezTo>
                <a:cubicBezTo>
                  <a:pt x="1165" y="2466"/>
                  <a:pt x="1164" y="2470"/>
                  <a:pt x="1164" y="2475"/>
                </a:cubicBezTo>
                <a:cubicBezTo>
                  <a:pt x="1165" y="2475"/>
                  <a:pt x="1165" y="2475"/>
                  <a:pt x="1165" y="2475"/>
                </a:cubicBezTo>
                <a:cubicBezTo>
                  <a:pt x="1165" y="2475"/>
                  <a:pt x="1165" y="2475"/>
                  <a:pt x="1165" y="2475"/>
                </a:cubicBezTo>
                <a:cubicBezTo>
                  <a:pt x="1165" y="2475"/>
                  <a:pt x="1166" y="2475"/>
                  <a:pt x="1166" y="2476"/>
                </a:cubicBezTo>
                <a:cubicBezTo>
                  <a:pt x="1166" y="2476"/>
                  <a:pt x="1165" y="2476"/>
                  <a:pt x="1165" y="2475"/>
                </a:cubicBezTo>
                <a:cubicBezTo>
                  <a:pt x="1165" y="2475"/>
                  <a:pt x="1165" y="2475"/>
                  <a:pt x="1165" y="2475"/>
                </a:cubicBezTo>
                <a:cubicBezTo>
                  <a:pt x="1165" y="2475"/>
                  <a:pt x="1165" y="2475"/>
                  <a:pt x="1164" y="2475"/>
                </a:cubicBezTo>
                <a:cubicBezTo>
                  <a:pt x="1161" y="2475"/>
                  <a:pt x="1159" y="2476"/>
                  <a:pt x="1156" y="2478"/>
                </a:cubicBezTo>
                <a:cubicBezTo>
                  <a:pt x="1154" y="2480"/>
                  <a:pt x="1153" y="2481"/>
                  <a:pt x="1154" y="2484"/>
                </a:cubicBezTo>
                <a:cubicBezTo>
                  <a:pt x="1154" y="2486"/>
                  <a:pt x="1155" y="2488"/>
                  <a:pt x="1155" y="2490"/>
                </a:cubicBezTo>
                <a:cubicBezTo>
                  <a:pt x="1156" y="2491"/>
                  <a:pt x="1158" y="2492"/>
                  <a:pt x="1158" y="2494"/>
                </a:cubicBezTo>
                <a:cubicBezTo>
                  <a:pt x="1158" y="2496"/>
                  <a:pt x="1157" y="2498"/>
                  <a:pt x="1159" y="2500"/>
                </a:cubicBezTo>
                <a:cubicBezTo>
                  <a:pt x="1160" y="2500"/>
                  <a:pt x="1160" y="2501"/>
                  <a:pt x="1161" y="2501"/>
                </a:cubicBezTo>
                <a:cubicBezTo>
                  <a:pt x="1161" y="2501"/>
                  <a:pt x="1161" y="2501"/>
                  <a:pt x="1161" y="2501"/>
                </a:cubicBezTo>
                <a:cubicBezTo>
                  <a:pt x="1162" y="2501"/>
                  <a:pt x="1162" y="2501"/>
                  <a:pt x="1162" y="2501"/>
                </a:cubicBezTo>
                <a:cubicBezTo>
                  <a:pt x="1161" y="2502"/>
                  <a:pt x="1161" y="2502"/>
                  <a:pt x="1161" y="2502"/>
                </a:cubicBezTo>
                <a:cubicBezTo>
                  <a:pt x="1161" y="2502"/>
                  <a:pt x="1161" y="2501"/>
                  <a:pt x="1161" y="2501"/>
                </a:cubicBezTo>
                <a:cubicBezTo>
                  <a:pt x="1161" y="2503"/>
                  <a:pt x="1161" y="2504"/>
                  <a:pt x="1161" y="2506"/>
                </a:cubicBezTo>
                <a:cubicBezTo>
                  <a:pt x="1160" y="2511"/>
                  <a:pt x="1160" y="2511"/>
                  <a:pt x="1164" y="2513"/>
                </a:cubicBezTo>
                <a:cubicBezTo>
                  <a:pt x="1167" y="2515"/>
                  <a:pt x="1169" y="2516"/>
                  <a:pt x="1171" y="2518"/>
                </a:cubicBezTo>
                <a:cubicBezTo>
                  <a:pt x="1171" y="2518"/>
                  <a:pt x="1171" y="2518"/>
                  <a:pt x="1171" y="2518"/>
                </a:cubicBezTo>
                <a:cubicBezTo>
                  <a:pt x="1171" y="2518"/>
                  <a:pt x="1171" y="2518"/>
                  <a:pt x="1172" y="2518"/>
                </a:cubicBezTo>
                <a:cubicBezTo>
                  <a:pt x="1174" y="2522"/>
                  <a:pt x="1174" y="2522"/>
                  <a:pt x="1172" y="2524"/>
                </a:cubicBezTo>
                <a:cubicBezTo>
                  <a:pt x="1171" y="2524"/>
                  <a:pt x="1171" y="2524"/>
                  <a:pt x="1171" y="2524"/>
                </a:cubicBezTo>
                <a:cubicBezTo>
                  <a:pt x="1171" y="2525"/>
                  <a:pt x="1171" y="2525"/>
                  <a:pt x="1171" y="2525"/>
                </a:cubicBezTo>
                <a:cubicBezTo>
                  <a:pt x="1172" y="2524"/>
                  <a:pt x="1172" y="2524"/>
                  <a:pt x="1172" y="2524"/>
                </a:cubicBezTo>
                <a:cubicBezTo>
                  <a:pt x="1172" y="2530"/>
                  <a:pt x="1174" y="2535"/>
                  <a:pt x="1172" y="2540"/>
                </a:cubicBezTo>
                <a:cubicBezTo>
                  <a:pt x="1171" y="2543"/>
                  <a:pt x="1173" y="2544"/>
                  <a:pt x="1176" y="2544"/>
                </a:cubicBezTo>
                <a:cubicBezTo>
                  <a:pt x="1178" y="2544"/>
                  <a:pt x="1179" y="2543"/>
                  <a:pt x="1180" y="2540"/>
                </a:cubicBezTo>
                <a:cubicBezTo>
                  <a:pt x="1180" y="2536"/>
                  <a:pt x="1180" y="2532"/>
                  <a:pt x="1181" y="2528"/>
                </a:cubicBezTo>
                <a:cubicBezTo>
                  <a:pt x="1181" y="2528"/>
                  <a:pt x="1181" y="2528"/>
                  <a:pt x="1181" y="2528"/>
                </a:cubicBezTo>
                <a:cubicBezTo>
                  <a:pt x="1181" y="2527"/>
                  <a:pt x="1181" y="2527"/>
                  <a:pt x="1181" y="2527"/>
                </a:cubicBezTo>
                <a:cubicBezTo>
                  <a:pt x="1182" y="2528"/>
                  <a:pt x="1182" y="2528"/>
                  <a:pt x="1182" y="2528"/>
                </a:cubicBezTo>
                <a:cubicBezTo>
                  <a:pt x="1182" y="2528"/>
                  <a:pt x="1182" y="2528"/>
                  <a:pt x="1181" y="2528"/>
                </a:cubicBezTo>
                <a:cubicBezTo>
                  <a:pt x="1183" y="2530"/>
                  <a:pt x="1184" y="2532"/>
                  <a:pt x="1184" y="2534"/>
                </a:cubicBezTo>
                <a:cubicBezTo>
                  <a:pt x="1184" y="2536"/>
                  <a:pt x="1185" y="2538"/>
                  <a:pt x="1186" y="2540"/>
                </a:cubicBezTo>
                <a:cubicBezTo>
                  <a:pt x="1188" y="2542"/>
                  <a:pt x="1189" y="2543"/>
                  <a:pt x="1187" y="2546"/>
                </a:cubicBezTo>
                <a:cubicBezTo>
                  <a:pt x="1186" y="2547"/>
                  <a:pt x="1184" y="2549"/>
                  <a:pt x="1182" y="2549"/>
                </a:cubicBezTo>
                <a:cubicBezTo>
                  <a:pt x="1181" y="2549"/>
                  <a:pt x="1180" y="2549"/>
                  <a:pt x="1179" y="2549"/>
                </a:cubicBezTo>
                <a:cubicBezTo>
                  <a:pt x="1178" y="2549"/>
                  <a:pt x="1177" y="2550"/>
                  <a:pt x="1176" y="2551"/>
                </a:cubicBezTo>
                <a:cubicBezTo>
                  <a:pt x="1176" y="2552"/>
                  <a:pt x="1176" y="2553"/>
                  <a:pt x="1177" y="2553"/>
                </a:cubicBezTo>
                <a:cubicBezTo>
                  <a:pt x="1179" y="2554"/>
                  <a:pt x="1181" y="2555"/>
                  <a:pt x="1182" y="2555"/>
                </a:cubicBezTo>
                <a:cubicBezTo>
                  <a:pt x="1188" y="2555"/>
                  <a:pt x="1189" y="2559"/>
                  <a:pt x="1191" y="2563"/>
                </a:cubicBezTo>
                <a:cubicBezTo>
                  <a:pt x="1190" y="2566"/>
                  <a:pt x="1191" y="2568"/>
                  <a:pt x="1194" y="2570"/>
                </a:cubicBezTo>
                <a:cubicBezTo>
                  <a:pt x="1197" y="2572"/>
                  <a:pt x="1201" y="2575"/>
                  <a:pt x="1204" y="2577"/>
                </a:cubicBezTo>
                <a:cubicBezTo>
                  <a:pt x="1204" y="2577"/>
                  <a:pt x="1204" y="2577"/>
                  <a:pt x="1205" y="2577"/>
                </a:cubicBezTo>
                <a:cubicBezTo>
                  <a:pt x="1205" y="2577"/>
                  <a:pt x="1205" y="2578"/>
                  <a:pt x="1205" y="2578"/>
                </a:cubicBezTo>
                <a:cubicBezTo>
                  <a:pt x="1206" y="2578"/>
                  <a:pt x="1207" y="2579"/>
                  <a:pt x="1207" y="2580"/>
                </a:cubicBezTo>
                <a:cubicBezTo>
                  <a:pt x="1207" y="2580"/>
                  <a:pt x="1208" y="2580"/>
                  <a:pt x="1208" y="2580"/>
                </a:cubicBezTo>
                <a:cubicBezTo>
                  <a:pt x="1208" y="2581"/>
                  <a:pt x="1208" y="2581"/>
                  <a:pt x="1208" y="2581"/>
                </a:cubicBezTo>
                <a:cubicBezTo>
                  <a:pt x="1207" y="2581"/>
                  <a:pt x="1207" y="2581"/>
                  <a:pt x="1207" y="2581"/>
                </a:cubicBezTo>
                <a:cubicBezTo>
                  <a:pt x="1207" y="2580"/>
                  <a:pt x="1207" y="2580"/>
                  <a:pt x="1207" y="2580"/>
                </a:cubicBezTo>
                <a:cubicBezTo>
                  <a:pt x="1206" y="2580"/>
                  <a:pt x="1205" y="2579"/>
                  <a:pt x="1205" y="2578"/>
                </a:cubicBezTo>
                <a:cubicBezTo>
                  <a:pt x="1205" y="2578"/>
                  <a:pt x="1205" y="2578"/>
                  <a:pt x="1204" y="2577"/>
                </a:cubicBezTo>
                <a:cubicBezTo>
                  <a:pt x="1204" y="2577"/>
                  <a:pt x="1204" y="2577"/>
                  <a:pt x="1204" y="2577"/>
                </a:cubicBezTo>
                <a:cubicBezTo>
                  <a:pt x="1199" y="2578"/>
                  <a:pt x="1195" y="2577"/>
                  <a:pt x="1191" y="2574"/>
                </a:cubicBezTo>
                <a:cubicBezTo>
                  <a:pt x="1190" y="2574"/>
                  <a:pt x="1189" y="2574"/>
                  <a:pt x="1188" y="2574"/>
                </a:cubicBezTo>
                <a:cubicBezTo>
                  <a:pt x="1187" y="2574"/>
                  <a:pt x="1186" y="2574"/>
                  <a:pt x="1186" y="2575"/>
                </a:cubicBezTo>
                <a:cubicBezTo>
                  <a:pt x="1187" y="2576"/>
                  <a:pt x="1187" y="2577"/>
                  <a:pt x="1187" y="2577"/>
                </a:cubicBezTo>
                <a:cubicBezTo>
                  <a:pt x="1194" y="2582"/>
                  <a:pt x="1201" y="2586"/>
                  <a:pt x="1206" y="2593"/>
                </a:cubicBezTo>
                <a:cubicBezTo>
                  <a:pt x="1208" y="2595"/>
                  <a:pt x="1212" y="2596"/>
                  <a:pt x="1215" y="2597"/>
                </a:cubicBezTo>
                <a:cubicBezTo>
                  <a:pt x="1217" y="2598"/>
                  <a:pt x="1219" y="2597"/>
                  <a:pt x="1221" y="2597"/>
                </a:cubicBezTo>
                <a:cubicBezTo>
                  <a:pt x="1222" y="2596"/>
                  <a:pt x="1222" y="2595"/>
                  <a:pt x="1223" y="2593"/>
                </a:cubicBezTo>
                <a:cubicBezTo>
                  <a:pt x="1223" y="2593"/>
                  <a:pt x="1223" y="2593"/>
                  <a:pt x="1224" y="2593"/>
                </a:cubicBezTo>
                <a:cubicBezTo>
                  <a:pt x="1225" y="2593"/>
                  <a:pt x="1225" y="2593"/>
                  <a:pt x="1225" y="2595"/>
                </a:cubicBezTo>
                <a:cubicBezTo>
                  <a:pt x="1224" y="2595"/>
                  <a:pt x="1225" y="2596"/>
                  <a:pt x="1225" y="2597"/>
                </a:cubicBezTo>
                <a:cubicBezTo>
                  <a:pt x="1225" y="2598"/>
                  <a:pt x="1226" y="2598"/>
                  <a:pt x="1227" y="2598"/>
                </a:cubicBezTo>
                <a:cubicBezTo>
                  <a:pt x="1231" y="2599"/>
                  <a:pt x="1233" y="2600"/>
                  <a:pt x="1232" y="2605"/>
                </a:cubicBezTo>
                <a:cubicBezTo>
                  <a:pt x="1232" y="2606"/>
                  <a:pt x="1233" y="2607"/>
                  <a:pt x="1234" y="2607"/>
                </a:cubicBezTo>
                <a:cubicBezTo>
                  <a:pt x="1238" y="2608"/>
                  <a:pt x="1240" y="2611"/>
                  <a:pt x="1242" y="2614"/>
                </a:cubicBezTo>
                <a:cubicBezTo>
                  <a:pt x="1243" y="2616"/>
                  <a:pt x="1245" y="2617"/>
                  <a:pt x="1247" y="2617"/>
                </a:cubicBezTo>
                <a:cubicBezTo>
                  <a:pt x="1249" y="2615"/>
                  <a:pt x="1251" y="2612"/>
                  <a:pt x="1253" y="2610"/>
                </a:cubicBezTo>
                <a:cubicBezTo>
                  <a:pt x="1255" y="2610"/>
                  <a:pt x="1256" y="2610"/>
                  <a:pt x="1256" y="2611"/>
                </a:cubicBezTo>
                <a:cubicBezTo>
                  <a:pt x="1257" y="2612"/>
                  <a:pt x="1257" y="2613"/>
                  <a:pt x="1257" y="2614"/>
                </a:cubicBezTo>
                <a:cubicBezTo>
                  <a:pt x="1256" y="2616"/>
                  <a:pt x="1256" y="2619"/>
                  <a:pt x="1258" y="2620"/>
                </a:cubicBezTo>
                <a:cubicBezTo>
                  <a:pt x="1260" y="2621"/>
                  <a:pt x="1262" y="2622"/>
                  <a:pt x="1264" y="2622"/>
                </a:cubicBezTo>
                <a:cubicBezTo>
                  <a:pt x="1265" y="2623"/>
                  <a:pt x="1267" y="2622"/>
                  <a:pt x="1269" y="2622"/>
                </a:cubicBezTo>
                <a:cubicBezTo>
                  <a:pt x="1271" y="2622"/>
                  <a:pt x="1273" y="2622"/>
                  <a:pt x="1275" y="2622"/>
                </a:cubicBezTo>
                <a:cubicBezTo>
                  <a:pt x="1278" y="2623"/>
                  <a:pt x="1279" y="2622"/>
                  <a:pt x="1277" y="2618"/>
                </a:cubicBezTo>
                <a:cubicBezTo>
                  <a:pt x="1277" y="2618"/>
                  <a:pt x="1277" y="2618"/>
                  <a:pt x="1277" y="2618"/>
                </a:cubicBezTo>
                <a:cubicBezTo>
                  <a:pt x="1277" y="2617"/>
                  <a:pt x="1277" y="2617"/>
                  <a:pt x="1277" y="2617"/>
                </a:cubicBezTo>
                <a:cubicBezTo>
                  <a:pt x="1277" y="2617"/>
                  <a:pt x="1276" y="2617"/>
                  <a:pt x="1276" y="2616"/>
                </a:cubicBezTo>
                <a:cubicBezTo>
                  <a:pt x="1277" y="2616"/>
                  <a:pt x="1277" y="2616"/>
                  <a:pt x="1277" y="2617"/>
                </a:cubicBezTo>
                <a:cubicBezTo>
                  <a:pt x="1277" y="2617"/>
                  <a:pt x="1277" y="2617"/>
                  <a:pt x="1277" y="2617"/>
                </a:cubicBezTo>
                <a:cubicBezTo>
                  <a:pt x="1277" y="2617"/>
                  <a:pt x="1277" y="2617"/>
                  <a:pt x="1277" y="2618"/>
                </a:cubicBezTo>
                <a:cubicBezTo>
                  <a:pt x="1280" y="2617"/>
                  <a:pt x="1283" y="2616"/>
                  <a:pt x="1286" y="2615"/>
                </a:cubicBezTo>
                <a:cubicBezTo>
                  <a:pt x="1289" y="2614"/>
                  <a:pt x="1290" y="2613"/>
                  <a:pt x="1290" y="2610"/>
                </a:cubicBezTo>
                <a:cubicBezTo>
                  <a:pt x="1290" y="2609"/>
                  <a:pt x="1292" y="2609"/>
                  <a:pt x="1293" y="2609"/>
                </a:cubicBezTo>
                <a:cubicBezTo>
                  <a:pt x="1295" y="2609"/>
                  <a:pt x="1298" y="2610"/>
                  <a:pt x="1299" y="2610"/>
                </a:cubicBezTo>
                <a:cubicBezTo>
                  <a:pt x="1303" y="2608"/>
                  <a:pt x="1306" y="2605"/>
                  <a:pt x="1310" y="2602"/>
                </a:cubicBezTo>
                <a:cubicBezTo>
                  <a:pt x="1310" y="2602"/>
                  <a:pt x="1310" y="2601"/>
                  <a:pt x="1309" y="2601"/>
                </a:cubicBezTo>
                <a:cubicBezTo>
                  <a:pt x="1308" y="2599"/>
                  <a:pt x="1305" y="2600"/>
                  <a:pt x="1303" y="2599"/>
                </a:cubicBezTo>
                <a:cubicBezTo>
                  <a:pt x="1296" y="2596"/>
                  <a:pt x="1289" y="2593"/>
                  <a:pt x="1282" y="2590"/>
                </a:cubicBezTo>
                <a:cubicBezTo>
                  <a:pt x="1281" y="2589"/>
                  <a:pt x="1280" y="2589"/>
                  <a:pt x="1280" y="2588"/>
                </a:cubicBezTo>
                <a:cubicBezTo>
                  <a:pt x="1277" y="2584"/>
                  <a:pt x="1272" y="2582"/>
                  <a:pt x="1269" y="2578"/>
                </a:cubicBezTo>
                <a:cubicBezTo>
                  <a:pt x="1267" y="2576"/>
                  <a:pt x="1267" y="2574"/>
                  <a:pt x="1266" y="2571"/>
                </a:cubicBezTo>
                <a:cubicBezTo>
                  <a:pt x="1265" y="2564"/>
                  <a:pt x="1261" y="2561"/>
                  <a:pt x="1254" y="2560"/>
                </a:cubicBezTo>
                <a:cubicBezTo>
                  <a:pt x="1252" y="2560"/>
                  <a:pt x="1250" y="2560"/>
                  <a:pt x="1248" y="2560"/>
                </a:cubicBezTo>
                <a:cubicBezTo>
                  <a:pt x="1248" y="2561"/>
                  <a:pt x="1248" y="2561"/>
                  <a:pt x="1248" y="2561"/>
                </a:cubicBezTo>
                <a:cubicBezTo>
                  <a:pt x="1248" y="2561"/>
                  <a:pt x="1247" y="2561"/>
                  <a:pt x="1247" y="2561"/>
                </a:cubicBezTo>
                <a:cubicBezTo>
                  <a:pt x="1247" y="2563"/>
                  <a:pt x="1247" y="2565"/>
                  <a:pt x="1246" y="2565"/>
                </a:cubicBezTo>
                <a:cubicBezTo>
                  <a:pt x="1240" y="2568"/>
                  <a:pt x="1241" y="2573"/>
                  <a:pt x="1240" y="2577"/>
                </a:cubicBezTo>
                <a:cubicBezTo>
                  <a:pt x="1240" y="2578"/>
                  <a:pt x="1240" y="2578"/>
                  <a:pt x="1240" y="2579"/>
                </a:cubicBezTo>
                <a:cubicBezTo>
                  <a:pt x="1240" y="2579"/>
                  <a:pt x="1239" y="2580"/>
                  <a:pt x="1239" y="2580"/>
                </a:cubicBezTo>
                <a:cubicBezTo>
                  <a:pt x="1238" y="2580"/>
                  <a:pt x="1238" y="2579"/>
                  <a:pt x="1238" y="2579"/>
                </a:cubicBezTo>
                <a:cubicBezTo>
                  <a:pt x="1238" y="2576"/>
                  <a:pt x="1237" y="2574"/>
                  <a:pt x="1238" y="2572"/>
                </a:cubicBezTo>
                <a:cubicBezTo>
                  <a:pt x="1239" y="2566"/>
                  <a:pt x="1242" y="2563"/>
                  <a:pt x="1247" y="2561"/>
                </a:cubicBezTo>
                <a:cubicBezTo>
                  <a:pt x="1247" y="2561"/>
                  <a:pt x="1247" y="2561"/>
                  <a:pt x="1247" y="2560"/>
                </a:cubicBezTo>
                <a:cubicBezTo>
                  <a:pt x="1248" y="2560"/>
                  <a:pt x="1248" y="2560"/>
                  <a:pt x="1248" y="2560"/>
                </a:cubicBezTo>
                <a:cubicBezTo>
                  <a:pt x="1249" y="2558"/>
                  <a:pt x="1251" y="2555"/>
                  <a:pt x="1255" y="2556"/>
                </a:cubicBezTo>
                <a:cubicBezTo>
                  <a:pt x="1255" y="2556"/>
                  <a:pt x="1256" y="2556"/>
                  <a:pt x="1257" y="2556"/>
                </a:cubicBezTo>
                <a:cubicBezTo>
                  <a:pt x="1258" y="2556"/>
                  <a:pt x="1259" y="2556"/>
                  <a:pt x="1259" y="2555"/>
                </a:cubicBezTo>
                <a:cubicBezTo>
                  <a:pt x="1260" y="2554"/>
                  <a:pt x="1260" y="2553"/>
                  <a:pt x="1259" y="2552"/>
                </a:cubicBezTo>
                <a:cubicBezTo>
                  <a:pt x="1257" y="2548"/>
                  <a:pt x="1254" y="2545"/>
                  <a:pt x="1252" y="2541"/>
                </a:cubicBezTo>
                <a:cubicBezTo>
                  <a:pt x="1250" y="2538"/>
                  <a:pt x="1249" y="2533"/>
                  <a:pt x="1248" y="2529"/>
                </a:cubicBezTo>
                <a:cubicBezTo>
                  <a:pt x="1247" y="2524"/>
                  <a:pt x="1247" y="2520"/>
                  <a:pt x="1251" y="2517"/>
                </a:cubicBezTo>
                <a:cubicBezTo>
                  <a:pt x="1252" y="2515"/>
                  <a:pt x="1253" y="2513"/>
                  <a:pt x="1255" y="2512"/>
                </a:cubicBezTo>
                <a:cubicBezTo>
                  <a:pt x="1259" y="2509"/>
                  <a:pt x="1261" y="2505"/>
                  <a:pt x="1261" y="2499"/>
                </a:cubicBezTo>
                <a:cubicBezTo>
                  <a:pt x="1260" y="2495"/>
                  <a:pt x="1262" y="2491"/>
                  <a:pt x="1265" y="2487"/>
                </a:cubicBezTo>
                <a:cubicBezTo>
                  <a:pt x="1269" y="2484"/>
                  <a:pt x="1272" y="2480"/>
                  <a:pt x="1275" y="2476"/>
                </a:cubicBezTo>
                <a:cubicBezTo>
                  <a:pt x="1277" y="2474"/>
                  <a:pt x="1277" y="2471"/>
                  <a:pt x="1277" y="2468"/>
                </a:cubicBezTo>
                <a:cubicBezTo>
                  <a:pt x="1277" y="2467"/>
                  <a:pt x="1277" y="2465"/>
                  <a:pt x="1276" y="2463"/>
                </a:cubicBezTo>
                <a:cubicBezTo>
                  <a:pt x="1275" y="2459"/>
                  <a:pt x="1274" y="2455"/>
                  <a:pt x="1268" y="2455"/>
                </a:cubicBezTo>
                <a:cubicBezTo>
                  <a:pt x="1265" y="2455"/>
                  <a:pt x="1263" y="2454"/>
                  <a:pt x="1260" y="2452"/>
                </a:cubicBezTo>
                <a:cubicBezTo>
                  <a:pt x="1258" y="2450"/>
                  <a:pt x="1255" y="2448"/>
                  <a:pt x="1253" y="2446"/>
                </a:cubicBezTo>
                <a:cubicBezTo>
                  <a:pt x="1248" y="2441"/>
                  <a:pt x="1247" y="2435"/>
                  <a:pt x="1251" y="2430"/>
                </a:cubicBezTo>
                <a:cubicBezTo>
                  <a:pt x="1253" y="2427"/>
                  <a:pt x="1255" y="2425"/>
                  <a:pt x="1257" y="2424"/>
                </a:cubicBezTo>
                <a:cubicBezTo>
                  <a:pt x="1260" y="2422"/>
                  <a:pt x="1264" y="2421"/>
                  <a:pt x="1268" y="2419"/>
                </a:cubicBezTo>
                <a:cubicBezTo>
                  <a:pt x="1268" y="2419"/>
                  <a:pt x="1270" y="2418"/>
                  <a:pt x="1270" y="2417"/>
                </a:cubicBezTo>
                <a:cubicBezTo>
                  <a:pt x="1270" y="2412"/>
                  <a:pt x="1274" y="2408"/>
                  <a:pt x="1272" y="2403"/>
                </a:cubicBezTo>
                <a:cubicBezTo>
                  <a:pt x="1271" y="2401"/>
                  <a:pt x="1271" y="2400"/>
                  <a:pt x="1271" y="2398"/>
                </a:cubicBezTo>
                <a:cubicBezTo>
                  <a:pt x="1271" y="2394"/>
                  <a:pt x="1272" y="2390"/>
                  <a:pt x="1275" y="2386"/>
                </a:cubicBezTo>
                <a:cubicBezTo>
                  <a:pt x="1277" y="2384"/>
                  <a:pt x="1279" y="2382"/>
                  <a:pt x="1281" y="2379"/>
                </a:cubicBezTo>
                <a:cubicBezTo>
                  <a:pt x="1281" y="2379"/>
                  <a:pt x="1281" y="2379"/>
                  <a:pt x="1281" y="2379"/>
                </a:cubicBezTo>
                <a:cubicBezTo>
                  <a:pt x="1281" y="2379"/>
                  <a:pt x="1280" y="2379"/>
                  <a:pt x="1280" y="2378"/>
                </a:cubicBezTo>
                <a:cubicBezTo>
                  <a:pt x="1279" y="2378"/>
                  <a:pt x="1278" y="2378"/>
                  <a:pt x="1276" y="2378"/>
                </a:cubicBezTo>
                <a:cubicBezTo>
                  <a:pt x="1275" y="2377"/>
                  <a:pt x="1276" y="2376"/>
                  <a:pt x="1277" y="2376"/>
                </a:cubicBezTo>
                <a:cubicBezTo>
                  <a:pt x="1277" y="2375"/>
                  <a:pt x="1278" y="2375"/>
                  <a:pt x="1278" y="2375"/>
                </a:cubicBezTo>
                <a:cubicBezTo>
                  <a:pt x="1279" y="2376"/>
                  <a:pt x="1280" y="2377"/>
                  <a:pt x="1280" y="2378"/>
                </a:cubicBezTo>
                <a:cubicBezTo>
                  <a:pt x="1281" y="2378"/>
                  <a:pt x="1281" y="2379"/>
                  <a:pt x="1281" y="2379"/>
                </a:cubicBezTo>
                <a:cubicBezTo>
                  <a:pt x="1281" y="2379"/>
                  <a:pt x="1281" y="2379"/>
                  <a:pt x="1281" y="2379"/>
                </a:cubicBezTo>
                <a:cubicBezTo>
                  <a:pt x="1282" y="2379"/>
                  <a:pt x="1283" y="2380"/>
                  <a:pt x="1284" y="2380"/>
                </a:cubicBezTo>
                <a:cubicBezTo>
                  <a:pt x="1288" y="2379"/>
                  <a:pt x="1290" y="2377"/>
                  <a:pt x="1290" y="2373"/>
                </a:cubicBezTo>
                <a:cubicBezTo>
                  <a:pt x="1289" y="2371"/>
                  <a:pt x="1288" y="2368"/>
                  <a:pt x="1288" y="2365"/>
                </a:cubicBezTo>
                <a:cubicBezTo>
                  <a:pt x="1287" y="2364"/>
                  <a:pt x="1285" y="2363"/>
                  <a:pt x="1283" y="2364"/>
                </a:cubicBezTo>
                <a:cubicBezTo>
                  <a:pt x="1282" y="2364"/>
                  <a:pt x="1282" y="2365"/>
                  <a:pt x="1281" y="2365"/>
                </a:cubicBezTo>
                <a:cubicBezTo>
                  <a:pt x="1275" y="2368"/>
                  <a:pt x="1270" y="2365"/>
                  <a:pt x="1269" y="2360"/>
                </a:cubicBezTo>
                <a:cubicBezTo>
                  <a:pt x="1268" y="2357"/>
                  <a:pt x="1268" y="2354"/>
                  <a:pt x="1267" y="2350"/>
                </a:cubicBezTo>
                <a:cubicBezTo>
                  <a:pt x="1267" y="2349"/>
                  <a:pt x="1266" y="2348"/>
                  <a:pt x="1266" y="2347"/>
                </a:cubicBezTo>
                <a:cubicBezTo>
                  <a:pt x="1265" y="2345"/>
                  <a:pt x="1268" y="2343"/>
                  <a:pt x="1270" y="2344"/>
                </a:cubicBezTo>
                <a:cubicBezTo>
                  <a:pt x="1274" y="2345"/>
                  <a:pt x="1277" y="2346"/>
                  <a:pt x="1280" y="2348"/>
                </a:cubicBezTo>
                <a:cubicBezTo>
                  <a:pt x="1284" y="2350"/>
                  <a:pt x="1288" y="2350"/>
                  <a:pt x="1292" y="2350"/>
                </a:cubicBezTo>
                <a:cubicBezTo>
                  <a:pt x="1297" y="2349"/>
                  <a:pt x="1302" y="2344"/>
                  <a:pt x="1302" y="2340"/>
                </a:cubicBezTo>
                <a:cubicBezTo>
                  <a:pt x="1302" y="2336"/>
                  <a:pt x="1301" y="2333"/>
                  <a:pt x="1301" y="2330"/>
                </a:cubicBezTo>
                <a:cubicBezTo>
                  <a:pt x="1301" y="2326"/>
                  <a:pt x="1302" y="2322"/>
                  <a:pt x="1302" y="2319"/>
                </a:cubicBezTo>
                <a:cubicBezTo>
                  <a:pt x="1302" y="2318"/>
                  <a:pt x="1302" y="2318"/>
                  <a:pt x="1302" y="2317"/>
                </a:cubicBezTo>
                <a:cubicBezTo>
                  <a:pt x="1302" y="2316"/>
                  <a:pt x="1301" y="2315"/>
                  <a:pt x="1301" y="2314"/>
                </a:cubicBezTo>
                <a:cubicBezTo>
                  <a:pt x="1300" y="2310"/>
                  <a:pt x="1302" y="2308"/>
                  <a:pt x="1305" y="2309"/>
                </a:cubicBezTo>
                <a:cubicBezTo>
                  <a:pt x="1317" y="2312"/>
                  <a:pt x="1329" y="2311"/>
                  <a:pt x="1341" y="2306"/>
                </a:cubicBezTo>
                <a:cubicBezTo>
                  <a:pt x="1344" y="2305"/>
                  <a:pt x="1347" y="2304"/>
                  <a:pt x="1350" y="2302"/>
                </a:cubicBezTo>
                <a:cubicBezTo>
                  <a:pt x="1355" y="2300"/>
                  <a:pt x="1360" y="2297"/>
                  <a:pt x="1361" y="2291"/>
                </a:cubicBezTo>
                <a:cubicBezTo>
                  <a:pt x="1362" y="2287"/>
                  <a:pt x="1364" y="2284"/>
                  <a:pt x="1365" y="2280"/>
                </a:cubicBezTo>
                <a:cubicBezTo>
                  <a:pt x="1366" y="2278"/>
                  <a:pt x="1367" y="2276"/>
                  <a:pt x="1367" y="2274"/>
                </a:cubicBezTo>
                <a:cubicBezTo>
                  <a:pt x="1368" y="2272"/>
                  <a:pt x="1366" y="2268"/>
                  <a:pt x="1364" y="2267"/>
                </a:cubicBezTo>
                <a:cubicBezTo>
                  <a:pt x="1363" y="2266"/>
                  <a:pt x="1361" y="2266"/>
                  <a:pt x="1360" y="2265"/>
                </a:cubicBezTo>
                <a:cubicBezTo>
                  <a:pt x="1358" y="2264"/>
                  <a:pt x="1358" y="2262"/>
                  <a:pt x="1358" y="2261"/>
                </a:cubicBezTo>
                <a:cubicBezTo>
                  <a:pt x="1358" y="2259"/>
                  <a:pt x="1358" y="2257"/>
                  <a:pt x="1359" y="2256"/>
                </a:cubicBezTo>
                <a:cubicBezTo>
                  <a:pt x="1360" y="2251"/>
                  <a:pt x="1358" y="2249"/>
                  <a:pt x="1355" y="2246"/>
                </a:cubicBezTo>
                <a:cubicBezTo>
                  <a:pt x="1352" y="2243"/>
                  <a:pt x="1347" y="2241"/>
                  <a:pt x="1344" y="2237"/>
                </a:cubicBezTo>
                <a:cubicBezTo>
                  <a:pt x="1344" y="2237"/>
                  <a:pt x="1343" y="2237"/>
                  <a:pt x="1343" y="2237"/>
                </a:cubicBezTo>
                <a:cubicBezTo>
                  <a:pt x="1343" y="2237"/>
                  <a:pt x="1343" y="2237"/>
                  <a:pt x="1343" y="2236"/>
                </a:cubicBezTo>
                <a:cubicBezTo>
                  <a:pt x="1343" y="2236"/>
                  <a:pt x="1343" y="2236"/>
                  <a:pt x="1342" y="2236"/>
                </a:cubicBezTo>
                <a:cubicBezTo>
                  <a:pt x="1343" y="2236"/>
                  <a:pt x="1343" y="2236"/>
                  <a:pt x="1343" y="2236"/>
                </a:cubicBezTo>
                <a:cubicBezTo>
                  <a:pt x="1343" y="2236"/>
                  <a:pt x="1343" y="2236"/>
                  <a:pt x="1343" y="2236"/>
                </a:cubicBezTo>
                <a:cubicBezTo>
                  <a:pt x="1343" y="2236"/>
                  <a:pt x="1343" y="2237"/>
                  <a:pt x="1344" y="2237"/>
                </a:cubicBezTo>
                <a:cubicBezTo>
                  <a:pt x="1344" y="2237"/>
                  <a:pt x="1344" y="2237"/>
                  <a:pt x="1344" y="2237"/>
                </a:cubicBezTo>
                <a:cubicBezTo>
                  <a:pt x="1352" y="2238"/>
                  <a:pt x="1360" y="2238"/>
                  <a:pt x="1367" y="2242"/>
                </a:cubicBezTo>
                <a:cubicBezTo>
                  <a:pt x="1368" y="2243"/>
                  <a:pt x="1370" y="2243"/>
                  <a:pt x="1372" y="2243"/>
                </a:cubicBezTo>
                <a:cubicBezTo>
                  <a:pt x="1375" y="2244"/>
                  <a:pt x="1378" y="2244"/>
                  <a:pt x="1382" y="2244"/>
                </a:cubicBezTo>
                <a:cubicBezTo>
                  <a:pt x="1390" y="2244"/>
                  <a:pt x="1397" y="2241"/>
                  <a:pt x="1401" y="2233"/>
                </a:cubicBezTo>
                <a:cubicBezTo>
                  <a:pt x="1403" y="2230"/>
                  <a:pt x="1404" y="2225"/>
                  <a:pt x="1408" y="2222"/>
                </a:cubicBezTo>
                <a:cubicBezTo>
                  <a:pt x="1412" y="2219"/>
                  <a:pt x="1414" y="2215"/>
                  <a:pt x="1415" y="2210"/>
                </a:cubicBezTo>
                <a:cubicBezTo>
                  <a:pt x="1417" y="2204"/>
                  <a:pt x="1418" y="2199"/>
                  <a:pt x="1419" y="2194"/>
                </a:cubicBezTo>
                <a:cubicBezTo>
                  <a:pt x="1420" y="2194"/>
                  <a:pt x="1420" y="2194"/>
                  <a:pt x="1420" y="2194"/>
                </a:cubicBezTo>
                <a:cubicBezTo>
                  <a:pt x="1420" y="2194"/>
                  <a:pt x="1420" y="2194"/>
                  <a:pt x="1420" y="2194"/>
                </a:cubicBezTo>
                <a:cubicBezTo>
                  <a:pt x="1420" y="2194"/>
                  <a:pt x="1420" y="2194"/>
                  <a:pt x="1419" y="2194"/>
                </a:cubicBezTo>
                <a:cubicBezTo>
                  <a:pt x="1418" y="2189"/>
                  <a:pt x="1419" y="2187"/>
                  <a:pt x="1422" y="2185"/>
                </a:cubicBezTo>
                <a:cubicBezTo>
                  <a:pt x="1423" y="2184"/>
                  <a:pt x="1425" y="2184"/>
                  <a:pt x="1426" y="2184"/>
                </a:cubicBezTo>
                <a:cubicBezTo>
                  <a:pt x="1427" y="2180"/>
                  <a:pt x="1428" y="2176"/>
                  <a:pt x="1431" y="2172"/>
                </a:cubicBezTo>
                <a:cubicBezTo>
                  <a:pt x="1431" y="2171"/>
                  <a:pt x="1432" y="2170"/>
                  <a:pt x="1433" y="2171"/>
                </a:cubicBezTo>
                <a:cubicBezTo>
                  <a:pt x="1434" y="2171"/>
                  <a:pt x="1435" y="2172"/>
                  <a:pt x="1435" y="2173"/>
                </a:cubicBezTo>
                <a:cubicBezTo>
                  <a:pt x="1436" y="2174"/>
                  <a:pt x="1436" y="2176"/>
                  <a:pt x="1436" y="2177"/>
                </a:cubicBezTo>
                <a:cubicBezTo>
                  <a:pt x="1439" y="2177"/>
                  <a:pt x="1441" y="2174"/>
                  <a:pt x="1442" y="2172"/>
                </a:cubicBezTo>
                <a:cubicBezTo>
                  <a:pt x="1446" y="2161"/>
                  <a:pt x="1451" y="2151"/>
                  <a:pt x="1458" y="2141"/>
                </a:cubicBezTo>
                <a:cubicBezTo>
                  <a:pt x="1462" y="2135"/>
                  <a:pt x="1465" y="2127"/>
                  <a:pt x="1461" y="2120"/>
                </a:cubicBezTo>
                <a:cubicBezTo>
                  <a:pt x="1460" y="2119"/>
                  <a:pt x="1460" y="2117"/>
                  <a:pt x="1460" y="2116"/>
                </a:cubicBezTo>
                <a:cubicBezTo>
                  <a:pt x="1458" y="2107"/>
                  <a:pt x="1460" y="2098"/>
                  <a:pt x="1468" y="2091"/>
                </a:cubicBezTo>
                <a:cubicBezTo>
                  <a:pt x="1472" y="2088"/>
                  <a:pt x="1475" y="2085"/>
                  <a:pt x="1478" y="2082"/>
                </a:cubicBezTo>
                <a:cubicBezTo>
                  <a:pt x="1483" y="2077"/>
                  <a:pt x="1489" y="2073"/>
                  <a:pt x="1496" y="2071"/>
                </a:cubicBezTo>
                <a:cubicBezTo>
                  <a:pt x="1500" y="2070"/>
                  <a:pt x="1503" y="2068"/>
                  <a:pt x="1506" y="2065"/>
                </a:cubicBezTo>
                <a:cubicBezTo>
                  <a:pt x="1508" y="2063"/>
                  <a:pt x="1511" y="2062"/>
                  <a:pt x="1512" y="2058"/>
                </a:cubicBezTo>
                <a:cubicBezTo>
                  <a:pt x="1512" y="2057"/>
                  <a:pt x="1514" y="2056"/>
                  <a:pt x="1514" y="2057"/>
                </a:cubicBezTo>
                <a:cubicBezTo>
                  <a:pt x="1518" y="2057"/>
                  <a:pt x="1521" y="2057"/>
                  <a:pt x="1524" y="2056"/>
                </a:cubicBezTo>
                <a:cubicBezTo>
                  <a:pt x="1527" y="2056"/>
                  <a:pt x="1531" y="2057"/>
                  <a:pt x="1534" y="2056"/>
                </a:cubicBezTo>
                <a:cubicBezTo>
                  <a:pt x="1540" y="2056"/>
                  <a:pt x="1546" y="2055"/>
                  <a:pt x="1550" y="2050"/>
                </a:cubicBezTo>
                <a:cubicBezTo>
                  <a:pt x="1552" y="2047"/>
                  <a:pt x="1555" y="2046"/>
                  <a:pt x="1558" y="2044"/>
                </a:cubicBezTo>
                <a:cubicBezTo>
                  <a:pt x="1560" y="2043"/>
                  <a:pt x="1561" y="2041"/>
                  <a:pt x="1560" y="2039"/>
                </a:cubicBezTo>
                <a:cubicBezTo>
                  <a:pt x="1560" y="2036"/>
                  <a:pt x="1560" y="2033"/>
                  <a:pt x="1561" y="2031"/>
                </a:cubicBezTo>
                <a:cubicBezTo>
                  <a:pt x="1565" y="2025"/>
                  <a:pt x="1567" y="2019"/>
                  <a:pt x="1571" y="2013"/>
                </a:cubicBezTo>
                <a:cubicBezTo>
                  <a:pt x="1574" y="2009"/>
                  <a:pt x="1575" y="2005"/>
                  <a:pt x="1575" y="1999"/>
                </a:cubicBezTo>
                <a:cubicBezTo>
                  <a:pt x="1574" y="1996"/>
                  <a:pt x="1574" y="1991"/>
                  <a:pt x="1576" y="1988"/>
                </a:cubicBezTo>
                <a:cubicBezTo>
                  <a:pt x="1581" y="1982"/>
                  <a:pt x="1582" y="1975"/>
                  <a:pt x="1582" y="1968"/>
                </a:cubicBezTo>
                <a:cubicBezTo>
                  <a:pt x="1582" y="1959"/>
                  <a:pt x="1582" y="1950"/>
                  <a:pt x="1582" y="1941"/>
                </a:cubicBezTo>
                <a:cubicBezTo>
                  <a:pt x="1582" y="1935"/>
                  <a:pt x="1582" y="1929"/>
                  <a:pt x="1582" y="1923"/>
                </a:cubicBezTo>
                <a:cubicBezTo>
                  <a:pt x="1582" y="1920"/>
                  <a:pt x="1583" y="1918"/>
                  <a:pt x="1585" y="1916"/>
                </a:cubicBezTo>
                <a:cubicBezTo>
                  <a:pt x="1593" y="1913"/>
                  <a:pt x="1597" y="1907"/>
                  <a:pt x="1600" y="1899"/>
                </a:cubicBezTo>
                <a:cubicBezTo>
                  <a:pt x="1600" y="1898"/>
                  <a:pt x="1601" y="1896"/>
                  <a:pt x="1602" y="1895"/>
                </a:cubicBezTo>
                <a:cubicBezTo>
                  <a:pt x="1604" y="1890"/>
                  <a:pt x="1607" y="1886"/>
                  <a:pt x="1611" y="1883"/>
                </a:cubicBezTo>
                <a:cubicBezTo>
                  <a:pt x="1615" y="1879"/>
                  <a:pt x="1620" y="1875"/>
                  <a:pt x="1624" y="1870"/>
                </a:cubicBezTo>
                <a:cubicBezTo>
                  <a:pt x="1628" y="1866"/>
                  <a:pt x="1631" y="1861"/>
                  <a:pt x="1633" y="1855"/>
                </a:cubicBezTo>
                <a:cubicBezTo>
                  <a:pt x="1635" y="1849"/>
                  <a:pt x="1637" y="1837"/>
                  <a:pt x="1636" y="1832"/>
                </a:cubicBezTo>
                <a:cubicBezTo>
                  <a:pt x="1633" y="1825"/>
                  <a:pt x="1631" y="1818"/>
                  <a:pt x="1628" y="1811"/>
                </a:cubicBezTo>
                <a:close/>
                <a:moveTo>
                  <a:pt x="1376" y="892"/>
                </a:moveTo>
                <a:cubicBezTo>
                  <a:pt x="1376" y="892"/>
                  <a:pt x="1377" y="893"/>
                  <a:pt x="1376" y="893"/>
                </a:cubicBezTo>
                <a:cubicBezTo>
                  <a:pt x="1375" y="898"/>
                  <a:pt x="1371" y="898"/>
                  <a:pt x="1368" y="900"/>
                </a:cubicBezTo>
                <a:cubicBezTo>
                  <a:pt x="1367" y="899"/>
                  <a:pt x="1366" y="898"/>
                  <a:pt x="1367" y="898"/>
                </a:cubicBezTo>
                <a:cubicBezTo>
                  <a:pt x="1369" y="894"/>
                  <a:pt x="1372" y="893"/>
                  <a:pt x="1376" y="892"/>
                </a:cubicBezTo>
                <a:close/>
                <a:moveTo>
                  <a:pt x="1305" y="914"/>
                </a:moveTo>
                <a:cubicBezTo>
                  <a:pt x="1305" y="913"/>
                  <a:pt x="1305" y="913"/>
                  <a:pt x="1305" y="913"/>
                </a:cubicBezTo>
                <a:cubicBezTo>
                  <a:pt x="1306" y="914"/>
                  <a:pt x="1306" y="914"/>
                  <a:pt x="1306" y="914"/>
                </a:cubicBezTo>
                <a:lnTo>
                  <a:pt x="1305" y="914"/>
                </a:lnTo>
                <a:close/>
                <a:moveTo>
                  <a:pt x="1301" y="882"/>
                </a:moveTo>
                <a:cubicBezTo>
                  <a:pt x="1304" y="882"/>
                  <a:pt x="1306" y="883"/>
                  <a:pt x="1309" y="882"/>
                </a:cubicBezTo>
                <a:cubicBezTo>
                  <a:pt x="1314" y="879"/>
                  <a:pt x="1319" y="881"/>
                  <a:pt x="1325" y="883"/>
                </a:cubicBezTo>
                <a:cubicBezTo>
                  <a:pt x="1325" y="883"/>
                  <a:pt x="1325" y="884"/>
                  <a:pt x="1326" y="885"/>
                </a:cubicBezTo>
                <a:cubicBezTo>
                  <a:pt x="1326" y="886"/>
                  <a:pt x="1325" y="886"/>
                  <a:pt x="1325" y="886"/>
                </a:cubicBezTo>
                <a:cubicBezTo>
                  <a:pt x="1323" y="887"/>
                  <a:pt x="1321" y="888"/>
                  <a:pt x="1319" y="888"/>
                </a:cubicBezTo>
                <a:cubicBezTo>
                  <a:pt x="1314" y="886"/>
                  <a:pt x="1310" y="887"/>
                  <a:pt x="1306" y="887"/>
                </a:cubicBezTo>
                <a:cubicBezTo>
                  <a:pt x="1304" y="887"/>
                  <a:pt x="1303" y="886"/>
                  <a:pt x="1301" y="885"/>
                </a:cubicBezTo>
                <a:cubicBezTo>
                  <a:pt x="1301" y="885"/>
                  <a:pt x="1301" y="884"/>
                  <a:pt x="1301" y="884"/>
                </a:cubicBezTo>
                <a:cubicBezTo>
                  <a:pt x="1300" y="883"/>
                  <a:pt x="1301" y="882"/>
                  <a:pt x="1301" y="882"/>
                </a:cubicBezTo>
                <a:close/>
                <a:moveTo>
                  <a:pt x="1297" y="910"/>
                </a:moveTo>
                <a:cubicBezTo>
                  <a:pt x="1297" y="911"/>
                  <a:pt x="1297" y="911"/>
                  <a:pt x="1297" y="911"/>
                </a:cubicBezTo>
                <a:cubicBezTo>
                  <a:pt x="1296" y="911"/>
                  <a:pt x="1296" y="911"/>
                  <a:pt x="1296" y="911"/>
                </a:cubicBezTo>
                <a:lnTo>
                  <a:pt x="1297" y="910"/>
                </a:lnTo>
                <a:close/>
                <a:moveTo>
                  <a:pt x="1257" y="867"/>
                </a:moveTo>
                <a:cubicBezTo>
                  <a:pt x="1257" y="867"/>
                  <a:pt x="1258" y="867"/>
                  <a:pt x="1258" y="867"/>
                </a:cubicBezTo>
                <a:cubicBezTo>
                  <a:pt x="1258" y="868"/>
                  <a:pt x="1259" y="869"/>
                  <a:pt x="1259" y="870"/>
                </a:cubicBezTo>
                <a:cubicBezTo>
                  <a:pt x="1258" y="869"/>
                  <a:pt x="1258" y="868"/>
                  <a:pt x="1258" y="867"/>
                </a:cubicBezTo>
                <a:cubicBezTo>
                  <a:pt x="1257" y="868"/>
                  <a:pt x="1256" y="867"/>
                  <a:pt x="1257" y="867"/>
                </a:cubicBezTo>
                <a:close/>
                <a:moveTo>
                  <a:pt x="1246" y="872"/>
                </a:moveTo>
                <a:cubicBezTo>
                  <a:pt x="1247" y="870"/>
                  <a:pt x="1248" y="869"/>
                  <a:pt x="1249" y="868"/>
                </a:cubicBezTo>
                <a:cubicBezTo>
                  <a:pt x="1250" y="869"/>
                  <a:pt x="1250" y="870"/>
                  <a:pt x="1250" y="871"/>
                </a:cubicBezTo>
                <a:cubicBezTo>
                  <a:pt x="1251" y="872"/>
                  <a:pt x="1251" y="873"/>
                  <a:pt x="1251" y="876"/>
                </a:cubicBezTo>
                <a:cubicBezTo>
                  <a:pt x="1251" y="876"/>
                  <a:pt x="1251" y="877"/>
                  <a:pt x="1250" y="879"/>
                </a:cubicBezTo>
                <a:cubicBezTo>
                  <a:pt x="1250" y="879"/>
                  <a:pt x="1250" y="879"/>
                  <a:pt x="1249" y="879"/>
                </a:cubicBezTo>
                <a:cubicBezTo>
                  <a:pt x="1246" y="878"/>
                  <a:pt x="1245" y="875"/>
                  <a:pt x="1246" y="872"/>
                </a:cubicBezTo>
                <a:close/>
                <a:moveTo>
                  <a:pt x="1216" y="856"/>
                </a:moveTo>
                <a:cubicBezTo>
                  <a:pt x="1218" y="856"/>
                  <a:pt x="1218" y="856"/>
                  <a:pt x="1216" y="856"/>
                </a:cubicBezTo>
                <a:cubicBezTo>
                  <a:pt x="1215" y="856"/>
                  <a:pt x="1215" y="856"/>
                  <a:pt x="1215" y="856"/>
                </a:cubicBezTo>
                <a:cubicBezTo>
                  <a:pt x="1215" y="856"/>
                  <a:pt x="1216" y="855"/>
                  <a:pt x="1216" y="856"/>
                </a:cubicBezTo>
                <a:close/>
                <a:moveTo>
                  <a:pt x="1190" y="934"/>
                </a:moveTo>
                <a:cubicBezTo>
                  <a:pt x="1190" y="934"/>
                  <a:pt x="1191" y="935"/>
                  <a:pt x="1191" y="935"/>
                </a:cubicBezTo>
                <a:cubicBezTo>
                  <a:pt x="1191" y="935"/>
                  <a:pt x="1191" y="936"/>
                  <a:pt x="1191" y="936"/>
                </a:cubicBezTo>
                <a:cubicBezTo>
                  <a:pt x="1189" y="937"/>
                  <a:pt x="1187" y="939"/>
                  <a:pt x="1184" y="940"/>
                </a:cubicBezTo>
                <a:cubicBezTo>
                  <a:pt x="1184" y="940"/>
                  <a:pt x="1184" y="939"/>
                  <a:pt x="1184" y="939"/>
                </a:cubicBezTo>
                <a:cubicBezTo>
                  <a:pt x="1185" y="936"/>
                  <a:pt x="1187" y="935"/>
                  <a:pt x="1190" y="934"/>
                </a:cubicBezTo>
                <a:close/>
                <a:moveTo>
                  <a:pt x="1161" y="981"/>
                </a:moveTo>
                <a:cubicBezTo>
                  <a:pt x="1161" y="981"/>
                  <a:pt x="1162" y="981"/>
                  <a:pt x="1162" y="981"/>
                </a:cubicBezTo>
                <a:cubicBezTo>
                  <a:pt x="1162" y="981"/>
                  <a:pt x="1162" y="982"/>
                  <a:pt x="1162" y="982"/>
                </a:cubicBezTo>
                <a:cubicBezTo>
                  <a:pt x="1162" y="982"/>
                  <a:pt x="1161" y="982"/>
                  <a:pt x="1161" y="982"/>
                </a:cubicBezTo>
                <a:cubicBezTo>
                  <a:pt x="1161" y="982"/>
                  <a:pt x="1160" y="982"/>
                  <a:pt x="1160" y="981"/>
                </a:cubicBezTo>
                <a:cubicBezTo>
                  <a:pt x="1160" y="981"/>
                  <a:pt x="1161" y="981"/>
                  <a:pt x="1161" y="981"/>
                </a:cubicBezTo>
                <a:close/>
                <a:moveTo>
                  <a:pt x="1095" y="582"/>
                </a:moveTo>
                <a:cubicBezTo>
                  <a:pt x="1095" y="582"/>
                  <a:pt x="1096" y="582"/>
                  <a:pt x="1096" y="583"/>
                </a:cubicBezTo>
                <a:cubicBezTo>
                  <a:pt x="1101" y="586"/>
                  <a:pt x="1103" y="591"/>
                  <a:pt x="1106" y="596"/>
                </a:cubicBezTo>
                <a:cubicBezTo>
                  <a:pt x="1106" y="596"/>
                  <a:pt x="1106" y="597"/>
                  <a:pt x="1106" y="597"/>
                </a:cubicBezTo>
                <a:cubicBezTo>
                  <a:pt x="1105" y="598"/>
                  <a:pt x="1105" y="598"/>
                  <a:pt x="1104" y="598"/>
                </a:cubicBezTo>
                <a:cubicBezTo>
                  <a:pt x="1103" y="597"/>
                  <a:pt x="1101" y="597"/>
                  <a:pt x="1100" y="596"/>
                </a:cubicBezTo>
                <a:cubicBezTo>
                  <a:pt x="1097" y="593"/>
                  <a:pt x="1095" y="589"/>
                  <a:pt x="1094" y="585"/>
                </a:cubicBezTo>
                <a:cubicBezTo>
                  <a:pt x="1093" y="584"/>
                  <a:pt x="1094" y="583"/>
                  <a:pt x="1095" y="582"/>
                </a:cubicBezTo>
                <a:close/>
                <a:moveTo>
                  <a:pt x="1008" y="609"/>
                </a:moveTo>
                <a:cubicBezTo>
                  <a:pt x="1008" y="609"/>
                  <a:pt x="1009" y="608"/>
                  <a:pt x="1010" y="609"/>
                </a:cubicBezTo>
                <a:cubicBezTo>
                  <a:pt x="1012" y="609"/>
                  <a:pt x="1014" y="610"/>
                  <a:pt x="1015" y="613"/>
                </a:cubicBezTo>
                <a:cubicBezTo>
                  <a:pt x="1016" y="613"/>
                  <a:pt x="1016" y="613"/>
                  <a:pt x="1016" y="613"/>
                </a:cubicBezTo>
                <a:cubicBezTo>
                  <a:pt x="1016" y="613"/>
                  <a:pt x="1016" y="613"/>
                  <a:pt x="1016" y="613"/>
                </a:cubicBezTo>
                <a:cubicBezTo>
                  <a:pt x="1019" y="613"/>
                  <a:pt x="1020" y="614"/>
                  <a:pt x="1022" y="615"/>
                </a:cubicBezTo>
                <a:cubicBezTo>
                  <a:pt x="1022" y="615"/>
                  <a:pt x="1023" y="615"/>
                  <a:pt x="1023" y="615"/>
                </a:cubicBezTo>
                <a:cubicBezTo>
                  <a:pt x="1023" y="617"/>
                  <a:pt x="1023" y="617"/>
                  <a:pt x="1023" y="617"/>
                </a:cubicBezTo>
                <a:cubicBezTo>
                  <a:pt x="1022" y="616"/>
                  <a:pt x="1022" y="616"/>
                  <a:pt x="1022" y="616"/>
                </a:cubicBezTo>
                <a:cubicBezTo>
                  <a:pt x="1022" y="616"/>
                  <a:pt x="1022" y="616"/>
                  <a:pt x="1022" y="615"/>
                </a:cubicBezTo>
                <a:cubicBezTo>
                  <a:pt x="1020" y="615"/>
                  <a:pt x="1018" y="615"/>
                  <a:pt x="1016" y="613"/>
                </a:cubicBezTo>
                <a:cubicBezTo>
                  <a:pt x="1016" y="613"/>
                  <a:pt x="1016" y="613"/>
                  <a:pt x="1016" y="613"/>
                </a:cubicBezTo>
                <a:cubicBezTo>
                  <a:pt x="1016" y="613"/>
                  <a:pt x="1015" y="613"/>
                  <a:pt x="1015" y="613"/>
                </a:cubicBezTo>
                <a:cubicBezTo>
                  <a:pt x="1011" y="614"/>
                  <a:pt x="1010" y="614"/>
                  <a:pt x="1008" y="612"/>
                </a:cubicBezTo>
                <a:cubicBezTo>
                  <a:pt x="1008" y="611"/>
                  <a:pt x="1008" y="610"/>
                  <a:pt x="1008" y="609"/>
                </a:cubicBezTo>
                <a:close/>
                <a:moveTo>
                  <a:pt x="977" y="597"/>
                </a:moveTo>
                <a:cubicBezTo>
                  <a:pt x="977" y="597"/>
                  <a:pt x="977" y="598"/>
                  <a:pt x="978" y="598"/>
                </a:cubicBezTo>
                <a:cubicBezTo>
                  <a:pt x="977" y="598"/>
                  <a:pt x="977" y="599"/>
                  <a:pt x="977" y="598"/>
                </a:cubicBezTo>
                <a:cubicBezTo>
                  <a:pt x="975" y="598"/>
                  <a:pt x="975" y="597"/>
                  <a:pt x="977" y="597"/>
                </a:cubicBezTo>
                <a:close/>
                <a:moveTo>
                  <a:pt x="1097" y="973"/>
                </a:moveTo>
                <a:cubicBezTo>
                  <a:pt x="1097" y="973"/>
                  <a:pt x="1098" y="973"/>
                  <a:pt x="1098" y="973"/>
                </a:cubicBezTo>
                <a:cubicBezTo>
                  <a:pt x="1098" y="973"/>
                  <a:pt x="1099" y="973"/>
                  <a:pt x="1099" y="974"/>
                </a:cubicBezTo>
                <a:cubicBezTo>
                  <a:pt x="1100" y="975"/>
                  <a:pt x="1099" y="975"/>
                  <a:pt x="1098" y="975"/>
                </a:cubicBezTo>
                <a:cubicBezTo>
                  <a:pt x="1097" y="975"/>
                  <a:pt x="1097" y="975"/>
                  <a:pt x="1097" y="974"/>
                </a:cubicBezTo>
                <a:cubicBezTo>
                  <a:pt x="1096" y="974"/>
                  <a:pt x="1097" y="974"/>
                  <a:pt x="1097" y="973"/>
                </a:cubicBezTo>
                <a:close/>
                <a:moveTo>
                  <a:pt x="1086" y="1071"/>
                </a:moveTo>
                <a:cubicBezTo>
                  <a:pt x="1086" y="1070"/>
                  <a:pt x="1086" y="1070"/>
                  <a:pt x="1087" y="1070"/>
                </a:cubicBezTo>
                <a:cubicBezTo>
                  <a:pt x="1090" y="1069"/>
                  <a:pt x="1092" y="1067"/>
                  <a:pt x="1095" y="1067"/>
                </a:cubicBezTo>
                <a:cubicBezTo>
                  <a:pt x="1100" y="1066"/>
                  <a:pt x="1105" y="1066"/>
                  <a:pt x="1111" y="1066"/>
                </a:cubicBezTo>
                <a:cubicBezTo>
                  <a:pt x="1114" y="1066"/>
                  <a:pt x="1117" y="1065"/>
                  <a:pt x="1120" y="1062"/>
                </a:cubicBezTo>
                <a:cubicBezTo>
                  <a:pt x="1120" y="1062"/>
                  <a:pt x="1122" y="1062"/>
                  <a:pt x="1123" y="1061"/>
                </a:cubicBezTo>
                <a:cubicBezTo>
                  <a:pt x="1123" y="1062"/>
                  <a:pt x="1124" y="1062"/>
                  <a:pt x="1124" y="1062"/>
                </a:cubicBezTo>
                <a:cubicBezTo>
                  <a:pt x="1126" y="1066"/>
                  <a:pt x="1125" y="1069"/>
                  <a:pt x="1123" y="1072"/>
                </a:cubicBezTo>
                <a:cubicBezTo>
                  <a:pt x="1120" y="1076"/>
                  <a:pt x="1115" y="1079"/>
                  <a:pt x="1109" y="1077"/>
                </a:cubicBezTo>
                <a:cubicBezTo>
                  <a:pt x="1102" y="1074"/>
                  <a:pt x="1094" y="1076"/>
                  <a:pt x="1087" y="1076"/>
                </a:cubicBezTo>
                <a:cubicBezTo>
                  <a:pt x="1086" y="1076"/>
                  <a:pt x="1085" y="1074"/>
                  <a:pt x="1085" y="1073"/>
                </a:cubicBezTo>
                <a:cubicBezTo>
                  <a:pt x="1084" y="1073"/>
                  <a:pt x="1085" y="1072"/>
                  <a:pt x="1086" y="1071"/>
                </a:cubicBezTo>
                <a:close/>
                <a:moveTo>
                  <a:pt x="1083" y="1086"/>
                </a:moveTo>
                <a:cubicBezTo>
                  <a:pt x="1083" y="1087"/>
                  <a:pt x="1083" y="1088"/>
                  <a:pt x="1082" y="1089"/>
                </a:cubicBezTo>
                <a:cubicBezTo>
                  <a:pt x="1076" y="1092"/>
                  <a:pt x="1070" y="1095"/>
                  <a:pt x="1064" y="1097"/>
                </a:cubicBezTo>
                <a:cubicBezTo>
                  <a:pt x="1060" y="1099"/>
                  <a:pt x="1055" y="1101"/>
                  <a:pt x="1051" y="1103"/>
                </a:cubicBezTo>
                <a:cubicBezTo>
                  <a:pt x="1047" y="1106"/>
                  <a:pt x="1042" y="1107"/>
                  <a:pt x="1037" y="1107"/>
                </a:cubicBezTo>
                <a:cubicBezTo>
                  <a:pt x="1035" y="1106"/>
                  <a:pt x="1033" y="1105"/>
                  <a:pt x="1031" y="1104"/>
                </a:cubicBezTo>
                <a:cubicBezTo>
                  <a:pt x="1030" y="1103"/>
                  <a:pt x="1030" y="1099"/>
                  <a:pt x="1032" y="1098"/>
                </a:cubicBezTo>
                <a:cubicBezTo>
                  <a:pt x="1032" y="1098"/>
                  <a:pt x="1033" y="1097"/>
                  <a:pt x="1033" y="1097"/>
                </a:cubicBezTo>
                <a:cubicBezTo>
                  <a:pt x="1041" y="1097"/>
                  <a:pt x="1048" y="1093"/>
                  <a:pt x="1054" y="1089"/>
                </a:cubicBezTo>
                <a:cubicBezTo>
                  <a:pt x="1057" y="1087"/>
                  <a:pt x="1059" y="1087"/>
                  <a:pt x="1062" y="1088"/>
                </a:cubicBezTo>
                <a:cubicBezTo>
                  <a:pt x="1065" y="1089"/>
                  <a:pt x="1068" y="1089"/>
                  <a:pt x="1071" y="1087"/>
                </a:cubicBezTo>
                <a:cubicBezTo>
                  <a:pt x="1074" y="1086"/>
                  <a:pt x="1077" y="1085"/>
                  <a:pt x="1079" y="1084"/>
                </a:cubicBezTo>
                <a:cubicBezTo>
                  <a:pt x="1080" y="1084"/>
                  <a:pt x="1083" y="1085"/>
                  <a:pt x="1083" y="1086"/>
                </a:cubicBezTo>
                <a:close/>
                <a:moveTo>
                  <a:pt x="1036" y="1018"/>
                </a:moveTo>
                <a:cubicBezTo>
                  <a:pt x="1048" y="1020"/>
                  <a:pt x="1059" y="1023"/>
                  <a:pt x="1069" y="1027"/>
                </a:cubicBezTo>
                <a:cubicBezTo>
                  <a:pt x="1071" y="1027"/>
                  <a:pt x="1072" y="1028"/>
                  <a:pt x="1073" y="1030"/>
                </a:cubicBezTo>
                <a:cubicBezTo>
                  <a:pt x="1076" y="1034"/>
                  <a:pt x="1078" y="1038"/>
                  <a:pt x="1080" y="1043"/>
                </a:cubicBezTo>
                <a:cubicBezTo>
                  <a:pt x="1081" y="1045"/>
                  <a:pt x="1080" y="1047"/>
                  <a:pt x="1079" y="1049"/>
                </a:cubicBezTo>
                <a:cubicBezTo>
                  <a:pt x="1078" y="1051"/>
                  <a:pt x="1076" y="1051"/>
                  <a:pt x="1074" y="1050"/>
                </a:cubicBezTo>
                <a:cubicBezTo>
                  <a:pt x="1071" y="1049"/>
                  <a:pt x="1069" y="1045"/>
                  <a:pt x="1066" y="1043"/>
                </a:cubicBezTo>
                <a:cubicBezTo>
                  <a:pt x="1065" y="1042"/>
                  <a:pt x="1064" y="1042"/>
                  <a:pt x="1063" y="1042"/>
                </a:cubicBezTo>
                <a:cubicBezTo>
                  <a:pt x="1063" y="1042"/>
                  <a:pt x="1062" y="1043"/>
                  <a:pt x="1062" y="1044"/>
                </a:cubicBezTo>
                <a:cubicBezTo>
                  <a:pt x="1062" y="1045"/>
                  <a:pt x="1062" y="1047"/>
                  <a:pt x="1062" y="1048"/>
                </a:cubicBezTo>
                <a:cubicBezTo>
                  <a:pt x="1057" y="1055"/>
                  <a:pt x="1055" y="1063"/>
                  <a:pt x="1053" y="1071"/>
                </a:cubicBezTo>
                <a:cubicBezTo>
                  <a:pt x="1052" y="1072"/>
                  <a:pt x="1051" y="1073"/>
                  <a:pt x="1050" y="1073"/>
                </a:cubicBezTo>
                <a:cubicBezTo>
                  <a:pt x="1049" y="1074"/>
                  <a:pt x="1047" y="1074"/>
                  <a:pt x="1046" y="1072"/>
                </a:cubicBezTo>
                <a:cubicBezTo>
                  <a:pt x="1046" y="1069"/>
                  <a:pt x="1045" y="1066"/>
                  <a:pt x="1045" y="1063"/>
                </a:cubicBezTo>
                <a:cubicBezTo>
                  <a:pt x="1044" y="1060"/>
                  <a:pt x="1041" y="1059"/>
                  <a:pt x="1038" y="1060"/>
                </a:cubicBezTo>
                <a:cubicBezTo>
                  <a:pt x="1037" y="1060"/>
                  <a:pt x="1035" y="1061"/>
                  <a:pt x="1034" y="1062"/>
                </a:cubicBezTo>
                <a:cubicBezTo>
                  <a:pt x="1033" y="1063"/>
                  <a:pt x="1032" y="1063"/>
                  <a:pt x="1031" y="1062"/>
                </a:cubicBezTo>
                <a:cubicBezTo>
                  <a:pt x="1031" y="1062"/>
                  <a:pt x="1031" y="1061"/>
                  <a:pt x="1031" y="1061"/>
                </a:cubicBezTo>
                <a:cubicBezTo>
                  <a:pt x="1033" y="1059"/>
                  <a:pt x="1034" y="1057"/>
                  <a:pt x="1036" y="1054"/>
                </a:cubicBezTo>
                <a:cubicBezTo>
                  <a:pt x="1039" y="1050"/>
                  <a:pt x="1040" y="1045"/>
                  <a:pt x="1038" y="1040"/>
                </a:cubicBezTo>
                <a:cubicBezTo>
                  <a:pt x="1037" y="1038"/>
                  <a:pt x="1036" y="1036"/>
                  <a:pt x="1034" y="1035"/>
                </a:cubicBezTo>
                <a:cubicBezTo>
                  <a:pt x="1032" y="1033"/>
                  <a:pt x="1029" y="1031"/>
                  <a:pt x="1026" y="1029"/>
                </a:cubicBezTo>
                <a:cubicBezTo>
                  <a:pt x="1025" y="1028"/>
                  <a:pt x="1024" y="1027"/>
                  <a:pt x="1023" y="1026"/>
                </a:cubicBezTo>
                <a:cubicBezTo>
                  <a:pt x="1023" y="1026"/>
                  <a:pt x="1023" y="1026"/>
                  <a:pt x="1023" y="1026"/>
                </a:cubicBezTo>
                <a:cubicBezTo>
                  <a:pt x="1023" y="1026"/>
                  <a:pt x="1023" y="1026"/>
                  <a:pt x="1023" y="1026"/>
                </a:cubicBezTo>
                <a:cubicBezTo>
                  <a:pt x="1020" y="1028"/>
                  <a:pt x="1017" y="1031"/>
                  <a:pt x="1015" y="1034"/>
                </a:cubicBezTo>
                <a:cubicBezTo>
                  <a:pt x="1014" y="1036"/>
                  <a:pt x="1012" y="1038"/>
                  <a:pt x="1009" y="1038"/>
                </a:cubicBezTo>
                <a:cubicBezTo>
                  <a:pt x="1005" y="1038"/>
                  <a:pt x="1003" y="1041"/>
                  <a:pt x="1001" y="1044"/>
                </a:cubicBezTo>
                <a:cubicBezTo>
                  <a:pt x="996" y="1053"/>
                  <a:pt x="992" y="1063"/>
                  <a:pt x="993" y="1073"/>
                </a:cubicBezTo>
                <a:cubicBezTo>
                  <a:pt x="993" y="1084"/>
                  <a:pt x="988" y="1091"/>
                  <a:pt x="980" y="1097"/>
                </a:cubicBezTo>
                <a:cubicBezTo>
                  <a:pt x="978" y="1098"/>
                  <a:pt x="974" y="1097"/>
                  <a:pt x="974" y="1094"/>
                </a:cubicBezTo>
                <a:cubicBezTo>
                  <a:pt x="972" y="1085"/>
                  <a:pt x="972" y="1075"/>
                  <a:pt x="977" y="1067"/>
                </a:cubicBezTo>
                <a:cubicBezTo>
                  <a:pt x="980" y="1062"/>
                  <a:pt x="981" y="1056"/>
                  <a:pt x="983" y="1050"/>
                </a:cubicBezTo>
                <a:cubicBezTo>
                  <a:pt x="984" y="1047"/>
                  <a:pt x="984" y="1045"/>
                  <a:pt x="983" y="1042"/>
                </a:cubicBezTo>
                <a:cubicBezTo>
                  <a:pt x="982" y="1041"/>
                  <a:pt x="983" y="1040"/>
                  <a:pt x="983" y="1039"/>
                </a:cubicBezTo>
                <a:cubicBezTo>
                  <a:pt x="983" y="1038"/>
                  <a:pt x="983" y="1038"/>
                  <a:pt x="984" y="1037"/>
                </a:cubicBezTo>
                <a:cubicBezTo>
                  <a:pt x="997" y="1023"/>
                  <a:pt x="994" y="1025"/>
                  <a:pt x="1013" y="1022"/>
                </a:cubicBezTo>
                <a:cubicBezTo>
                  <a:pt x="1017" y="1021"/>
                  <a:pt x="1020" y="1023"/>
                  <a:pt x="1023" y="1026"/>
                </a:cubicBezTo>
                <a:cubicBezTo>
                  <a:pt x="1023" y="1026"/>
                  <a:pt x="1023" y="1026"/>
                  <a:pt x="1023" y="1025"/>
                </a:cubicBezTo>
                <a:cubicBezTo>
                  <a:pt x="1023" y="1026"/>
                  <a:pt x="1023" y="1026"/>
                  <a:pt x="1023" y="1026"/>
                </a:cubicBezTo>
                <a:cubicBezTo>
                  <a:pt x="1026" y="1025"/>
                  <a:pt x="1029" y="1024"/>
                  <a:pt x="1032" y="1023"/>
                </a:cubicBezTo>
                <a:cubicBezTo>
                  <a:pt x="1033" y="1023"/>
                  <a:pt x="1033" y="1021"/>
                  <a:pt x="1034" y="1020"/>
                </a:cubicBezTo>
                <a:cubicBezTo>
                  <a:pt x="1035" y="1020"/>
                  <a:pt x="1036" y="1018"/>
                  <a:pt x="1036" y="1018"/>
                </a:cubicBezTo>
                <a:close/>
                <a:moveTo>
                  <a:pt x="1033" y="874"/>
                </a:moveTo>
                <a:cubicBezTo>
                  <a:pt x="1033" y="874"/>
                  <a:pt x="1033" y="873"/>
                  <a:pt x="1033" y="873"/>
                </a:cubicBezTo>
                <a:cubicBezTo>
                  <a:pt x="1033" y="872"/>
                  <a:pt x="1033" y="871"/>
                  <a:pt x="1033" y="870"/>
                </a:cubicBezTo>
                <a:cubicBezTo>
                  <a:pt x="1033" y="868"/>
                  <a:pt x="1034" y="868"/>
                  <a:pt x="1035" y="869"/>
                </a:cubicBezTo>
                <a:cubicBezTo>
                  <a:pt x="1035" y="869"/>
                  <a:pt x="1035" y="870"/>
                  <a:pt x="1035" y="870"/>
                </a:cubicBezTo>
                <a:cubicBezTo>
                  <a:pt x="1034" y="871"/>
                  <a:pt x="1034" y="872"/>
                  <a:pt x="1033" y="873"/>
                </a:cubicBezTo>
                <a:cubicBezTo>
                  <a:pt x="1033" y="874"/>
                  <a:pt x="1033" y="874"/>
                  <a:pt x="1033" y="874"/>
                </a:cubicBezTo>
                <a:cubicBezTo>
                  <a:pt x="1032" y="875"/>
                  <a:pt x="1032" y="875"/>
                  <a:pt x="1032" y="875"/>
                </a:cubicBezTo>
                <a:lnTo>
                  <a:pt x="1033" y="874"/>
                </a:lnTo>
                <a:close/>
                <a:moveTo>
                  <a:pt x="992" y="942"/>
                </a:moveTo>
                <a:cubicBezTo>
                  <a:pt x="992" y="942"/>
                  <a:pt x="993" y="942"/>
                  <a:pt x="993" y="942"/>
                </a:cubicBezTo>
                <a:cubicBezTo>
                  <a:pt x="994" y="943"/>
                  <a:pt x="995" y="943"/>
                  <a:pt x="995" y="944"/>
                </a:cubicBezTo>
                <a:cubicBezTo>
                  <a:pt x="996" y="946"/>
                  <a:pt x="996" y="949"/>
                  <a:pt x="994" y="951"/>
                </a:cubicBezTo>
                <a:cubicBezTo>
                  <a:pt x="994" y="951"/>
                  <a:pt x="994" y="952"/>
                  <a:pt x="993" y="952"/>
                </a:cubicBezTo>
                <a:cubicBezTo>
                  <a:pt x="992" y="952"/>
                  <a:pt x="991" y="952"/>
                  <a:pt x="991" y="951"/>
                </a:cubicBezTo>
                <a:cubicBezTo>
                  <a:pt x="989" y="947"/>
                  <a:pt x="989" y="945"/>
                  <a:pt x="992" y="942"/>
                </a:cubicBezTo>
                <a:close/>
                <a:moveTo>
                  <a:pt x="976" y="918"/>
                </a:moveTo>
                <a:cubicBezTo>
                  <a:pt x="976" y="919"/>
                  <a:pt x="976" y="919"/>
                  <a:pt x="976" y="919"/>
                </a:cubicBezTo>
                <a:cubicBezTo>
                  <a:pt x="975" y="919"/>
                  <a:pt x="975" y="919"/>
                  <a:pt x="975" y="919"/>
                </a:cubicBezTo>
                <a:lnTo>
                  <a:pt x="976" y="918"/>
                </a:lnTo>
                <a:close/>
                <a:moveTo>
                  <a:pt x="966" y="646"/>
                </a:moveTo>
                <a:cubicBezTo>
                  <a:pt x="967" y="645"/>
                  <a:pt x="968" y="645"/>
                  <a:pt x="969" y="645"/>
                </a:cubicBezTo>
                <a:cubicBezTo>
                  <a:pt x="970" y="645"/>
                  <a:pt x="971" y="646"/>
                  <a:pt x="971" y="647"/>
                </a:cubicBezTo>
                <a:cubicBezTo>
                  <a:pt x="972" y="648"/>
                  <a:pt x="972" y="650"/>
                  <a:pt x="972" y="651"/>
                </a:cubicBezTo>
                <a:cubicBezTo>
                  <a:pt x="971" y="653"/>
                  <a:pt x="970" y="653"/>
                  <a:pt x="969" y="652"/>
                </a:cubicBezTo>
                <a:cubicBezTo>
                  <a:pt x="968" y="651"/>
                  <a:pt x="967" y="650"/>
                  <a:pt x="966" y="649"/>
                </a:cubicBezTo>
                <a:cubicBezTo>
                  <a:pt x="965" y="648"/>
                  <a:pt x="966" y="647"/>
                  <a:pt x="966" y="646"/>
                </a:cubicBezTo>
                <a:close/>
                <a:moveTo>
                  <a:pt x="955" y="635"/>
                </a:moveTo>
                <a:cubicBezTo>
                  <a:pt x="955" y="636"/>
                  <a:pt x="955" y="636"/>
                  <a:pt x="955" y="637"/>
                </a:cubicBezTo>
                <a:cubicBezTo>
                  <a:pt x="955" y="637"/>
                  <a:pt x="955" y="637"/>
                  <a:pt x="955" y="638"/>
                </a:cubicBezTo>
                <a:cubicBezTo>
                  <a:pt x="954" y="637"/>
                  <a:pt x="954" y="637"/>
                  <a:pt x="954" y="636"/>
                </a:cubicBezTo>
                <a:cubicBezTo>
                  <a:pt x="954" y="636"/>
                  <a:pt x="955" y="636"/>
                  <a:pt x="955" y="635"/>
                </a:cubicBezTo>
                <a:close/>
                <a:moveTo>
                  <a:pt x="949" y="839"/>
                </a:moveTo>
                <a:cubicBezTo>
                  <a:pt x="950" y="839"/>
                  <a:pt x="950" y="839"/>
                  <a:pt x="951" y="839"/>
                </a:cubicBezTo>
                <a:cubicBezTo>
                  <a:pt x="951" y="840"/>
                  <a:pt x="950" y="840"/>
                  <a:pt x="950" y="840"/>
                </a:cubicBezTo>
                <a:cubicBezTo>
                  <a:pt x="950" y="840"/>
                  <a:pt x="949" y="840"/>
                  <a:pt x="949" y="840"/>
                </a:cubicBezTo>
                <a:cubicBezTo>
                  <a:pt x="949" y="839"/>
                  <a:pt x="949" y="839"/>
                  <a:pt x="949" y="839"/>
                </a:cubicBezTo>
                <a:close/>
                <a:moveTo>
                  <a:pt x="943" y="930"/>
                </a:moveTo>
                <a:cubicBezTo>
                  <a:pt x="943" y="930"/>
                  <a:pt x="943" y="930"/>
                  <a:pt x="944" y="930"/>
                </a:cubicBezTo>
                <a:cubicBezTo>
                  <a:pt x="944" y="930"/>
                  <a:pt x="944" y="930"/>
                  <a:pt x="944" y="931"/>
                </a:cubicBezTo>
                <a:cubicBezTo>
                  <a:pt x="947" y="931"/>
                  <a:pt x="950" y="931"/>
                  <a:pt x="953" y="931"/>
                </a:cubicBezTo>
                <a:cubicBezTo>
                  <a:pt x="954" y="932"/>
                  <a:pt x="954" y="933"/>
                  <a:pt x="953" y="934"/>
                </a:cubicBezTo>
                <a:cubicBezTo>
                  <a:pt x="953" y="934"/>
                  <a:pt x="952" y="935"/>
                  <a:pt x="952" y="935"/>
                </a:cubicBezTo>
                <a:cubicBezTo>
                  <a:pt x="949" y="934"/>
                  <a:pt x="946" y="933"/>
                  <a:pt x="944" y="931"/>
                </a:cubicBezTo>
                <a:cubicBezTo>
                  <a:pt x="944" y="930"/>
                  <a:pt x="944" y="930"/>
                  <a:pt x="943" y="930"/>
                </a:cubicBezTo>
                <a:cubicBezTo>
                  <a:pt x="942" y="930"/>
                  <a:pt x="942" y="930"/>
                  <a:pt x="943" y="930"/>
                </a:cubicBezTo>
                <a:close/>
                <a:moveTo>
                  <a:pt x="957" y="987"/>
                </a:moveTo>
                <a:cubicBezTo>
                  <a:pt x="963" y="985"/>
                  <a:pt x="970" y="983"/>
                  <a:pt x="976" y="978"/>
                </a:cubicBezTo>
                <a:cubicBezTo>
                  <a:pt x="981" y="974"/>
                  <a:pt x="988" y="974"/>
                  <a:pt x="993" y="969"/>
                </a:cubicBezTo>
                <a:cubicBezTo>
                  <a:pt x="995" y="967"/>
                  <a:pt x="997" y="967"/>
                  <a:pt x="1000" y="968"/>
                </a:cubicBezTo>
                <a:cubicBezTo>
                  <a:pt x="1001" y="968"/>
                  <a:pt x="1003" y="969"/>
                  <a:pt x="1004" y="969"/>
                </a:cubicBezTo>
                <a:cubicBezTo>
                  <a:pt x="1010" y="971"/>
                  <a:pt x="1014" y="973"/>
                  <a:pt x="1015" y="980"/>
                </a:cubicBezTo>
                <a:cubicBezTo>
                  <a:pt x="1016" y="983"/>
                  <a:pt x="1019" y="986"/>
                  <a:pt x="1022" y="986"/>
                </a:cubicBezTo>
                <a:cubicBezTo>
                  <a:pt x="1026" y="987"/>
                  <a:pt x="1027" y="989"/>
                  <a:pt x="1027" y="993"/>
                </a:cubicBezTo>
                <a:cubicBezTo>
                  <a:pt x="1027" y="998"/>
                  <a:pt x="1028" y="1003"/>
                  <a:pt x="1029" y="1008"/>
                </a:cubicBezTo>
                <a:cubicBezTo>
                  <a:pt x="1029" y="1010"/>
                  <a:pt x="1026" y="1012"/>
                  <a:pt x="1024" y="1010"/>
                </a:cubicBezTo>
                <a:cubicBezTo>
                  <a:pt x="1022" y="1009"/>
                  <a:pt x="1020" y="1008"/>
                  <a:pt x="1018" y="1008"/>
                </a:cubicBezTo>
                <a:cubicBezTo>
                  <a:pt x="1014" y="1009"/>
                  <a:pt x="1009" y="1009"/>
                  <a:pt x="1005" y="1010"/>
                </a:cubicBezTo>
                <a:cubicBezTo>
                  <a:pt x="999" y="1011"/>
                  <a:pt x="995" y="1010"/>
                  <a:pt x="992" y="1005"/>
                </a:cubicBezTo>
                <a:cubicBezTo>
                  <a:pt x="991" y="1004"/>
                  <a:pt x="990" y="1004"/>
                  <a:pt x="989" y="1003"/>
                </a:cubicBezTo>
                <a:cubicBezTo>
                  <a:pt x="988" y="1002"/>
                  <a:pt x="986" y="1002"/>
                  <a:pt x="986" y="1000"/>
                </a:cubicBezTo>
                <a:cubicBezTo>
                  <a:pt x="987" y="999"/>
                  <a:pt x="988" y="998"/>
                  <a:pt x="989" y="996"/>
                </a:cubicBezTo>
                <a:cubicBezTo>
                  <a:pt x="990" y="995"/>
                  <a:pt x="990" y="994"/>
                  <a:pt x="989" y="994"/>
                </a:cubicBezTo>
                <a:cubicBezTo>
                  <a:pt x="988" y="993"/>
                  <a:pt x="988" y="993"/>
                  <a:pt x="987" y="993"/>
                </a:cubicBezTo>
                <a:cubicBezTo>
                  <a:pt x="986" y="993"/>
                  <a:pt x="985" y="993"/>
                  <a:pt x="984" y="993"/>
                </a:cubicBezTo>
                <a:cubicBezTo>
                  <a:pt x="983" y="993"/>
                  <a:pt x="982" y="994"/>
                  <a:pt x="981" y="995"/>
                </a:cubicBezTo>
                <a:cubicBezTo>
                  <a:pt x="975" y="999"/>
                  <a:pt x="968" y="1002"/>
                  <a:pt x="960" y="1004"/>
                </a:cubicBezTo>
                <a:cubicBezTo>
                  <a:pt x="956" y="1006"/>
                  <a:pt x="952" y="1007"/>
                  <a:pt x="949" y="1002"/>
                </a:cubicBezTo>
                <a:cubicBezTo>
                  <a:pt x="947" y="999"/>
                  <a:pt x="943" y="1000"/>
                  <a:pt x="940" y="1000"/>
                </a:cubicBezTo>
                <a:cubicBezTo>
                  <a:pt x="940" y="1000"/>
                  <a:pt x="940" y="1000"/>
                  <a:pt x="940" y="1000"/>
                </a:cubicBezTo>
                <a:cubicBezTo>
                  <a:pt x="940" y="1000"/>
                  <a:pt x="940" y="1000"/>
                  <a:pt x="939" y="1000"/>
                </a:cubicBezTo>
                <a:cubicBezTo>
                  <a:pt x="939" y="1000"/>
                  <a:pt x="939" y="1001"/>
                  <a:pt x="939" y="1001"/>
                </a:cubicBezTo>
                <a:cubicBezTo>
                  <a:pt x="939" y="1001"/>
                  <a:pt x="939" y="1000"/>
                  <a:pt x="939" y="1000"/>
                </a:cubicBezTo>
                <a:cubicBezTo>
                  <a:pt x="939" y="1000"/>
                  <a:pt x="939" y="1000"/>
                  <a:pt x="939" y="1000"/>
                </a:cubicBezTo>
                <a:cubicBezTo>
                  <a:pt x="940" y="1000"/>
                  <a:pt x="940" y="1000"/>
                  <a:pt x="940" y="1000"/>
                </a:cubicBezTo>
                <a:cubicBezTo>
                  <a:pt x="940" y="1000"/>
                  <a:pt x="940" y="1000"/>
                  <a:pt x="940" y="1000"/>
                </a:cubicBezTo>
                <a:cubicBezTo>
                  <a:pt x="944" y="993"/>
                  <a:pt x="950" y="990"/>
                  <a:pt x="957" y="987"/>
                </a:cubicBezTo>
                <a:close/>
                <a:moveTo>
                  <a:pt x="939" y="859"/>
                </a:moveTo>
                <a:cubicBezTo>
                  <a:pt x="937" y="859"/>
                  <a:pt x="937" y="858"/>
                  <a:pt x="938" y="857"/>
                </a:cubicBezTo>
                <a:cubicBezTo>
                  <a:pt x="938" y="857"/>
                  <a:pt x="939" y="857"/>
                  <a:pt x="939" y="857"/>
                </a:cubicBezTo>
                <a:cubicBezTo>
                  <a:pt x="939" y="858"/>
                  <a:pt x="940" y="858"/>
                  <a:pt x="940" y="859"/>
                </a:cubicBezTo>
                <a:cubicBezTo>
                  <a:pt x="940" y="859"/>
                  <a:pt x="939" y="860"/>
                  <a:pt x="939" y="859"/>
                </a:cubicBezTo>
                <a:close/>
                <a:moveTo>
                  <a:pt x="931" y="624"/>
                </a:moveTo>
                <a:cubicBezTo>
                  <a:pt x="933" y="623"/>
                  <a:pt x="935" y="623"/>
                  <a:pt x="937" y="623"/>
                </a:cubicBezTo>
                <a:cubicBezTo>
                  <a:pt x="938" y="623"/>
                  <a:pt x="939" y="624"/>
                  <a:pt x="940" y="625"/>
                </a:cubicBezTo>
                <a:cubicBezTo>
                  <a:pt x="936" y="628"/>
                  <a:pt x="937" y="633"/>
                  <a:pt x="936" y="637"/>
                </a:cubicBezTo>
                <a:cubicBezTo>
                  <a:pt x="934" y="640"/>
                  <a:pt x="932" y="640"/>
                  <a:pt x="929" y="638"/>
                </a:cubicBezTo>
                <a:cubicBezTo>
                  <a:pt x="923" y="633"/>
                  <a:pt x="924" y="628"/>
                  <a:pt x="931" y="624"/>
                </a:cubicBezTo>
                <a:close/>
                <a:moveTo>
                  <a:pt x="927" y="705"/>
                </a:moveTo>
                <a:cubicBezTo>
                  <a:pt x="927" y="705"/>
                  <a:pt x="927" y="704"/>
                  <a:pt x="927" y="704"/>
                </a:cubicBezTo>
                <a:cubicBezTo>
                  <a:pt x="927" y="703"/>
                  <a:pt x="928" y="703"/>
                  <a:pt x="928" y="702"/>
                </a:cubicBezTo>
                <a:cubicBezTo>
                  <a:pt x="928" y="702"/>
                  <a:pt x="928" y="702"/>
                  <a:pt x="929" y="703"/>
                </a:cubicBezTo>
                <a:cubicBezTo>
                  <a:pt x="928" y="703"/>
                  <a:pt x="928" y="704"/>
                  <a:pt x="927" y="704"/>
                </a:cubicBezTo>
                <a:cubicBezTo>
                  <a:pt x="927" y="704"/>
                  <a:pt x="927" y="705"/>
                  <a:pt x="927" y="705"/>
                </a:cubicBezTo>
                <a:cubicBezTo>
                  <a:pt x="926" y="706"/>
                  <a:pt x="924" y="708"/>
                  <a:pt x="923" y="709"/>
                </a:cubicBezTo>
                <a:cubicBezTo>
                  <a:pt x="923" y="709"/>
                  <a:pt x="923" y="710"/>
                  <a:pt x="923" y="710"/>
                </a:cubicBezTo>
                <a:cubicBezTo>
                  <a:pt x="923" y="709"/>
                  <a:pt x="923" y="709"/>
                  <a:pt x="923" y="709"/>
                </a:cubicBezTo>
                <a:cubicBezTo>
                  <a:pt x="924" y="707"/>
                  <a:pt x="925" y="706"/>
                  <a:pt x="927" y="705"/>
                </a:cubicBezTo>
                <a:close/>
                <a:moveTo>
                  <a:pt x="923" y="650"/>
                </a:moveTo>
                <a:cubicBezTo>
                  <a:pt x="923" y="651"/>
                  <a:pt x="923" y="651"/>
                  <a:pt x="923" y="651"/>
                </a:cubicBezTo>
                <a:cubicBezTo>
                  <a:pt x="922" y="651"/>
                  <a:pt x="922" y="651"/>
                  <a:pt x="922" y="651"/>
                </a:cubicBezTo>
                <a:lnTo>
                  <a:pt x="923" y="650"/>
                </a:lnTo>
                <a:close/>
                <a:moveTo>
                  <a:pt x="915" y="777"/>
                </a:moveTo>
                <a:cubicBezTo>
                  <a:pt x="916" y="779"/>
                  <a:pt x="916" y="779"/>
                  <a:pt x="916" y="779"/>
                </a:cubicBezTo>
                <a:cubicBezTo>
                  <a:pt x="915" y="779"/>
                  <a:pt x="915" y="779"/>
                  <a:pt x="915" y="779"/>
                </a:cubicBezTo>
                <a:lnTo>
                  <a:pt x="915" y="777"/>
                </a:lnTo>
                <a:close/>
                <a:moveTo>
                  <a:pt x="910" y="954"/>
                </a:moveTo>
                <a:cubicBezTo>
                  <a:pt x="911" y="952"/>
                  <a:pt x="911" y="949"/>
                  <a:pt x="913" y="947"/>
                </a:cubicBezTo>
                <a:cubicBezTo>
                  <a:pt x="913" y="947"/>
                  <a:pt x="913" y="947"/>
                  <a:pt x="913" y="947"/>
                </a:cubicBezTo>
                <a:cubicBezTo>
                  <a:pt x="913" y="946"/>
                  <a:pt x="914" y="946"/>
                  <a:pt x="914" y="946"/>
                </a:cubicBezTo>
                <a:cubicBezTo>
                  <a:pt x="914" y="946"/>
                  <a:pt x="914" y="947"/>
                  <a:pt x="914" y="947"/>
                </a:cubicBezTo>
                <a:cubicBezTo>
                  <a:pt x="913" y="947"/>
                  <a:pt x="913" y="947"/>
                  <a:pt x="913" y="947"/>
                </a:cubicBezTo>
                <a:cubicBezTo>
                  <a:pt x="914" y="949"/>
                  <a:pt x="914" y="951"/>
                  <a:pt x="915" y="953"/>
                </a:cubicBezTo>
                <a:cubicBezTo>
                  <a:pt x="915" y="953"/>
                  <a:pt x="915" y="954"/>
                  <a:pt x="915" y="954"/>
                </a:cubicBezTo>
                <a:cubicBezTo>
                  <a:pt x="914" y="955"/>
                  <a:pt x="913" y="956"/>
                  <a:pt x="912" y="956"/>
                </a:cubicBezTo>
                <a:cubicBezTo>
                  <a:pt x="912" y="956"/>
                  <a:pt x="911" y="956"/>
                  <a:pt x="911" y="956"/>
                </a:cubicBezTo>
                <a:cubicBezTo>
                  <a:pt x="910" y="956"/>
                  <a:pt x="909" y="955"/>
                  <a:pt x="910" y="954"/>
                </a:cubicBezTo>
                <a:close/>
                <a:moveTo>
                  <a:pt x="907" y="836"/>
                </a:moveTo>
                <a:cubicBezTo>
                  <a:pt x="908" y="836"/>
                  <a:pt x="908" y="836"/>
                  <a:pt x="908" y="836"/>
                </a:cubicBezTo>
                <a:cubicBezTo>
                  <a:pt x="907" y="837"/>
                  <a:pt x="907" y="837"/>
                  <a:pt x="907" y="837"/>
                </a:cubicBezTo>
                <a:lnTo>
                  <a:pt x="907" y="836"/>
                </a:lnTo>
                <a:close/>
                <a:moveTo>
                  <a:pt x="902" y="784"/>
                </a:moveTo>
                <a:cubicBezTo>
                  <a:pt x="903" y="783"/>
                  <a:pt x="904" y="784"/>
                  <a:pt x="904" y="785"/>
                </a:cubicBezTo>
                <a:cubicBezTo>
                  <a:pt x="904" y="786"/>
                  <a:pt x="904" y="787"/>
                  <a:pt x="902" y="787"/>
                </a:cubicBezTo>
                <a:cubicBezTo>
                  <a:pt x="901" y="787"/>
                  <a:pt x="901" y="786"/>
                  <a:pt x="900" y="786"/>
                </a:cubicBezTo>
                <a:cubicBezTo>
                  <a:pt x="900" y="785"/>
                  <a:pt x="901" y="784"/>
                  <a:pt x="902" y="784"/>
                </a:cubicBezTo>
                <a:close/>
                <a:moveTo>
                  <a:pt x="900" y="909"/>
                </a:moveTo>
                <a:cubicBezTo>
                  <a:pt x="900" y="915"/>
                  <a:pt x="899" y="920"/>
                  <a:pt x="894" y="923"/>
                </a:cubicBezTo>
                <a:cubicBezTo>
                  <a:pt x="894" y="924"/>
                  <a:pt x="894" y="924"/>
                  <a:pt x="894" y="924"/>
                </a:cubicBezTo>
                <a:cubicBezTo>
                  <a:pt x="893" y="924"/>
                  <a:pt x="893" y="924"/>
                  <a:pt x="893" y="924"/>
                </a:cubicBezTo>
                <a:cubicBezTo>
                  <a:pt x="894" y="924"/>
                  <a:pt x="894" y="924"/>
                  <a:pt x="894" y="924"/>
                </a:cubicBezTo>
                <a:cubicBezTo>
                  <a:pt x="894" y="924"/>
                  <a:pt x="894" y="923"/>
                  <a:pt x="894" y="923"/>
                </a:cubicBezTo>
                <a:cubicBezTo>
                  <a:pt x="893" y="918"/>
                  <a:pt x="895" y="913"/>
                  <a:pt x="898" y="908"/>
                </a:cubicBezTo>
                <a:cubicBezTo>
                  <a:pt x="898" y="908"/>
                  <a:pt x="899" y="908"/>
                  <a:pt x="899" y="908"/>
                </a:cubicBezTo>
                <a:cubicBezTo>
                  <a:pt x="899" y="908"/>
                  <a:pt x="900" y="909"/>
                  <a:pt x="900" y="909"/>
                </a:cubicBezTo>
                <a:close/>
                <a:moveTo>
                  <a:pt x="898" y="843"/>
                </a:moveTo>
                <a:cubicBezTo>
                  <a:pt x="898" y="843"/>
                  <a:pt x="898" y="843"/>
                  <a:pt x="899" y="843"/>
                </a:cubicBezTo>
                <a:cubicBezTo>
                  <a:pt x="899" y="844"/>
                  <a:pt x="898" y="844"/>
                  <a:pt x="898" y="845"/>
                </a:cubicBezTo>
                <a:cubicBezTo>
                  <a:pt x="898" y="845"/>
                  <a:pt x="897" y="845"/>
                  <a:pt x="897" y="844"/>
                </a:cubicBezTo>
                <a:cubicBezTo>
                  <a:pt x="896" y="843"/>
                  <a:pt x="896" y="843"/>
                  <a:pt x="898" y="843"/>
                </a:cubicBezTo>
                <a:close/>
                <a:moveTo>
                  <a:pt x="886" y="856"/>
                </a:moveTo>
                <a:cubicBezTo>
                  <a:pt x="887" y="856"/>
                  <a:pt x="889" y="856"/>
                  <a:pt x="889" y="856"/>
                </a:cubicBezTo>
                <a:cubicBezTo>
                  <a:pt x="893" y="857"/>
                  <a:pt x="896" y="858"/>
                  <a:pt x="897" y="862"/>
                </a:cubicBezTo>
                <a:cubicBezTo>
                  <a:pt x="898" y="865"/>
                  <a:pt x="899" y="869"/>
                  <a:pt x="898" y="873"/>
                </a:cubicBezTo>
                <a:cubicBezTo>
                  <a:pt x="898" y="878"/>
                  <a:pt x="898" y="884"/>
                  <a:pt x="897" y="888"/>
                </a:cubicBezTo>
                <a:cubicBezTo>
                  <a:pt x="898" y="891"/>
                  <a:pt x="899" y="892"/>
                  <a:pt x="899" y="894"/>
                </a:cubicBezTo>
                <a:cubicBezTo>
                  <a:pt x="899" y="895"/>
                  <a:pt x="899" y="898"/>
                  <a:pt x="898" y="898"/>
                </a:cubicBezTo>
                <a:cubicBezTo>
                  <a:pt x="896" y="899"/>
                  <a:pt x="895" y="897"/>
                  <a:pt x="894" y="896"/>
                </a:cubicBezTo>
                <a:cubicBezTo>
                  <a:pt x="894" y="895"/>
                  <a:pt x="892" y="893"/>
                  <a:pt x="891" y="893"/>
                </a:cubicBezTo>
                <a:cubicBezTo>
                  <a:pt x="888" y="892"/>
                  <a:pt x="887" y="890"/>
                  <a:pt x="886" y="887"/>
                </a:cubicBezTo>
                <a:cubicBezTo>
                  <a:pt x="885" y="886"/>
                  <a:pt x="885" y="884"/>
                  <a:pt x="885" y="883"/>
                </a:cubicBezTo>
                <a:cubicBezTo>
                  <a:pt x="884" y="878"/>
                  <a:pt x="882" y="874"/>
                  <a:pt x="885" y="870"/>
                </a:cubicBezTo>
                <a:cubicBezTo>
                  <a:pt x="884" y="868"/>
                  <a:pt x="883" y="866"/>
                  <a:pt x="882" y="865"/>
                </a:cubicBezTo>
                <a:cubicBezTo>
                  <a:pt x="883" y="862"/>
                  <a:pt x="885" y="859"/>
                  <a:pt x="886" y="856"/>
                </a:cubicBezTo>
                <a:close/>
                <a:moveTo>
                  <a:pt x="868" y="879"/>
                </a:moveTo>
                <a:cubicBezTo>
                  <a:pt x="867" y="882"/>
                  <a:pt x="865" y="884"/>
                  <a:pt x="864" y="886"/>
                </a:cubicBezTo>
                <a:cubicBezTo>
                  <a:pt x="863" y="887"/>
                  <a:pt x="862" y="888"/>
                  <a:pt x="862" y="887"/>
                </a:cubicBezTo>
                <a:cubicBezTo>
                  <a:pt x="861" y="886"/>
                  <a:pt x="861" y="886"/>
                  <a:pt x="861" y="885"/>
                </a:cubicBezTo>
                <a:cubicBezTo>
                  <a:pt x="861" y="885"/>
                  <a:pt x="861" y="884"/>
                  <a:pt x="862" y="884"/>
                </a:cubicBezTo>
                <a:cubicBezTo>
                  <a:pt x="863" y="881"/>
                  <a:pt x="865" y="878"/>
                  <a:pt x="864" y="874"/>
                </a:cubicBezTo>
                <a:cubicBezTo>
                  <a:pt x="863" y="870"/>
                  <a:pt x="859" y="871"/>
                  <a:pt x="856" y="869"/>
                </a:cubicBezTo>
                <a:cubicBezTo>
                  <a:pt x="856" y="869"/>
                  <a:pt x="856" y="868"/>
                  <a:pt x="856" y="868"/>
                </a:cubicBezTo>
                <a:cubicBezTo>
                  <a:pt x="856" y="867"/>
                  <a:pt x="857" y="866"/>
                  <a:pt x="858" y="866"/>
                </a:cubicBezTo>
                <a:cubicBezTo>
                  <a:pt x="859" y="866"/>
                  <a:pt x="860" y="866"/>
                  <a:pt x="861" y="867"/>
                </a:cubicBezTo>
                <a:cubicBezTo>
                  <a:pt x="863" y="867"/>
                  <a:pt x="865" y="867"/>
                  <a:pt x="867" y="868"/>
                </a:cubicBezTo>
                <a:cubicBezTo>
                  <a:pt x="867" y="867"/>
                  <a:pt x="867" y="867"/>
                  <a:pt x="867" y="867"/>
                </a:cubicBezTo>
                <a:cubicBezTo>
                  <a:pt x="867" y="867"/>
                  <a:pt x="867" y="867"/>
                  <a:pt x="867" y="867"/>
                </a:cubicBezTo>
                <a:cubicBezTo>
                  <a:pt x="865" y="865"/>
                  <a:pt x="864" y="862"/>
                  <a:pt x="862" y="859"/>
                </a:cubicBezTo>
                <a:cubicBezTo>
                  <a:pt x="860" y="855"/>
                  <a:pt x="860" y="851"/>
                  <a:pt x="862" y="847"/>
                </a:cubicBezTo>
                <a:cubicBezTo>
                  <a:pt x="862" y="845"/>
                  <a:pt x="864" y="844"/>
                  <a:pt x="865" y="844"/>
                </a:cubicBezTo>
                <a:cubicBezTo>
                  <a:pt x="866" y="843"/>
                  <a:pt x="868" y="844"/>
                  <a:pt x="869" y="845"/>
                </a:cubicBezTo>
                <a:cubicBezTo>
                  <a:pt x="871" y="847"/>
                  <a:pt x="872" y="849"/>
                  <a:pt x="874" y="852"/>
                </a:cubicBezTo>
                <a:cubicBezTo>
                  <a:pt x="874" y="852"/>
                  <a:pt x="874" y="851"/>
                  <a:pt x="874" y="851"/>
                </a:cubicBezTo>
                <a:cubicBezTo>
                  <a:pt x="874" y="851"/>
                  <a:pt x="874" y="851"/>
                  <a:pt x="874" y="851"/>
                </a:cubicBezTo>
                <a:cubicBezTo>
                  <a:pt x="874" y="852"/>
                  <a:pt x="874" y="852"/>
                  <a:pt x="874" y="852"/>
                </a:cubicBezTo>
                <a:cubicBezTo>
                  <a:pt x="874" y="852"/>
                  <a:pt x="874" y="852"/>
                  <a:pt x="874" y="852"/>
                </a:cubicBezTo>
                <a:cubicBezTo>
                  <a:pt x="870" y="856"/>
                  <a:pt x="870" y="859"/>
                  <a:pt x="874" y="863"/>
                </a:cubicBezTo>
                <a:cubicBezTo>
                  <a:pt x="875" y="864"/>
                  <a:pt x="874" y="866"/>
                  <a:pt x="873" y="866"/>
                </a:cubicBezTo>
                <a:cubicBezTo>
                  <a:pt x="871" y="866"/>
                  <a:pt x="869" y="867"/>
                  <a:pt x="867" y="867"/>
                </a:cubicBezTo>
                <a:cubicBezTo>
                  <a:pt x="867" y="867"/>
                  <a:pt x="867" y="867"/>
                  <a:pt x="867" y="868"/>
                </a:cubicBezTo>
                <a:cubicBezTo>
                  <a:pt x="867" y="868"/>
                  <a:pt x="867" y="868"/>
                  <a:pt x="867" y="868"/>
                </a:cubicBezTo>
                <a:cubicBezTo>
                  <a:pt x="868" y="869"/>
                  <a:pt x="869" y="871"/>
                  <a:pt x="869" y="873"/>
                </a:cubicBezTo>
                <a:cubicBezTo>
                  <a:pt x="869" y="875"/>
                  <a:pt x="869" y="878"/>
                  <a:pt x="868" y="879"/>
                </a:cubicBezTo>
                <a:close/>
                <a:moveTo>
                  <a:pt x="876" y="924"/>
                </a:moveTo>
                <a:cubicBezTo>
                  <a:pt x="876" y="924"/>
                  <a:pt x="875" y="925"/>
                  <a:pt x="875" y="925"/>
                </a:cubicBezTo>
                <a:cubicBezTo>
                  <a:pt x="874" y="925"/>
                  <a:pt x="872" y="925"/>
                  <a:pt x="872" y="925"/>
                </a:cubicBezTo>
                <a:cubicBezTo>
                  <a:pt x="871" y="921"/>
                  <a:pt x="870" y="918"/>
                  <a:pt x="870" y="914"/>
                </a:cubicBezTo>
                <a:cubicBezTo>
                  <a:pt x="869" y="913"/>
                  <a:pt x="870" y="912"/>
                  <a:pt x="871" y="911"/>
                </a:cubicBezTo>
                <a:cubicBezTo>
                  <a:pt x="871" y="911"/>
                  <a:pt x="871" y="911"/>
                  <a:pt x="871" y="911"/>
                </a:cubicBezTo>
                <a:cubicBezTo>
                  <a:pt x="871" y="910"/>
                  <a:pt x="871" y="909"/>
                  <a:pt x="871" y="909"/>
                </a:cubicBezTo>
                <a:cubicBezTo>
                  <a:pt x="871" y="908"/>
                  <a:pt x="871" y="908"/>
                  <a:pt x="871" y="908"/>
                </a:cubicBezTo>
                <a:cubicBezTo>
                  <a:pt x="871" y="908"/>
                  <a:pt x="872" y="908"/>
                  <a:pt x="872" y="907"/>
                </a:cubicBezTo>
                <a:cubicBezTo>
                  <a:pt x="872" y="908"/>
                  <a:pt x="871" y="908"/>
                  <a:pt x="871" y="909"/>
                </a:cubicBezTo>
                <a:cubicBezTo>
                  <a:pt x="871" y="909"/>
                  <a:pt x="871" y="910"/>
                  <a:pt x="871" y="911"/>
                </a:cubicBezTo>
                <a:cubicBezTo>
                  <a:pt x="871" y="911"/>
                  <a:pt x="871" y="911"/>
                  <a:pt x="871" y="911"/>
                </a:cubicBezTo>
                <a:cubicBezTo>
                  <a:pt x="872" y="915"/>
                  <a:pt x="874" y="918"/>
                  <a:pt x="875" y="921"/>
                </a:cubicBezTo>
                <a:cubicBezTo>
                  <a:pt x="876" y="922"/>
                  <a:pt x="876" y="923"/>
                  <a:pt x="876" y="924"/>
                </a:cubicBezTo>
                <a:close/>
                <a:moveTo>
                  <a:pt x="870" y="592"/>
                </a:moveTo>
                <a:cubicBezTo>
                  <a:pt x="870" y="591"/>
                  <a:pt x="871" y="591"/>
                  <a:pt x="872" y="591"/>
                </a:cubicBezTo>
                <a:cubicBezTo>
                  <a:pt x="873" y="592"/>
                  <a:pt x="873" y="592"/>
                  <a:pt x="872" y="594"/>
                </a:cubicBezTo>
                <a:cubicBezTo>
                  <a:pt x="872" y="594"/>
                  <a:pt x="872" y="594"/>
                  <a:pt x="871" y="594"/>
                </a:cubicBezTo>
                <a:cubicBezTo>
                  <a:pt x="870" y="594"/>
                  <a:pt x="870" y="593"/>
                  <a:pt x="870" y="592"/>
                </a:cubicBezTo>
                <a:close/>
                <a:moveTo>
                  <a:pt x="861" y="745"/>
                </a:moveTo>
                <a:cubicBezTo>
                  <a:pt x="862" y="743"/>
                  <a:pt x="864" y="742"/>
                  <a:pt x="866" y="741"/>
                </a:cubicBezTo>
                <a:cubicBezTo>
                  <a:pt x="867" y="741"/>
                  <a:pt x="868" y="742"/>
                  <a:pt x="869" y="742"/>
                </a:cubicBezTo>
                <a:cubicBezTo>
                  <a:pt x="869" y="742"/>
                  <a:pt x="869" y="743"/>
                  <a:pt x="869" y="744"/>
                </a:cubicBezTo>
                <a:cubicBezTo>
                  <a:pt x="867" y="747"/>
                  <a:pt x="864" y="749"/>
                  <a:pt x="861" y="751"/>
                </a:cubicBezTo>
                <a:cubicBezTo>
                  <a:pt x="861" y="751"/>
                  <a:pt x="861" y="752"/>
                  <a:pt x="861" y="752"/>
                </a:cubicBezTo>
                <a:cubicBezTo>
                  <a:pt x="861" y="752"/>
                  <a:pt x="860" y="752"/>
                  <a:pt x="860" y="752"/>
                </a:cubicBezTo>
                <a:cubicBezTo>
                  <a:pt x="860" y="752"/>
                  <a:pt x="859" y="753"/>
                  <a:pt x="859" y="753"/>
                </a:cubicBezTo>
                <a:cubicBezTo>
                  <a:pt x="859" y="753"/>
                  <a:pt x="859" y="752"/>
                  <a:pt x="860" y="752"/>
                </a:cubicBezTo>
                <a:cubicBezTo>
                  <a:pt x="860" y="752"/>
                  <a:pt x="860" y="752"/>
                  <a:pt x="860" y="752"/>
                </a:cubicBezTo>
                <a:cubicBezTo>
                  <a:pt x="860" y="752"/>
                  <a:pt x="860" y="752"/>
                  <a:pt x="860" y="751"/>
                </a:cubicBezTo>
                <a:cubicBezTo>
                  <a:pt x="861" y="751"/>
                  <a:pt x="861" y="751"/>
                  <a:pt x="861" y="751"/>
                </a:cubicBezTo>
                <a:cubicBezTo>
                  <a:pt x="861" y="749"/>
                  <a:pt x="861" y="747"/>
                  <a:pt x="861" y="745"/>
                </a:cubicBezTo>
                <a:close/>
                <a:moveTo>
                  <a:pt x="859" y="587"/>
                </a:moveTo>
                <a:cubicBezTo>
                  <a:pt x="861" y="587"/>
                  <a:pt x="861" y="587"/>
                  <a:pt x="860" y="588"/>
                </a:cubicBezTo>
                <a:cubicBezTo>
                  <a:pt x="860" y="589"/>
                  <a:pt x="859" y="588"/>
                  <a:pt x="858" y="588"/>
                </a:cubicBezTo>
                <a:cubicBezTo>
                  <a:pt x="858" y="588"/>
                  <a:pt x="858" y="588"/>
                  <a:pt x="858" y="587"/>
                </a:cubicBezTo>
                <a:cubicBezTo>
                  <a:pt x="858" y="587"/>
                  <a:pt x="859" y="587"/>
                  <a:pt x="859" y="587"/>
                </a:cubicBezTo>
                <a:close/>
                <a:moveTo>
                  <a:pt x="853" y="787"/>
                </a:moveTo>
                <a:cubicBezTo>
                  <a:pt x="855" y="786"/>
                  <a:pt x="857" y="786"/>
                  <a:pt x="859" y="786"/>
                </a:cubicBezTo>
                <a:cubicBezTo>
                  <a:pt x="860" y="785"/>
                  <a:pt x="860" y="785"/>
                  <a:pt x="860" y="785"/>
                </a:cubicBezTo>
                <a:cubicBezTo>
                  <a:pt x="862" y="784"/>
                  <a:pt x="863" y="783"/>
                  <a:pt x="864" y="781"/>
                </a:cubicBezTo>
                <a:cubicBezTo>
                  <a:pt x="864" y="781"/>
                  <a:pt x="864" y="781"/>
                  <a:pt x="864" y="781"/>
                </a:cubicBezTo>
                <a:cubicBezTo>
                  <a:pt x="864" y="781"/>
                  <a:pt x="864" y="780"/>
                  <a:pt x="864" y="780"/>
                </a:cubicBezTo>
                <a:cubicBezTo>
                  <a:pt x="861" y="767"/>
                  <a:pt x="860" y="766"/>
                  <a:pt x="875" y="757"/>
                </a:cubicBezTo>
                <a:cubicBezTo>
                  <a:pt x="875" y="756"/>
                  <a:pt x="877" y="757"/>
                  <a:pt x="878" y="757"/>
                </a:cubicBezTo>
                <a:cubicBezTo>
                  <a:pt x="878" y="758"/>
                  <a:pt x="878" y="759"/>
                  <a:pt x="878" y="760"/>
                </a:cubicBezTo>
                <a:cubicBezTo>
                  <a:pt x="878" y="761"/>
                  <a:pt x="878" y="761"/>
                  <a:pt x="878" y="762"/>
                </a:cubicBezTo>
                <a:cubicBezTo>
                  <a:pt x="875" y="765"/>
                  <a:pt x="873" y="767"/>
                  <a:pt x="870" y="770"/>
                </a:cubicBezTo>
                <a:cubicBezTo>
                  <a:pt x="869" y="773"/>
                  <a:pt x="868" y="776"/>
                  <a:pt x="866" y="779"/>
                </a:cubicBezTo>
                <a:cubicBezTo>
                  <a:pt x="866" y="780"/>
                  <a:pt x="865" y="780"/>
                  <a:pt x="864" y="781"/>
                </a:cubicBezTo>
                <a:cubicBezTo>
                  <a:pt x="864" y="781"/>
                  <a:pt x="864" y="781"/>
                  <a:pt x="864" y="782"/>
                </a:cubicBezTo>
                <a:cubicBezTo>
                  <a:pt x="863" y="783"/>
                  <a:pt x="862" y="784"/>
                  <a:pt x="861" y="785"/>
                </a:cubicBezTo>
                <a:cubicBezTo>
                  <a:pt x="860" y="785"/>
                  <a:pt x="860" y="786"/>
                  <a:pt x="859" y="786"/>
                </a:cubicBezTo>
                <a:cubicBezTo>
                  <a:pt x="857" y="787"/>
                  <a:pt x="856" y="788"/>
                  <a:pt x="854" y="789"/>
                </a:cubicBezTo>
                <a:cubicBezTo>
                  <a:pt x="854" y="789"/>
                  <a:pt x="853" y="788"/>
                  <a:pt x="853" y="788"/>
                </a:cubicBezTo>
                <a:cubicBezTo>
                  <a:pt x="853" y="787"/>
                  <a:pt x="853" y="787"/>
                  <a:pt x="853" y="787"/>
                </a:cubicBezTo>
                <a:close/>
                <a:moveTo>
                  <a:pt x="853" y="536"/>
                </a:moveTo>
                <a:cubicBezTo>
                  <a:pt x="852" y="537"/>
                  <a:pt x="852" y="537"/>
                  <a:pt x="852" y="537"/>
                </a:cubicBezTo>
                <a:cubicBezTo>
                  <a:pt x="852" y="536"/>
                  <a:pt x="852" y="536"/>
                  <a:pt x="852" y="536"/>
                </a:cubicBezTo>
                <a:lnTo>
                  <a:pt x="853" y="536"/>
                </a:lnTo>
                <a:close/>
                <a:moveTo>
                  <a:pt x="842" y="569"/>
                </a:moveTo>
                <a:cubicBezTo>
                  <a:pt x="843" y="569"/>
                  <a:pt x="843" y="569"/>
                  <a:pt x="844" y="569"/>
                </a:cubicBezTo>
                <a:cubicBezTo>
                  <a:pt x="845" y="569"/>
                  <a:pt x="845" y="570"/>
                  <a:pt x="844" y="571"/>
                </a:cubicBezTo>
                <a:cubicBezTo>
                  <a:pt x="844" y="571"/>
                  <a:pt x="843" y="572"/>
                  <a:pt x="843" y="571"/>
                </a:cubicBezTo>
                <a:cubicBezTo>
                  <a:pt x="842" y="571"/>
                  <a:pt x="841" y="570"/>
                  <a:pt x="842" y="569"/>
                </a:cubicBezTo>
                <a:close/>
                <a:moveTo>
                  <a:pt x="474" y="706"/>
                </a:moveTo>
                <a:cubicBezTo>
                  <a:pt x="473" y="706"/>
                  <a:pt x="473" y="706"/>
                  <a:pt x="473" y="706"/>
                </a:cubicBezTo>
                <a:cubicBezTo>
                  <a:pt x="474" y="706"/>
                  <a:pt x="474" y="706"/>
                  <a:pt x="474" y="706"/>
                </a:cubicBezTo>
                <a:cubicBezTo>
                  <a:pt x="474" y="705"/>
                  <a:pt x="474" y="705"/>
                  <a:pt x="474" y="705"/>
                </a:cubicBezTo>
                <a:cubicBezTo>
                  <a:pt x="474" y="705"/>
                  <a:pt x="474" y="706"/>
                  <a:pt x="474" y="706"/>
                </a:cubicBezTo>
                <a:close/>
                <a:moveTo>
                  <a:pt x="483" y="682"/>
                </a:moveTo>
                <a:cubicBezTo>
                  <a:pt x="483" y="682"/>
                  <a:pt x="483" y="682"/>
                  <a:pt x="483" y="681"/>
                </a:cubicBezTo>
                <a:cubicBezTo>
                  <a:pt x="483" y="681"/>
                  <a:pt x="482" y="681"/>
                  <a:pt x="481" y="680"/>
                </a:cubicBezTo>
                <a:cubicBezTo>
                  <a:pt x="481" y="680"/>
                  <a:pt x="482" y="679"/>
                  <a:pt x="482" y="679"/>
                </a:cubicBezTo>
                <a:cubicBezTo>
                  <a:pt x="483" y="679"/>
                  <a:pt x="483" y="680"/>
                  <a:pt x="483" y="681"/>
                </a:cubicBezTo>
                <a:cubicBezTo>
                  <a:pt x="483" y="682"/>
                  <a:pt x="483" y="682"/>
                  <a:pt x="484" y="682"/>
                </a:cubicBezTo>
                <a:cubicBezTo>
                  <a:pt x="484" y="682"/>
                  <a:pt x="484" y="683"/>
                  <a:pt x="484" y="683"/>
                </a:cubicBezTo>
                <a:cubicBezTo>
                  <a:pt x="484" y="683"/>
                  <a:pt x="484" y="682"/>
                  <a:pt x="483" y="682"/>
                </a:cubicBezTo>
                <a:close/>
                <a:moveTo>
                  <a:pt x="486" y="661"/>
                </a:moveTo>
                <a:cubicBezTo>
                  <a:pt x="486" y="661"/>
                  <a:pt x="485" y="661"/>
                  <a:pt x="485" y="661"/>
                </a:cubicBezTo>
                <a:cubicBezTo>
                  <a:pt x="485" y="661"/>
                  <a:pt x="485" y="660"/>
                  <a:pt x="485" y="659"/>
                </a:cubicBezTo>
                <a:cubicBezTo>
                  <a:pt x="485" y="659"/>
                  <a:pt x="486" y="660"/>
                  <a:pt x="486" y="660"/>
                </a:cubicBezTo>
                <a:cubicBezTo>
                  <a:pt x="486" y="660"/>
                  <a:pt x="486" y="661"/>
                  <a:pt x="486" y="661"/>
                </a:cubicBezTo>
                <a:close/>
                <a:moveTo>
                  <a:pt x="488" y="749"/>
                </a:moveTo>
                <a:cubicBezTo>
                  <a:pt x="487" y="749"/>
                  <a:pt x="486" y="749"/>
                  <a:pt x="485" y="748"/>
                </a:cubicBezTo>
                <a:cubicBezTo>
                  <a:pt x="484" y="746"/>
                  <a:pt x="482" y="745"/>
                  <a:pt x="482" y="743"/>
                </a:cubicBezTo>
                <a:cubicBezTo>
                  <a:pt x="481" y="740"/>
                  <a:pt x="481" y="738"/>
                  <a:pt x="484" y="736"/>
                </a:cubicBezTo>
                <a:cubicBezTo>
                  <a:pt x="484" y="736"/>
                  <a:pt x="484" y="736"/>
                  <a:pt x="484" y="736"/>
                </a:cubicBezTo>
                <a:cubicBezTo>
                  <a:pt x="484" y="735"/>
                  <a:pt x="484" y="735"/>
                  <a:pt x="484" y="735"/>
                </a:cubicBezTo>
                <a:cubicBezTo>
                  <a:pt x="484" y="734"/>
                  <a:pt x="484" y="733"/>
                  <a:pt x="485" y="732"/>
                </a:cubicBezTo>
                <a:cubicBezTo>
                  <a:pt x="485" y="733"/>
                  <a:pt x="485" y="733"/>
                  <a:pt x="485" y="733"/>
                </a:cubicBezTo>
                <a:cubicBezTo>
                  <a:pt x="485" y="734"/>
                  <a:pt x="484" y="734"/>
                  <a:pt x="484" y="735"/>
                </a:cubicBezTo>
                <a:cubicBezTo>
                  <a:pt x="484" y="735"/>
                  <a:pt x="484" y="736"/>
                  <a:pt x="484" y="736"/>
                </a:cubicBezTo>
                <a:cubicBezTo>
                  <a:pt x="484" y="736"/>
                  <a:pt x="484" y="736"/>
                  <a:pt x="484" y="736"/>
                </a:cubicBezTo>
                <a:cubicBezTo>
                  <a:pt x="485" y="740"/>
                  <a:pt x="487" y="744"/>
                  <a:pt x="488" y="747"/>
                </a:cubicBezTo>
                <a:cubicBezTo>
                  <a:pt x="488" y="748"/>
                  <a:pt x="488" y="748"/>
                  <a:pt x="488" y="749"/>
                </a:cubicBezTo>
                <a:close/>
                <a:moveTo>
                  <a:pt x="492" y="737"/>
                </a:moveTo>
                <a:cubicBezTo>
                  <a:pt x="492" y="737"/>
                  <a:pt x="491" y="737"/>
                  <a:pt x="491" y="736"/>
                </a:cubicBezTo>
                <a:cubicBezTo>
                  <a:pt x="491" y="736"/>
                  <a:pt x="492" y="735"/>
                  <a:pt x="492" y="734"/>
                </a:cubicBezTo>
                <a:cubicBezTo>
                  <a:pt x="493" y="735"/>
                  <a:pt x="493" y="735"/>
                  <a:pt x="494" y="736"/>
                </a:cubicBezTo>
                <a:cubicBezTo>
                  <a:pt x="494" y="737"/>
                  <a:pt x="493" y="737"/>
                  <a:pt x="492" y="737"/>
                </a:cubicBezTo>
                <a:close/>
                <a:moveTo>
                  <a:pt x="640" y="389"/>
                </a:moveTo>
                <a:cubicBezTo>
                  <a:pt x="639" y="389"/>
                  <a:pt x="639" y="388"/>
                  <a:pt x="639" y="387"/>
                </a:cubicBezTo>
                <a:cubicBezTo>
                  <a:pt x="639" y="386"/>
                  <a:pt x="639" y="384"/>
                  <a:pt x="639" y="385"/>
                </a:cubicBezTo>
                <a:cubicBezTo>
                  <a:pt x="639" y="382"/>
                  <a:pt x="639" y="381"/>
                  <a:pt x="639" y="380"/>
                </a:cubicBezTo>
                <a:cubicBezTo>
                  <a:pt x="639" y="379"/>
                  <a:pt x="640" y="379"/>
                  <a:pt x="640" y="379"/>
                </a:cubicBezTo>
                <a:cubicBezTo>
                  <a:pt x="640" y="378"/>
                  <a:pt x="641" y="379"/>
                  <a:pt x="641" y="379"/>
                </a:cubicBezTo>
                <a:cubicBezTo>
                  <a:pt x="641" y="382"/>
                  <a:pt x="641" y="384"/>
                  <a:pt x="641" y="387"/>
                </a:cubicBezTo>
                <a:cubicBezTo>
                  <a:pt x="641" y="388"/>
                  <a:pt x="641" y="389"/>
                  <a:pt x="640" y="389"/>
                </a:cubicBezTo>
                <a:close/>
                <a:moveTo>
                  <a:pt x="662" y="381"/>
                </a:moveTo>
                <a:cubicBezTo>
                  <a:pt x="662" y="382"/>
                  <a:pt x="662" y="382"/>
                  <a:pt x="661" y="382"/>
                </a:cubicBezTo>
                <a:cubicBezTo>
                  <a:pt x="662" y="382"/>
                  <a:pt x="662" y="381"/>
                  <a:pt x="662" y="381"/>
                </a:cubicBezTo>
                <a:cubicBezTo>
                  <a:pt x="663" y="381"/>
                  <a:pt x="663" y="381"/>
                  <a:pt x="663" y="381"/>
                </a:cubicBezTo>
                <a:lnTo>
                  <a:pt x="662" y="381"/>
                </a:lnTo>
                <a:close/>
                <a:moveTo>
                  <a:pt x="669" y="656"/>
                </a:moveTo>
                <a:cubicBezTo>
                  <a:pt x="668" y="656"/>
                  <a:pt x="668" y="656"/>
                  <a:pt x="668" y="656"/>
                </a:cubicBezTo>
                <a:cubicBezTo>
                  <a:pt x="668" y="656"/>
                  <a:pt x="668" y="656"/>
                  <a:pt x="668" y="656"/>
                </a:cubicBezTo>
                <a:cubicBezTo>
                  <a:pt x="669" y="655"/>
                  <a:pt x="669" y="655"/>
                  <a:pt x="669" y="655"/>
                </a:cubicBezTo>
                <a:lnTo>
                  <a:pt x="669" y="656"/>
                </a:lnTo>
                <a:close/>
                <a:moveTo>
                  <a:pt x="694" y="790"/>
                </a:moveTo>
                <a:cubicBezTo>
                  <a:pt x="693" y="790"/>
                  <a:pt x="693" y="790"/>
                  <a:pt x="692" y="790"/>
                </a:cubicBezTo>
                <a:cubicBezTo>
                  <a:pt x="693" y="790"/>
                  <a:pt x="694" y="789"/>
                  <a:pt x="694" y="789"/>
                </a:cubicBezTo>
                <a:cubicBezTo>
                  <a:pt x="694" y="789"/>
                  <a:pt x="695" y="790"/>
                  <a:pt x="695" y="790"/>
                </a:cubicBezTo>
                <a:cubicBezTo>
                  <a:pt x="695" y="790"/>
                  <a:pt x="694" y="790"/>
                  <a:pt x="694" y="790"/>
                </a:cubicBezTo>
                <a:close/>
                <a:moveTo>
                  <a:pt x="697" y="370"/>
                </a:moveTo>
                <a:cubicBezTo>
                  <a:pt x="697" y="370"/>
                  <a:pt x="696" y="371"/>
                  <a:pt x="696" y="371"/>
                </a:cubicBezTo>
                <a:cubicBezTo>
                  <a:pt x="691" y="371"/>
                  <a:pt x="685" y="371"/>
                  <a:pt x="680" y="371"/>
                </a:cubicBezTo>
                <a:cubicBezTo>
                  <a:pt x="679" y="371"/>
                  <a:pt x="679" y="371"/>
                  <a:pt x="679" y="371"/>
                </a:cubicBezTo>
                <a:cubicBezTo>
                  <a:pt x="678" y="372"/>
                  <a:pt x="676" y="374"/>
                  <a:pt x="675" y="375"/>
                </a:cubicBezTo>
                <a:cubicBezTo>
                  <a:pt x="675" y="375"/>
                  <a:pt x="675" y="375"/>
                  <a:pt x="674" y="375"/>
                </a:cubicBezTo>
                <a:cubicBezTo>
                  <a:pt x="674" y="376"/>
                  <a:pt x="673" y="376"/>
                  <a:pt x="673" y="377"/>
                </a:cubicBezTo>
                <a:cubicBezTo>
                  <a:pt x="673" y="377"/>
                  <a:pt x="672" y="376"/>
                  <a:pt x="672" y="376"/>
                </a:cubicBezTo>
                <a:cubicBezTo>
                  <a:pt x="672" y="375"/>
                  <a:pt x="673" y="375"/>
                  <a:pt x="674" y="375"/>
                </a:cubicBezTo>
                <a:cubicBezTo>
                  <a:pt x="675" y="375"/>
                  <a:pt x="675" y="375"/>
                  <a:pt x="675" y="375"/>
                </a:cubicBezTo>
                <a:cubicBezTo>
                  <a:pt x="676" y="373"/>
                  <a:pt x="677" y="372"/>
                  <a:pt x="678" y="371"/>
                </a:cubicBezTo>
                <a:cubicBezTo>
                  <a:pt x="679" y="371"/>
                  <a:pt x="679" y="371"/>
                  <a:pt x="680" y="371"/>
                </a:cubicBezTo>
                <a:cubicBezTo>
                  <a:pt x="685" y="368"/>
                  <a:pt x="691" y="368"/>
                  <a:pt x="697" y="369"/>
                </a:cubicBezTo>
                <a:cubicBezTo>
                  <a:pt x="697" y="369"/>
                  <a:pt x="697" y="370"/>
                  <a:pt x="697" y="370"/>
                </a:cubicBezTo>
                <a:close/>
                <a:moveTo>
                  <a:pt x="817" y="817"/>
                </a:moveTo>
                <a:cubicBezTo>
                  <a:pt x="817" y="817"/>
                  <a:pt x="817" y="816"/>
                  <a:pt x="816" y="816"/>
                </a:cubicBezTo>
                <a:cubicBezTo>
                  <a:pt x="817" y="815"/>
                  <a:pt x="817" y="814"/>
                  <a:pt x="817" y="813"/>
                </a:cubicBezTo>
                <a:cubicBezTo>
                  <a:pt x="818" y="812"/>
                  <a:pt x="820" y="812"/>
                  <a:pt x="821" y="813"/>
                </a:cubicBezTo>
                <a:cubicBezTo>
                  <a:pt x="822" y="813"/>
                  <a:pt x="822" y="813"/>
                  <a:pt x="822" y="814"/>
                </a:cubicBezTo>
                <a:cubicBezTo>
                  <a:pt x="822" y="816"/>
                  <a:pt x="819" y="817"/>
                  <a:pt x="817" y="817"/>
                </a:cubicBezTo>
                <a:close/>
                <a:moveTo>
                  <a:pt x="816" y="763"/>
                </a:moveTo>
                <a:cubicBezTo>
                  <a:pt x="815" y="763"/>
                  <a:pt x="815" y="763"/>
                  <a:pt x="815" y="763"/>
                </a:cubicBezTo>
                <a:cubicBezTo>
                  <a:pt x="815" y="762"/>
                  <a:pt x="815" y="761"/>
                  <a:pt x="815" y="761"/>
                </a:cubicBezTo>
                <a:cubicBezTo>
                  <a:pt x="817" y="759"/>
                  <a:pt x="819" y="758"/>
                  <a:pt x="821" y="758"/>
                </a:cubicBezTo>
                <a:cubicBezTo>
                  <a:pt x="822" y="758"/>
                  <a:pt x="822" y="759"/>
                  <a:pt x="822" y="760"/>
                </a:cubicBezTo>
                <a:cubicBezTo>
                  <a:pt x="821" y="762"/>
                  <a:pt x="819" y="764"/>
                  <a:pt x="816" y="763"/>
                </a:cubicBezTo>
                <a:close/>
                <a:moveTo>
                  <a:pt x="822" y="650"/>
                </a:moveTo>
                <a:cubicBezTo>
                  <a:pt x="822" y="648"/>
                  <a:pt x="822" y="648"/>
                  <a:pt x="822" y="648"/>
                </a:cubicBezTo>
                <a:cubicBezTo>
                  <a:pt x="823" y="650"/>
                  <a:pt x="823" y="650"/>
                  <a:pt x="823" y="650"/>
                </a:cubicBezTo>
                <a:lnTo>
                  <a:pt x="822" y="650"/>
                </a:lnTo>
                <a:close/>
                <a:moveTo>
                  <a:pt x="831" y="518"/>
                </a:moveTo>
                <a:cubicBezTo>
                  <a:pt x="832" y="518"/>
                  <a:pt x="833" y="518"/>
                  <a:pt x="834" y="519"/>
                </a:cubicBezTo>
                <a:cubicBezTo>
                  <a:pt x="834" y="519"/>
                  <a:pt x="834" y="520"/>
                  <a:pt x="835" y="520"/>
                </a:cubicBezTo>
                <a:cubicBezTo>
                  <a:pt x="835" y="520"/>
                  <a:pt x="835" y="521"/>
                  <a:pt x="834" y="521"/>
                </a:cubicBezTo>
                <a:cubicBezTo>
                  <a:pt x="834" y="521"/>
                  <a:pt x="833" y="522"/>
                  <a:pt x="832" y="521"/>
                </a:cubicBezTo>
                <a:cubicBezTo>
                  <a:pt x="830" y="520"/>
                  <a:pt x="830" y="518"/>
                  <a:pt x="831" y="518"/>
                </a:cubicBezTo>
                <a:close/>
                <a:moveTo>
                  <a:pt x="705" y="457"/>
                </a:moveTo>
                <a:cubicBezTo>
                  <a:pt x="705" y="457"/>
                  <a:pt x="705" y="457"/>
                  <a:pt x="706" y="457"/>
                </a:cubicBezTo>
                <a:cubicBezTo>
                  <a:pt x="706" y="457"/>
                  <a:pt x="706" y="456"/>
                  <a:pt x="706" y="456"/>
                </a:cubicBezTo>
                <a:cubicBezTo>
                  <a:pt x="706" y="456"/>
                  <a:pt x="706" y="457"/>
                  <a:pt x="706" y="457"/>
                </a:cubicBezTo>
                <a:cubicBezTo>
                  <a:pt x="706" y="457"/>
                  <a:pt x="705" y="457"/>
                  <a:pt x="705" y="457"/>
                </a:cubicBezTo>
                <a:cubicBezTo>
                  <a:pt x="704" y="458"/>
                  <a:pt x="704" y="458"/>
                  <a:pt x="704" y="458"/>
                </a:cubicBezTo>
                <a:lnTo>
                  <a:pt x="705" y="457"/>
                </a:lnTo>
                <a:close/>
                <a:moveTo>
                  <a:pt x="718" y="639"/>
                </a:moveTo>
                <a:cubicBezTo>
                  <a:pt x="718" y="639"/>
                  <a:pt x="718" y="639"/>
                  <a:pt x="718" y="639"/>
                </a:cubicBezTo>
                <a:cubicBezTo>
                  <a:pt x="718" y="639"/>
                  <a:pt x="718" y="639"/>
                  <a:pt x="719" y="639"/>
                </a:cubicBezTo>
                <a:cubicBezTo>
                  <a:pt x="719" y="640"/>
                  <a:pt x="719" y="640"/>
                  <a:pt x="719" y="640"/>
                </a:cubicBezTo>
                <a:lnTo>
                  <a:pt x="718" y="639"/>
                </a:lnTo>
                <a:close/>
                <a:moveTo>
                  <a:pt x="721" y="527"/>
                </a:moveTo>
                <a:cubicBezTo>
                  <a:pt x="717" y="531"/>
                  <a:pt x="713" y="531"/>
                  <a:pt x="708" y="528"/>
                </a:cubicBezTo>
                <a:cubicBezTo>
                  <a:pt x="705" y="526"/>
                  <a:pt x="705" y="525"/>
                  <a:pt x="706" y="524"/>
                </a:cubicBezTo>
                <a:cubicBezTo>
                  <a:pt x="709" y="523"/>
                  <a:pt x="712" y="521"/>
                  <a:pt x="713" y="519"/>
                </a:cubicBezTo>
                <a:cubicBezTo>
                  <a:pt x="716" y="516"/>
                  <a:pt x="718" y="514"/>
                  <a:pt x="722" y="513"/>
                </a:cubicBezTo>
                <a:cubicBezTo>
                  <a:pt x="725" y="512"/>
                  <a:pt x="726" y="509"/>
                  <a:pt x="727" y="506"/>
                </a:cubicBezTo>
                <a:cubicBezTo>
                  <a:pt x="727" y="506"/>
                  <a:pt x="729" y="505"/>
                  <a:pt x="730" y="505"/>
                </a:cubicBezTo>
                <a:cubicBezTo>
                  <a:pt x="732" y="505"/>
                  <a:pt x="735" y="507"/>
                  <a:pt x="738" y="506"/>
                </a:cubicBezTo>
                <a:cubicBezTo>
                  <a:pt x="740" y="506"/>
                  <a:pt x="741" y="503"/>
                  <a:pt x="740" y="501"/>
                </a:cubicBezTo>
                <a:cubicBezTo>
                  <a:pt x="738" y="500"/>
                  <a:pt x="737" y="498"/>
                  <a:pt x="735" y="497"/>
                </a:cubicBezTo>
                <a:cubicBezTo>
                  <a:pt x="732" y="495"/>
                  <a:pt x="728" y="494"/>
                  <a:pt x="724" y="494"/>
                </a:cubicBezTo>
                <a:cubicBezTo>
                  <a:pt x="717" y="494"/>
                  <a:pt x="710" y="493"/>
                  <a:pt x="703" y="493"/>
                </a:cubicBezTo>
                <a:cubicBezTo>
                  <a:pt x="703" y="493"/>
                  <a:pt x="702" y="492"/>
                  <a:pt x="702" y="492"/>
                </a:cubicBezTo>
                <a:cubicBezTo>
                  <a:pt x="702" y="491"/>
                  <a:pt x="703" y="489"/>
                  <a:pt x="703" y="489"/>
                </a:cubicBezTo>
                <a:cubicBezTo>
                  <a:pt x="704" y="488"/>
                  <a:pt x="706" y="488"/>
                  <a:pt x="707" y="488"/>
                </a:cubicBezTo>
                <a:cubicBezTo>
                  <a:pt x="715" y="488"/>
                  <a:pt x="723" y="487"/>
                  <a:pt x="731" y="487"/>
                </a:cubicBezTo>
                <a:cubicBezTo>
                  <a:pt x="737" y="487"/>
                  <a:pt x="743" y="486"/>
                  <a:pt x="749" y="484"/>
                </a:cubicBezTo>
                <a:cubicBezTo>
                  <a:pt x="754" y="483"/>
                  <a:pt x="760" y="482"/>
                  <a:pt x="765" y="481"/>
                </a:cubicBezTo>
                <a:cubicBezTo>
                  <a:pt x="767" y="480"/>
                  <a:pt x="768" y="481"/>
                  <a:pt x="770" y="481"/>
                </a:cubicBezTo>
                <a:cubicBezTo>
                  <a:pt x="771" y="481"/>
                  <a:pt x="772" y="482"/>
                  <a:pt x="772" y="483"/>
                </a:cubicBezTo>
                <a:cubicBezTo>
                  <a:pt x="773" y="483"/>
                  <a:pt x="772" y="485"/>
                  <a:pt x="771" y="485"/>
                </a:cubicBezTo>
                <a:cubicBezTo>
                  <a:pt x="767" y="487"/>
                  <a:pt x="762" y="489"/>
                  <a:pt x="758" y="491"/>
                </a:cubicBezTo>
                <a:cubicBezTo>
                  <a:pt x="756" y="491"/>
                  <a:pt x="756" y="494"/>
                  <a:pt x="757" y="495"/>
                </a:cubicBezTo>
                <a:cubicBezTo>
                  <a:pt x="757" y="496"/>
                  <a:pt x="757" y="496"/>
                  <a:pt x="757" y="496"/>
                </a:cubicBezTo>
                <a:cubicBezTo>
                  <a:pt x="758" y="497"/>
                  <a:pt x="759" y="498"/>
                  <a:pt x="760" y="498"/>
                </a:cubicBezTo>
                <a:cubicBezTo>
                  <a:pt x="767" y="504"/>
                  <a:pt x="775" y="506"/>
                  <a:pt x="783" y="499"/>
                </a:cubicBezTo>
                <a:cubicBezTo>
                  <a:pt x="783" y="499"/>
                  <a:pt x="784" y="499"/>
                  <a:pt x="784" y="499"/>
                </a:cubicBezTo>
                <a:cubicBezTo>
                  <a:pt x="785" y="499"/>
                  <a:pt x="785" y="500"/>
                  <a:pt x="785" y="502"/>
                </a:cubicBezTo>
                <a:cubicBezTo>
                  <a:pt x="784" y="504"/>
                  <a:pt x="784" y="506"/>
                  <a:pt x="782" y="507"/>
                </a:cubicBezTo>
                <a:cubicBezTo>
                  <a:pt x="780" y="509"/>
                  <a:pt x="777" y="511"/>
                  <a:pt x="775" y="512"/>
                </a:cubicBezTo>
                <a:cubicBezTo>
                  <a:pt x="774" y="514"/>
                  <a:pt x="774" y="515"/>
                  <a:pt x="773" y="517"/>
                </a:cubicBezTo>
                <a:cubicBezTo>
                  <a:pt x="771" y="522"/>
                  <a:pt x="769" y="523"/>
                  <a:pt x="765" y="519"/>
                </a:cubicBezTo>
                <a:cubicBezTo>
                  <a:pt x="761" y="516"/>
                  <a:pt x="756" y="515"/>
                  <a:pt x="752" y="517"/>
                </a:cubicBezTo>
                <a:cubicBezTo>
                  <a:pt x="750" y="518"/>
                  <a:pt x="748" y="520"/>
                  <a:pt x="748" y="521"/>
                </a:cubicBezTo>
                <a:cubicBezTo>
                  <a:pt x="748" y="527"/>
                  <a:pt x="744" y="529"/>
                  <a:pt x="739" y="530"/>
                </a:cubicBezTo>
                <a:cubicBezTo>
                  <a:pt x="739" y="530"/>
                  <a:pt x="739" y="530"/>
                  <a:pt x="739" y="531"/>
                </a:cubicBezTo>
                <a:cubicBezTo>
                  <a:pt x="738" y="531"/>
                  <a:pt x="738" y="531"/>
                  <a:pt x="738" y="531"/>
                </a:cubicBezTo>
                <a:cubicBezTo>
                  <a:pt x="736" y="532"/>
                  <a:pt x="734" y="533"/>
                  <a:pt x="732" y="533"/>
                </a:cubicBezTo>
                <a:cubicBezTo>
                  <a:pt x="732" y="533"/>
                  <a:pt x="732" y="533"/>
                  <a:pt x="732" y="534"/>
                </a:cubicBezTo>
                <a:cubicBezTo>
                  <a:pt x="732" y="534"/>
                  <a:pt x="731" y="534"/>
                  <a:pt x="731" y="534"/>
                </a:cubicBezTo>
                <a:cubicBezTo>
                  <a:pt x="731" y="534"/>
                  <a:pt x="730" y="535"/>
                  <a:pt x="730" y="535"/>
                </a:cubicBezTo>
                <a:cubicBezTo>
                  <a:pt x="730" y="535"/>
                  <a:pt x="729" y="535"/>
                  <a:pt x="729" y="535"/>
                </a:cubicBezTo>
                <a:cubicBezTo>
                  <a:pt x="729" y="534"/>
                  <a:pt x="730" y="534"/>
                  <a:pt x="731" y="534"/>
                </a:cubicBezTo>
                <a:cubicBezTo>
                  <a:pt x="731" y="533"/>
                  <a:pt x="731" y="533"/>
                  <a:pt x="731" y="533"/>
                </a:cubicBezTo>
                <a:cubicBezTo>
                  <a:pt x="732" y="533"/>
                  <a:pt x="732" y="533"/>
                  <a:pt x="732" y="533"/>
                </a:cubicBezTo>
                <a:cubicBezTo>
                  <a:pt x="734" y="531"/>
                  <a:pt x="736" y="531"/>
                  <a:pt x="738" y="531"/>
                </a:cubicBezTo>
                <a:cubicBezTo>
                  <a:pt x="738" y="530"/>
                  <a:pt x="738" y="530"/>
                  <a:pt x="738" y="530"/>
                </a:cubicBezTo>
                <a:cubicBezTo>
                  <a:pt x="739" y="530"/>
                  <a:pt x="739" y="530"/>
                  <a:pt x="739" y="530"/>
                </a:cubicBezTo>
                <a:cubicBezTo>
                  <a:pt x="740" y="528"/>
                  <a:pt x="741" y="525"/>
                  <a:pt x="741" y="523"/>
                </a:cubicBezTo>
                <a:cubicBezTo>
                  <a:pt x="742" y="520"/>
                  <a:pt x="739" y="517"/>
                  <a:pt x="736" y="518"/>
                </a:cubicBezTo>
                <a:cubicBezTo>
                  <a:pt x="733" y="519"/>
                  <a:pt x="730" y="520"/>
                  <a:pt x="727" y="522"/>
                </a:cubicBezTo>
                <a:cubicBezTo>
                  <a:pt x="725" y="523"/>
                  <a:pt x="723" y="525"/>
                  <a:pt x="721" y="527"/>
                </a:cubicBezTo>
                <a:close/>
                <a:moveTo>
                  <a:pt x="760" y="538"/>
                </a:moveTo>
                <a:cubicBezTo>
                  <a:pt x="759" y="538"/>
                  <a:pt x="759" y="539"/>
                  <a:pt x="758" y="539"/>
                </a:cubicBezTo>
                <a:cubicBezTo>
                  <a:pt x="758" y="539"/>
                  <a:pt x="758" y="539"/>
                  <a:pt x="758" y="540"/>
                </a:cubicBezTo>
                <a:cubicBezTo>
                  <a:pt x="758" y="540"/>
                  <a:pt x="758" y="540"/>
                  <a:pt x="757" y="540"/>
                </a:cubicBezTo>
                <a:cubicBezTo>
                  <a:pt x="757" y="541"/>
                  <a:pt x="757" y="542"/>
                  <a:pt x="757" y="542"/>
                </a:cubicBezTo>
                <a:cubicBezTo>
                  <a:pt x="756" y="541"/>
                  <a:pt x="757" y="541"/>
                  <a:pt x="757" y="540"/>
                </a:cubicBezTo>
                <a:cubicBezTo>
                  <a:pt x="757" y="540"/>
                  <a:pt x="757" y="540"/>
                  <a:pt x="757" y="539"/>
                </a:cubicBezTo>
                <a:cubicBezTo>
                  <a:pt x="758" y="539"/>
                  <a:pt x="758" y="539"/>
                  <a:pt x="758" y="539"/>
                </a:cubicBezTo>
                <a:cubicBezTo>
                  <a:pt x="758" y="538"/>
                  <a:pt x="758" y="537"/>
                  <a:pt x="760" y="536"/>
                </a:cubicBezTo>
                <a:cubicBezTo>
                  <a:pt x="760" y="536"/>
                  <a:pt x="760" y="538"/>
                  <a:pt x="760" y="538"/>
                </a:cubicBezTo>
                <a:close/>
                <a:moveTo>
                  <a:pt x="747" y="588"/>
                </a:moveTo>
                <a:cubicBezTo>
                  <a:pt x="746" y="589"/>
                  <a:pt x="745" y="590"/>
                  <a:pt x="745" y="590"/>
                </a:cubicBezTo>
                <a:cubicBezTo>
                  <a:pt x="741" y="589"/>
                  <a:pt x="739" y="586"/>
                  <a:pt x="737" y="582"/>
                </a:cubicBezTo>
                <a:cubicBezTo>
                  <a:pt x="737" y="582"/>
                  <a:pt x="739" y="580"/>
                  <a:pt x="739" y="580"/>
                </a:cubicBezTo>
                <a:cubicBezTo>
                  <a:pt x="740" y="580"/>
                  <a:pt x="742" y="579"/>
                  <a:pt x="742" y="580"/>
                </a:cubicBezTo>
                <a:cubicBezTo>
                  <a:pt x="744" y="583"/>
                  <a:pt x="745" y="586"/>
                  <a:pt x="747" y="588"/>
                </a:cubicBezTo>
                <a:close/>
                <a:moveTo>
                  <a:pt x="735" y="674"/>
                </a:moveTo>
                <a:cubicBezTo>
                  <a:pt x="735" y="673"/>
                  <a:pt x="735" y="673"/>
                  <a:pt x="735" y="673"/>
                </a:cubicBezTo>
                <a:cubicBezTo>
                  <a:pt x="736" y="674"/>
                  <a:pt x="736" y="674"/>
                  <a:pt x="736" y="674"/>
                </a:cubicBezTo>
                <a:lnTo>
                  <a:pt x="735" y="674"/>
                </a:lnTo>
                <a:close/>
                <a:moveTo>
                  <a:pt x="760" y="724"/>
                </a:moveTo>
                <a:cubicBezTo>
                  <a:pt x="760" y="725"/>
                  <a:pt x="760" y="725"/>
                  <a:pt x="759" y="725"/>
                </a:cubicBezTo>
                <a:cubicBezTo>
                  <a:pt x="759" y="724"/>
                  <a:pt x="759" y="723"/>
                  <a:pt x="759" y="722"/>
                </a:cubicBezTo>
                <a:cubicBezTo>
                  <a:pt x="759" y="722"/>
                  <a:pt x="760" y="722"/>
                  <a:pt x="760" y="722"/>
                </a:cubicBezTo>
                <a:cubicBezTo>
                  <a:pt x="760" y="722"/>
                  <a:pt x="760" y="722"/>
                  <a:pt x="761" y="723"/>
                </a:cubicBezTo>
                <a:cubicBezTo>
                  <a:pt x="761" y="723"/>
                  <a:pt x="761" y="724"/>
                  <a:pt x="760" y="724"/>
                </a:cubicBezTo>
                <a:close/>
                <a:moveTo>
                  <a:pt x="767" y="651"/>
                </a:moveTo>
                <a:cubicBezTo>
                  <a:pt x="765" y="654"/>
                  <a:pt x="762" y="655"/>
                  <a:pt x="759" y="656"/>
                </a:cubicBezTo>
                <a:cubicBezTo>
                  <a:pt x="754" y="657"/>
                  <a:pt x="749" y="658"/>
                  <a:pt x="744" y="658"/>
                </a:cubicBezTo>
                <a:cubicBezTo>
                  <a:pt x="740" y="659"/>
                  <a:pt x="736" y="658"/>
                  <a:pt x="734" y="654"/>
                </a:cubicBezTo>
                <a:cubicBezTo>
                  <a:pt x="732" y="652"/>
                  <a:pt x="730" y="650"/>
                  <a:pt x="729" y="648"/>
                </a:cubicBezTo>
                <a:cubicBezTo>
                  <a:pt x="728" y="648"/>
                  <a:pt x="729" y="647"/>
                  <a:pt x="729" y="647"/>
                </a:cubicBezTo>
                <a:cubicBezTo>
                  <a:pt x="729" y="647"/>
                  <a:pt x="730" y="647"/>
                  <a:pt x="730" y="647"/>
                </a:cubicBezTo>
                <a:cubicBezTo>
                  <a:pt x="733" y="647"/>
                  <a:pt x="735" y="648"/>
                  <a:pt x="737" y="648"/>
                </a:cubicBezTo>
                <a:cubicBezTo>
                  <a:pt x="738" y="649"/>
                  <a:pt x="740" y="648"/>
                  <a:pt x="741" y="647"/>
                </a:cubicBezTo>
                <a:cubicBezTo>
                  <a:pt x="744" y="645"/>
                  <a:pt x="746" y="643"/>
                  <a:pt x="748" y="640"/>
                </a:cubicBezTo>
                <a:cubicBezTo>
                  <a:pt x="750" y="637"/>
                  <a:pt x="753" y="636"/>
                  <a:pt x="757" y="637"/>
                </a:cubicBezTo>
                <a:cubicBezTo>
                  <a:pt x="758" y="637"/>
                  <a:pt x="759" y="637"/>
                  <a:pt x="760" y="636"/>
                </a:cubicBezTo>
                <a:cubicBezTo>
                  <a:pt x="762" y="636"/>
                  <a:pt x="764" y="634"/>
                  <a:pt x="764" y="632"/>
                </a:cubicBezTo>
                <a:cubicBezTo>
                  <a:pt x="764" y="630"/>
                  <a:pt x="763" y="629"/>
                  <a:pt x="763" y="627"/>
                </a:cubicBezTo>
                <a:cubicBezTo>
                  <a:pt x="763" y="624"/>
                  <a:pt x="762" y="620"/>
                  <a:pt x="761" y="617"/>
                </a:cubicBezTo>
                <a:cubicBezTo>
                  <a:pt x="761" y="616"/>
                  <a:pt x="761" y="615"/>
                  <a:pt x="762" y="615"/>
                </a:cubicBezTo>
                <a:cubicBezTo>
                  <a:pt x="763" y="615"/>
                  <a:pt x="763" y="615"/>
                  <a:pt x="764" y="615"/>
                </a:cubicBezTo>
                <a:cubicBezTo>
                  <a:pt x="769" y="619"/>
                  <a:pt x="771" y="625"/>
                  <a:pt x="775" y="630"/>
                </a:cubicBezTo>
                <a:cubicBezTo>
                  <a:pt x="776" y="632"/>
                  <a:pt x="779" y="633"/>
                  <a:pt x="782" y="633"/>
                </a:cubicBezTo>
                <a:cubicBezTo>
                  <a:pt x="789" y="634"/>
                  <a:pt x="796" y="632"/>
                  <a:pt x="802" y="627"/>
                </a:cubicBezTo>
                <a:cubicBezTo>
                  <a:pt x="807" y="623"/>
                  <a:pt x="813" y="621"/>
                  <a:pt x="819" y="620"/>
                </a:cubicBezTo>
                <a:cubicBezTo>
                  <a:pt x="822" y="619"/>
                  <a:pt x="825" y="620"/>
                  <a:pt x="827" y="620"/>
                </a:cubicBezTo>
                <a:cubicBezTo>
                  <a:pt x="827" y="620"/>
                  <a:pt x="828" y="620"/>
                  <a:pt x="828" y="620"/>
                </a:cubicBezTo>
                <a:cubicBezTo>
                  <a:pt x="827" y="619"/>
                  <a:pt x="828" y="619"/>
                  <a:pt x="828" y="619"/>
                </a:cubicBezTo>
                <a:cubicBezTo>
                  <a:pt x="828" y="619"/>
                  <a:pt x="828" y="620"/>
                  <a:pt x="828" y="620"/>
                </a:cubicBezTo>
                <a:cubicBezTo>
                  <a:pt x="828" y="620"/>
                  <a:pt x="827" y="620"/>
                  <a:pt x="827" y="620"/>
                </a:cubicBezTo>
                <a:cubicBezTo>
                  <a:pt x="826" y="622"/>
                  <a:pt x="825" y="623"/>
                  <a:pt x="823" y="625"/>
                </a:cubicBezTo>
                <a:cubicBezTo>
                  <a:pt x="821" y="626"/>
                  <a:pt x="819" y="627"/>
                  <a:pt x="816" y="628"/>
                </a:cubicBezTo>
                <a:cubicBezTo>
                  <a:pt x="811" y="631"/>
                  <a:pt x="805" y="634"/>
                  <a:pt x="801" y="638"/>
                </a:cubicBezTo>
                <a:cubicBezTo>
                  <a:pt x="795" y="642"/>
                  <a:pt x="788" y="644"/>
                  <a:pt x="782" y="648"/>
                </a:cubicBezTo>
                <a:cubicBezTo>
                  <a:pt x="781" y="648"/>
                  <a:pt x="779" y="648"/>
                  <a:pt x="779" y="648"/>
                </a:cubicBezTo>
                <a:cubicBezTo>
                  <a:pt x="774" y="645"/>
                  <a:pt x="770" y="648"/>
                  <a:pt x="767" y="651"/>
                </a:cubicBezTo>
                <a:close/>
                <a:moveTo>
                  <a:pt x="778" y="792"/>
                </a:moveTo>
                <a:cubicBezTo>
                  <a:pt x="778" y="792"/>
                  <a:pt x="778" y="792"/>
                  <a:pt x="777" y="791"/>
                </a:cubicBezTo>
                <a:cubicBezTo>
                  <a:pt x="777" y="790"/>
                  <a:pt x="777" y="790"/>
                  <a:pt x="776" y="789"/>
                </a:cubicBezTo>
                <a:cubicBezTo>
                  <a:pt x="777" y="790"/>
                  <a:pt x="777" y="790"/>
                  <a:pt x="778" y="791"/>
                </a:cubicBezTo>
                <a:cubicBezTo>
                  <a:pt x="779" y="791"/>
                  <a:pt x="779" y="792"/>
                  <a:pt x="778" y="792"/>
                </a:cubicBezTo>
                <a:close/>
                <a:moveTo>
                  <a:pt x="781" y="724"/>
                </a:moveTo>
                <a:cubicBezTo>
                  <a:pt x="780" y="724"/>
                  <a:pt x="779" y="723"/>
                  <a:pt x="778" y="723"/>
                </a:cubicBezTo>
                <a:cubicBezTo>
                  <a:pt x="778" y="723"/>
                  <a:pt x="778" y="722"/>
                  <a:pt x="778" y="722"/>
                </a:cubicBezTo>
                <a:cubicBezTo>
                  <a:pt x="779" y="720"/>
                  <a:pt x="780" y="718"/>
                  <a:pt x="782" y="717"/>
                </a:cubicBezTo>
                <a:cubicBezTo>
                  <a:pt x="788" y="713"/>
                  <a:pt x="794" y="709"/>
                  <a:pt x="800" y="706"/>
                </a:cubicBezTo>
                <a:cubicBezTo>
                  <a:pt x="801" y="706"/>
                  <a:pt x="803" y="706"/>
                  <a:pt x="803" y="707"/>
                </a:cubicBezTo>
                <a:cubicBezTo>
                  <a:pt x="806" y="709"/>
                  <a:pt x="809" y="711"/>
                  <a:pt x="813" y="711"/>
                </a:cubicBezTo>
                <a:cubicBezTo>
                  <a:pt x="814" y="711"/>
                  <a:pt x="814" y="713"/>
                  <a:pt x="814" y="713"/>
                </a:cubicBezTo>
                <a:cubicBezTo>
                  <a:pt x="814" y="714"/>
                  <a:pt x="814" y="715"/>
                  <a:pt x="813" y="715"/>
                </a:cubicBezTo>
                <a:cubicBezTo>
                  <a:pt x="810" y="715"/>
                  <a:pt x="806" y="715"/>
                  <a:pt x="802" y="716"/>
                </a:cubicBezTo>
                <a:cubicBezTo>
                  <a:pt x="802" y="716"/>
                  <a:pt x="802" y="715"/>
                  <a:pt x="802" y="715"/>
                </a:cubicBezTo>
                <a:cubicBezTo>
                  <a:pt x="801" y="715"/>
                  <a:pt x="799" y="715"/>
                  <a:pt x="797" y="715"/>
                </a:cubicBezTo>
                <a:cubicBezTo>
                  <a:pt x="792" y="715"/>
                  <a:pt x="788" y="717"/>
                  <a:pt x="784" y="721"/>
                </a:cubicBezTo>
                <a:cubicBezTo>
                  <a:pt x="783" y="722"/>
                  <a:pt x="782" y="723"/>
                  <a:pt x="781" y="724"/>
                </a:cubicBezTo>
                <a:close/>
                <a:moveTo>
                  <a:pt x="952" y="1576"/>
                </a:moveTo>
                <a:cubicBezTo>
                  <a:pt x="952" y="1577"/>
                  <a:pt x="951" y="1577"/>
                  <a:pt x="951" y="1577"/>
                </a:cubicBezTo>
                <a:cubicBezTo>
                  <a:pt x="948" y="1578"/>
                  <a:pt x="944" y="1575"/>
                  <a:pt x="945" y="1572"/>
                </a:cubicBezTo>
                <a:cubicBezTo>
                  <a:pt x="945" y="1572"/>
                  <a:pt x="945" y="1571"/>
                  <a:pt x="946" y="1571"/>
                </a:cubicBezTo>
                <a:cubicBezTo>
                  <a:pt x="949" y="1571"/>
                  <a:pt x="951" y="1572"/>
                  <a:pt x="952" y="1575"/>
                </a:cubicBezTo>
                <a:cubicBezTo>
                  <a:pt x="952" y="1575"/>
                  <a:pt x="952" y="1576"/>
                  <a:pt x="952" y="1576"/>
                </a:cubicBezTo>
                <a:close/>
                <a:moveTo>
                  <a:pt x="1137" y="1604"/>
                </a:moveTo>
                <a:cubicBezTo>
                  <a:pt x="1137" y="1605"/>
                  <a:pt x="1135" y="1607"/>
                  <a:pt x="1134" y="1606"/>
                </a:cubicBezTo>
                <a:cubicBezTo>
                  <a:pt x="1133" y="1606"/>
                  <a:pt x="1132" y="1605"/>
                  <a:pt x="1132" y="1604"/>
                </a:cubicBezTo>
                <a:cubicBezTo>
                  <a:pt x="1129" y="1600"/>
                  <a:pt x="1129" y="1599"/>
                  <a:pt x="1134" y="1593"/>
                </a:cubicBezTo>
                <a:cubicBezTo>
                  <a:pt x="1135" y="1593"/>
                  <a:pt x="1136" y="1593"/>
                  <a:pt x="1137" y="1593"/>
                </a:cubicBezTo>
                <a:cubicBezTo>
                  <a:pt x="1137" y="1593"/>
                  <a:pt x="1137" y="1594"/>
                  <a:pt x="1137" y="1594"/>
                </a:cubicBezTo>
                <a:cubicBezTo>
                  <a:pt x="1138" y="1596"/>
                  <a:pt x="1138" y="1597"/>
                  <a:pt x="1138" y="1599"/>
                </a:cubicBezTo>
                <a:cubicBezTo>
                  <a:pt x="1138" y="1600"/>
                  <a:pt x="1138" y="1602"/>
                  <a:pt x="1137" y="1604"/>
                </a:cubicBezTo>
                <a:close/>
                <a:moveTo>
                  <a:pt x="1170" y="2488"/>
                </a:moveTo>
                <a:cubicBezTo>
                  <a:pt x="1170" y="2488"/>
                  <a:pt x="1169" y="2488"/>
                  <a:pt x="1169" y="2488"/>
                </a:cubicBezTo>
                <a:cubicBezTo>
                  <a:pt x="1169" y="2487"/>
                  <a:pt x="1169" y="2487"/>
                  <a:pt x="1169" y="2486"/>
                </a:cubicBezTo>
                <a:cubicBezTo>
                  <a:pt x="1170" y="2485"/>
                  <a:pt x="1170" y="2485"/>
                  <a:pt x="1171" y="2487"/>
                </a:cubicBezTo>
                <a:cubicBezTo>
                  <a:pt x="1171" y="2487"/>
                  <a:pt x="1170" y="2488"/>
                  <a:pt x="1170" y="2488"/>
                </a:cubicBezTo>
                <a:close/>
                <a:moveTo>
                  <a:pt x="1174" y="1962"/>
                </a:moveTo>
                <a:cubicBezTo>
                  <a:pt x="1174" y="1962"/>
                  <a:pt x="1174" y="1962"/>
                  <a:pt x="1174" y="1962"/>
                </a:cubicBezTo>
                <a:cubicBezTo>
                  <a:pt x="1169" y="1962"/>
                  <a:pt x="1166" y="1959"/>
                  <a:pt x="1163" y="1955"/>
                </a:cubicBezTo>
                <a:cubicBezTo>
                  <a:pt x="1163" y="1954"/>
                  <a:pt x="1164" y="1953"/>
                  <a:pt x="1164" y="1952"/>
                </a:cubicBezTo>
                <a:cubicBezTo>
                  <a:pt x="1164" y="1952"/>
                  <a:pt x="1165" y="1952"/>
                  <a:pt x="1165" y="1952"/>
                </a:cubicBezTo>
                <a:cubicBezTo>
                  <a:pt x="1169" y="1955"/>
                  <a:pt x="1173" y="1957"/>
                  <a:pt x="1174" y="1962"/>
                </a:cubicBezTo>
                <a:cubicBezTo>
                  <a:pt x="1174" y="1962"/>
                  <a:pt x="1175" y="1962"/>
                  <a:pt x="1175" y="1962"/>
                </a:cubicBezTo>
                <a:cubicBezTo>
                  <a:pt x="1175" y="1962"/>
                  <a:pt x="1175" y="1963"/>
                  <a:pt x="1176" y="1963"/>
                </a:cubicBezTo>
                <a:cubicBezTo>
                  <a:pt x="1175" y="1963"/>
                  <a:pt x="1175" y="1963"/>
                  <a:pt x="1174" y="1962"/>
                </a:cubicBezTo>
                <a:close/>
                <a:moveTo>
                  <a:pt x="1205" y="2551"/>
                </a:moveTo>
                <a:cubicBezTo>
                  <a:pt x="1205" y="2551"/>
                  <a:pt x="1205" y="2551"/>
                  <a:pt x="1205" y="2551"/>
                </a:cubicBezTo>
                <a:cubicBezTo>
                  <a:pt x="1204" y="2552"/>
                  <a:pt x="1204" y="2552"/>
                  <a:pt x="1204" y="2552"/>
                </a:cubicBezTo>
                <a:cubicBezTo>
                  <a:pt x="1204" y="2551"/>
                  <a:pt x="1204" y="2551"/>
                  <a:pt x="1204" y="2551"/>
                </a:cubicBezTo>
                <a:cubicBezTo>
                  <a:pt x="1205" y="2551"/>
                  <a:pt x="1205" y="2551"/>
                  <a:pt x="1205" y="2551"/>
                </a:cubicBezTo>
                <a:cubicBezTo>
                  <a:pt x="1205" y="2550"/>
                  <a:pt x="1205" y="2550"/>
                  <a:pt x="1205" y="2550"/>
                </a:cubicBezTo>
                <a:cubicBezTo>
                  <a:pt x="1206" y="2550"/>
                  <a:pt x="1206" y="2550"/>
                  <a:pt x="1205" y="2551"/>
                </a:cubicBezTo>
                <a:close/>
                <a:moveTo>
                  <a:pt x="1214" y="2567"/>
                </a:moveTo>
                <a:cubicBezTo>
                  <a:pt x="1213" y="2568"/>
                  <a:pt x="1212" y="2568"/>
                  <a:pt x="1211" y="2568"/>
                </a:cubicBezTo>
                <a:cubicBezTo>
                  <a:pt x="1211" y="2568"/>
                  <a:pt x="1210" y="2568"/>
                  <a:pt x="1210" y="2568"/>
                </a:cubicBezTo>
                <a:cubicBezTo>
                  <a:pt x="1209" y="2567"/>
                  <a:pt x="1209" y="2566"/>
                  <a:pt x="1211" y="2565"/>
                </a:cubicBezTo>
                <a:cubicBezTo>
                  <a:pt x="1212" y="2565"/>
                  <a:pt x="1213" y="2566"/>
                  <a:pt x="1214" y="2566"/>
                </a:cubicBezTo>
                <a:cubicBezTo>
                  <a:pt x="1214" y="2566"/>
                  <a:pt x="1214" y="2567"/>
                  <a:pt x="1214" y="2567"/>
                </a:cubicBezTo>
                <a:close/>
                <a:moveTo>
                  <a:pt x="1217" y="2586"/>
                </a:moveTo>
                <a:cubicBezTo>
                  <a:pt x="1217" y="2586"/>
                  <a:pt x="1217" y="2586"/>
                  <a:pt x="1216" y="2586"/>
                </a:cubicBezTo>
                <a:cubicBezTo>
                  <a:pt x="1217" y="2585"/>
                  <a:pt x="1217" y="2585"/>
                  <a:pt x="1218" y="2585"/>
                </a:cubicBezTo>
                <a:cubicBezTo>
                  <a:pt x="1218" y="2586"/>
                  <a:pt x="1218" y="2586"/>
                  <a:pt x="1218" y="2586"/>
                </a:cubicBezTo>
                <a:cubicBezTo>
                  <a:pt x="1218" y="2586"/>
                  <a:pt x="1217" y="2586"/>
                  <a:pt x="1217" y="2586"/>
                </a:cubicBezTo>
                <a:close/>
                <a:moveTo>
                  <a:pt x="1225" y="2574"/>
                </a:moveTo>
                <a:cubicBezTo>
                  <a:pt x="1225" y="2574"/>
                  <a:pt x="1225" y="2574"/>
                  <a:pt x="1225" y="2574"/>
                </a:cubicBezTo>
                <a:cubicBezTo>
                  <a:pt x="1224" y="2574"/>
                  <a:pt x="1224" y="2574"/>
                  <a:pt x="1224" y="2575"/>
                </a:cubicBezTo>
                <a:cubicBezTo>
                  <a:pt x="1223" y="2576"/>
                  <a:pt x="1223" y="2576"/>
                  <a:pt x="1222" y="2577"/>
                </a:cubicBezTo>
                <a:cubicBezTo>
                  <a:pt x="1222" y="2577"/>
                  <a:pt x="1221" y="2577"/>
                  <a:pt x="1221" y="2577"/>
                </a:cubicBezTo>
                <a:cubicBezTo>
                  <a:pt x="1221" y="2578"/>
                  <a:pt x="1221" y="2578"/>
                  <a:pt x="1221" y="2578"/>
                </a:cubicBezTo>
                <a:cubicBezTo>
                  <a:pt x="1221" y="2577"/>
                  <a:pt x="1221" y="2577"/>
                  <a:pt x="1221" y="2577"/>
                </a:cubicBezTo>
                <a:cubicBezTo>
                  <a:pt x="1221" y="2577"/>
                  <a:pt x="1221" y="2577"/>
                  <a:pt x="1222" y="2577"/>
                </a:cubicBezTo>
                <a:cubicBezTo>
                  <a:pt x="1222" y="2576"/>
                  <a:pt x="1223" y="2575"/>
                  <a:pt x="1224" y="2575"/>
                </a:cubicBezTo>
                <a:cubicBezTo>
                  <a:pt x="1224" y="2574"/>
                  <a:pt x="1224" y="2574"/>
                  <a:pt x="1224" y="2574"/>
                </a:cubicBezTo>
                <a:cubicBezTo>
                  <a:pt x="1225" y="2574"/>
                  <a:pt x="1225" y="2574"/>
                  <a:pt x="1225" y="2574"/>
                </a:cubicBezTo>
                <a:cubicBezTo>
                  <a:pt x="1225" y="2573"/>
                  <a:pt x="1225" y="2573"/>
                  <a:pt x="1225" y="2573"/>
                </a:cubicBezTo>
                <a:cubicBezTo>
                  <a:pt x="1226" y="2573"/>
                  <a:pt x="1226" y="2574"/>
                  <a:pt x="1225" y="2574"/>
                </a:cubicBezTo>
                <a:close/>
                <a:moveTo>
                  <a:pt x="1249" y="2582"/>
                </a:moveTo>
                <a:cubicBezTo>
                  <a:pt x="1250" y="2581"/>
                  <a:pt x="1251" y="2582"/>
                  <a:pt x="1251" y="2583"/>
                </a:cubicBezTo>
                <a:cubicBezTo>
                  <a:pt x="1251" y="2583"/>
                  <a:pt x="1251" y="2584"/>
                  <a:pt x="1251" y="2584"/>
                </a:cubicBezTo>
                <a:cubicBezTo>
                  <a:pt x="1250" y="2585"/>
                  <a:pt x="1249" y="2585"/>
                  <a:pt x="1248" y="2586"/>
                </a:cubicBezTo>
                <a:cubicBezTo>
                  <a:pt x="1248" y="2586"/>
                  <a:pt x="1247" y="2586"/>
                  <a:pt x="1247" y="2586"/>
                </a:cubicBezTo>
                <a:cubicBezTo>
                  <a:pt x="1246" y="2585"/>
                  <a:pt x="1247" y="2583"/>
                  <a:pt x="1249" y="2582"/>
                </a:cubicBezTo>
                <a:close/>
                <a:moveTo>
                  <a:pt x="1238" y="2594"/>
                </a:moveTo>
                <a:cubicBezTo>
                  <a:pt x="1238" y="2594"/>
                  <a:pt x="1238" y="2594"/>
                  <a:pt x="1238" y="2595"/>
                </a:cubicBezTo>
                <a:cubicBezTo>
                  <a:pt x="1240" y="2596"/>
                  <a:pt x="1242" y="2597"/>
                  <a:pt x="1244" y="2598"/>
                </a:cubicBezTo>
                <a:cubicBezTo>
                  <a:pt x="1244" y="2598"/>
                  <a:pt x="1244" y="2598"/>
                  <a:pt x="1245" y="2598"/>
                </a:cubicBezTo>
                <a:cubicBezTo>
                  <a:pt x="1245" y="2598"/>
                  <a:pt x="1245" y="2598"/>
                  <a:pt x="1245" y="2598"/>
                </a:cubicBezTo>
                <a:cubicBezTo>
                  <a:pt x="1245" y="2597"/>
                  <a:pt x="1245" y="2596"/>
                  <a:pt x="1245" y="2595"/>
                </a:cubicBezTo>
                <a:cubicBezTo>
                  <a:pt x="1245" y="2594"/>
                  <a:pt x="1246" y="2593"/>
                  <a:pt x="1247" y="2594"/>
                </a:cubicBezTo>
                <a:cubicBezTo>
                  <a:pt x="1247" y="2594"/>
                  <a:pt x="1248" y="2594"/>
                  <a:pt x="1248" y="2595"/>
                </a:cubicBezTo>
                <a:cubicBezTo>
                  <a:pt x="1249" y="2595"/>
                  <a:pt x="1249" y="2596"/>
                  <a:pt x="1247" y="2597"/>
                </a:cubicBezTo>
                <a:cubicBezTo>
                  <a:pt x="1247" y="2597"/>
                  <a:pt x="1246" y="2597"/>
                  <a:pt x="1245" y="2598"/>
                </a:cubicBezTo>
                <a:cubicBezTo>
                  <a:pt x="1245" y="2598"/>
                  <a:pt x="1245" y="2598"/>
                  <a:pt x="1245" y="2598"/>
                </a:cubicBezTo>
                <a:cubicBezTo>
                  <a:pt x="1245" y="2598"/>
                  <a:pt x="1244" y="2598"/>
                  <a:pt x="1244" y="2598"/>
                </a:cubicBezTo>
                <a:cubicBezTo>
                  <a:pt x="1243" y="2598"/>
                  <a:pt x="1243" y="2599"/>
                  <a:pt x="1242" y="2599"/>
                </a:cubicBezTo>
                <a:cubicBezTo>
                  <a:pt x="1240" y="2599"/>
                  <a:pt x="1239" y="2598"/>
                  <a:pt x="1239" y="2597"/>
                </a:cubicBezTo>
                <a:cubicBezTo>
                  <a:pt x="1238" y="2596"/>
                  <a:pt x="1238" y="2595"/>
                  <a:pt x="1238" y="2595"/>
                </a:cubicBezTo>
                <a:cubicBezTo>
                  <a:pt x="1238" y="2595"/>
                  <a:pt x="1238" y="2594"/>
                  <a:pt x="1238" y="2594"/>
                </a:cubicBezTo>
                <a:cubicBezTo>
                  <a:pt x="1237" y="2594"/>
                  <a:pt x="1237" y="2594"/>
                  <a:pt x="1237" y="2594"/>
                </a:cubicBezTo>
                <a:cubicBezTo>
                  <a:pt x="1236" y="2594"/>
                  <a:pt x="1235" y="2594"/>
                  <a:pt x="1235" y="2592"/>
                </a:cubicBezTo>
                <a:cubicBezTo>
                  <a:pt x="1235" y="2592"/>
                  <a:pt x="1236" y="2592"/>
                  <a:pt x="1236" y="2592"/>
                </a:cubicBezTo>
                <a:cubicBezTo>
                  <a:pt x="1236" y="2592"/>
                  <a:pt x="1237" y="2593"/>
                  <a:pt x="1237" y="2594"/>
                </a:cubicBezTo>
                <a:cubicBezTo>
                  <a:pt x="1237" y="2594"/>
                  <a:pt x="1238" y="2594"/>
                  <a:pt x="1238" y="2594"/>
                </a:cubicBezTo>
                <a:close/>
                <a:moveTo>
                  <a:pt x="1252" y="1636"/>
                </a:moveTo>
                <a:cubicBezTo>
                  <a:pt x="1253" y="1635"/>
                  <a:pt x="1253" y="1635"/>
                  <a:pt x="1253" y="1635"/>
                </a:cubicBezTo>
                <a:cubicBezTo>
                  <a:pt x="1253" y="1636"/>
                  <a:pt x="1253" y="1636"/>
                  <a:pt x="1253" y="1636"/>
                </a:cubicBezTo>
                <a:lnTo>
                  <a:pt x="1252" y="1636"/>
                </a:lnTo>
                <a:close/>
                <a:moveTo>
                  <a:pt x="1277" y="2177"/>
                </a:moveTo>
                <a:cubicBezTo>
                  <a:pt x="1276" y="2176"/>
                  <a:pt x="1275" y="2176"/>
                  <a:pt x="1274" y="2176"/>
                </a:cubicBezTo>
                <a:cubicBezTo>
                  <a:pt x="1275" y="2175"/>
                  <a:pt x="1275" y="2175"/>
                  <a:pt x="1276" y="2175"/>
                </a:cubicBezTo>
                <a:cubicBezTo>
                  <a:pt x="1276" y="2175"/>
                  <a:pt x="1277" y="2175"/>
                  <a:pt x="1277" y="2175"/>
                </a:cubicBezTo>
                <a:cubicBezTo>
                  <a:pt x="1277" y="2175"/>
                  <a:pt x="1278" y="2175"/>
                  <a:pt x="1278" y="2176"/>
                </a:cubicBezTo>
                <a:cubicBezTo>
                  <a:pt x="1278" y="2176"/>
                  <a:pt x="1277" y="2176"/>
                  <a:pt x="1277" y="2177"/>
                </a:cubicBezTo>
                <a:close/>
                <a:moveTo>
                  <a:pt x="1353" y="1667"/>
                </a:moveTo>
                <a:cubicBezTo>
                  <a:pt x="1353" y="1666"/>
                  <a:pt x="1353" y="1666"/>
                  <a:pt x="1353" y="1666"/>
                </a:cubicBezTo>
                <a:cubicBezTo>
                  <a:pt x="1353" y="1665"/>
                  <a:pt x="1354" y="1665"/>
                  <a:pt x="1355" y="1665"/>
                </a:cubicBezTo>
                <a:cubicBezTo>
                  <a:pt x="1355" y="1665"/>
                  <a:pt x="1355" y="1665"/>
                  <a:pt x="1355" y="1666"/>
                </a:cubicBezTo>
                <a:cubicBezTo>
                  <a:pt x="1355" y="1667"/>
                  <a:pt x="1354" y="1667"/>
                  <a:pt x="1353" y="1667"/>
                </a:cubicBezTo>
                <a:close/>
                <a:moveTo>
                  <a:pt x="1417" y="1744"/>
                </a:moveTo>
                <a:cubicBezTo>
                  <a:pt x="1416" y="1746"/>
                  <a:pt x="1413" y="1746"/>
                  <a:pt x="1412" y="1745"/>
                </a:cubicBezTo>
                <a:cubicBezTo>
                  <a:pt x="1410" y="1744"/>
                  <a:pt x="1410" y="1743"/>
                  <a:pt x="1411" y="1741"/>
                </a:cubicBezTo>
                <a:cubicBezTo>
                  <a:pt x="1411" y="1740"/>
                  <a:pt x="1412" y="1739"/>
                  <a:pt x="1413" y="1738"/>
                </a:cubicBezTo>
                <a:cubicBezTo>
                  <a:pt x="1413" y="1739"/>
                  <a:pt x="1413" y="1739"/>
                  <a:pt x="1413" y="1740"/>
                </a:cubicBezTo>
                <a:cubicBezTo>
                  <a:pt x="1414" y="1742"/>
                  <a:pt x="1415" y="1743"/>
                  <a:pt x="1417" y="1742"/>
                </a:cubicBezTo>
                <a:cubicBezTo>
                  <a:pt x="1418" y="1742"/>
                  <a:pt x="1418" y="1742"/>
                  <a:pt x="1419" y="1741"/>
                </a:cubicBezTo>
                <a:cubicBezTo>
                  <a:pt x="1418" y="1742"/>
                  <a:pt x="1418" y="1743"/>
                  <a:pt x="1417" y="1744"/>
                </a:cubicBezTo>
                <a:close/>
                <a:moveTo>
                  <a:pt x="1434" y="1762"/>
                </a:moveTo>
                <a:cubicBezTo>
                  <a:pt x="1434" y="1762"/>
                  <a:pt x="1434" y="1761"/>
                  <a:pt x="1434" y="1761"/>
                </a:cubicBezTo>
                <a:cubicBezTo>
                  <a:pt x="1435" y="1761"/>
                  <a:pt x="1436" y="1760"/>
                  <a:pt x="1437" y="1760"/>
                </a:cubicBezTo>
                <a:cubicBezTo>
                  <a:pt x="1437" y="1760"/>
                  <a:pt x="1437" y="1761"/>
                  <a:pt x="1437" y="1761"/>
                </a:cubicBezTo>
                <a:cubicBezTo>
                  <a:pt x="1437" y="1762"/>
                  <a:pt x="1437" y="1762"/>
                  <a:pt x="1437" y="1762"/>
                </a:cubicBezTo>
                <a:cubicBezTo>
                  <a:pt x="1436" y="1762"/>
                  <a:pt x="1435" y="1762"/>
                  <a:pt x="1434" y="1762"/>
                </a:cubicBezTo>
                <a:close/>
                <a:moveTo>
                  <a:pt x="1438" y="1799"/>
                </a:moveTo>
                <a:cubicBezTo>
                  <a:pt x="1438" y="1799"/>
                  <a:pt x="1437" y="1799"/>
                  <a:pt x="1437" y="1799"/>
                </a:cubicBezTo>
                <a:cubicBezTo>
                  <a:pt x="1436" y="1798"/>
                  <a:pt x="1435" y="1797"/>
                  <a:pt x="1435" y="1795"/>
                </a:cubicBezTo>
                <a:cubicBezTo>
                  <a:pt x="1434" y="1794"/>
                  <a:pt x="1434" y="1793"/>
                  <a:pt x="1435" y="1793"/>
                </a:cubicBezTo>
                <a:cubicBezTo>
                  <a:pt x="1436" y="1793"/>
                  <a:pt x="1436" y="1793"/>
                  <a:pt x="1437" y="1794"/>
                </a:cubicBezTo>
                <a:cubicBezTo>
                  <a:pt x="1437" y="1795"/>
                  <a:pt x="1438" y="1796"/>
                  <a:pt x="1438" y="1798"/>
                </a:cubicBezTo>
                <a:cubicBezTo>
                  <a:pt x="1438" y="1798"/>
                  <a:pt x="1438" y="1799"/>
                  <a:pt x="1438" y="1799"/>
                </a:cubicBezTo>
                <a:close/>
                <a:moveTo>
                  <a:pt x="1449" y="1991"/>
                </a:moveTo>
                <a:cubicBezTo>
                  <a:pt x="1448" y="1990"/>
                  <a:pt x="1448" y="1990"/>
                  <a:pt x="1448" y="1990"/>
                </a:cubicBezTo>
                <a:cubicBezTo>
                  <a:pt x="1449" y="1990"/>
                  <a:pt x="1449" y="1990"/>
                  <a:pt x="1449" y="1990"/>
                </a:cubicBezTo>
                <a:lnTo>
                  <a:pt x="1449" y="1991"/>
                </a:lnTo>
                <a:close/>
                <a:moveTo>
                  <a:pt x="537" y="910"/>
                </a:moveTo>
                <a:cubicBezTo>
                  <a:pt x="536" y="910"/>
                  <a:pt x="536" y="910"/>
                  <a:pt x="536" y="910"/>
                </a:cubicBezTo>
                <a:cubicBezTo>
                  <a:pt x="536" y="910"/>
                  <a:pt x="536" y="911"/>
                  <a:pt x="536" y="911"/>
                </a:cubicBezTo>
                <a:cubicBezTo>
                  <a:pt x="536" y="911"/>
                  <a:pt x="536" y="911"/>
                  <a:pt x="537" y="911"/>
                </a:cubicBezTo>
                <a:cubicBezTo>
                  <a:pt x="537" y="911"/>
                  <a:pt x="537" y="910"/>
                  <a:pt x="537" y="910"/>
                </a:cubicBezTo>
                <a:close/>
                <a:moveTo>
                  <a:pt x="1525" y="563"/>
                </a:moveTo>
                <a:cubicBezTo>
                  <a:pt x="1525" y="563"/>
                  <a:pt x="1526" y="563"/>
                  <a:pt x="1526" y="563"/>
                </a:cubicBezTo>
                <a:cubicBezTo>
                  <a:pt x="1526" y="563"/>
                  <a:pt x="1526" y="563"/>
                  <a:pt x="1526" y="563"/>
                </a:cubicBezTo>
                <a:lnTo>
                  <a:pt x="1525" y="563"/>
                </a:lnTo>
                <a:close/>
                <a:moveTo>
                  <a:pt x="1859" y="552"/>
                </a:moveTo>
                <a:cubicBezTo>
                  <a:pt x="1860" y="551"/>
                  <a:pt x="1859" y="550"/>
                  <a:pt x="1859" y="549"/>
                </a:cubicBezTo>
                <a:cubicBezTo>
                  <a:pt x="1859" y="549"/>
                  <a:pt x="1859" y="548"/>
                  <a:pt x="1858" y="548"/>
                </a:cubicBezTo>
                <a:cubicBezTo>
                  <a:pt x="1852" y="546"/>
                  <a:pt x="1845" y="547"/>
                  <a:pt x="1839" y="543"/>
                </a:cubicBezTo>
                <a:cubicBezTo>
                  <a:pt x="1834" y="540"/>
                  <a:pt x="1830" y="541"/>
                  <a:pt x="1825" y="543"/>
                </a:cubicBezTo>
                <a:cubicBezTo>
                  <a:pt x="1824" y="543"/>
                  <a:pt x="1823" y="542"/>
                  <a:pt x="1822" y="542"/>
                </a:cubicBezTo>
                <a:cubicBezTo>
                  <a:pt x="1821" y="542"/>
                  <a:pt x="1821" y="541"/>
                  <a:pt x="1821" y="541"/>
                </a:cubicBezTo>
                <a:cubicBezTo>
                  <a:pt x="1820" y="540"/>
                  <a:pt x="1820" y="539"/>
                  <a:pt x="1821" y="538"/>
                </a:cubicBezTo>
                <a:cubicBezTo>
                  <a:pt x="1823" y="537"/>
                  <a:pt x="1826" y="537"/>
                  <a:pt x="1829" y="536"/>
                </a:cubicBezTo>
                <a:cubicBezTo>
                  <a:pt x="1832" y="534"/>
                  <a:pt x="1834" y="531"/>
                  <a:pt x="1833" y="528"/>
                </a:cubicBezTo>
                <a:cubicBezTo>
                  <a:pt x="1833" y="525"/>
                  <a:pt x="1832" y="521"/>
                  <a:pt x="1832" y="518"/>
                </a:cubicBezTo>
                <a:cubicBezTo>
                  <a:pt x="1832" y="517"/>
                  <a:pt x="1834" y="515"/>
                  <a:pt x="1835" y="515"/>
                </a:cubicBezTo>
                <a:cubicBezTo>
                  <a:pt x="1836" y="515"/>
                  <a:pt x="1837" y="516"/>
                  <a:pt x="1838" y="517"/>
                </a:cubicBezTo>
                <a:cubicBezTo>
                  <a:pt x="1840" y="523"/>
                  <a:pt x="1842" y="529"/>
                  <a:pt x="1846" y="535"/>
                </a:cubicBezTo>
                <a:cubicBezTo>
                  <a:pt x="1849" y="538"/>
                  <a:pt x="1852" y="541"/>
                  <a:pt x="1857" y="540"/>
                </a:cubicBezTo>
                <a:cubicBezTo>
                  <a:pt x="1859" y="540"/>
                  <a:pt x="1861" y="540"/>
                  <a:pt x="1863" y="540"/>
                </a:cubicBezTo>
                <a:cubicBezTo>
                  <a:pt x="1869" y="540"/>
                  <a:pt x="1870" y="540"/>
                  <a:pt x="1871" y="534"/>
                </a:cubicBezTo>
                <a:cubicBezTo>
                  <a:pt x="1871" y="530"/>
                  <a:pt x="1870" y="525"/>
                  <a:pt x="1871" y="520"/>
                </a:cubicBezTo>
                <a:cubicBezTo>
                  <a:pt x="1872" y="515"/>
                  <a:pt x="1866" y="511"/>
                  <a:pt x="1868" y="506"/>
                </a:cubicBezTo>
                <a:cubicBezTo>
                  <a:pt x="1869" y="504"/>
                  <a:pt x="1867" y="503"/>
                  <a:pt x="1866" y="501"/>
                </a:cubicBezTo>
                <a:cubicBezTo>
                  <a:pt x="1863" y="495"/>
                  <a:pt x="1859" y="490"/>
                  <a:pt x="1853" y="487"/>
                </a:cubicBezTo>
                <a:cubicBezTo>
                  <a:pt x="1851" y="485"/>
                  <a:pt x="1849" y="483"/>
                  <a:pt x="1847" y="481"/>
                </a:cubicBezTo>
                <a:cubicBezTo>
                  <a:pt x="1846" y="480"/>
                  <a:pt x="1845" y="479"/>
                  <a:pt x="1844" y="477"/>
                </a:cubicBezTo>
                <a:cubicBezTo>
                  <a:pt x="1843" y="474"/>
                  <a:pt x="1843" y="470"/>
                  <a:pt x="1842" y="466"/>
                </a:cubicBezTo>
                <a:cubicBezTo>
                  <a:pt x="1842" y="465"/>
                  <a:pt x="1843" y="464"/>
                  <a:pt x="1844" y="463"/>
                </a:cubicBezTo>
                <a:cubicBezTo>
                  <a:pt x="1845" y="463"/>
                  <a:pt x="1846" y="463"/>
                  <a:pt x="1847" y="464"/>
                </a:cubicBezTo>
                <a:cubicBezTo>
                  <a:pt x="1847" y="465"/>
                  <a:pt x="1848" y="467"/>
                  <a:pt x="1848" y="468"/>
                </a:cubicBezTo>
                <a:cubicBezTo>
                  <a:pt x="1848" y="474"/>
                  <a:pt x="1850" y="479"/>
                  <a:pt x="1855" y="482"/>
                </a:cubicBezTo>
                <a:cubicBezTo>
                  <a:pt x="1859" y="484"/>
                  <a:pt x="1861" y="487"/>
                  <a:pt x="1865" y="488"/>
                </a:cubicBezTo>
                <a:cubicBezTo>
                  <a:pt x="1867" y="489"/>
                  <a:pt x="1869" y="488"/>
                  <a:pt x="1869" y="487"/>
                </a:cubicBezTo>
                <a:cubicBezTo>
                  <a:pt x="1869" y="484"/>
                  <a:pt x="1869" y="481"/>
                  <a:pt x="1871" y="479"/>
                </a:cubicBezTo>
                <a:cubicBezTo>
                  <a:pt x="1870" y="476"/>
                  <a:pt x="1872" y="474"/>
                  <a:pt x="1873" y="472"/>
                </a:cubicBezTo>
                <a:cubicBezTo>
                  <a:pt x="1875" y="470"/>
                  <a:pt x="1874" y="467"/>
                  <a:pt x="1872" y="466"/>
                </a:cubicBezTo>
                <a:cubicBezTo>
                  <a:pt x="1869" y="463"/>
                  <a:pt x="1865" y="461"/>
                  <a:pt x="1861" y="458"/>
                </a:cubicBezTo>
                <a:cubicBezTo>
                  <a:pt x="1861" y="457"/>
                  <a:pt x="1860" y="456"/>
                  <a:pt x="1860" y="454"/>
                </a:cubicBezTo>
                <a:cubicBezTo>
                  <a:pt x="1860" y="454"/>
                  <a:pt x="1860" y="454"/>
                  <a:pt x="1859" y="454"/>
                </a:cubicBezTo>
                <a:cubicBezTo>
                  <a:pt x="1859" y="454"/>
                  <a:pt x="1859" y="454"/>
                  <a:pt x="1859" y="454"/>
                </a:cubicBezTo>
                <a:cubicBezTo>
                  <a:pt x="1855" y="453"/>
                  <a:pt x="1852" y="451"/>
                  <a:pt x="1850" y="449"/>
                </a:cubicBezTo>
                <a:cubicBezTo>
                  <a:pt x="1849" y="449"/>
                  <a:pt x="1849" y="449"/>
                  <a:pt x="1850" y="448"/>
                </a:cubicBezTo>
                <a:cubicBezTo>
                  <a:pt x="1850" y="448"/>
                  <a:pt x="1851" y="448"/>
                  <a:pt x="1851" y="448"/>
                </a:cubicBezTo>
                <a:cubicBezTo>
                  <a:pt x="1852" y="448"/>
                  <a:pt x="1854" y="447"/>
                  <a:pt x="1854" y="448"/>
                </a:cubicBezTo>
                <a:cubicBezTo>
                  <a:pt x="1856" y="450"/>
                  <a:pt x="1857" y="452"/>
                  <a:pt x="1859" y="454"/>
                </a:cubicBezTo>
                <a:cubicBezTo>
                  <a:pt x="1859" y="454"/>
                  <a:pt x="1860" y="454"/>
                  <a:pt x="1860" y="454"/>
                </a:cubicBezTo>
                <a:cubicBezTo>
                  <a:pt x="1860" y="454"/>
                  <a:pt x="1860" y="454"/>
                  <a:pt x="1860" y="454"/>
                </a:cubicBezTo>
                <a:cubicBezTo>
                  <a:pt x="1861" y="455"/>
                  <a:pt x="1863" y="456"/>
                  <a:pt x="1864" y="456"/>
                </a:cubicBezTo>
                <a:cubicBezTo>
                  <a:pt x="1868" y="458"/>
                  <a:pt x="1871" y="459"/>
                  <a:pt x="1875" y="456"/>
                </a:cubicBezTo>
                <a:cubicBezTo>
                  <a:pt x="1878" y="454"/>
                  <a:pt x="1883" y="453"/>
                  <a:pt x="1887" y="452"/>
                </a:cubicBezTo>
                <a:cubicBezTo>
                  <a:pt x="1888" y="452"/>
                  <a:pt x="1890" y="450"/>
                  <a:pt x="1891" y="449"/>
                </a:cubicBezTo>
                <a:cubicBezTo>
                  <a:pt x="1892" y="447"/>
                  <a:pt x="1892" y="445"/>
                  <a:pt x="1892" y="443"/>
                </a:cubicBezTo>
                <a:cubicBezTo>
                  <a:pt x="1893" y="440"/>
                  <a:pt x="1892" y="438"/>
                  <a:pt x="1890" y="438"/>
                </a:cubicBezTo>
                <a:cubicBezTo>
                  <a:pt x="1885" y="437"/>
                  <a:pt x="1882" y="435"/>
                  <a:pt x="1878" y="432"/>
                </a:cubicBezTo>
                <a:cubicBezTo>
                  <a:pt x="1878" y="432"/>
                  <a:pt x="1877" y="431"/>
                  <a:pt x="1877" y="431"/>
                </a:cubicBezTo>
                <a:cubicBezTo>
                  <a:pt x="1878" y="429"/>
                  <a:pt x="1879" y="429"/>
                  <a:pt x="1880" y="430"/>
                </a:cubicBezTo>
                <a:cubicBezTo>
                  <a:pt x="1885" y="432"/>
                  <a:pt x="1890" y="434"/>
                  <a:pt x="1895" y="429"/>
                </a:cubicBezTo>
                <a:cubicBezTo>
                  <a:pt x="1896" y="429"/>
                  <a:pt x="1898" y="429"/>
                  <a:pt x="1900" y="429"/>
                </a:cubicBezTo>
                <a:cubicBezTo>
                  <a:pt x="1906" y="428"/>
                  <a:pt x="1908" y="419"/>
                  <a:pt x="1904" y="416"/>
                </a:cubicBezTo>
                <a:cubicBezTo>
                  <a:pt x="1902" y="414"/>
                  <a:pt x="1900" y="412"/>
                  <a:pt x="1900" y="408"/>
                </a:cubicBezTo>
                <a:cubicBezTo>
                  <a:pt x="1900" y="407"/>
                  <a:pt x="1898" y="405"/>
                  <a:pt x="1897" y="404"/>
                </a:cubicBezTo>
                <a:cubicBezTo>
                  <a:pt x="1896" y="403"/>
                  <a:pt x="1895" y="403"/>
                  <a:pt x="1896" y="401"/>
                </a:cubicBezTo>
                <a:cubicBezTo>
                  <a:pt x="1896" y="400"/>
                  <a:pt x="1897" y="400"/>
                  <a:pt x="1898" y="400"/>
                </a:cubicBezTo>
                <a:cubicBezTo>
                  <a:pt x="1900" y="401"/>
                  <a:pt x="1902" y="401"/>
                  <a:pt x="1903" y="400"/>
                </a:cubicBezTo>
                <a:cubicBezTo>
                  <a:pt x="1905" y="399"/>
                  <a:pt x="1906" y="397"/>
                  <a:pt x="1906" y="395"/>
                </a:cubicBezTo>
                <a:cubicBezTo>
                  <a:pt x="1907" y="391"/>
                  <a:pt x="1907" y="387"/>
                  <a:pt x="1907" y="383"/>
                </a:cubicBezTo>
                <a:cubicBezTo>
                  <a:pt x="1907" y="381"/>
                  <a:pt x="1906" y="378"/>
                  <a:pt x="1904" y="376"/>
                </a:cubicBezTo>
                <a:cubicBezTo>
                  <a:pt x="1901" y="373"/>
                  <a:pt x="1903" y="372"/>
                  <a:pt x="1905" y="370"/>
                </a:cubicBezTo>
                <a:cubicBezTo>
                  <a:pt x="1906" y="369"/>
                  <a:pt x="1905" y="366"/>
                  <a:pt x="1904" y="366"/>
                </a:cubicBezTo>
                <a:cubicBezTo>
                  <a:pt x="1902" y="364"/>
                  <a:pt x="1898" y="365"/>
                  <a:pt x="1896" y="362"/>
                </a:cubicBezTo>
                <a:cubicBezTo>
                  <a:pt x="1895" y="361"/>
                  <a:pt x="1894" y="361"/>
                  <a:pt x="1893" y="361"/>
                </a:cubicBezTo>
                <a:cubicBezTo>
                  <a:pt x="1891" y="360"/>
                  <a:pt x="1890" y="359"/>
                  <a:pt x="1890" y="356"/>
                </a:cubicBezTo>
                <a:cubicBezTo>
                  <a:pt x="1890" y="354"/>
                  <a:pt x="1891" y="353"/>
                  <a:pt x="1892" y="352"/>
                </a:cubicBezTo>
                <a:cubicBezTo>
                  <a:pt x="1893" y="353"/>
                  <a:pt x="1895" y="354"/>
                  <a:pt x="1896" y="355"/>
                </a:cubicBezTo>
                <a:cubicBezTo>
                  <a:pt x="1896" y="355"/>
                  <a:pt x="1896" y="355"/>
                  <a:pt x="1896" y="355"/>
                </a:cubicBezTo>
                <a:cubicBezTo>
                  <a:pt x="1896" y="355"/>
                  <a:pt x="1896" y="355"/>
                  <a:pt x="1896" y="355"/>
                </a:cubicBezTo>
                <a:cubicBezTo>
                  <a:pt x="1895" y="353"/>
                  <a:pt x="1894" y="352"/>
                  <a:pt x="1893" y="351"/>
                </a:cubicBezTo>
                <a:cubicBezTo>
                  <a:pt x="1892" y="351"/>
                  <a:pt x="1892" y="351"/>
                  <a:pt x="1892" y="351"/>
                </a:cubicBezTo>
                <a:cubicBezTo>
                  <a:pt x="1895" y="349"/>
                  <a:pt x="1897" y="346"/>
                  <a:pt x="1900" y="343"/>
                </a:cubicBezTo>
                <a:cubicBezTo>
                  <a:pt x="1901" y="342"/>
                  <a:pt x="1905" y="342"/>
                  <a:pt x="1906" y="343"/>
                </a:cubicBezTo>
                <a:cubicBezTo>
                  <a:pt x="1907" y="343"/>
                  <a:pt x="1907" y="343"/>
                  <a:pt x="1908" y="344"/>
                </a:cubicBezTo>
                <a:cubicBezTo>
                  <a:pt x="1911" y="347"/>
                  <a:pt x="1915" y="350"/>
                  <a:pt x="1915" y="356"/>
                </a:cubicBezTo>
                <a:cubicBezTo>
                  <a:pt x="1914" y="361"/>
                  <a:pt x="1915" y="366"/>
                  <a:pt x="1917" y="370"/>
                </a:cubicBezTo>
                <a:cubicBezTo>
                  <a:pt x="1917" y="371"/>
                  <a:pt x="1918" y="371"/>
                  <a:pt x="1918" y="371"/>
                </a:cubicBezTo>
                <a:cubicBezTo>
                  <a:pt x="1918" y="369"/>
                  <a:pt x="1919" y="367"/>
                  <a:pt x="1919" y="366"/>
                </a:cubicBezTo>
                <a:cubicBezTo>
                  <a:pt x="1918" y="360"/>
                  <a:pt x="1919" y="354"/>
                  <a:pt x="1922" y="349"/>
                </a:cubicBezTo>
                <a:cubicBezTo>
                  <a:pt x="1925" y="344"/>
                  <a:pt x="1926" y="339"/>
                  <a:pt x="1926" y="334"/>
                </a:cubicBezTo>
                <a:cubicBezTo>
                  <a:pt x="1926" y="332"/>
                  <a:pt x="1923" y="329"/>
                  <a:pt x="1921" y="328"/>
                </a:cubicBezTo>
                <a:cubicBezTo>
                  <a:pt x="1919" y="327"/>
                  <a:pt x="1917" y="328"/>
                  <a:pt x="1915" y="327"/>
                </a:cubicBezTo>
                <a:cubicBezTo>
                  <a:pt x="1913" y="326"/>
                  <a:pt x="1912" y="325"/>
                  <a:pt x="1911" y="324"/>
                </a:cubicBezTo>
                <a:cubicBezTo>
                  <a:pt x="1910" y="324"/>
                  <a:pt x="1910" y="323"/>
                  <a:pt x="1910" y="323"/>
                </a:cubicBezTo>
                <a:cubicBezTo>
                  <a:pt x="1911" y="322"/>
                  <a:pt x="1911" y="321"/>
                  <a:pt x="1912" y="321"/>
                </a:cubicBezTo>
                <a:cubicBezTo>
                  <a:pt x="1918" y="319"/>
                  <a:pt x="1919" y="319"/>
                  <a:pt x="1916" y="314"/>
                </a:cubicBezTo>
                <a:cubicBezTo>
                  <a:pt x="1915" y="312"/>
                  <a:pt x="1914" y="309"/>
                  <a:pt x="1911" y="308"/>
                </a:cubicBezTo>
                <a:cubicBezTo>
                  <a:pt x="1910" y="306"/>
                  <a:pt x="1908" y="305"/>
                  <a:pt x="1907" y="303"/>
                </a:cubicBezTo>
                <a:cubicBezTo>
                  <a:pt x="1907" y="303"/>
                  <a:pt x="1907" y="302"/>
                  <a:pt x="1907" y="302"/>
                </a:cubicBezTo>
                <a:cubicBezTo>
                  <a:pt x="1908" y="301"/>
                  <a:pt x="1908" y="301"/>
                  <a:pt x="1909" y="301"/>
                </a:cubicBezTo>
                <a:cubicBezTo>
                  <a:pt x="1913" y="303"/>
                  <a:pt x="1916" y="301"/>
                  <a:pt x="1917" y="297"/>
                </a:cubicBezTo>
                <a:cubicBezTo>
                  <a:pt x="1919" y="291"/>
                  <a:pt x="1922" y="286"/>
                  <a:pt x="1922" y="279"/>
                </a:cubicBezTo>
                <a:cubicBezTo>
                  <a:pt x="1923" y="264"/>
                  <a:pt x="1928" y="252"/>
                  <a:pt x="1938" y="240"/>
                </a:cubicBezTo>
                <a:cubicBezTo>
                  <a:pt x="1941" y="237"/>
                  <a:pt x="1943" y="233"/>
                  <a:pt x="1946" y="230"/>
                </a:cubicBezTo>
                <a:cubicBezTo>
                  <a:pt x="1947" y="228"/>
                  <a:pt x="1947" y="227"/>
                  <a:pt x="1946" y="225"/>
                </a:cubicBezTo>
                <a:cubicBezTo>
                  <a:pt x="1945" y="221"/>
                  <a:pt x="1945" y="221"/>
                  <a:pt x="1949" y="220"/>
                </a:cubicBezTo>
                <a:cubicBezTo>
                  <a:pt x="1954" y="219"/>
                  <a:pt x="1957" y="216"/>
                  <a:pt x="1959" y="213"/>
                </a:cubicBezTo>
                <a:cubicBezTo>
                  <a:pt x="1960" y="211"/>
                  <a:pt x="1959" y="207"/>
                  <a:pt x="1958" y="207"/>
                </a:cubicBezTo>
                <a:cubicBezTo>
                  <a:pt x="1956" y="206"/>
                  <a:pt x="1955" y="205"/>
                  <a:pt x="1953" y="205"/>
                </a:cubicBezTo>
                <a:cubicBezTo>
                  <a:pt x="1951" y="205"/>
                  <a:pt x="1949" y="205"/>
                  <a:pt x="1946" y="204"/>
                </a:cubicBezTo>
                <a:cubicBezTo>
                  <a:pt x="1946" y="204"/>
                  <a:pt x="1946" y="204"/>
                  <a:pt x="1946" y="203"/>
                </a:cubicBezTo>
                <a:cubicBezTo>
                  <a:pt x="1946" y="203"/>
                  <a:pt x="1947" y="201"/>
                  <a:pt x="1947" y="201"/>
                </a:cubicBezTo>
                <a:cubicBezTo>
                  <a:pt x="1950" y="200"/>
                  <a:pt x="1953" y="201"/>
                  <a:pt x="1955" y="202"/>
                </a:cubicBezTo>
                <a:cubicBezTo>
                  <a:pt x="1960" y="204"/>
                  <a:pt x="1964" y="203"/>
                  <a:pt x="1968" y="201"/>
                </a:cubicBezTo>
                <a:cubicBezTo>
                  <a:pt x="1970" y="200"/>
                  <a:pt x="1971" y="199"/>
                  <a:pt x="1972" y="198"/>
                </a:cubicBezTo>
                <a:cubicBezTo>
                  <a:pt x="1974" y="197"/>
                  <a:pt x="1974" y="196"/>
                  <a:pt x="1974" y="194"/>
                </a:cubicBezTo>
                <a:cubicBezTo>
                  <a:pt x="1974" y="193"/>
                  <a:pt x="1974" y="192"/>
                  <a:pt x="1973" y="191"/>
                </a:cubicBezTo>
                <a:cubicBezTo>
                  <a:pt x="1973" y="189"/>
                  <a:pt x="1974" y="187"/>
                  <a:pt x="1976" y="187"/>
                </a:cubicBezTo>
                <a:cubicBezTo>
                  <a:pt x="1980" y="188"/>
                  <a:pt x="1984" y="188"/>
                  <a:pt x="1987" y="184"/>
                </a:cubicBezTo>
                <a:cubicBezTo>
                  <a:pt x="1988" y="182"/>
                  <a:pt x="1990" y="181"/>
                  <a:pt x="1992" y="180"/>
                </a:cubicBezTo>
                <a:cubicBezTo>
                  <a:pt x="2000" y="174"/>
                  <a:pt x="2000" y="170"/>
                  <a:pt x="1993" y="162"/>
                </a:cubicBezTo>
                <a:cubicBezTo>
                  <a:pt x="1993" y="161"/>
                  <a:pt x="1992" y="161"/>
                  <a:pt x="1991" y="160"/>
                </a:cubicBezTo>
                <a:cubicBezTo>
                  <a:pt x="1985" y="152"/>
                  <a:pt x="1976" y="149"/>
                  <a:pt x="1966" y="149"/>
                </a:cubicBezTo>
                <a:cubicBezTo>
                  <a:pt x="1961" y="149"/>
                  <a:pt x="1955" y="151"/>
                  <a:pt x="1950" y="152"/>
                </a:cubicBezTo>
                <a:cubicBezTo>
                  <a:pt x="1949" y="152"/>
                  <a:pt x="1949" y="154"/>
                  <a:pt x="1948" y="155"/>
                </a:cubicBezTo>
                <a:cubicBezTo>
                  <a:pt x="1947" y="156"/>
                  <a:pt x="1947" y="158"/>
                  <a:pt x="1947" y="159"/>
                </a:cubicBezTo>
                <a:cubicBezTo>
                  <a:pt x="1946" y="161"/>
                  <a:pt x="1944" y="162"/>
                  <a:pt x="1941" y="161"/>
                </a:cubicBezTo>
                <a:cubicBezTo>
                  <a:pt x="1939" y="161"/>
                  <a:pt x="1937" y="160"/>
                  <a:pt x="1935" y="159"/>
                </a:cubicBezTo>
                <a:cubicBezTo>
                  <a:pt x="1934" y="157"/>
                  <a:pt x="1932" y="158"/>
                  <a:pt x="1931" y="159"/>
                </a:cubicBezTo>
                <a:cubicBezTo>
                  <a:pt x="1926" y="169"/>
                  <a:pt x="1917" y="173"/>
                  <a:pt x="1908" y="176"/>
                </a:cubicBezTo>
                <a:cubicBezTo>
                  <a:pt x="1903" y="178"/>
                  <a:pt x="1898" y="179"/>
                  <a:pt x="1893" y="182"/>
                </a:cubicBezTo>
                <a:cubicBezTo>
                  <a:pt x="1893" y="183"/>
                  <a:pt x="1893" y="183"/>
                  <a:pt x="1893" y="183"/>
                </a:cubicBezTo>
                <a:cubicBezTo>
                  <a:pt x="1892" y="184"/>
                  <a:pt x="1891" y="185"/>
                  <a:pt x="1890" y="186"/>
                </a:cubicBezTo>
                <a:cubicBezTo>
                  <a:pt x="1889" y="187"/>
                  <a:pt x="1887" y="188"/>
                  <a:pt x="1886" y="189"/>
                </a:cubicBezTo>
                <a:cubicBezTo>
                  <a:pt x="1885" y="190"/>
                  <a:pt x="1885" y="190"/>
                  <a:pt x="1885" y="190"/>
                </a:cubicBezTo>
                <a:cubicBezTo>
                  <a:pt x="1886" y="189"/>
                  <a:pt x="1886" y="189"/>
                  <a:pt x="1886" y="189"/>
                </a:cubicBezTo>
                <a:cubicBezTo>
                  <a:pt x="1887" y="188"/>
                  <a:pt x="1888" y="187"/>
                  <a:pt x="1889" y="186"/>
                </a:cubicBezTo>
                <a:cubicBezTo>
                  <a:pt x="1890" y="185"/>
                  <a:pt x="1892" y="184"/>
                  <a:pt x="1893" y="183"/>
                </a:cubicBezTo>
                <a:cubicBezTo>
                  <a:pt x="1893" y="183"/>
                  <a:pt x="1893" y="182"/>
                  <a:pt x="1893" y="182"/>
                </a:cubicBezTo>
                <a:cubicBezTo>
                  <a:pt x="1894" y="181"/>
                  <a:pt x="1894" y="179"/>
                  <a:pt x="1894" y="178"/>
                </a:cubicBezTo>
                <a:cubicBezTo>
                  <a:pt x="1898" y="174"/>
                  <a:pt x="1901" y="170"/>
                  <a:pt x="1907" y="168"/>
                </a:cubicBezTo>
                <a:cubicBezTo>
                  <a:pt x="1913" y="166"/>
                  <a:pt x="1917" y="162"/>
                  <a:pt x="1919" y="156"/>
                </a:cubicBezTo>
                <a:cubicBezTo>
                  <a:pt x="1920" y="154"/>
                  <a:pt x="1921" y="153"/>
                  <a:pt x="1921" y="151"/>
                </a:cubicBezTo>
                <a:cubicBezTo>
                  <a:pt x="1926" y="138"/>
                  <a:pt x="1920" y="136"/>
                  <a:pt x="1910" y="137"/>
                </a:cubicBezTo>
                <a:cubicBezTo>
                  <a:pt x="1910" y="137"/>
                  <a:pt x="1909" y="137"/>
                  <a:pt x="1909" y="137"/>
                </a:cubicBezTo>
                <a:cubicBezTo>
                  <a:pt x="1908" y="137"/>
                  <a:pt x="1906" y="138"/>
                  <a:pt x="1906" y="139"/>
                </a:cubicBezTo>
                <a:cubicBezTo>
                  <a:pt x="1905" y="141"/>
                  <a:pt x="1904" y="144"/>
                  <a:pt x="1903" y="147"/>
                </a:cubicBezTo>
                <a:cubicBezTo>
                  <a:pt x="1902" y="150"/>
                  <a:pt x="1899" y="152"/>
                  <a:pt x="1896" y="152"/>
                </a:cubicBezTo>
                <a:cubicBezTo>
                  <a:pt x="1895" y="152"/>
                  <a:pt x="1894" y="152"/>
                  <a:pt x="1894" y="152"/>
                </a:cubicBezTo>
                <a:cubicBezTo>
                  <a:pt x="1888" y="149"/>
                  <a:pt x="1882" y="151"/>
                  <a:pt x="1876" y="151"/>
                </a:cubicBezTo>
                <a:cubicBezTo>
                  <a:pt x="1876" y="151"/>
                  <a:pt x="1875" y="151"/>
                  <a:pt x="1875" y="150"/>
                </a:cubicBezTo>
                <a:cubicBezTo>
                  <a:pt x="1875" y="150"/>
                  <a:pt x="1876" y="149"/>
                  <a:pt x="1876" y="149"/>
                </a:cubicBezTo>
                <a:cubicBezTo>
                  <a:pt x="1879" y="148"/>
                  <a:pt x="1882" y="147"/>
                  <a:pt x="1885" y="145"/>
                </a:cubicBezTo>
                <a:cubicBezTo>
                  <a:pt x="1888" y="144"/>
                  <a:pt x="1889" y="142"/>
                  <a:pt x="1890" y="139"/>
                </a:cubicBezTo>
                <a:cubicBezTo>
                  <a:pt x="1891" y="138"/>
                  <a:pt x="1890" y="134"/>
                  <a:pt x="1888" y="134"/>
                </a:cubicBezTo>
                <a:cubicBezTo>
                  <a:pt x="1884" y="133"/>
                  <a:pt x="1880" y="132"/>
                  <a:pt x="1877" y="131"/>
                </a:cubicBezTo>
                <a:cubicBezTo>
                  <a:pt x="1860" y="128"/>
                  <a:pt x="1854" y="129"/>
                  <a:pt x="1838" y="135"/>
                </a:cubicBezTo>
                <a:cubicBezTo>
                  <a:pt x="1836" y="136"/>
                  <a:pt x="1834" y="137"/>
                  <a:pt x="1832" y="138"/>
                </a:cubicBezTo>
                <a:cubicBezTo>
                  <a:pt x="1829" y="139"/>
                  <a:pt x="1826" y="140"/>
                  <a:pt x="1823" y="141"/>
                </a:cubicBezTo>
                <a:cubicBezTo>
                  <a:pt x="1822" y="141"/>
                  <a:pt x="1821" y="140"/>
                  <a:pt x="1821" y="139"/>
                </a:cubicBezTo>
                <a:cubicBezTo>
                  <a:pt x="1821" y="139"/>
                  <a:pt x="1821" y="138"/>
                  <a:pt x="1821" y="137"/>
                </a:cubicBezTo>
                <a:cubicBezTo>
                  <a:pt x="1823" y="136"/>
                  <a:pt x="1825" y="135"/>
                  <a:pt x="1827" y="134"/>
                </a:cubicBezTo>
                <a:cubicBezTo>
                  <a:pt x="1833" y="132"/>
                  <a:pt x="1838" y="130"/>
                  <a:pt x="1844" y="128"/>
                </a:cubicBezTo>
                <a:cubicBezTo>
                  <a:pt x="1854" y="123"/>
                  <a:pt x="1864" y="122"/>
                  <a:pt x="1874" y="125"/>
                </a:cubicBezTo>
                <a:cubicBezTo>
                  <a:pt x="1881" y="128"/>
                  <a:pt x="1889" y="128"/>
                  <a:pt x="1896" y="127"/>
                </a:cubicBezTo>
                <a:cubicBezTo>
                  <a:pt x="1902" y="126"/>
                  <a:pt x="1909" y="125"/>
                  <a:pt x="1915" y="124"/>
                </a:cubicBezTo>
                <a:cubicBezTo>
                  <a:pt x="1923" y="124"/>
                  <a:pt x="1928" y="119"/>
                  <a:pt x="1934" y="115"/>
                </a:cubicBezTo>
                <a:cubicBezTo>
                  <a:pt x="1937" y="113"/>
                  <a:pt x="1937" y="107"/>
                  <a:pt x="1935" y="105"/>
                </a:cubicBezTo>
                <a:cubicBezTo>
                  <a:pt x="1931" y="102"/>
                  <a:pt x="1927" y="99"/>
                  <a:pt x="1923" y="96"/>
                </a:cubicBezTo>
                <a:cubicBezTo>
                  <a:pt x="1916" y="91"/>
                  <a:pt x="1909" y="89"/>
                  <a:pt x="1901" y="93"/>
                </a:cubicBezTo>
                <a:cubicBezTo>
                  <a:pt x="1900" y="93"/>
                  <a:pt x="1899" y="93"/>
                  <a:pt x="1898" y="93"/>
                </a:cubicBezTo>
                <a:cubicBezTo>
                  <a:pt x="1897" y="93"/>
                  <a:pt x="1897" y="93"/>
                  <a:pt x="1897" y="92"/>
                </a:cubicBezTo>
                <a:cubicBezTo>
                  <a:pt x="1897" y="92"/>
                  <a:pt x="1897" y="91"/>
                  <a:pt x="1897" y="91"/>
                </a:cubicBezTo>
                <a:cubicBezTo>
                  <a:pt x="1899" y="90"/>
                  <a:pt x="1900" y="90"/>
                  <a:pt x="1902" y="89"/>
                </a:cubicBezTo>
                <a:cubicBezTo>
                  <a:pt x="1906" y="87"/>
                  <a:pt x="1907" y="82"/>
                  <a:pt x="1904" y="78"/>
                </a:cubicBezTo>
                <a:cubicBezTo>
                  <a:pt x="1903" y="76"/>
                  <a:pt x="1900" y="74"/>
                  <a:pt x="1899" y="75"/>
                </a:cubicBezTo>
                <a:cubicBezTo>
                  <a:pt x="1889" y="78"/>
                  <a:pt x="1879" y="78"/>
                  <a:pt x="1868" y="74"/>
                </a:cubicBezTo>
                <a:cubicBezTo>
                  <a:pt x="1865" y="73"/>
                  <a:pt x="1862" y="73"/>
                  <a:pt x="1859" y="73"/>
                </a:cubicBezTo>
                <a:cubicBezTo>
                  <a:pt x="1855" y="73"/>
                  <a:pt x="1851" y="74"/>
                  <a:pt x="1847" y="75"/>
                </a:cubicBezTo>
                <a:cubicBezTo>
                  <a:pt x="1842" y="76"/>
                  <a:pt x="1837" y="77"/>
                  <a:pt x="1831" y="76"/>
                </a:cubicBezTo>
                <a:cubicBezTo>
                  <a:pt x="1827" y="75"/>
                  <a:pt x="1824" y="76"/>
                  <a:pt x="1820" y="79"/>
                </a:cubicBezTo>
                <a:cubicBezTo>
                  <a:pt x="1819" y="79"/>
                  <a:pt x="1817" y="79"/>
                  <a:pt x="1815" y="80"/>
                </a:cubicBezTo>
                <a:cubicBezTo>
                  <a:pt x="1815" y="80"/>
                  <a:pt x="1814" y="79"/>
                  <a:pt x="1814" y="79"/>
                </a:cubicBezTo>
                <a:cubicBezTo>
                  <a:pt x="1814" y="78"/>
                  <a:pt x="1814" y="78"/>
                  <a:pt x="1814" y="78"/>
                </a:cubicBezTo>
                <a:cubicBezTo>
                  <a:pt x="1816" y="76"/>
                  <a:pt x="1818" y="75"/>
                  <a:pt x="1820" y="75"/>
                </a:cubicBezTo>
                <a:cubicBezTo>
                  <a:pt x="1824" y="74"/>
                  <a:pt x="1829" y="75"/>
                  <a:pt x="1833" y="74"/>
                </a:cubicBezTo>
                <a:cubicBezTo>
                  <a:pt x="1841" y="71"/>
                  <a:pt x="1849" y="71"/>
                  <a:pt x="1858" y="70"/>
                </a:cubicBezTo>
                <a:cubicBezTo>
                  <a:pt x="1864" y="70"/>
                  <a:pt x="1871" y="70"/>
                  <a:pt x="1877" y="72"/>
                </a:cubicBezTo>
                <a:cubicBezTo>
                  <a:pt x="1883" y="74"/>
                  <a:pt x="1889" y="72"/>
                  <a:pt x="1894" y="69"/>
                </a:cubicBezTo>
                <a:cubicBezTo>
                  <a:pt x="1895" y="68"/>
                  <a:pt x="1895" y="66"/>
                  <a:pt x="1895" y="66"/>
                </a:cubicBezTo>
                <a:cubicBezTo>
                  <a:pt x="1891" y="60"/>
                  <a:pt x="1886" y="56"/>
                  <a:pt x="1879" y="54"/>
                </a:cubicBezTo>
                <a:cubicBezTo>
                  <a:pt x="1868" y="51"/>
                  <a:pt x="1856" y="47"/>
                  <a:pt x="1845" y="43"/>
                </a:cubicBezTo>
                <a:cubicBezTo>
                  <a:pt x="1840" y="42"/>
                  <a:pt x="1834" y="41"/>
                  <a:pt x="1829" y="40"/>
                </a:cubicBezTo>
                <a:cubicBezTo>
                  <a:pt x="1823" y="39"/>
                  <a:pt x="1817" y="43"/>
                  <a:pt x="1811" y="42"/>
                </a:cubicBezTo>
                <a:cubicBezTo>
                  <a:pt x="1806" y="44"/>
                  <a:pt x="1804" y="49"/>
                  <a:pt x="1801" y="53"/>
                </a:cubicBezTo>
                <a:cubicBezTo>
                  <a:pt x="1801" y="53"/>
                  <a:pt x="1800" y="53"/>
                  <a:pt x="1800" y="54"/>
                </a:cubicBezTo>
                <a:cubicBezTo>
                  <a:pt x="1800" y="54"/>
                  <a:pt x="1800" y="54"/>
                  <a:pt x="1800" y="54"/>
                </a:cubicBezTo>
                <a:cubicBezTo>
                  <a:pt x="1800" y="54"/>
                  <a:pt x="1800" y="54"/>
                  <a:pt x="1800" y="54"/>
                </a:cubicBezTo>
                <a:cubicBezTo>
                  <a:pt x="1800" y="54"/>
                  <a:pt x="1800" y="54"/>
                  <a:pt x="1800" y="54"/>
                </a:cubicBezTo>
                <a:cubicBezTo>
                  <a:pt x="1800" y="55"/>
                  <a:pt x="1800" y="56"/>
                  <a:pt x="1800" y="57"/>
                </a:cubicBezTo>
                <a:cubicBezTo>
                  <a:pt x="1800" y="57"/>
                  <a:pt x="1800" y="57"/>
                  <a:pt x="1800" y="57"/>
                </a:cubicBezTo>
                <a:cubicBezTo>
                  <a:pt x="1801" y="58"/>
                  <a:pt x="1801" y="58"/>
                  <a:pt x="1801" y="58"/>
                </a:cubicBezTo>
                <a:cubicBezTo>
                  <a:pt x="1800" y="57"/>
                  <a:pt x="1800" y="57"/>
                  <a:pt x="1800" y="57"/>
                </a:cubicBezTo>
                <a:cubicBezTo>
                  <a:pt x="1800" y="57"/>
                  <a:pt x="1800" y="57"/>
                  <a:pt x="1800" y="57"/>
                </a:cubicBezTo>
                <a:cubicBezTo>
                  <a:pt x="1796" y="57"/>
                  <a:pt x="1793" y="55"/>
                  <a:pt x="1790" y="53"/>
                </a:cubicBezTo>
                <a:cubicBezTo>
                  <a:pt x="1789" y="52"/>
                  <a:pt x="1788" y="52"/>
                  <a:pt x="1787" y="53"/>
                </a:cubicBezTo>
                <a:cubicBezTo>
                  <a:pt x="1787" y="54"/>
                  <a:pt x="1786" y="54"/>
                  <a:pt x="1786" y="55"/>
                </a:cubicBezTo>
                <a:cubicBezTo>
                  <a:pt x="1787" y="56"/>
                  <a:pt x="1787" y="58"/>
                  <a:pt x="1788" y="60"/>
                </a:cubicBezTo>
                <a:cubicBezTo>
                  <a:pt x="1788" y="61"/>
                  <a:pt x="1788" y="62"/>
                  <a:pt x="1787" y="62"/>
                </a:cubicBezTo>
                <a:cubicBezTo>
                  <a:pt x="1786" y="63"/>
                  <a:pt x="1785" y="63"/>
                  <a:pt x="1784" y="63"/>
                </a:cubicBezTo>
                <a:cubicBezTo>
                  <a:pt x="1779" y="61"/>
                  <a:pt x="1775" y="59"/>
                  <a:pt x="1771" y="56"/>
                </a:cubicBezTo>
                <a:cubicBezTo>
                  <a:pt x="1768" y="54"/>
                  <a:pt x="1765" y="54"/>
                  <a:pt x="1762" y="56"/>
                </a:cubicBezTo>
                <a:cubicBezTo>
                  <a:pt x="1759" y="58"/>
                  <a:pt x="1756" y="60"/>
                  <a:pt x="1753" y="60"/>
                </a:cubicBezTo>
                <a:cubicBezTo>
                  <a:pt x="1751" y="59"/>
                  <a:pt x="1750" y="61"/>
                  <a:pt x="1750" y="63"/>
                </a:cubicBezTo>
                <a:cubicBezTo>
                  <a:pt x="1749" y="66"/>
                  <a:pt x="1749" y="70"/>
                  <a:pt x="1749" y="74"/>
                </a:cubicBezTo>
                <a:cubicBezTo>
                  <a:pt x="1749" y="76"/>
                  <a:pt x="1748" y="78"/>
                  <a:pt x="1746" y="79"/>
                </a:cubicBezTo>
                <a:cubicBezTo>
                  <a:pt x="1744" y="81"/>
                  <a:pt x="1743" y="83"/>
                  <a:pt x="1741" y="84"/>
                </a:cubicBezTo>
                <a:cubicBezTo>
                  <a:pt x="1741" y="85"/>
                  <a:pt x="1739" y="85"/>
                  <a:pt x="1739" y="85"/>
                </a:cubicBezTo>
                <a:cubicBezTo>
                  <a:pt x="1735" y="83"/>
                  <a:pt x="1732" y="81"/>
                  <a:pt x="1728" y="81"/>
                </a:cubicBezTo>
                <a:cubicBezTo>
                  <a:pt x="1727" y="81"/>
                  <a:pt x="1724" y="83"/>
                  <a:pt x="1724" y="84"/>
                </a:cubicBezTo>
                <a:cubicBezTo>
                  <a:pt x="1724" y="85"/>
                  <a:pt x="1724" y="87"/>
                  <a:pt x="1724" y="89"/>
                </a:cubicBezTo>
                <a:cubicBezTo>
                  <a:pt x="1725" y="95"/>
                  <a:pt x="1726" y="101"/>
                  <a:pt x="1727" y="106"/>
                </a:cubicBezTo>
                <a:cubicBezTo>
                  <a:pt x="1729" y="114"/>
                  <a:pt x="1729" y="122"/>
                  <a:pt x="1733" y="129"/>
                </a:cubicBezTo>
                <a:cubicBezTo>
                  <a:pt x="1734" y="130"/>
                  <a:pt x="1732" y="132"/>
                  <a:pt x="1730" y="131"/>
                </a:cubicBezTo>
                <a:cubicBezTo>
                  <a:pt x="1728" y="131"/>
                  <a:pt x="1725" y="132"/>
                  <a:pt x="1724" y="128"/>
                </a:cubicBezTo>
                <a:cubicBezTo>
                  <a:pt x="1723" y="125"/>
                  <a:pt x="1721" y="123"/>
                  <a:pt x="1718" y="122"/>
                </a:cubicBezTo>
                <a:cubicBezTo>
                  <a:pt x="1717" y="122"/>
                  <a:pt x="1718" y="122"/>
                  <a:pt x="1719" y="121"/>
                </a:cubicBezTo>
                <a:cubicBezTo>
                  <a:pt x="1722" y="118"/>
                  <a:pt x="1722" y="116"/>
                  <a:pt x="1720" y="114"/>
                </a:cubicBezTo>
                <a:cubicBezTo>
                  <a:pt x="1717" y="112"/>
                  <a:pt x="1715" y="111"/>
                  <a:pt x="1714" y="107"/>
                </a:cubicBezTo>
                <a:cubicBezTo>
                  <a:pt x="1712" y="102"/>
                  <a:pt x="1710" y="97"/>
                  <a:pt x="1707" y="92"/>
                </a:cubicBezTo>
                <a:cubicBezTo>
                  <a:pt x="1706" y="89"/>
                  <a:pt x="1703" y="87"/>
                  <a:pt x="1700" y="85"/>
                </a:cubicBezTo>
                <a:cubicBezTo>
                  <a:pt x="1698" y="84"/>
                  <a:pt x="1694" y="85"/>
                  <a:pt x="1693" y="87"/>
                </a:cubicBezTo>
                <a:cubicBezTo>
                  <a:pt x="1693" y="88"/>
                  <a:pt x="1693" y="89"/>
                  <a:pt x="1692" y="90"/>
                </a:cubicBezTo>
                <a:cubicBezTo>
                  <a:pt x="1690" y="97"/>
                  <a:pt x="1690" y="103"/>
                  <a:pt x="1690" y="110"/>
                </a:cubicBezTo>
                <a:cubicBezTo>
                  <a:pt x="1691" y="112"/>
                  <a:pt x="1690" y="115"/>
                  <a:pt x="1689" y="118"/>
                </a:cubicBezTo>
                <a:cubicBezTo>
                  <a:pt x="1687" y="120"/>
                  <a:pt x="1684" y="119"/>
                  <a:pt x="1681" y="119"/>
                </a:cubicBezTo>
                <a:cubicBezTo>
                  <a:pt x="1681" y="118"/>
                  <a:pt x="1680" y="118"/>
                  <a:pt x="1680" y="119"/>
                </a:cubicBezTo>
                <a:cubicBezTo>
                  <a:pt x="1679" y="119"/>
                  <a:pt x="1678" y="120"/>
                  <a:pt x="1677" y="120"/>
                </a:cubicBezTo>
                <a:cubicBezTo>
                  <a:pt x="1676" y="121"/>
                  <a:pt x="1675" y="120"/>
                  <a:pt x="1674" y="118"/>
                </a:cubicBezTo>
                <a:cubicBezTo>
                  <a:pt x="1673" y="115"/>
                  <a:pt x="1677" y="113"/>
                  <a:pt x="1676" y="111"/>
                </a:cubicBezTo>
                <a:cubicBezTo>
                  <a:pt x="1674" y="105"/>
                  <a:pt x="1675" y="100"/>
                  <a:pt x="1675" y="94"/>
                </a:cubicBezTo>
                <a:cubicBezTo>
                  <a:pt x="1675" y="93"/>
                  <a:pt x="1674" y="91"/>
                  <a:pt x="1673" y="90"/>
                </a:cubicBezTo>
                <a:cubicBezTo>
                  <a:pt x="1673" y="89"/>
                  <a:pt x="1672" y="89"/>
                  <a:pt x="1672" y="89"/>
                </a:cubicBezTo>
                <a:cubicBezTo>
                  <a:pt x="1671" y="89"/>
                  <a:pt x="1670" y="89"/>
                  <a:pt x="1669" y="90"/>
                </a:cubicBezTo>
                <a:cubicBezTo>
                  <a:pt x="1667" y="92"/>
                  <a:pt x="1668" y="95"/>
                  <a:pt x="1667" y="98"/>
                </a:cubicBezTo>
                <a:cubicBezTo>
                  <a:pt x="1667" y="100"/>
                  <a:pt x="1668" y="103"/>
                  <a:pt x="1667" y="106"/>
                </a:cubicBezTo>
                <a:cubicBezTo>
                  <a:pt x="1666" y="108"/>
                  <a:pt x="1664" y="110"/>
                  <a:pt x="1662" y="112"/>
                </a:cubicBezTo>
                <a:cubicBezTo>
                  <a:pt x="1662" y="112"/>
                  <a:pt x="1662" y="113"/>
                  <a:pt x="1661" y="113"/>
                </a:cubicBezTo>
                <a:cubicBezTo>
                  <a:pt x="1661" y="113"/>
                  <a:pt x="1662" y="113"/>
                  <a:pt x="1662" y="114"/>
                </a:cubicBezTo>
                <a:cubicBezTo>
                  <a:pt x="1660" y="115"/>
                  <a:pt x="1659" y="116"/>
                  <a:pt x="1658" y="116"/>
                </a:cubicBezTo>
                <a:cubicBezTo>
                  <a:pt x="1657" y="118"/>
                  <a:pt x="1655" y="119"/>
                  <a:pt x="1654" y="120"/>
                </a:cubicBezTo>
                <a:cubicBezTo>
                  <a:pt x="1654" y="120"/>
                  <a:pt x="1654" y="121"/>
                  <a:pt x="1654" y="121"/>
                </a:cubicBezTo>
                <a:cubicBezTo>
                  <a:pt x="1654" y="121"/>
                  <a:pt x="1653" y="122"/>
                  <a:pt x="1653" y="122"/>
                </a:cubicBezTo>
                <a:cubicBezTo>
                  <a:pt x="1653" y="122"/>
                  <a:pt x="1653" y="121"/>
                  <a:pt x="1654" y="121"/>
                </a:cubicBezTo>
                <a:cubicBezTo>
                  <a:pt x="1654" y="120"/>
                  <a:pt x="1654" y="120"/>
                  <a:pt x="1654" y="120"/>
                </a:cubicBezTo>
                <a:cubicBezTo>
                  <a:pt x="1655" y="119"/>
                  <a:pt x="1656" y="117"/>
                  <a:pt x="1658" y="116"/>
                </a:cubicBezTo>
                <a:cubicBezTo>
                  <a:pt x="1659" y="115"/>
                  <a:pt x="1660" y="114"/>
                  <a:pt x="1661" y="113"/>
                </a:cubicBezTo>
                <a:cubicBezTo>
                  <a:pt x="1661" y="113"/>
                  <a:pt x="1661" y="113"/>
                  <a:pt x="1661" y="113"/>
                </a:cubicBezTo>
                <a:cubicBezTo>
                  <a:pt x="1660" y="111"/>
                  <a:pt x="1660" y="109"/>
                  <a:pt x="1660" y="107"/>
                </a:cubicBezTo>
                <a:cubicBezTo>
                  <a:pt x="1662" y="104"/>
                  <a:pt x="1663" y="100"/>
                  <a:pt x="1664" y="97"/>
                </a:cubicBezTo>
                <a:cubicBezTo>
                  <a:pt x="1665" y="93"/>
                  <a:pt x="1666" y="89"/>
                  <a:pt x="1665" y="85"/>
                </a:cubicBezTo>
                <a:cubicBezTo>
                  <a:pt x="1664" y="83"/>
                  <a:pt x="1662" y="81"/>
                  <a:pt x="1660" y="82"/>
                </a:cubicBezTo>
                <a:cubicBezTo>
                  <a:pt x="1657" y="82"/>
                  <a:pt x="1654" y="82"/>
                  <a:pt x="1652" y="84"/>
                </a:cubicBezTo>
                <a:cubicBezTo>
                  <a:pt x="1647" y="86"/>
                  <a:pt x="1642" y="86"/>
                  <a:pt x="1636" y="87"/>
                </a:cubicBezTo>
                <a:cubicBezTo>
                  <a:pt x="1628" y="89"/>
                  <a:pt x="1621" y="89"/>
                  <a:pt x="1613" y="90"/>
                </a:cubicBezTo>
                <a:cubicBezTo>
                  <a:pt x="1610" y="90"/>
                  <a:pt x="1608" y="92"/>
                  <a:pt x="1608" y="95"/>
                </a:cubicBezTo>
                <a:cubicBezTo>
                  <a:pt x="1608" y="97"/>
                  <a:pt x="1609" y="98"/>
                  <a:pt x="1608" y="100"/>
                </a:cubicBezTo>
                <a:cubicBezTo>
                  <a:pt x="1608" y="100"/>
                  <a:pt x="1608" y="101"/>
                  <a:pt x="1608" y="101"/>
                </a:cubicBezTo>
                <a:cubicBezTo>
                  <a:pt x="1607" y="101"/>
                  <a:pt x="1606" y="101"/>
                  <a:pt x="1606" y="101"/>
                </a:cubicBezTo>
                <a:cubicBezTo>
                  <a:pt x="1605" y="99"/>
                  <a:pt x="1604" y="97"/>
                  <a:pt x="1602" y="96"/>
                </a:cubicBezTo>
                <a:cubicBezTo>
                  <a:pt x="1599" y="94"/>
                  <a:pt x="1597" y="96"/>
                  <a:pt x="1594" y="97"/>
                </a:cubicBezTo>
                <a:cubicBezTo>
                  <a:pt x="1592" y="98"/>
                  <a:pt x="1590" y="100"/>
                  <a:pt x="1589" y="103"/>
                </a:cubicBezTo>
                <a:cubicBezTo>
                  <a:pt x="1589" y="104"/>
                  <a:pt x="1588" y="106"/>
                  <a:pt x="1588" y="108"/>
                </a:cubicBezTo>
                <a:cubicBezTo>
                  <a:pt x="1587" y="111"/>
                  <a:pt x="1588" y="114"/>
                  <a:pt x="1586" y="117"/>
                </a:cubicBezTo>
                <a:cubicBezTo>
                  <a:pt x="1585" y="120"/>
                  <a:pt x="1582" y="122"/>
                  <a:pt x="1580" y="124"/>
                </a:cubicBezTo>
                <a:cubicBezTo>
                  <a:pt x="1579" y="125"/>
                  <a:pt x="1579" y="126"/>
                  <a:pt x="1578" y="127"/>
                </a:cubicBezTo>
                <a:cubicBezTo>
                  <a:pt x="1577" y="129"/>
                  <a:pt x="1574" y="129"/>
                  <a:pt x="1572" y="128"/>
                </a:cubicBezTo>
                <a:cubicBezTo>
                  <a:pt x="1569" y="124"/>
                  <a:pt x="1565" y="124"/>
                  <a:pt x="1560" y="125"/>
                </a:cubicBezTo>
                <a:cubicBezTo>
                  <a:pt x="1555" y="126"/>
                  <a:pt x="1550" y="128"/>
                  <a:pt x="1546" y="133"/>
                </a:cubicBezTo>
                <a:cubicBezTo>
                  <a:pt x="1543" y="137"/>
                  <a:pt x="1538" y="139"/>
                  <a:pt x="1532" y="140"/>
                </a:cubicBezTo>
                <a:cubicBezTo>
                  <a:pt x="1531" y="141"/>
                  <a:pt x="1530" y="142"/>
                  <a:pt x="1529" y="143"/>
                </a:cubicBezTo>
                <a:cubicBezTo>
                  <a:pt x="1523" y="146"/>
                  <a:pt x="1520" y="152"/>
                  <a:pt x="1517" y="157"/>
                </a:cubicBezTo>
                <a:cubicBezTo>
                  <a:pt x="1514" y="161"/>
                  <a:pt x="1516" y="165"/>
                  <a:pt x="1520" y="166"/>
                </a:cubicBezTo>
                <a:cubicBezTo>
                  <a:pt x="1524" y="168"/>
                  <a:pt x="1528" y="169"/>
                  <a:pt x="1532" y="170"/>
                </a:cubicBezTo>
                <a:cubicBezTo>
                  <a:pt x="1532" y="170"/>
                  <a:pt x="1532" y="170"/>
                  <a:pt x="1532" y="170"/>
                </a:cubicBezTo>
                <a:cubicBezTo>
                  <a:pt x="1533" y="169"/>
                  <a:pt x="1533" y="169"/>
                  <a:pt x="1533" y="169"/>
                </a:cubicBezTo>
                <a:cubicBezTo>
                  <a:pt x="1532" y="170"/>
                  <a:pt x="1532" y="170"/>
                  <a:pt x="1532" y="170"/>
                </a:cubicBezTo>
                <a:cubicBezTo>
                  <a:pt x="1532" y="170"/>
                  <a:pt x="1532" y="170"/>
                  <a:pt x="1532" y="170"/>
                </a:cubicBezTo>
                <a:cubicBezTo>
                  <a:pt x="1532" y="171"/>
                  <a:pt x="1532" y="172"/>
                  <a:pt x="1533" y="173"/>
                </a:cubicBezTo>
                <a:cubicBezTo>
                  <a:pt x="1534" y="175"/>
                  <a:pt x="1533" y="176"/>
                  <a:pt x="1532" y="177"/>
                </a:cubicBezTo>
                <a:cubicBezTo>
                  <a:pt x="1529" y="179"/>
                  <a:pt x="1527" y="180"/>
                  <a:pt x="1527" y="183"/>
                </a:cubicBezTo>
                <a:cubicBezTo>
                  <a:pt x="1527" y="185"/>
                  <a:pt x="1525" y="187"/>
                  <a:pt x="1524" y="189"/>
                </a:cubicBezTo>
                <a:cubicBezTo>
                  <a:pt x="1521" y="193"/>
                  <a:pt x="1517" y="196"/>
                  <a:pt x="1514" y="200"/>
                </a:cubicBezTo>
                <a:cubicBezTo>
                  <a:pt x="1512" y="202"/>
                  <a:pt x="1510" y="202"/>
                  <a:pt x="1508" y="201"/>
                </a:cubicBezTo>
                <a:cubicBezTo>
                  <a:pt x="1501" y="198"/>
                  <a:pt x="1494" y="199"/>
                  <a:pt x="1487" y="199"/>
                </a:cubicBezTo>
                <a:cubicBezTo>
                  <a:pt x="1484" y="199"/>
                  <a:pt x="1482" y="200"/>
                  <a:pt x="1479" y="201"/>
                </a:cubicBezTo>
                <a:cubicBezTo>
                  <a:pt x="1476" y="204"/>
                  <a:pt x="1473" y="205"/>
                  <a:pt x="1469" y="206"/>
                </a:cubicBezTo>
                <a:cubicBezTo>
                  <a:pt x="1461" y="207"/>
                  <a:pt x="1454" y="209"/>
                  <a:pt x="1446" y="210"/>
                </a:cubicBezTo>
                <a:cubicBezTo>
                  <a:pt x="1440" y="211"/>
                  <a:pt x="1436" y="215"/>
                  <a:pt x="1433" y="220"/>
                </a:cubicBezTo>
                <a:cubicBezTo>
                  <a:pt x="1431" y="224"/>
                  <a:pt x="1430" y="227"/>
                  <a:pt x="1433" y="231"/>
                </a:cubicBezTo>
                <a:cubicBezTo>
                  <a:pt x="1437" y="235"/>
                  <a:pt x="1438" y="241"/>
                  <a:pt x="1442" y="245"/>
                </a:cubicBezTo>
                <a:cubicBezTo>
                  <a:pt x="1443" y="245"/>
                  <a:pt x="1443" y="245"/>
                  <a:pt x="1443" y="245"/>
                </a:cubicBezTo>
                <a:cubicBezTo>
                  <a:pt x="1444" y="245"/>
                  <a:pt x="1444" y="244"/>
                  <a:pt x="1445" y="244"/>
                </a:cubicBezTo>
                <a:cubicBezTo>
                  <a:pt x="1445" y="245"/>
                  <a:pt x="1444" y="245"/>
                  <a:pt x="1443" y="245"/>
                </a:cubicBezTo>
                <a:cubicBezTo>
                  <a:pt x="1443" y="245"/>
                  <a:pt x="1443" y="246"/>
                  <a:pt x="1443" y="246"/>
                </a:cubicBezTo>
                <a:cubicBezTo>
                  <a:pt x="1442" y="246"/>
                  <a:pt x="1442" y="246"/>
                  <a:pt x="1442" y="245"/>
                </a:cubicBezTo>
                <a:cubicBezTo>
                  <a:pt x="1442" y="245"/>
                  <a:pt x="1442" y="245"/>
                  <a:pt x="1442" y="245"/>
                </a:cubicBezTo>
                <a:cubicBezTo>
                  <a:pt x="1444" y="248"/>
                  <a:pt x="1445" y="252"/>
                  <a:pt x="1446" y="254"/>
                </a:cubicBezTo>
                <a:cubicBezTo>
                  <a:pt x="1448" y="257"/>
                  <a:pt x="1451" y="259"/>
                  <a:pt x="1455" y="259"/>
                </a:cubicBezTo>
                <a:cubicBezTo>
                  <a:pt x="1457" y="258"/>
                  <a:pt x="1460" y="256"/>
                  <a:pt x="1463" y="258"/>
                </a:cubicBezTo>
                <a:cubicBezTo>
                  <a:pt x="1466" y="259"/>
                  <a:pt x="1469" y="258"/>
                  <a:pt x="1472" y="258"/>
                </a:cubicBezTo>
                <a:cubicBezTo>
                  <a:pt x="1473" y="258"/>
                  <a:pt x="1475" y="258"/>
                  <a:pt x="1475" y="259"/>
                </a:cubicBezTo>
                <a:cubicBezTo>
                  <a:pt x="1476" y="259"/>
                  <a:pt x="1477" y="261"/>
                  <a:pt x="1477" y="261"/>
                </a:cubicBezTo>
                <a:cubicBezTo>
                  <a:pt x="1477" y="262"/>
                  <a:pt x="1476" y="264"/>
                  <a:pt x="1475" y="264"/>
                </a:cubicBezTo>
                <a:cubicBezTo>
                  <a:pt x="1473" y="264"/>
                  <a:pt x="1472" y="264"/>
                  <a:pt x="1470" y="264"/>
                </a:cubicBezTo>
                <a:cubicBezTo>
                  <a:pt x="1464" y="261"/>
                  <a:pt x="1457" y="261"/>
                  <a:pt x="1451" y="264"/>
                </a:cubicBezTo>
                <a:cubicBezTo>
                  <a:pt x="1448" y="266"/>
                  <a:pt x="1446" y="265"/>
                  <a:pt x="1443" y="265"/>
                </a:cubicBezTo>
                <a:cubicBezTo>
                  <a:pt x="1440" y="264"/>
                  <a:pt x="1436" y="265"/>
                  <a:pt x="1433" y="267"/>
                </a:cubicBezTo>
                <a:cubicBezTo>
                  <a:pt x="1429" y="269"/>
                  <a:pt x="1427" y="276"/>
                  <a:pt x="1430" y="279"/>
                </a:cubicBezTo>
                <a:cubicBezTo>
                  <a:pt x="1434" y="282"/>
                  <a:pt x="1436" y="287"/>
                  <a:pt x="1441" y="289"/>
                </a:cubicBezTo>
                <a:cubicBezTo>
                  <a:pt x="1443" y="290"/>
                  <a:pt x="1443" y="291"/>
                  <a:pt x="1441" y="292"/>
                </a:cubicBezTo>
                <a:cubicBezTo>
                  <a:pt x="1439" y="293"/>
                  <a:pt x="1437" y="294"/>
                  <a:pt x="1435" y="295"/>
                </a:cubicBezTo>
                <a:cubicBezTo>
                  <a:pt x="1434" y="296"/>
                  <a:pt x="1433" y="299"/>
                  <a:pt x="1434" y="300"/>
                </a:cubicBezTo>
                <a:cubicBezTo>
                  <a:pt x="1436" y="307"/>
                  <a:pt x="1441" y="312"/>
                  <a:pt x="1447" y="316"/>
                </a:cubicBezTo>
                <a:cubicBezTo>
                  <a:pt x="1451" y="319"/>
                  <a:pt x="1453" y="319"/>
                  <a:pt x="1456" y="314"/>
                </a:cubicBezTo>
                <a:cubicBezTo>
                  <a:pt x="1457" y="311"/>
                  <a:pt x="1458" y="311"/>
                  <a:pt x="1461" y="312"/>
                </a:cubicBezTo>
                <a:cubicBezTo>
                  <a:pt x="1463" y="313"/>
                  <a:pt x="1465" y="314"/>
                  <a:pt x="1466" y="316"/>
                </a:cubicBezTo>
                <a:cubicBezTo>
                  <a:pt x="1466" y="317"/>
                  <a:pt x="1468" y="317"/>
                  <a:pt x="1469" y="317"/>
                </a:cubicBezTo>
                <a:cubicBezTo>
                  <a:pt x="1475" y="314"/>
                  <a:pt x="1483" y="319"/>
                  <a:pt x="1489" y="315"/>
                </a:cubicBezTo>
                <a:cubicBezTo>
                  <a:pt x="1490" y="314"/>
                  <a:pt x="1491" y="314"/>
                  <a:pt x="1491" y="315"/>
                </a:cubicBezTo>
                <a:cubicBezTo>
                  <a:pt x="1498" y="317"/>
                  <a:pt x="1504" y="320"/>
                  <a:pt x="1510" y="324"/>
                </a:cubicBezTo>
                <a:cubicBezTo>
                  <a:pt x="1515" y="328"/>
                  <a:pt x="1520" y="332"/>
                  <a:pt x="1524" y="335"/>
                </a:cubicBezTo>
                <a:cubicBezTo>
                  <a:pt x="1526" y="337"/>
                  <a:pt x="1528" y="339"/>
                  <a:pt x="1529" y="340"/>
                </a:cubicBezTo>
                <a:cubicBezTo>
                  <a:pt x="1529" y="342"/>
                  <a:pt x="1530" y="343"/>
                  <a:pt x="1530" y="345"/>
                </a:cubicBezTo>
                <a:cubicBezTo>
                  <a:pt x="1529" y="348"/>
                  <a:pt x="1529" y="350"/>
                  <a:pt x="1527" y="353"/>
                </a:cubicBezTo>
                <a:cubicBezTo>
                  <a:pt x="1524" y="357"/>
                  <a:pt x="1526" y="361"/>
                  <a:pt x="1529" y="365"/>
                </a:cubicBezTo>
                <a:cubicBezTo>
                  <a:pt x="1530" y="366"/>
                  <a:pt x="1531" y="369"/>
                  <a:pt x="1531" y="371"/>
                </a:cubicBezTo>
                <a:cubicBezTo>
                  <a:pt x="1532" y="373"/>
                  <a:pt x="1532" y="376"/>
                  <a:pt x="1529" y="378"/>
                </a:cubicBezTo>
                <a:cubicBezTo>
                  <a:pt x="1528" y="379"/>
                  <a:pt x="1527" y="380"/>
                  <a:pt x="1529" y="381"/>
                </a:cubicBezTo>
                <a:cubicBezTo>
                  <a:pt x="1530" y="381"/>
                  <a:pt x="1532" y="382"/>
                  <a:pt x="1533" y="382"/>
                </a:cubicBezTo>
                <a:cubicBezTo>
                  <a:pt x="1535" y="383"/>
                  <a:pt x="1536" y="385"/>
                  <a:pt x="1535" y="386"/>
                </a:cubicBezTo>
                <a:cubicBezTo>
                  <a:pt x="1535" y="387"/>
                  <a:pt x="1534" y="388"/>
                  <a:pt x="1533" y="389"/>
                </a:cubicBezTo>
                <a:cubicBezTo>
                  <a:pt x="1531" y="391"/>
                  <a:pt x="1531" y="393"/>
                  <a:pt x="1533" y="396"/>
                </a:cubicBezTo>
                <a:cubicBezTo>
                  <a:pt x="1534" y="396"/>
                  <a:pt x="1534" y="398"/>
                  <a:pt x="1534" y="399"/>
                </a:cubicBezTo>
                <a:cubicBezTo>
                  <a:pt x="1534" y="400"/>
                  <a:pt x="1532" y="402"/>
                  <a:pt x="1532" y="403"/>
                </a:cubicBezTo>
                <a:cubicBezTo>
                  <a:pt x="1532" y="405"/>
                  <a:pt x="1534" y="407"/>
                  <a:pt x="1534" y="409"/>
                </a:cubicBezTo>
                <a:cubicBezTo>
                  <a:pt x="1535" y="412"/>
                  <a:pt x="1535" y="416"/>
                  <a:pt x="1536" y="419"/>
                </a:cubicBezTo>
                <a:cubicBezTo>
                  <a:pt x="1537" y="422"/>
                  <a:pt x="1536" y="425"/>
                  <a:pt x="1534" y="428"/>
                </a:cubicBezTo>
                <a:cubicBezTo>
                  <a:pt x="1534" y="429"/>
                  <a:pt x="1534" y="430"/>
                  <a:pt x="1534" y="431"/>
                </a:cubicBezTo>
                <a:cubicBezTo>
                  <a:pt x="1535" y="432"/>
                  <a:pt x="1536" y="432"/>
                  <a:pt x="1537" y="433"/>
                </a:cubicBezTo>
                <a:cubicBezTo>
                  <a:pt x="1539" y="436"/>
                  <a:pt x="1538" y="438"/>
                  <a:pt x="1534" y="439"/>
                </a:cubicBezTo>
                <a:cubicBezTo>
                  <a:pt x="1532" y="439"/>
                  <a:pt x="1530" y="439"/>
                  <a:pt x="1529" y="441"/>
                </a:cubicBezTo>
                <a:cubicBezTo>
                  <a:pt x="1528" y="442"/>
                  <a:pt x="1528" y="443"/>
                  <a:pt x="1529" y="444"/>
                </a:cubicBezTo>
                <a:cubicBezTo>
                  <a:pt x="1530" y="445"/>
                  <a:pt x="1534" y="445"/>
                  <a:pt x="1530" y="447"/>
                </a:cubicBezTo>
                <a:cubicBezTo>
                  <a:pt x="1526" y="449"/>
                  <a:pt x="1526" y="453"/>
                  <a:pt x="1526" y="457"/>
                </a:cubicBezTo>
                <a:cubicBezTo>
                  <a:pt x="1527" y="457"/>
                  <a:pt x="1528" y="458"/>
                  <a:pt x="1529" y="458"/>
                </a:cubicBezTo>
                <a:cubicBezTo>
                  <a:pt x="1529" y="458"/>
                  <a:pt x="1529" y="458"/>
                  <a:pt x="1529" y="458"/>
                </a:cubicBezTo>
                <a:cubicBezTo>
                  <a:pt x="1530" y="457"/>
                  <a:pt x="1530" y="457"/>
                  <a:pt x="1530" y="457"/>
                </a:cubicBezTo>
                <a:cubicBezTo>
                  <a:pt x="1529" y="458"/>
                  <a:pt x="1529" y="458"/>
                  <a:pt x="1529" y="458"/>
                </a:cubicBezTo>
                <a:cubicBezTo>
                  <a:pt x="1529" y="458"/>
                  <a:pt x="1529" y="458"/>
                  <a:pt x="1529" y="458"/>
                </a:cubicBezTo>
                <a:cubicBezTo>
                  <a:pt x="1528" y="459"/>
                  <a:pt x="1527" y="460"/>
                  <a:pt x="1526" y="461"/>
                </a:cubicBezTo>
                <a:cubicBezTo>
                  <a:pt x="1525" y="461"/>
                  <a:pt x="1525" y="460"/>
                  <a:pt x="1525" y="460"/>
                </a:cubicBezTo>
                <a:cubicBezTo>
                  <a:pt x="1525" y="461"/>
                  <a:pt x="1525" y="461"/>
                  <a:pt x="1525" y="461"/>
                </a:cubicBezTo>
                <a:cubicBezTo>
                  <a:pt x="1526" y="461"/>
                  <a:pt x="1526" y="461"/>
                  <a:pt x="1526" y="461"/>
                </a:cubicBezTo>
                <a:cubicBezTo>
                  <a:pt x="1525" y="465"/>
                  <a:pt x="1523" y="469"/>
                  <a:pt x="1520" y="472"/>
                </a:cubicBezTo>
                <a:cubicBezTo>
                  <a:pt x="1518" y="474"/>
                  <a:pt x="1519" y="477"/>
                  <a:pt x="1521" y="479"/>
                </a:cubicBezTo>
                <a:cubicBezTo>
                  <a:pt x="1526" y="486"/>
                  <a:pt x="1532" y="486"/>
                  <a:pt x="1537" y="480"/>
                </a:cubicBezTo>
                <a:cubicBezTo>
                  <a:pt x="1538" y="479"/>
                  <a:pt x="1539" y="478"/>
                  <a:pt x="1540" y="476"/>
                </a:cubicBezTo>
                <a:cubicBezTo>
                  <a:pt x="1542" y="475"/>
                  <a:pt x="1544" y="475"/>
                  <a:pt x="1546" y="476"/>
                </a:cubicBezTo>
                <a:cubicBezTo>
                  <a:pt x="1547" y="476"/>
                  <a:pt x="1548" y="476"/>
                  <a:pt x="1548" y="477"/>
                </a:cubicBezTo>
                <a:cubicBezTo>
                  <a:pt x="1548" y="477"/>
                  <a:pt x="1548" y="477"/>
                  <a:pt x="1548" y="477"/>
                </a:cubicBezTo>
                <a:cubicBezTo>
                  <a:pt x="1548" y="477"/>
                  <a:pt x="1549" y="477"/>
                  <a:pt x="1549" y="477"/>
                </a:cubicBezTo>
                <a:cubicBezTo>
                  <a:pt x="1548" y="477"/>
                  <a:pt x="1548" y="477"/>
                  <a:pt x="1548" y="477"/>
                </a:cubicBezTo>
                <a:cubicBezTo>
                  <a:pt x="1549" y="477"/>
                  <a:pt x="1551" y="478"/>
                  <a:pt x="1551" y="478"/>
                </a:cubicBezTo>
                <a:cubicBezTo>
                  <a:pt x="1552" y="480"/>
                  <a:pt x="1550" y="480"/>
                  <a:pt x="1549" y="481"/>
                </a:cubicBezTo>
                <a:cubicBezTo>
                  <a:pt x="1547" y="483"/>
                  <a:pt x="1545" y="486"/>
                  <a:pt x="1543" y="488"/>
                </a:cubicBezTo>
                <a:cubicBezTo>
                  <a:pt x="1542" y="490"/>
                  <a:pt x="1543" y="491"/>
                  <a:pt x="1544" y="492"/>
                </a:cubicBezTo>
                <a:cubicBezTo>
                  <a:pt x="1546" y="493"/>
                  <a:pt x="1547" y="493"/>
                  <a:pt x="1548" y="494"/>
                </a:cubicBezTo>
                <a:cubicBezTo>
                  <a:pt x="1551" y="495"/>
                  <a:pt x="1551" y="497"/>
                  <a:pt x="1550" y="500"/>
                </a:cubicBezTo>
                <a:cubicBezTo>
                  <a:pt x="1550" y="501"/>
                  <a:pt x="1549" y="502"/>
                  <a:pt x="1548" y="503"/>
                </a:cubicBezTo>
                <a:cubicBezTo>
                  <a:pt x="1548" y="503"/>
                  <a:pt x="1548" y="503"/>
                  <a:pt x="1548" y="503"/>
                </a:cubicBezTo>
                <a:cubicBezTo>
                  <a:pt x="1549" y="504"/>
                  <a:pt x="1549" y="504"/>
                  <a:pt x="1549" y="504"/>
                </a:cubicBezTo>
                <a:cubicBezTo>
                  <a:pt x="1553" y="504"/>
                  <a:pt x="1555" y="506"/>
                  <a:pt x="1556" y="510"/>
                </a:cubicBezTo>
                <a:cubicBezTo>
                  <a:pt x="1556" y="511"/>
                  <a:pt x="1555" y="511"/>
                  <a:pt x="1555" y="512"/>
                </a:cubicBezTo>
                <a:cubicBezTo>
                  <a:pt x="1554" y="512"/>
                  <a:pt x="1553" y="512"/>
                  <a:pt x="1553" y="512"/>
                </a:cubicBezTo>
                <a:cubicBezTo>
                  <a:pt x="1552" y="509"/>
                  <a:pt x="1550" y="507"/>
                  <a:pt x="1549" y="504"/>
                </a:cubicBezTo>
                <a:cubicBezTo>
                  <a:pt x="1549" y="504"/>
                  <a:pt x="1548" y="504"/>
                  <a:pt x="1548" y="504"/>
                </a:cubicBezTo>
                <a:cubicBezTo>
                  <a:pt x="1548" y="504"/>
                  <a:pt x="1548" y="504"/>
                  <a:pt x="1548" y="503"/>
                </a:cubicBezTo>
                <a:cubicBezTo>
                  <a:pt x="1544" y="503"/>
                  <a:pt x="1540" y="502"/>
                  <a:pt x="1536" y="501"/>
                </a:cubicBezTo>
                <a:cubicBezTo>
                  <a:pt x="1533" y="500"/>
                  <a:pt x="1531" y="499"/>
                  <a:pt x="1528" y="499"/>
                </a:cubicBezTo>
                <a:cubicBezTo>
                  <a:pt x="1525" y="498"/>
                  <a:pt x="1522" y="501"/>
                  <a:pt x="1522" y="505"/>
                </a:cubicBezTo>
                <a:cubicBezTo>
                  <a:pt x="1522" y="505"/>
                  <a:pt x="1522" y="506"/>
                  <a:pt x="1522" y="506"/>
                </a:cubicBezTo>
                <a:cubicBezTo>
                  <a:pt x="1523" y="508"/>
                  <a:pt x="1524" y="510"/>
                  <a:pt x="1523" y="511"/>
                </a:cubicBezTo>
                <a:cubicBezTo>
                  <a:pt x="1522" y="512"/>
                  <a:pt x="1520" y="513"/>
                  <a:pt x="1519" y="513"/>
                </a:cubicBezTo>
                <a:cubicBezTo>
                  <a:pt x="1517" y="514"/>
                  <a:pt x="1515" y="516"/>
                  <a:pt x="1515" y="518"/>
                </a:cubicBezTo>
                <a:cubicBezTo>
                  <a:pt x="1514" y="521"/>
                  <a:pt x="1513" y="524"/>
                  <a:pt x="1513" y="528"/>
                </a:cubicBezTo>
                <a:cubicBezTo>
                  <a:pt x="1513" y="534"/>
                  <a:pt x="1516" y="539"/>
                  <a:pt x="1521" y="543"/>
                </a:cubicBezTo>
                <a:cubicBezTo>
                  <a:pt x="1522" y="543"/>
                  <a:pt x="1522" y="543"/>
                  <a:pt x="1523" y="543"/>
                </a:cubicBezTo>
                <a:cubicBezTo>
                  <a:pt x="1529" y="544"/>
                  <a:pt x="1535" y="544"/>
                  <a:pt x="1540" y="541"/>
                </a:cubicBezTo>
                <a:cubicBezTo>
                  <a:pt x="1543" y="540"/>
                  <a:pt x="1544" y="535"/>
                  <a:pt x="1542" y="532"/>
                </a:cubicBezTo>
                <a:cubicBezTo>
                  <a:pt x="1542" y="531"/>
                  <a:pt x="1540" y="530"/>
                  <a:pt x="1539" y="529"/>
                </a:cubicBezTo>
                <a:cubicBezTo>
                  <a:pt x="1536" y="527"/>
                  <a:pt x="1536" y="524"/>
                  <a:pt x="1536" y="521"/>
                </a:cubicBezTo>
                <a:cubicBezTo>
                  <a:pt x="1535" y="521"/>
                  <a:pt x="1535" y="521"/>
                  <a:pt x="1535" y="521"/>
                </a:cubicBezTo>
                <a:cubicBezTo>
                  <a:pt x="1535" y="520"/>
                  <a:pt x="1535" y="520"/>
                  <a:pt x="1535" y="520"/>
                </a:cubicBezTo>
                <a:cubicBezTo>
                  <a:pt x="1535" y="520"/>
                  <a:pt x="1535" y="520"/>
                  <a:pt x="1535" y="520"/>
                </a:cubicBezTo>
                <a:cubicBezTo>
                  <a:pt x="1535" y="520"/>
                  <a:pt x="1535" y="521"/>
                  <a:pt x="1536" y="521"/>
                </a:cubicBezTo>
                <a:cubicBezTo>
                  <a:pt x="1543" y="524"/>
                  <a:pt x="1549" y="529"/>
                  <a:pt x="1558" y="529"/>
                </a:cubicBezTo>
                <a:cubicBezTo>
                  <a:pt x="1559" y="529"/>
                  <a:pt x="1560" y="531"/>
                  <a:pt x="1559" y="532"/>
                </a:cubicBezTo>
                <a:cubicBezTo>
                  <a:pt x="1558" y="534"/>
                  <a:pt x="1557" y="535"/>
                  <a:pt x="1555" y="537"/>
                </a:cubicBezTo>
                <a:cubicBezTo>
                  <a:pt x="1555" y="537"/>
                  <a:pt x="1555" y="536"/>
                  <a:pt x="1555" y="536"/>
                </a:cubicBezTo>
                <a:cubicBezTo>
                  <a:pt x="1555" y="537"/>
                  <a:pt x="1555" y="537"/>
                  <a:pt x="1555" y="537"/>
                </a:cubicBezTo>
                <a:cubicBezTo>
                  <a:pt x="1555" y="537"/>
                  <a:pt x="1555" y="537"/>
                  <a:pt x="1555" y="537"/>
                </a:cubicBezTo>
                <a:cubicBezTo>
                  <a:pt x="1554" y="539"/>
                  <a:pt x="1554" y="541"/>
                  <a:pt x="1553" y="543"/>
                </a:cubicBezTo>
                <a:cubicBezTo>
                  <a:pt x="1552" y="544"/>
                  <a:pt x="1552" y="546"/>
                  <a:pt x="1552" y="547"/>
                </a:cubicBezTo>
                <a:cubicBezTo>
                  <a:pt x="1553" y="550"/>
                  <a:pt x="1553" y="551"/>
                  <a:pt x="1550" y="551"/>
                </a:cubicBezTo>
                <a:cubicBezTo>
                  <a:pt x="1548" y="551"/>
                  <a:pt x="1546" y="551"/>
                  <a:pt x="1546" y="553"/>
                </a:cubicBezTo>
                <a:cubicBezTo>
                  <a:pt x="1545" y="560"/>
                  <a:pt x="1541" y="564"/>
                  <a:pt x="1533" y="562"/>
                </a:cubicBezTo>
                <a:cubicBezTo>
                  <a:pt x="1531" y="562"/>
                  <a:pt x="1528" y="563"/>
                  <a:pt x="1526" y="563"/>
                </a:cubicBezTo>
                <a:cubicBezTo>
                  <a:pt x="1526" y="567"/>
                  <a:pt x="1527" y="570"/>
                  <a:pt x="1528" y="573"/>
                </a:cubicBezTo>
                <a:cubicBezTo>
                  <a:pt x="1528" y="573"/>
                  <a:pt x="1528" y="573"/>
                  <a:pt x="1529" y="573"/>
                </a:cubicBezTo>
                <a:cubicBezTo>
                  <a:pt x="1529" y="573"/>
                  <a:pt x="1529" y="573"/>
                  <a:pt x="1529" y="573"/>
                </a:cubicBezTo>
                <a:cubicBezTo>
                  <a:pt x="1528" y="573"/>
                  <a:pt x="1528" y="573"/>
                  <a:pt x="1528" y="573"/>
                </a:cubicBezTo>
                <a:cubicBezTo>
                  <a:pt x="1528" y="573"/>
                  <a:pt x="1528" y="573"/>
                  <a:pt x="1528" y="573"/>
                </a:cubicBezTo>
                <a:cubicBezTo>
                  <a:pt x="1527" y="572"/>
                  <a:pt x="1525" y="572"/>
                  <a:pt x="1524" y="572"/>
                </a:cubicBezTo>
                <a:cubicBezTo>
                  <a:pt x="1521" y="572"/>
                  <a:pt x="1521" y="572"/>
                  <a:pt x="1519" y="574"/>
                </a:cubicBezTo>
                <a:cubicBezTo>
                  <a:pt x="1518" y="576"/>
                  <a:pt x="1518" y="578"/>
                  <a:pt x="1517" y="579"/>
                </a:cubicBezTo>
                <a:cubicBezTo>
                  <a:pt x="1515" y="581"/>
                  <a:pt x="1512" y="583"/>
                  <a:pt x="1511" y="586"/>
                </a:cubicBezTo>
                <a:cubicBezTo>
                  <a:pt x="1510" y="589"/>
                  <a:pt x="1509" y="592"/>
                  <a:pt x="1508" y="595"/>
                </a:cubicBezTo>
                <a:cubicBezTo>
                  <a:pt x="1506" y="596"/>
                  <a:pt x="1506" y="599"/>
                  <a:pt x="1506" y="601"/>
                </a:cubicBezTo>
                <a:cubicBezTo>
                  <a:pt x="1506" y="603"/>
                  <a:pt x="1506" y="605"/>
                  <a:pt x="1508" y="607"/>
                </a:cubicBezTo>
                <a:cubicBezTo>
                  <a:pt x="1509" y="608"/>
                  <a:pt x="1510" y="608"/>
                  <a:pt x="1512" y="609"/>
                </a:cubicBezTo>
                <a:cubicBezTo>
                  <a:pt x="1512" y="609"/>
                  <a:pt x="1512" y="609"/>
                  <a:pt x="1512" y="609"/>
                </a:cubicBezTo>
                <a:cubicBezTo>
                  <a:pt x="1512" y="609"/>
                  <a:pt x="1513" y="609"/>
                  <a:pt x="1513" y="609"/>
                </a:cubicBezTo>
                <a:cubicBezTo>
                  <a:pt x="1513" y="608"/>
                  <a:pt x="1514" y="608"/>
                  <a:pt x="1514" y="608"/>
                </a:cubicBezTo>
                <a:cubicBezTo>
                  <a:pt x="1514" y="608"/>
                  <a:pt x="1515" y="608"/>
                  <a:pt x="1515" y="608"/>
                </a:cubicBezTo>
                <a:cubicBezTo>
                  <a:pt x="1514" y="608"/>
                  <a:pt x="1514" y="609"/>
                  <a:pt x="1513" y="609"/>
                </a:cubicBezTo>
                <a:cubicBezTo>
                  <a:pt x="1513" y="609"/>
                  <a:pt x="1512" y="609"/>
                  <a:pt x="1512" y="610"/>
                </a:cubicBezTo>
                <a:cubicBezTo>
                  <a:pt x="1512" y="610"/>
                  <a:pt x="1512" y="609"/>
                  <a:pt x="1512" y="609"/>
                </a:cubicBezTo>
                <a:cubicBezTo>
                  <a:pt x="1509" y="612"/>
                  <a:pt x="1507" y="614"/>
                  <a:pt x="1505" y="616"/>
                </a:cubicBezTo>
                <a:cubicBezTo>
                  <a:pt x="1502" y="619"/>
                  <a:pt x="1501" y="623"/>
                  <a:pt x="1504" y="627"/>
                </a:cubicBezTo>
                <a:cubicBezTo>
                  <a:pt x="1506" y="629"/>
                  <a:pt x="1507" y="631"/>
                  <a:pt x="1507" y="634"/>
                </a:cubicBezTo>
                <a:cubicBezTo>
                  <a:pt x="1506" y="636"/>
                  <a:pt x="1507" y="638"/>
                  <a:pt x="1508" y="640"/>
                </a:cubicBezTo>
                <a:cubicBezTo>
                  <a:pt x="1510" y="648"/>
                  <a:pt x="1511" y="655"/>
                  <a:pt x="1511" y="663"/>
                </a:cubicBezTo>
                <a:cubicBezTo>
                  <a:pt x="1511" y="664"/>
                  <a:pt x="1511" y="665"/>
                  <a:pt x="1511" y="666"/>
                </a:cubicBezTo>
                <a:cubicBezTo>
                  <a:pt x="1511" y="668"/>
                  <a:pt x="1513" y="670"/>
                  <a:pt x="1514" y="669"/>
                </a:cubicBezTo>
                <a:cubicBezTo>
                  <a:pt x="1518" y="668"/>
                  <a:pt x="1521" y="667"/>
                  <a:pt x="1524" y="666"/>
                </a:cubicBezTo>
                <a:cubicBezTo>
                  <a:pt x="1525" y="666"/>
                  <a:pt x="1525" y="666"/>
                  <a:pt x="1525" y="665"/>
                </a:cubicBezTo>
                <a:cubicBezTo>
                  <a:pt x="1525" y="665"/>
                  <a:pt x="1525" y="665"/>
                  <a:pt x="1526" y="665"/>
                </a:cubicBezTo>
                <a:cubicBezTo>
                  <a:pt x="1526" y="665"/>
                  <a:pt x="1527" y="664"/>
                  <a:pt x="1527" y="664"/>
                </a:cubicBezTo>
                <a:cubicBezTo>
                  <a:pt x="1527" y="665"/>
                  <a:pt x="1527" y="665"/>
                  <a:pt x="1526" y="665"/>
                </a:cubicBezTo>
                <a:cubicBezTo>
                  <a:pt x="1526" y="665"/>
                  <a:pt x="1525" y="666"/>
                  <a:pt x="1525" y="666"/>
                </a:cubicBezTo>
                <a:cubicBezTo>
                  <a:pt x="1525" y="666"/>
                  <a:pt x="1525" y="666"/>
                  <a:pt x="1524" y="666"/>
                </a:cubicBezTo>
                <a:cubicBezTo>
                  <a:pt x="1523" y="669"/>
                  <a:pt x="1520" y="671"/>
                  <a:pt x="1517" y="673"/>
                </a:cubicBezTo>
                <a:cubicBezTo>
                  <a:pt x="1513" y="676"/>
                  <a:pt x="1513" y="680"/>
                  <a:pt x="1514" y="683"/>
                </a:cubicBezTo>
                <a:cubicBezTo>
                  <a:pt x="1515" y="688"/>
                  <a:pt x="1515" y="694"/>
                  <a:pt x="1519" y="699"/>
                </a:cubicBezTo>
                <a:cubicBezTo>
                  <a:pt x="1519" y="699"/>
                  <a:pt x="1519" y="699"/>
                  <a:pt x="1519" y="699"/>
                </a:cubicBezTo>
                <a:cubicBezTo>
                  <a:pt x="1519" y="699"/>
                  <a:pt x="1519" y="699"/>
                  <a:pt x="1519" y="699"/>
                </a:cubicBezTo>
                <a:cubicBezTo>
                  <a:pt x="1519" y="699"/>
                  <a:pt x="1519" y="699"/>
                  <a:pt x="1519" y="699"/>
                </a:cubicBezTo>
                <a:cubicBezTo>
                  <a:pt x="1519" y="699"/>
                  <a:pt x="1519" y="699"/>
                  <a:pt x="1519" y="699"/>
                </a:cubicBezTo>
                <a:cubicBezTo>
                  <a:pt x="1520" y="700"/>
                  <a:pt x="1520" y="702"/>
                  <a:pt x="1522" y="703"/>
                </a:cubicBezTo>
                <a:cubicBezTo>
                  <a:pt x="1524" y="705"/>
                  <a:pt x="1525" y="707"/>
                  <a:pt x="1524" y="710"/>
                </a:cubicBezTo>
                <a:cubicBezTo>
                  <a:pt x="1523" y="711"/>
                  <a:pt x="1522" y="713"/>
                  <a:pt x="1524" y="715"/>
                </a:cubicBezTo>
                <a:cubicBezTo>
                  <a:pt x="1527" y="718"/>
                  <a:pt x="1527" y="723"/>
                  <a:pt x="1528" y="727"/>
                </a:cubicBezTo>
                <a:cubicBezTo>
                  <a:pt x="1530" y="729"/>
                  <a:pt x="1529" y="732"/>
                  <a:pt x="1528" y="734"/>
                </a:cubicBezTo>
                <a:cubicBezTo>
                  <a:pt x="1528" y="735"/>
                  <a:pt x="1528" y="737"/>
                  <a:pt x="1528" y="737"/>
                </a:cubicBezTo>
                <a:cubicBezTo>
                  <a:pt x="1530" y="740"/>
                  <a:pt x="1532" y="742"/>
                  <a:pt x="1535" y="745"/>
                </a:cubicBezTo>
                <a:cubicBezTo>
                  <a:pt x="1540" y="745"/>
                  <a:pt x="1542" y="748"/>
                  <a:pt x="1542" y="754"/>
                </a:cubicBezTo>
                <a:cubicBezTo>
                  <a:pt x="1542" y="754"/>
                  <a:pt x="1544" y="755"/>
                  <a:pt x="1544" y="755"/>
                </a:cubicBezTo>
                <a:cubicBezTo>
                  <a:pt x="1548" y="754"/>
                  <a:pt x="1551" y="754"/>
                  <a:pt x="1554" y="753"/>
                </a:cubicBezTo>
                <a:cubicBezTo>
                  <a:pt x="1556" y="752"/>
                  <a:pt x="1557" y="752"/>
                  <a:pt x="1559" y="751"/>
                </a:cubicBezTo>
                <a:cubicBezTo>
                  <a:pt x="1562" y="750"/>
                  <a:pt x="1565" y="752"/>
                  <a:pt x="1565" y="754"/>
                </a:cubicBezTo>
                <a:cubicBezTo>
                  <a:pt x="1565" y="759"/>
                  <a:pt x="1566" y="763"/>
                  <a:pt x="1570" y="766"/>
                </a:cubicBezTo>
                <a:cubicBezTo>
                  <a:pt x="1571" y="767"/>
                  <a:pt x="1571" y="769"/>
                  <a:pt x="1573" y="770"/>
                </a:cubicBezTo>
                <a:cubicBezTo>
                  <a:pt x="1574" y="771"/>
                  <a:pt x="1575" y="773"/>
                  <a:pt x="1576" y="772"/>
                </a:cubicBezTo>
                <a:cubicBezTo>
                  <a:pt x="1580" y="772"/>
                  <a:pt x="1584" y="774"/>
                  <a:pt x="1588" y="774"/>
                </a:cubicBezTo>
                <a:cubicBezTo>
                  <a:pt x="1590" y="775"/>
                  <a:pt x="1593" y="773"/>
                  <a:pt x="1594" y="771"/>
                </a:cubicBezTo>
                <a:cubicBezTo>
                  <a:pt x="1598" y="765"/>
                  <a:pt x="1598" y="757"/>
                  <a:pt x="1602" y="751"/>
                </a:cubicBezTo>
                <a:cubicBezTo>
                  <a:pt x="1602" y="746"/>
                  <a:pt x="1605" y="742"/>
                  <a:pt x="1608" y="738"/>
                </a:cubicBezTo>
                <a:cubicBezTo>
                  <a:pt x="1610" y="735"/>
                  <a:pt x="1612" y="732"/>
                  <a:pt x="1612" y="728"/>
                </a:cubicBezTo>
                <a:cubicBezTo>
                  <a:pt x="1613" y="725"/>
                  <a:pt x="1614" y="722"/>
                  <a:pt x="1615" y="719"/>
                </a:cubicBezTo>
                <a:cubicBezTo>
                  <a:pt x="1615" y="719"/>
                  <a:pt x="1615" y="719"/>
                  <a:pt x="1615" y="719"/>
                </a:cubicBezTo>
                <a:cubicBezTo>
                  <a:pt x="1615" y="719"/>
                  <a:pt x="1614" y="718"/>
                  <a:pt x="1614" y="718"/>
                </a:cubicBezTo>
                <a:cubicBezTo>
                  <a:pt x="1614" y="718"/>
                  <a:pt x="1613" y="718"/>
                  <a:pt x="1612" y="717"/>
                </a:cubicBezTo>
                <a:cubicBezTo>
                  <a:pt x="1612" y="717"/>
                  <a:pt x="1612" y="717"/>
                  <a:pt x="1612" y="716"/>
                </a:cubicBezTo>
                <a:cubicBezTo>
                  <a:pt x="1612" y="715"/>
                  <a:pt x="1613" y="715"/>
                  <a:pt x="1613" y="716"/>
                </a:cubicBezTo>
                <a:cubicBezTo>
                  <a:pt x="1614" y="717"/>
                  <a:pt x="1614" y="717"/>
                  <a:pt x="1614" y="718"/>
                </a:cubicBezTo>
                <a:cubicBezTo>
                  <a:pt x="1615" y="718"/>
                  <a:pt x="1615" y="718"/>
                  <a:pt x="1615" y="718"/>
                </a:cubicBezTo>
                <a:cubicBezTo>
                  <a:pt x="1615" y="719"/>
                  <a:pt x="1615" y="719"/>
                  <a:pt x="1615" y="719"/>
                </a:cubicBezTo>
                <a:cubicBezTo>
                  <a:pt x="1618" y="717"/>
                  <a:pt x="1621" y="715"/>
                  <a:pt x="1622" y="712"/>
                </a:cubicBezTo>
                <a:cubicBezTo>
                  <a:pt x="1624" y="706"/>
                  <a:pt x="1627" y="702"/>
                  <a:pt x="1632" y="698"/>
                </a:cubicBezTo>
                <a:cubicBezTo>
                  <a:pt x="1637" y="694"/>
                  <a:pt x="1639" y="688"/>
                  <a:pt x="1637" y="682"/>
                </a:cubicBezTo>
                <a:cubicBezTo>
                  <a:pt x="1635" y="679"/>
                  <a:pt x="1637" y="678"/>
                  <a:pt x="1639" y="677"/>
                </a:cubicBezTo>
                <a:cubicBezTo>
                  <a:pt x="1640" y="676"/>
                  <a:pt x="1641" y="675"/>
                  <a:pt x="1642" y="675"/>
                </a:cubicBezTo>
                <a:cubicBezTo>
                  <a:pt x="1643" y="674"/>
                  <a:pt x="1643" y="672"/>
                  <a:pt x="1643" y="670"/>
                </a:cubicBezTo>
                <a:cubicBezTo>
                  <a:pt x="1643" y="669"/>
                  <a:pt x="1642" y="668"/>
                  <a:pt x="1642" y="667"/>
                </a:cubicBezTo>
                <a:cubicBezTo>
                  <a:pt x="1640" y="663"/>
                  <a:pt x="1640" y="663"/>
                  <a:pt x="1644" y="663"/>
                </a:cubicBezTo>
                <a:cubicBezTo>
                  <a:pt x="1647" y="662"/>
                  <a:pt x="1650" y="662"/>
                  <a:pt x="1651" y="659"/>
                </a:cubicBezTo>
                <a:cubicBezTo>
                  <a:pt x="1652" y="655"/>
                  <a:pt x="1655" y="652"/>
                  <a:pt x="1660" y="653"/>
                </a:cubicBezTo>
                <a:cubicBezTo>
                  <a:pt x="1666" y="654"/>
                  <a:pt x="1671" y="650"/>
                  <a:pt x="1677" y="652"/>
                </a:cubicBezTo>
                <a:cubicBezTo>
                  <a:pt x="1679" y="652"/>
                  <a:pt x="1680" y="651"/>
                  <a:pt x="1682" y="650"/>
                </a:cubicBezTo>
                <a:cubicBezTo>
                  <a:pt x="1683" y="649"/>
                  <a:pt x="1684" y="647"/>
                  <a:pt x="1686" y="647"/>
                </a:cubicBezTo>
                <a:cubicBezTo>
                  <a:pt x="1694" y="646"/>
                  <a:pt x="1701" y="644"/>
                  <a:pt x="1708" y="638"/>
                </a:cubicBezTo>
                <a:cubicBezTo>
                  <a:pt x="1708" y="637"/>
                  <a:pt x="1710" y="637"/>
                  <a:pt x="1711" y="637"/>
                </a:cubicBezTo>
                <a:cubicBezTo>
                  <a:pt x="1716" y="635"/>
                  <a:pt x="1720" y="632"/>
                  <a:pt x="1722" y="628"/>
                </a:cubicBezTo>
                <a:cubicBezTo>
                  <a:pt x="1725" y="621"/>
                  <a:pt x="1732" y="617"/>
                  <a:pt x="1735" y="611"/>
                </a:cubicBezTo>
                <a:cubicBezTo>
                  <a:pt x="1739" y="604"/>
                  <a:pt x="1747" y="603"/>
                  <a:pt x="1751" y="597"/>
                </a:cubicBezTo>
                <a:cubicBezTo>
                  <a:pt x="1755" y="595"/>
                  <a:pt x="1759" y="597"/>
                  <a:pt x="1762" y="596"/>
                </a:cubicBezTo>
                <a:cubicBezTo>
                  <a:pt x="1765" y="596"/>
                  <a:pt x="1767" y="595"/>
                  <a:pt x="1769" y="594"/>
                </a:cubicBezTo>
                <a:cubicBezTo>
                  <a:pt x="1770" y="594"/>
                  <a:pt x="1772" y="593"/>
                  <a:pt x="1773" y="593"/>
                </a:cubicBezTo>
                <a:cubicBezTo>
                  <a:pt x="1777" y="594"/>
                  <a:pt x="1780" y="593"/>
                  <a:pt x="1783" y="592"/>
                </a:cubicBezTo>
                <a:cubicBezTo>
                  <a:pt x="1788" y="589"/>
                  <a:pt x="1794" y="588"/>
                  <a:pt x="1800" y="587"/>
                </a:cubicBezTo>
                <a:cubicBezTo>
                  <a:pt x="1810" y="585"/>
                  <a:pt x="1819" y="582"/>
                  <a:pt x="1827" y="575"/>
                </a:cubicBezTo>
                <a:cubicBezTo>
                  <a:pt x="1838" y="567"/>
                  <a:pt x="1849" y="560"/>
                  <a:pt x="1859" y="552"/>
                </a:cubicBezTo>
                <a:close/>
                <a:moveTo>
                  <a:pt x="1934" y="219"/>
                </a:moveTo>
                <a:cubicBezTo>
                  <a:pt x="1934" y="219"/>
                  <a:pt x="1935" y="219"/>
                  <a:pt x="1935" y="219"/>
                </a:cubicBezTo>
                <a:cubicBezTo>
                  <a:pt x="1935" y="219"/>
                  <a:pt x="1936" y="219"/>
                  <a:pt x="1936" y="220"/>
                </a:cubicBezTo>
                <a:cubicBezTo>
                  <a:pt x="1937" y="221"/>
                  <a:pt x="1936" y="221"/>
                  <a:pt x="1935" y="221"/>
                </a:cubicBezTo>
                <a:cubicBezTo>
                  <a:pt x="1934" y="221"/>
                  <a:pt x="1934" y="221"/>
                  <a:pt x="1934" y="221"/>
                </a:cubicBezTo>
                <a:cubicBezTo>
                  <a:pt x="1933" y="220"/>
                  <a:pt x="1934" y="219"/>
                  <a:pt x="1934" y="219"/>
                </a:cubicBezTo>
                <a:close/>
                <a:moveTo>
                  <a:pt x="1922" y="224"/>
                </a:moveTo>
                <a:cubicBezTo>
                  <a:pt x="1922" y="223"/>
                  <a:pt x="1923" y="223"/>
                  <a:pt x="1924" y="222"/>
                </a:cubicBezTo>
                <a:cubicBezTo>
                  <a:pt x="1925" y="222"/>
                  <a:pt x="1925" y="223"/>
                  <a:pt x="1926" y="223"/>
                </a:cubicBezTo>
                <a:cubicBezTo>
                  <a:pt x="1927" y="224"/>
                  <a:pt x="1927" y="225"/>
                  <a:pt x="1926" y="226"/>
                </a:cubicBezTo>
                <a:cubicBezTo>
                  <a:pt x="1925" y="227"/>
                  <a:pt x="1924" y="227"/>
                  <a:pt x="1923" y="228"/>
                </a:cubicBezTo>
                <a:cubicBezTo>
                  <a:pt x="1922" y="228"/>
                  <a:pt x="1921" y="226"/>
                  <a:pt x="1922" y="224"/>
                </a:cubicBezTo>
                <a:close/>
                <a:moveTo>
                  <a:pt x="1674" y="645"/>
                </a:moveTo>
                <a:cubicBezTo>
                  <a:pt x="1674" y="645"/>
                  <a:pt x="1674" y="644"/>
                  <a:pt x="1673" y="644"/>
                </a:cubicBezTo>
                <a:cubicBezTo>
                  <a:pt x="1674" y="644"/>
                  <a:pt x="1674" y="644"/>
                  <a:pt x="1675" y="644"/>
                </a:cubicBezTo>
                <a:cubicBezTo>
                  <a:pt x="1675" y="644"/>
                  <a:pt x="1675" y="644"/>
                  <a:pt x="1676" y="644"/>
                </a:cubicBezTo>
                <a:cubicBezTo>
                  <a:pt x="1675" y="645"/>
                  <a:pt x="1675" y="645"/>
                  <a:pt x="1674" y="645"/>
                </a:cubicBezTo>
                <a:close/>
                <a:moveTo>
                  <a:pt x="1759" y="81"/>
                </a:moveTo>
                <a:cubicBezTo>
                  <a:pt x="1760" y="80"/>
                  <a:pt x="1759" y="79"/>
                  <a:pt x="1760" y="80"/>
                </a:cubicBezTo>
                <a:cubicBezTo>
                  <a:pt x="1760" y="81"/>
                  <a:pt x="1761" y="81"/>
                  <a:pt x="1761" y="81"/>
                </a:cubicBezTo>
                <a:cubicBezTo>
                  <a:pt x="1761" y="81"/>
                  <a:pt x="1760" y="81"/>
                  <a:pt x="1759" y="81"/>
                </a:cubicBezTo>
                <a:close/>
                <a:moveTo>
                  <a:pt x="1765" y="87"/>
                </a:moveTo>
                <a:cubicBezTo>
                  <a:pt x="1764" y="86"/>
                  <a:pt x="1764" y="85"/>
                  <a:pt x="1764" y="84"/>
                </a:cubicBezTo>
                <a:cubicBezTo>
                  <a:pt x="1764" y="84"/>
                  <a:pt x="1763" y="84"/>
                  <a:pt x="1763" y="84"/>
                </a:cubicBezTo>
                <a:cubicBezTo>
                  <a:pt x="1763" y="83"/>
                  <a:pt x="1763" y="83"/>
                  <a:pt x="1762" y="82"/>
                </a:cubicBezTo>
                <a:cubicBezTo>
                  <a:pt x="1763" y="83"/>
                  <a:pt x="1763" y="83"/>
                  <a:pt x="1764" y="84"/>
                </a:cubicBezTo>
                <a:cubicBezTo>
                  <a:pt x="1764" y="84"/>
                  <a:pt x="1764" y="84"/>
                  <a:pt x="1764" y="84"/>
                </a:cubicBezTo>
                <a:cubicBezTo>
                  <a:pt x="1764" y="85"/>
                  <a:pt x="1765" y="85"/>
                  <a:pt x="1765" y="86"/>
                </a:cubicBezTo>
                <a:cubicBezTo>
                  <a:pt x="1765" y="86"/>
                  <a:pt x="1765" y="87"/>
                  <a:pt x="1765" y="87"/>
                </a:cubicBezTo>
                <a:close/>
                <a:moveTo>
                  <a:pt x="1808" y="527"/>
                </a:moveTo>
                <a:cubicBezTo>
                  <a:pt x="1808" y="526"/>
                  <a:pt x="1808" y="526"/>
                  <a:pt x="1808" y="526"/>
                </a:cubicBezTo>
                <a:cubicBezTo>
                  <a:pt x="1808" y="526"/>
                  <a:pt x="1808" y="526"/>
                  <a:pt x="1808" y="526"/>
                </a:cubicBezTo>
                <a:lnTo>
                  <a:pt x="1808" y="527"/>
                </a:lnTo>
                <a:close/>
                <a:moveTo>
                  <a:pt x="1813" y="500"/>
                </a:moveTo>
                <a:cubicBezTo>
                  <a:pt x="1812" y="499"/>
                  <a:pt x="1812" y="499"/>
                  <a:pt x="1812" y="499"/>
                </a:cubicBezTo>
                <a:cubicBezTo>
                  <a:pt x="1813" y="500"/>
                  <a:pt x="1813" y="500"/>
                  <a:pt x="1813" y="500"/>
                </a:cubicBezTo>
                <a:cubicBezTo>
                  <a:pt x="1814" y="501"/>
                  <a:pt x="1814" y="501"/>
                  <a:pt x="1814" y="501"/>
                </a:cubicBezTo>
                <a:lnTo>
                  <a:pt x="1813" y="500"/>
                </a:lnTo>
                <a:close/>
                <a:moveTo>
                  <a:pt x="1526" y="457"/>
                </a:moveTo>
                <a:cubicBezTo>
                  <a:pt x="1525" y="457"/>
                  <a:pt x="1525" y="457"/>
                  <a:pt x="1525" y="457"/>
                </a:cubicBezTo>
                <a:cubicBezTo>
                  <a:pt x="1525" y="457"/>
                  <a:pt x="1525" y="457"/>
                  <a:pt x="1525" y="458"/>
                </a:cubicBezTo>
                <a:cubicBezTo>
                  <a:pt x="1525" y="458"/>
                  <a:pt x="1525" y="457"/>
                  <a:pt x="1526" y="457"/>
                </a:cubicBezTo>
                <a:cubicBezTo>
                  <a:pt x="1526" y="457"/>
                  <a:pt x="1526" y="457"/>
                  <a:pt x="1526" y="457"/>
                </a:cubicBezTo>
                <a:close/>
                <a:moveTo>
                  <a:pt x="1896" y="362"/>
                </a:moveTo>
                <a:cubicBezTo>
                  <a:pt x="1896" y="362"/>
                  <a:pt x="1896" y="362"/>
                  <a:pt x="1896" y="362"/>
                </a:cubicBezTo>
                <a:cubicBezTo>
                  <a:pt x="1896" y="361"/>
                  <a:pt x="1896" y="361"/>
                  <a:pt x="1896" y="361"/>
                </a:cubicBezTo>
                <a:cubicBezTo>
                  <a:pt x="1896" y="361"/>
                  <a:pt x="1896" y="361"/>
                  <a:pt x="1896" y="361"/>
                </a:cubicBezTo>
                <a:cubicBezTo>
                  <a:pt x="1896" y="361"/>
                  <a:pt x="1896" y="362"/>
                  <a:pt x="1896" y="362"/>
                </a:cubicBezTo>
                <a:close/>
                <a:moveTo>
                  <a:pt x="4168" y="2116"/>
                </a:moveTo>
                <a:cubicBezTo>
                  <a:pt x="4163" y="2120"/>
                  <a:pt x="4163" y="2120"/>
                  <a:pt x="4160" y="2115"/>
                </a:cubicBezTo>
                <a:cubicBezTo>
                  <a:pt x="4159" y="2114"/>
                  <a:pt x="4159" y="2113"/>
                  <a:pt x="4158" y="2112"/>
                </a:cubicBezTo>
                <a:cubicBezTo>
                  <a:pt x="4155" y="2108"/>
                  <a:pt x="4154" y="2102"/>
                  <a:pt x="4149" y="2099"/>
                </a:cubicBezTo>
                <a:cubicBezTo>
                  <a:pt x="4147" y="2093"/>
                  <a:pt x="4140" y="2088"/>
                  <a:pt x="4142" y="2080"/>
                </a:cubicBezTo>
                <a:cubicBezTo>
                  <a:pt x="4143" y="2076"/>
                  <a:pt x="4140" y="2074"/>
                  <a:pt x="4137" y="2073"/>
                </a:cubicBezTo>
                <a:cubicBezTo>
                  <a:pt x="4134" y="2071"/>
                  <a:pt x="4131" y="2070"/>
                  <a:pt x="4128" y="2069"/>
                </a:cubicBezTo>
                <a:cubicBezTo>
                  <a:pt x="4127" y="2068"/>
                  <a:pt x="4126" y="2067"/>
                  <a:pt x="4126" y="2066"/>
                </a:cubicBezTo>
                <a:cubicBezTo>
                  <a:pt x="4126" y="2061"/>
                  <a:pt x="4125" y="2056"/>
                  <a:pt x="4123" y="2052"/>
                </a:cubicBezTo>
                <a:cubicBezTo>
                  <a:pt x="4121" y="2048"/>
                  <a:pt x="4119" y="2044"/>
                  <a:pt x="4119" y="2040"/>
                </a:cubicBezTo>
                <a:cubicBezTo>
                  <a:pt x="4119" y="2038"/>
                  <a:pt x="4117" y="2036"/>
                  <a:pt x="4116" y="2036"/>
                </a:cubicBezTo>
                <a:cubicBezTo>
                  <a:pt x="4108" y="2031"/>
                  <a:pt x="4102" y="2023"/>
                  <a:pt x="4093" y="2020"/>
                </a:cubicBezTo>
                <a:cubicBezTo>
                  <a:pt x="4091" y="2019"/>
                  <a:pt x="4090" y="2017"/>
                  <a:pt x="4089" y="2015"/>
                </a:cubicBezTo>
                <a:cubicBezTo>
                  <a:pt x="4089" y="2010"/>
                  <a:pt x="4087" y="2006"/>
                  <a:pt x="4088" y="2002"/>
                </a:cubicBezTo>
                <a:cubicBezTo>
                  <a:pt x="4088" y="1995"/>
                  <a:pt x="4087" y="1990"/>
                  <a:pt x="4084" y="1984"/>
                </a:cubicBezTo>
                <a:cubicBezTo>
                  <a:pt x="4081" y="1980"/>
                  <a:pt x="4080" y="1976"/>
                  <a:pt x="4080" y="1970"/>
                </a:cubicBezTo>
                <a:cubicBezTo>
                  <a:pt x="4080" y="1967"/>
                  <a:pt x="4080" y="1963"/>
                  <a:pt x="4080" y="1959"/>
                </a:cubicBezTo>
                <a:cubicBezTo>
                  <a:pt x="4080" y="1954"/>
                  <a:pt x="4078" y="1949"/>
                  <a:pt x="4074" y="1946"/>
                </a:cubicBezTo>
                <a:cubicBezTo>
                  <a:pt x="4071" y="1943"/>
                  <a:pt x="4069" y="1942"/>
                  <a:pt x="4065" y="1943"/>
                </a:cubicBezTo>
                <a:cubicBezTo>
                  <a:pt x="4063" y="1944"/>
                  <a:pt x="4061" y="1942"/>
                  <a:pt x="4060" y="1940"/>
                </a:cubicBezTo>
                <a:cubicBezTo>
                  <a:pt x="4060" y="1938"/>
                  <a:pt x="4059" y="1937"/>
                  <a:pt x="4060" y="1935"/>
                </a:cubicBezTo>
                <a:cubicBezTo>
                  <a:pt x="4060" y="1929"/>
                  <a:pt x="4058" y="1924"/>
                  <a:pt x="4057" y="1919"/>
                </a:cubicBezTo>
                <a:cubicBezTo>
                  <a:pt x="4055" y="1911"/>
                  <a:pt x="4051" y="1905"/>
                  <a:pt x="4049" y="1897"/>
                </a:cubicBezTo>
                <a:cubicBezTo>
                  <a:pt x="4049" y="1896"/>
                  <a:pt x="4047" y="1895"/>
                  <a:pt x="4046" y="1894"/>
                </a:cubicBezTo>
                <a:cubicBezTo>
                  <a:pt x="4045" y="1894"/>
                  <a:pt x="4044" y="1894"/>
                  <a:pt x="4043" y="1895"/>
                </a:cubicBezTo>
                <a:cubicBezTo>
                  <a:pt x="4042" y="1895"/>
                  <a:pt x="4041" y="1896"/>
                  <a:pt x="4041" y="1897"/>
                </a:cubicBezTo>
                <a:cubicBezTo>
                  <a:pt x="4039" y="1902"/>
                  <a:pt x="4038" y="1907"/>
                  <a:pt x="4036" y="1911"/>
                </a:cubicBezTo>
                <a:cubicBezTo>
                  <a:pt x="4034" y="1916"/>
                  <a:pt x="4034" y="1921"/>
                  <a:pt x="4032" y="1925"/>
                </a:cubicBezTo>
                <a:cubicBezTo>
                  <a:pt x="4030" y="1933"/>
                  <a:pt x="4028" y="1941"/>
                  <a:pt x="4029" y="1950"/>
                </a:cubicBezTo>
                <a:cubicBezTo>
                  <a:pt x="4029" y="1952"/>
                  <a:pt x="4029" y="1955"/>
                  <a:pt x="4028" y="1958"/>
                </a:cubicBezTo>
                <a:cubicBezTo>
                  <a:pt x="4026" y="1964"/>
                  <a:pt x="4024" y="1970"/>
                  <a:pt x="4022" y="1977"/>
                </a:cubicBezTo>
                <a:cubicBezTo>
                  <a:pt x="4021" y="1981"/>
                  <a:pt x="4020" y="1985"/>
                  <a:pt x="4018" y="1989"/>
                </a:cubicBezTo>
                <a:cubicBezTo>
                  <a:pt x="4017" y="1992"/>
                  <a:pt x="4014" y="1994"/>
                  <a:pt x="4010" y="1995"/>
                </a:cubicBezTo>
                <a:cubicBezTo>
                  <a:pt x="4005" y="1996"/>
                  <a:pt x="4000" y="1995"/>
                  <a:pt x="3997" y="1991"/>
                </a:cubicBezTo>
                <a:cubicBezTo>
                  <a:pt x="3995" y="1988"/>
                  <a:pt x="3993" y="1985"/>
                  <a:pt x="3992" y="1982"/>
                </a:cubicBezTo>
                <a:cubicBezTo>
                  <a:pt x="3991" y="1982"/>
                  <a:pt x="3990" y="1982"/>
                  <a:pt x="3989" y="1982"/>
                </a:cubicBezTo>
                <a:cubicBezTo>
                  <a:pt x="3985" y="1982"/>
                  <a:pt x="3981" y="1981"/>
                  <a:pt x="3978" y="1977"/>
                </a:cubicBezTo>
                <a:cubicBezTo>
                  <a:pt x="3974" y="1972"/>
                  <a:pt x="3969" y="1970"/>
                  <a:pt x="3964" y="1968"/>
                </a:cubicBezTo>
                <a:cubicBezTo>
                  <a:pt x="3961" y="1966"/>
                  <a:pt x="3959" y="1964"/>
                  <a:pt x="3957" y="1962"/>
                </a:cubicBezTo>
                <a:cubicBezTo>
                  <a:pt x="3955" y="1960"/>
                  <a:pt x="3953" y="1958"/>
                  <a:pt x="3951" y="1956"/>
                </a:cubicBezTo>
                <a:cubicBezTo>
                  <a:pt x="3949" y="1954"/>
                  <a:pt x="3948" y="1951"/>
                  <a:pt x="3949" y="1948"/>
                </a:cubicBezTo>
                <a:cubicBezTo>
                  <a:pt x="3951" y="1943"/>
                  <a:pt x="3954" y="1939"/>
                  <a:pt x="3954" y="1933"/>
                </a:cubicBezTo>
                <a:cubicBezTo>
                  <a:pt x="3954" y="1932"/>
                  <a:pt x="3956" y="1930"/>
                  <a:pt x="3957" y="1930"/>
                </a:cubicBezTo>
                <a:cubicBezTo>
                  <a:pt x="3959" y="1929"/>
                  <a:pt x="3961" y="1928"/>
                  <a:pt x="3962" y="1927"/>
                </a:cubicBezTo>
                <a:cubicBezTo>
                  <a:pt x="3964" y="1923"/>
                  <a:pt x="3966" y="1919"/>
                  <a:pt x="3969" y="1914"/>
                </a:cubicBezTo>
                <a:cubicBezTo>
                  <a:pt x="3969" y="1914"/>
                  <a:pt x="3968" y="1912"/>
                  <a:pt x="3967" y="1911"/>
                </a:cubicBezTo>
                <a:cubicBezTo>
                  <a:pt x="3965" y="1910"/>
                  <a:pt x="3962" y="1908"/>
                  <a:pt x="3960" y="1910"/>
                </a:cubicBezTo>
                <a:cubicBezTo>
                  <a:pt x="3957" y="1911"/>
                  <a:pt x="3955" y="1911"/>
                  <a:pt x="3952" y="1909"/>
                </a:cubicBezTo>
                <a:cubicBezTo>
                  <a:pt x="3951" y="1908"/>
                  <a:pt x="3949" y="1909"/>
                  <a:pt x="3947" y="1910"/>
                </a:cubicBezTo>
                <a:cubicBezTo>
                  <a:pt x="3946" y="1910"/>
                  <a:pt x="3944" y="1911"/>
                  <a:pt x="3943" y="1911"/>
                </a:cubicBezTo>
                <a:cubicBezTo>
                  <a:pt x="3935" y="1908"/>
                  <a:pt x="3926" y="1907"/>
                  <a:pt x="3918" y="1902"/>
                </a:cubicBezTo>
                <a:cubicBezTo>
                  <a:pt x="3914" y="1900"/>
                  <a:pt x="3910" y="1898"/>
                  <a:pt x="3906" y="1897"/>
                </a:cubicBezTo>
                <a:cubicBezTo>
                  <a:pt x="3905" y="1897"/>
                  <a:pt x="3904" y="1897"/>
                  <a:pt x="3903" y="1897"/>
                </a:cubicBezTo>
                <a:cubicBezTo>
                  <a:pt x="3902" y="1897"/>
                  <a:pt x="3902" y="1898"/>
                  <a:pt x="3902" y="1898"/>
                </a:cubicBezTo>
                <a:cubicBezTo>
                  <a:pt x="3901" y="1899"/>
                  <a:pt x="3901" y="1900"/>
                  <a:pt x="3902" y="1900"/>
                </a:cubicBezTo>
                <a:cubicBezTo>
                  <a:pt x="3903" y="1901"/>
                  <a:pt x="3905" y="1903"/>
                  <a:pt x="3906" y="1904"/>
                </a:cubicBezTo>
                <a:cubicBezTo>
                  <a:pt x="3908" y="1906"/>
                  <a:pt x="3908" y="1909"/>
                  <a:pt x="3905" y="1910"/>
                </a:cubicBezTo>
                <a:cubicBezTo>
                  <a:pt x="3902" y="1912"/>
                  <a:pt x="3898" y="1912"/>
                  <a:pt x="3894" y="1912"/>
                </a:cubicBezTo>
                <a:cubicBezTo>
                  <a:pt x="3892" y="1912"/>
                  <a:pt x="3890" y="1912"/>
                  <a:pt x="3888" y="1913"/>
                </a:cubicBezTo>
                <a:cubicBezTo>
                  <a:pt x="3883" y="1915"/>
                  <a:pt x="3879" y="1917"/>
                  <a:pt x="3876" y="1921"/>
                </a:cubicBezTo>
                <a:cubicBezTo>
                  <a:pt x="3872" y="1927"/>
                  <a:pt x="3868" y="1933"/>
                  <a:pt x="3863" y="1939"/>
                </a:cubicBezTo>
                <a:cubicBezTo>
                  <a:pt x="3861" y="1941"/>
                  <a:pt x="3861" y="1944"/>
                  <a:pt x="3862" y="1948"/>
                </a:cubicBezTo>
                <a:cubicBezTo>
                  <a:pt x="3863" y="1950"/>
                  <a:pt x="3861" y="1952"/>
                  <a:pt x="3858" y="1952"/>
                </a:cubicBezTo>
                <a:cubicBezTo>
                  <a:pt x="3855" y="1951"/>
                  <a:pt x="3852" y="1949"/>
                  <a:pt x="3849" y="1950"/>
                </a:cubicBezTo>
                <a:cubicBezTo>
                  <a:pt x="3846" y="1951"/>
                  <a:pt x="3844" y="1950"/>
                  <a:pt x="3843" y="1948"/>
                </a:cubicBezTo>
                <a:cubicBezTo>
                  <a:pt x="3841" y="1945"/>
                  <a:pt x="3838" y="1942"/>
                  <a:pt x="3836" y="1939"/>
                </a:cubicBezTo>
                <a:cubicBezTo>
                  <a:pt x="3834" y="1937"/>
                  <a:pt x="3831" y="1935"/>
                  <a:pt x="3827" y="1937"/>
                </a:cubicBezTo>
                <a:cubicBezTo>
                  <a:pt x="3824" y="1938"/>
                  <a:pt x="3820" y="1939"/>
                  <a:pt x="3817" y="1941"/>
                </a:cubicBezTo>
                <a:cubicBezTo>
                  <a:pt x="3814" y="1943"/>
                  <a:pt x="3811" y="1944"/>
                  <a:pt x="3808" y="1945"/>
                </a:cubicBezTo>
                <a:cubicBezTo>
                  <a:pt x="3803" y="1946"/>
                  <a:pt x="3804" y="1951"/>
                  <a:pt x="3801" y="1954"/>
                </a:cubicBezTo>
                <a:cubicBezTo>
                  <a:pt x="3800" y="1955"/>
                  <a:pt x="3799" y="1956"/>
                  <a:pt x="3797" y="1957"/>
                </a:cubicBezTo>
                <a:cubicBezTo>
                  <a:pt x="3792" y="1958"/>
                  <a:pt x="3791" y="1962"/>
                  <a:pt x="3791" y="1967"/>
                </a:cubicBezTo>
                <a:cubicBezTo>
                  <a:pt x="3791" y="1968"/>
                  <a:pt x="3791" y="1969"/>
                  <a:pt x="3791" y="1970"/>
                </a:cubicBezTo>
                <a:cubicBezTo>
                  <a:pt x="3791" y="1972"/>
                  <a:pt x="3789" y="1973"/>
                  <a:pt x="3788" y="1973"/>
                </a:cubicBezTo>
                <a:cubicBezTo>
                  <a:pt x="3786" y="1973"/>
                  <a:pt x="3784" y="1973"/>
                  <a:pt x="3783" y="1973"/>
                </a:cubicBezTo>
                <a:cubicBezTo>
                  <a:pt x="3781" y="1973"/>
                  <a:pt x="3779" y="1975"/>
                  <a:pt x="3779" y="1977"/>
                </a:cubicBezTo>
                <a:cubicBezTo>
                  <a:pt x="3779" y="1979"/>
                  <a:pt x="3780" y="1982"/>
                  <a:pt x="3780" y="1984"/>
                </a:cubicBezTo>
                <a:cubicBezTo>
                  <a:pt x="3780" y="1984"/>
                  <a:pt x="3780" y="1985"/>
                  <a:pt x="3780" y="1985"/>
                </a:cubicBezTo>
                <a:cubicBezTo>
                  <a:pt x="3779" y="1986"/>
                  <a:pt x="3778" y="1986"/>
                  <a:pt x="3777" y="1985"/>
                </a:cubicBezTo>
                <a:cubicBezTo>
                  <a:pt x="3775" y="1983"/>
                  <a:pt x="3774" y="1980"/>
                  <a:pt x="3772" y="1978"/>
                </a:cubicBezTo>
                <a:cubicBezTo>
                  <a:pt x="3771" y="1977"/>
                  <a:pt x="3769" y="1976"/>
                  <a:pt x="3768" y="1977"/>
                </a:cubicBezTo>
                <a:cubicBezTo>
                  <a:pt x="3765" y="1979"/>
                  <a:pt x="3763" y="1981"/>
                  <a:pt x="3760" y="1984"/>
                </a:cubicBezTo>
                <a:cubicBezTo>
                  <a:pt x="3759" y="1985"/>
                  <a:pt x="3758" y="1987"/>
                  <a:pt x="3758" y="1989"/>
                </a:cubicBezTo>
                <a:cubicBezTo>
                  <a:pt x="3758" y="1997"/>
                  <a:pt x="3756" y="2003"/>
                  <a:pt x="3750" y="2008"/>
                </a:cubicBezTo>
                <a:cubicBezTo>
                  <a:pt x="3748" y="2010"/>
                  <a:pt x="3748" y="2012"/>
                  <a:pt x="3746" y="2014"/>
                </a:cubicBezTo>
                <a:cubicBezTo>
                  <a:pt x="3742" y="2020"/>
                  <a:pt x="3736" y="2024"/>
                  <a:pt x="3729" y="2025"/>
                </a:cubicBezTo>
                <a:cubicBezTo>
                  <a:pt x="3724" y="2025"/>
                  <a:pt x="3719" y="2026"/>
                  <a:pt x="3714" y="2027"/>
                </a:cubicBezTo>
                <a:cubicBezTo>
                  <a:pt x="3707" y="2032"/>
                  <a:pt x="3698" y="2030"/>
                  <a:pt x="3691" y="2036"/>
                </a:cubicBezTo>
                <a:cubicBezTo>
                  <a:pt x="3690" y="2037"/>
                  <a:pt x="3688" y="2037"/>
                  <a:pt x="3687" y="2037"/>
                </a:cubicBezTo>
                <a:cubicBezTo>
                  <a:pt x="3681" y="2035"/>
                  <a:pt x="3676" y="2038"/>
                  <a:pt x="3671" y="2040"/>
                </a:cubicBezTo>
                <a:cubicBezTo>
                  <a:pt x="3665" y="2044"/>
                  <a:pt x="3659" y="2048"/>
                  <a:pt x="3652" y="2050"/>
                </a:cubicBezTo>
                <a:cubicBezTo>
                  <a:pt x="3649" y="2051"/>
                  <a:pt x="3647" y="2054"/>
                  <a:pt x="3645" y="2057"/>
                </a:cubicBezTo>
                <a:cubicBezTo>
                  <a:pt x="3643" y="2060"/>
                  <a:pt x="3643" y="2056"/>
                  <a:pt x="3642" y="2056"/>
                </a:cubicBezTo>
                <a:cubicBezTo>
                  <a:pt x="3641" y="2056"/>
                  <a:pt x="3639" y="2056"/>
                  <a:pt x="3639" y="2057"/>
                </a:cubicBezTo>
                <a:cubicBezTo>
                  <a:pt x="3637" y="2059"/>
                  <a:pt x="3636" y="2060"/>
                  <a:pt x="3636" y="2063"/>
                </a:cubicBezTo>
                <a:cubicBezTo>
                  <a:pt x="3635" y="2065"/>
                  <a:pt x="3635" y="2068"/>
                  <a:pt x="3635" y="2071"/>
                </a:cubicBezTo>
                <a:cubicBezTo>
                  <a:pt x="3635" y="2075"/>
                  <a:pt x="3634" y="2079"/>
                  <a:pt x="3631" y="2083"/>
                </a:cubicBezTo>
                <a:cubicBezTo>
                  <a:pt x="3629" y="2087"/>
                  <a:pt x="3628" y="2091"/>
                  <a:pt x="3628" y="2096"/>
                </a:cubicBezTo>
                <a:cubicBezTo>
                  <a:pt x="3628" y="2102"/>
                  <a:pt x="3628" y="2108"/>
                  <a:pt x="3631" y="2113"/>
                </a:cubicBezTo>
                <a:cubicBezTo>
                  <a:pt x="3632" y="2115"/>
                  <a:pt x="3633" y="2116"/>
                  <a:pt x="3633" y="2118"/>
                </a:cubicBezTo>
                <a:cubicBezTo>
                  <a:pt x="3633" y="2120"/>
                  <a:pt x="3633" y="2121"/>
                  <a:pt x="3631" y="2122"/>
                </a:cubicBezTo>
                <a:cubicBezTo>
                  <a:pt x="3631" y="2123"/>
                  <a:pt x="3630" y="2124"/>
                  <a:pt x="3629" y="2124"/>
                </a:cubicBezTo>
                <a:cubicBezTo>
                  <a:pt x="3629" y="2124"/>
                  <a:pt x="3629" y="2124"/>
                  <a:pt x="3629" y="2124"/>
                </a:cubicBezTo>
                <a:cubicBezTo>
                  <a:pt x="3629" y="2124"/>
                  <a:pt x="3629" y="2124"/>
                  <a:pt x="3629" y="2124"/>
                </a:cubicBezTo>
                <a:cubicBezTo>
                  <a:pt x="3629" y="2124"/>
                  <a:pt x="3629" y="2124"/>
                  <a:pt x="3629" y="2124"/>
                </a:cubicBezTo>
                <a:cubicBezTo>
                  <a:pt x="3628" y="2126"/>
                  <a:pt x="3627" y="2129"/>
                  <a:pt x="3626" y="2131"/>
                </a:cubicBezTo>
                <a:cubicBezTo>
                  <a:pt x="3626" y="2131"/>
                  <a:pt x="3626" y="2131"/>
                  <a:pt x="3626" y="2131"/>
                </a:cubicBezTo>
                <a:cubicBezTo>
                  <a:pt x="3626" y="2131"/>
                  <a:pt x="3626" y="2131"/>
                  <a:pt x="3626" y="2131"/>
                </a:cubicBezTo>
                <a:cubicBezTo>
                  <a:pt x="3626" y="2131"/>
                  <a:pt x="3626" y="2131"/>
                  <a:pt x="3626" y="2131"/>
                </a:cubicBezTo>
                <a:cubicBezTo>
                  <a:pt x="3626" y="2133"/>
                  <a:pt x="3626" y="2134"/>
                  <a:pt x="3626" y="2136"/>
                </a:cubicBezTo>
                <a:cubicBezTo>
                  <a:pt x="3628" y="2139"/>
                  <a:pt x="3629" y="2143"/>
                  <a:pt x="3629" y="2147"/>
                </a:cubicBezTo>
                <a:cubicBezTo>
                  <a:pt x="3628" y="2154"/>
                  <a:pt x="3630" y="2160"/>
                  <a:pt x="3632" y="2166"/>
                </a:cubicBezTo>
                <a:cubicBezTo>
                  <a:pt x="3634" y="2173"/>
                  <a:pt x="3635" y="2180"/>
                  <a:pt x="3635" y="2187"/>
                </a:cubicBezTo>
                <a:cubicBezTo>
                  <a:pt x="3635" y="2196"/>
                  <a:pt x="3635" y="2204"/>
                  <a:pt x="3637" y="2212"/>
                </a:cubicBezTo>
                <a:cubicBezTo>
                  <a:pt x="3638" y="2214"/>
                  <a:pt x="3638" y="2216"/>
                  <a:pt x="3638" y="2218"/>
                </a:cubicBezTo>
                <a:cubicBezTo>
                  <a:pt x="3637" y="2223"/>
                  <a:pt x="3636" y="2227"/>
                  <a:pt x="3635" y="2231"/>
                </a:cubicBezTo>
                <a:cubicBezTo>
                  <a:pt x="3634" y="2237"/>
                  <a:pt x="3631" y="2242"/>
                  <a:pt x="3626" y="2246"/>
                </a:cubicBezTo>
                <a:cubicBezTo>
                  <a:pt x="3621" y="2249"/>
                  <a:pt x="3621" y="2256"/>
                  <a:pt x="3625" y="2260"/>
                </a:cubicBezTo>
                <a:cubicBezTo>
                  <a:pt x="3627" y="2262"/>
                  <a:pt x="3630" y="2264"/>
                  <a:pt x="3632" y="2267"/>
                </a:cubicBezTo>
                <a:cubicBezTo>
                  <a:pt x="3635" y="2271"/>
                  <a:pt x="3639" y="2273"/>
                  <a:pt x="3644" y="2273"/>
                </a:cubicBezTo>
                <a:cubicBezTo>
                  <a:pt x="3648" y="2274"/>
                  <a:pt x="3652" y="2274"/>
                  <a:pt x="3656" y="2274"/>
                </a:cubicBezTo>
                <a:cubicBezTo>
                  <a:pt x="3658" y="2274"/>
                  <a:pt x="3661" y="2273"/>
                  <a:pt x="3662" y="2272"/>
                </a:cubicBezTo>
                <a:cubicBezTo>
                  <a:pt x="3670" y="2267"/>
                  <a:pt x="3680" y="2266"/>
                  <a:pt x="3686" y="2259"/>
                </a:cubicBezTo>
                <a:cubicBezTo>
                  <a:pt x="3687" y="2258"/>
                  <a:pt x="3688" y="2258"/>
                  <a:pt x="3689" y="2258"/>
                </a:cubicBezTo>
                <a:cubicBezTo>
                  <a:pt x="3697" y="2257"/>
                  <a:pt x="3704" y="2254"/>
                  <a:pt x="3712" y="2256"/>
                </a:cubicBezTo>
                <a:cubicBezTo>
                  <a:pt x="3719" y="2258"/>
                  <a:pt x="3725" y="2257"/>
                  <a:pt x="3732" y="2257"/>
                </a:cubicBezTo>
                <a:cubicBezTo>
                  <a:pt x="3735" y="2257"/>
                  <a:pt x="3738" y="2256"/>
                  <a:pt x="3741" y="2253"/>
                </a:cubicBezTo>
                <a:cubicBezTo>
                  <a:pt x="3748" y="2246"/>
                  <a:pt x="3753" y="2243"/>
                  <a:pt x="3763" y="2238"/>
                </a:cubicBezTo>
                <a:cubicBezTo>
                  <a:pt x="3765" y="2237"/>
                  <a:pt x="3768" y="2235"/>
                  <a:pt x="3770" y="2233"/>
                </a:cubicBezTo>
                <a:cubicBezTo>
                  <a:pt x="3773" y="2231"/>
                  <a:pt x="3777" y="2230"/>
                  <a:pt x="3781" y="2230"/>
                </a:cubicBezTo>
                <a:cubicBezTo>
                  <a:pt x="3791" y="2232"/>
                  <a:pt x="3801" y="2230"/>
                  <a:pt x="3810" y="2225"/>
                </a:cubicBezTo>
                <a:cubicBezTo>
                  <a:pt x="3817" y="2222"/>
                  <a:pt x="3824" y="2221"/>
                  <a:pt x="3832" y="2221"/>
                </a:cubicBezTo>
                <a:cubicBezTo>
                  <a:pt x="3837" y="2221"/>
                  <a:pt x="3843" y="2221"/>
                  <a:pt x="3848" y="2221"/>
                </a:cubicBezTo>
                <a:cubicBezTo>
                  <a:pt x="3851" y="2221"/>
                  <a:pt x="3854" y="2222"/>
                  <a:pt x="3856" y="2225"/>
                </a:cubicBezTo>
                <a:cubicBezTo>
                  <a:pt x="3859" y="2228"/>
                  <a:pt x="3862" y="2230"/>
                  <a:pt x="3867" y="2230"/>
                </a:cubicBezTo>
                <a:cubicBezTo>
                  <a:pt x="3872" y="2231"/>
                  <a:pt x="3876" y="2233"/>
                  <a:pt x="3881" y="2236"/>
                </a:cubicBezTo>
                <a:cubicBezTo>
                  <a:pt x="3883" y="2237"/>
                  <a:pt x="3885" y="2239"/>
                  <a:pt x="3885" y="2242"/>
                </a:cubicBezTo>
                <a:cubicBezTo>
                  <a:pt x="3885" y="2246"/>
                  <a:pt x="3886" y="2249"/>
                  <a:pt x="3888" y="2251"/>
                </a:cubicBezTo>
                <a:cubicBezTo>
                  <a:pt x="3891" y="2254"/>
                  <a:pt x="3892" y="2257"/>
                  <a:pt x="3893" y="2261"/>
                </a:cubicBezTo>
                <a:cubicBezTo>
                  <a:pt x="3893" y="2265"/>
                  <a:pt x="3894" y="2269"/>
                  <a:pt x="3894" y="2273"/>
                </a:cubicBezTo>
                <a:cubicBezTo>
                  <a:pt x="3894" y="2275"/>
                  <a:pt x="3894" y="2276"/>
                  <a:pt x="3894" y="2278"/>
                </a:cubicBezTo>
                <a:cubicBezTo>
                  <a:pt x="3894" y="2278"/>
                  <a:pt x="3894" y="2279"/>
                  <a:pt x="3894" y="2279"/>
                </a:cubicBezTo>
                <a:cubicBezTo>
                  <a:pt x="3895" y="2280"/>
                  <a:pt x="3897" y="2282"/>
                  <a:pt x="3898" y="2282"/>
                </a:cubicBezTo>
                <a:cubicBezTo>
                  <a:pt x="3899" y="2283"/>
                  <a:pt x="3900" y="2282"/>
                  <a:pt x="3901" y="2282"/>
                </a:cubicBezTo>
                <a:cubicBezTo>
                  <a:pt x="3906" y="2277"/>
                  <a:pt x="3910" y="2272"/>
                  <a:pt x="3914" y="2267"/>
                </a:cubicBezTo>
                <a:cubicBezTo>
                  <a:pt x="3917" y="2265"/>
                  <a:pt x="3920" y="2264"/>
                  <a:pt x="3922" y="2261"/>
                </a:cubicBezTo>
                <a:cubicBezTo>
                  <a:pt x="3925" y="2259"/>
                  <a:pt x="3927" y="2256"/>
                  <a:pt x="3930" y="2253"/>
                </a:cubicBezTo>
                <a:cubicBezTo>
                  <a:pt x="3930" y="2253"/>
                  <a:pt x="3931" y="2252"/>
                  <a:pt x="3932" y="2253"/>
                </a:cubicBezTo>
                <a:cubicBezTo>
                  <a:pt x="3932" y="2253"/>
                  <a:pt x="3932" y="2253"/>
                  <a:pt x="3932" y="2254"/>
                </a:cubicBezTo>
                <a:cubicBezTo>
                  <a:pt x="3933" y="2256"/>
                  <a:pt x="3933" y="2259"/>
                  <a:pt x="3931" y="2260"/>
                </a:cubicBezTo>
                <a:cubicBezTo>
                  <a:pt x="3927" y="2264"/>
                  <a:pt x="3925" y="2269"/>
                  <a:pt x="3923" y="2274"/>
                </a:cubicBezTo>
                <a:cubicBezTo>
                  <a:pt x="3922" y="2280"/>
                  <a:pt x="3919" y="2283"/>
                  <a:pt x="3914" y="2286"/>
                </a:cubicBezTo>
                <a:cubicBezTo>
                  <a:pt x="3914" y="2286"/>
                  <a:pt x="3913" y="2287"/>
                  <a:pt x="3913" y="2288"/>
                </a:cubicBezTo>
                <a:cubicBezTo>
                  <a:pt x="3913" y="2289"/>
                  <a:pt x="3913" y="2291"/>
                  <a:pt x="3914" y="2291"/>
                </a:cubicBezTo>
                <a:cubicBezTo>
                  <a:pt x="3915" y="2291"/>
                  <a:pt x="3917" y="2291"/>
                  <a:pt x="3919" y="2291"/>
                </a:cubicBezTo>
                <a:cubicBezTo>
                  <a:pt x="3924" y="2291"/>
                  <a:pt x="3927" y="2289"/>
                  <a:pt x="3929" y="2284"/>
                </a:cubicBezTo>
                <a:cubicBezTo>
                  <a:pt x="3929" y="2283"/>
                  <a:pt x="3930" y="2282"/>
                  <a:pt x="3930" y="2281"/>
                </a:cubicBezTo>
                <a:cubicBezTo>
                  <a:pt x="3931" y="2281"/>
                  <a:pt x="3931" y="2281"/>
                  <a:pt x="3932" y="2280"/>
                </a:cubicBezTo>
                <a:cubicBezTo>
                  <a:pt x="3932" y="2281"/>
                  <a:pt x="3933" y="2282"/>
                  <a:pt x="3933" y="2282"/>
                </a:cubicBezTo>
                <a:cubicBezTo>
                  <a:pt x="3934" y="2287"/>
                  <a:pt x="3934" y="2292"/>
                  <a:pt x="3930" y="2296"/>
                </a:cubicBezTo>
                <a:cubicBezTo>
                  <a:pt x="3929" y="2298"/>
                  <a:pt x="3930" y="2300"/>
                  <a:pt x="3932" y="2300"/>
                </a:cubicBezTo>
                <a:cubicBezTo>
                  <a:pt x="3935" y="2300"/>
                  <a:pt x="3937" y="2300"/>
                  <a:pt x="3940" y="2300"/>
                </a:cubicBezTo>
                <a:cubicBezTo>
                  <a:pt x="3940" y="2300"/>
                  <a:pt x="3940" y="2300"/>
                  <a:pt x="3940" y="2300"/>
                </a:cubicBezTo>
                <a:cubicBezTo>
                  <a:pt x="3940" y="2299"/>
                  <a:pt x="3940" y="2299"/>
                  <a:pt x="3940" y="2299"/>
                </a:cubicBezTo>
                <a:cubicBezTo>
                  <a:pt x="3940" y="2300"/>
                  <a:pt x="3940" y="2300"/>
                  <a:pt x="3940" y="2300"/>
                </a:cubicBezTo>
                <a:cubicBezTo>
                  <a:pt x="3940" y="2300"/>
                  <a:pt x="3940" y="2300"/>
                  <a:pt x="3940" y="2300"/>
                </a:cubicBezTo>
                <a:cubicBezTo>
                  <a:pt x="3940" y="2301"/>
                  <a:pt x="3940" y="2301"/>
                  <a:pt x="3940" y="2301"/>
                </a:cubicBezTo>
                <a:cubicBezTo>
                  <a:pt x="3943" y="2310"/>
                  <a:pt x="3945" y="2319"/>
                  <a:pt x="3941" y="2329"/>
                </a:cubicBezTo>
                <a:cubicBezTo>
                  <a:pt x="3940" y="2330"/>
                  <a:pt x="3941" y="2333"/>
                  <a:pt x="3942" y="2335"/>
                </a:cubicBezTo>
                <a:cubicBezTo>
                  <a:pt x="3943" y="2338"/>
                  <a:pt x="3944" y="2340"/>
                  <a:pt x="3945" y="2343"/>
                </a:cubicBezTo>
                <a:cubicBezTo>
                  <a:pt x="3949" y="2350"/>
                  <a:pt x="3955" y="2355"/>
                  <a:pt x="3962" y="2357"/>
                </a:cubicBezTo>
                <a:cubicBezTo>
                  <a:pt x="3967" y="2358"/>
                  <a:pt x="3971" y="2360"/>
                  <a:pt x="3974" y="2363"/>
                </a:cubicBezTo>
                <a:cubicBezTo>
                  <a:pt x="3976" y="2364"/>
                  <a:pt x="3978" y="2367"/>
                  <a:pt x="3980" y="2368"/>
                </a:cubicBezTo>
                <a:cubicBezTo>
                  <a:pt x="3982" y="2370"/>
                  <a:pt x="3984" y="2370"/>
                  <a:pt x="3986" y="2369"/>
                </a:cubicBezTo>
                <a:cubicBezTo>
                  <a:pt x="3993" y="2366"/>
                  <a:pt x="4000" y="2363"/>
                  <a:pt x="4004" y="2355"/>
                </a:cubicBezTo>
                <a:cubicBezTo>
                  <a:pt x="4005" y="2354"/>
                  <a:pt x="4006" y="2354"/>
                  <a:pt x="4007" y="2355"/>
                </a:cubicBezTo>
                <a:cubicBezTo>
                  <a:pt x="4007" y="2356"/>
                  <a:pt x="4008" y="2356"/>
                  <a:pt x="4008" y="2357"/>
                </a:cubicBezTo>
                <a:cubicBezTo>
                  <a:pt x="4007" y="2358"/>
                  <a:pt x="4006" y="2361"/>
                  <a:pt x="4007" y="2361"/>
                </a:cubicBezTo>
                <a:cubicBezTo>
                  <a:pt x="4010" y="2366"/>
                  <a:pt x="4012" y="2372"/>
                  <a:pt x="4017" y="2376"/>
                </a:cubicBezTo>
                <a:cubicBezTo>
                  <a:pt x="4018" y="2377"/>
                  <a:pt x="4020" y="2378"/>
                  <a:pt x="4021" y="2377"/>
                </a:cubicBezTo>
                <a:cubicBezTo>
                  <a:pt x="4027" y="2372"/>
                  <a:pt x="4034" y="2368"/>
                  <a:pt x="4040" y="2363"/>
                </a:cubicBezTo>
                <a:cubicBezTo>
                  <a:pt x="4046" y="2358"/>
                  <a:pt x="4052" y="2356"/>
                  <a:pt x="4060" y="2356"/>
                </a:cubicBezTo>
                <a:cubicBezTo>
                  <a:pt x="4062" y="2356"/>
                  <a:pt x="4065" y="2356"/>
                  <a:pt x="4068" y="2356"/>
                </a:cubicBezTo>
                <a:cubicBezTo>
                  <a:pt x="4072" y="2355"/>
                  <a:pt x="4079" y="2350"/>
                  <a:pt x="4079" y="2345"/>
                </a:cubicBezTo>
                <a:cubicBezTo>
                  <a:pt x="4079" y="2338"/>
                  <a:pt x="4083" y="2332"/>
                  <a:pt x="4085" y="2325"/>
                </a:cubicBezTo>
                <a:cubicBezTo>
                  <a:pt x="4086" y="2317"/>
                  <a:pt x="4090" y="2310"/>
                  <a:pt x="4096" y="2305"/>
                </a:cubicBezTo>
                <a:cubicBezTo>
                  <a:pt x="4099" y="2301"/>
                  <a:pt x="4102" y="2297"/>
                  <a:pt x="4104" y="2292"/>
                </a:cubicBezTo>
                <a:cubicBezTo>
                  <a:pt x="4107" y="2287"/>
                  <a:pt x="4110" y="2282"/>
                  <a:pt x="4112" y="2276"/>
                </a:cubicBezTo>
                <a:cubicBezTo>
                  <a:pt x="4117" y="2267"/>
                  <a:pt x="4123" y="2259"/>
                  <a:pt x="4132" y="2254"/>
                </a:cubicBezTo>
                <a:cubicBezTo>
                  <a:pt x="4133" y="2253"/>
                  <a:pt x="4135" y="2251"/>
                  <a:pt x="4136" y="2249"/>
                </a:cubicBezTo>
                <a:cubicBezTo>
                  <a:pt x="4137" y="2242"/>
                  <a:pt x="4145" y="2238"/>
                  <a:pt x="4147" y="2231"/>
                </a:cubicBezTo>
                <a:cubicBezTo>
                  <a:pt x="4149" y="2224"/>
                  <a:pt x="4149" y="2217"/>
                  <a:pt x="4152" y="2210"/>
                </a:cubicBezTo>
                <a:cubicBezTo>
                  <a:pt x="4156" y="2203"/>
                  <a:pt x="4158" y="2194"/>
                  <a:pt x="4163" y="2186"/>
                </a:cubicBezTo>
                <a:cubicBezTo>
                  <a:pt x="4164" y="2184"/>
                  <a:pt x="4165" y="2181"/>
                  <a:pt x="4165" y="2178"/>
                </a:cubicBezTo>
                <a:cubicBezTo>
                  <a:pt x="4166" y="2173"/>
                  <a:pt x="4165" y="2167"/>
                  <a:pt x="4164" y="2162"/>
                </a:cubicBezTo>
                <a:cubicBezTo>
                  <a:pt x="4162" y="2158"/>
                  <a:pt x="4162" y="2155"/>
                  <a:pt x="4163" y="2151"/>
                </a:cubicBezTo>
                <a:cubicBezTo>
                  <a:pt x="4164" y="2148"/>
                  <a:pt x="4165" y="2146"/>
                  <a:pt x="4165" y="2143"/>
                </a:cubicBezTo>
                <a:cubicBezTo>
                  <a:pt x="4165" y="2135"/>
                  <a:pt x="4167" y="2128"/>
                  <a:pt x="4170" y="2120"/>
                </a:cubicBezTo>
                <a:cubicBezTo>
                  <a:pt x="4170" y="2119"/>
                  <a:pt x="4171" y="2118"/>
                  <a:pt x="4171" y="2117"/>
                </a:cubicBezTo>
                <a:cubicBezTo>
                  <a:pt x="4171" y="2116"/>
                  <a:pt x="4170" y="2116"/>
                  <a:pt x="4169" y="2115"/>
                </a:cubicBezTo>
                <a:cubicBezTo>
                  <a:pt x="4169" y="2115"/>
                  <a:pt x="4168" y="2115"/>
                  <a:pt x="4168" y="2116"/>
                </a:cubicBezTo>
                <a:close/>
                <a:moveTo>
                  <a:pt x="1330" y="170"/>
                </a:moveTo>
                <a:cubicBezTo>
                  <a:pt x="1330" y="170"/>
                  <a:pt x="1330" y="170"/>
                  <a:pt x="1331" y="169"/>
                </a:cubicBezTo>
                <a:cubicBezTo>
                  <a:pt x="1330" y="169"/>
                  <a:pt x="1330" y="169"/>
                  <a:pt x="1330" y="169"/>
                </a:cubicBezTo>
                <a:cubicBezTo>
                  <a:pt x="1330" y="169"/>
                  <a:pt x="1330" y="170"/>
                  <a:pt x="1330" y="170"/>
                </a:cubicBezTo>
                <a:cubicBezTo>
                  <a:pt x="1330" y="170"/>
                  <a:pt x="1330" y="170"/>
                  <a:pt x="1330" y="170"/>
                </a:cubicBezTo>
                <a:close/>
                <a:moveTo>
                  <a:pt x="1347" y="120"/>
                </a:moveTo>
                <a:cubicBezTo>
                  <a:pt x="1347" y="120"/>
                  <a:pt x="1347" y="120"/>
                  <a:pt x="1347" y="120"/>
                </a:cubicBezTo>
                <a:cubicBezTo>
                  <a:pt x="1347" y="120"/>
                  <a:pt x="1347" y="120"/>
                  <a:pt x="1346" y="120"/>
                </a:cubicBezTo>
                <a:cubicBezTo>
                  <a:pt x="1346" y="120"/>
                  <a:pt x="1346" y="120"/>
                  <a:pt x="1346" y="120"/>
                </a:cubicBezTo>
                <a:cubicBezTo>
                  <a:pt x="1347" y="120"/>
                  <a:pt x="1347" y="120"/>
                  <a:pt x="1347" y="120"/>
                </a:cubicBezTo>
                <a:close/>
                <a:moveTo>
                  <a:pt x="1348" y="126"/>
                </a:moveTo>
                <a:cubicBezTo>
                  <a:pt x="1346" y="129"/>
                  <a:pt x="1346" y="132"/>
                  <a:pt x="1347" y="135"/>
                </a:cubicBezTo>
                <a:cubicBezTo>
                  <a:pt x="1349" y="139"/>
                  <a:pt x="1349" y="143"/>
                  <a:pt x="1348" y="148"/>
                </a:cubicBezTo>
                <a:cubicBezTo>
                  <a:pt x="1347" y="151"/>
                  <a:pt x="1346" y="155"/>
                  <a:pt x="1345" y="159"/>
                </a:cubicBezTo>
                <a:cubicBezTo>
                  <a:pt x="1345" y="160"/>
                  <a:pt x="1344" y="161"/>
                  <a:pt x="1343" y="161"/>
                </a:cubicBezTo>
                <a:cubicBezTo>
                  <a:pt x="1339" y="163"/>
                  <a:pt x="1340" y="166"/>
                  <a:pt x="1340" y="169"/>
                </a:cubicBezTo>
                <a:cubicBezTo>
                  <a:pt x="1340" y="169"/>
                  <a:pt x="1340" y="169"/>
                  <a:pt x="1340" y="169"/>
                </a:cubicBezTo>
                <a:cubicBezTo>
                  <a:pt x="1341" y="170"/>
                  <a:pt x="1343" y="172"/>
                  <a:pt x="1344" y="173"/>
                </a:cubicBezTo>
                <a:cubicBezTo>
                  <a:pt x="1344" y="173"/>
                  <a:pt x="1345" y="174"/>
                  <a:pt x="1345" y="174"/>
                </a:cubicBezTo>
                <a:cubicBezTo>
                  <a:pt x="1346" y="174"/>
                  <a:pt x="1348" y="175"/>
                  <a:pt x="1349" y="176"/>
                </a:cubicBezTo>
                <a:cubicBezTo>
                  <a:pt x="1350" y="176"/>
                  <a:pt x="1350" y="176"/>
                  <a:pt x="1351" y="176"/>
                </a:cubicBezTo>
                <a:cubicBezTo>
                  <a:pt x="1351" y="176"/>
                  <a:pt x="1351" y="176"/>
                  <a:pt x="1351" y="176"/>
                </a:cubicBezTo>
                <a:cubicBezTo>
                  <a:pt x="1352" y="177"/>
                  <a:pt x="1352" y="177"/>
                  <a:pt x="1353" y="177"/>
                </a:cubicBezTo>
                <a:cubicBezTo>
                  <a:pt x="1354" y="177"/>
                  <a:pt x="1354" y="178"/>
                  <a:pt x="1354" y="178"/>
                </a:cubicBezTo>
                <a:cubicBezTo>
                  <a:pt x="1354" y="179"/>
                  <a:pt x="1353" y="179"/>
                  <a:pt x="1353" y="180"/>
                </a:cubicBezTo>
                <a:cubicBezTo>
                  <a:pt x="1352" y="180"/>
                  <a:pt x="1351" y="180"/>
                  <a:pt x="1351" y="179"/>
                </a:cubicBezTo>
                <a:cubicBezTo>
                  <a:pt x="1351" y="178"/>
                  <a:pt x="1351" y="177"/>
                  <a:pt x="1351" y="176"/>
                </a:cubicBezTo>
                <a:cubicBezTo>
                  <a:pt x="1351" y="176"/>
                  <a:pt x="1350" y="176"/>
                  <a:pt x="1350" y="176"/>
                </a:cubicBezTo>
                <a:cubicBezTo>
                  <a:pt x="1350" y="176"/>
                  <a:pt x="1350" y="176"/>
                  <a:pt x="1349" y="176"/>
                </a:cubicBezTo>
                <a:cubicBezTo>
                  <a:pt x="1348" y="175"/>
                  <a:pt x="1346" y="175"/>
                  <a:pt x="1345" y="174"/>
                </a:cubicBezTo>
                <a:cubicBezTo>
                  <a:pt x="1345" y="174"/>
                  <a:pt x="1344" y="173"/>
                  <a:pt x="1344" y="173"/>
                </a:cubicBezTo>
                <a:cubicBezTo>
                  <a:pt x="1342" y="172"/>
                  <a:pt x="1341" y="171"/>
                  <a:pt x="1340" y="169"/>
                </a:cubicBezTo>
                <a:cubicBezTo>
                  <a:pt x="1340" y="169"/>
                  <a:pt x="1340" y="169"/>
                  <a:pt x="1340" y="169"/>
                </a:cubicBezTo>
                <a:cubicBezTo>
                  <a:pt x="1337" y="169"/>
                  <a:pt x="1333" y="170"/>
                  <a:pt x="1330" y="170"/>
                </a:cubicBezTo>
                <a:cubicBezTo>
                  <a:pt x="1329" y="171"/>
                  <a:pt x="1327" y="172"/>
                  <a:pt x="1325" y="172"/>
                </a:cubicBezTo>
                <a:cubicBezTo>
                  <a:pt x="1321" y="172"/>
                  <a:pt x="1317" y="173"/>
                  <a:pt x="1314" y="173"/>
                </a:cubicBezTo>
                <a:cubicBezTo>
                  <a:pt x="1312" y="179"/>
                  <a:pt x="1309" y="183"/>
                  <a:pt x="1304" y="187"/>
                </a:cubicBezTo>
                <a:cubicBezTo>
                  <a:pt x="1300" y="189"/>
                  <a:pt x="1299" y="193"/>
                  <a:pt x="1298" y="196"/>
                </a:cubicBezTo>
                <a:cubicBezTo>
                  <a:pt x="1298" y="198"/>
                  <a:pt x="1300" y="201"/>
                  <a:pt x="1302" y="201"/>
                </a:cubicBezTo>
                <a:cubicBezTo>
                  <a:pt x="1303" y="202"/>
                  <a:pt x="1304" y="202"/>
                  <a:pt x="1305" y="202"/>
                </a:cubicBezTo>
                <a:cubicBezTo>
                  <a:pt x="1310" y="202"/>
                  <a:pt x="1312" y="204"/>
                  <a:pt x="1312" y="209"/>
                </a:cubicBezTo>
                <a:cubicBezTo>
                  <a:pt x="1312" y="211"/>
                  <a:pt x="1312" y="213"/>
                  <a:pt x="1312" y="215"/>
                </a:cubicBezTo>
                <a:cubicBezTo>
                  <a:pt x="1311" y="218"/>
                  <a:pt x="1311" y="220"/>
                  <a:pt x="1308" y="222"/>
                </a:cubicBezTo>
                <a:cubicBezTo>
                  <a:pt x="1308" y="223"/>
                  <a:pt x="1307" y="223"/>
                  <a:pt x="1307" y="223"/>
                </a:cubicBezTo>
                <a:cubicBezTo>
                  <a:pt x="1307" y="223"/>
                  <a:pt x="1306" y="222"/>
                  <a:pt x="1306" y="222"/>
                </a:cubicBezTo>
                <a:cubicBezTo>
                  <a:pt x="1305" y="219"/>
                  <a:pt x="1305" y="215"/>
                  <a:pt x="1303" y="211"/>
                </a:cubicBezTo>
                <a:cubicBezTo>
                  <a:pt x="1303" y="209"/>
                  <a:pt x="1301" y="207"/>
                  <a:pt x="1299" y="207"/>
                </a:cubicBezTo>
                <a:cubicBezTo>
                  <a:pt x="1296" y="205"/>
                  <a:pt x="1292" y="205"/>
                  <a:pt x="1288" y="206"/>
                </a:cubicBezTo>
                <a:cubicBezTo>
                  <a:pt x="1287" y="207"/>
                  <a:pt x="1286" y="208"/>
                  <a:pt x="1286" y="209"/>
                </a:cubicBezTo>
                <a:cubicBezTo>
                  <a:pt x="1285" y="210"/>
                  <a:pt x="1285" y="212"/>
                  <a:pt x="1285" y="213"/>
                </a:cubicBezTo>
                <a:cubicBezTo>
                  <a:pt x="1284" y="220"/>
                  <a:pt x="1286" y="226"/>
                  <a:pt x="1287" y="232"/>
                </a:cubicBezTo>
                <a:cubicBezTo>
                  <a:pt x="1287" y="232"/>
                  <a:pt x="1287" y="232"/>
                  <a:pt x="1287" y="232"/>
                </a:cubicBezTo>
                <a:cubicBezTo>
                  <a:pt x="1287" y="232"/>
                  <a:pt x="1287" y="232"/>
                  <a:pt x="1287" y="232"/>
                </a:cubicBezTo>
                <a:cubicBezTo>
                  <a:pt x="1287" y="232"/>
                  <a:pt x="1287" y="232"/>
                  <a:pt x="1287" y="232"/>
                </a:cubicBezTo>
                <a:cubicBezTo>
                  <a:pt x="1285" y="232"/>
                  <a:pt x="1284" y="233"/>
                  <a:pt x="1282" y="232"/>
                </a:cubicBezTo>
                <a:cubicBezTo>
                  <a:pt x="1273" y="230"/>
                  <a:pt x="1264" y="234"/>
                  <a:pt x="1256" y="238"/>
                </a:cubicBezTo>
                <a:cubicBezTo>
                  <a:pt x="1255" y="239"/>
                  <a:pt x="1255" y="239"/>
                  <a:pt x="1254" y="239"/>
                </a:cubicBezTo>
                <a:cubicBezTo>
                  <a:pt x="1253" y="240"/>
                  <a:pt x="1252" y="241"/>
                  <a:pt x="1251" y="242"/>
                </a:cubicBezTo>
                <a:cubicBezTo>
                  <a:pt x="1249" y="244"/>
                  <a:pt x="1248" y="242"/>
                  <a:pt x="1247" y="241"/>
                </a:cubicBezTo>
                <a:cubicBezTo>
                  <a:pt x="1244" y="239"/>
                  <a:pt x="1242" y="239"/>
                  <a:pt x="1241" y="241"/>
                </a:cubicBezTo>
                <a:cubicBezTo>
                  <a:pt x="1239" y="244"/>
                  <a:pt x="1240" y="250"/>
                  <a:pt x="1242" y="251"/>
                </a:cubicBezTo>
                <a:cubicBezTo>
                  <a:pt x="1247" y="255"/>
                  <a:pt x="1252" y="260"/>
                  <a:pt x="1259" y="262"/>
                </a:cubicBezTo>
                <a:cubicBezTo>
                  <a:pt x="1265" y="264"/>
                  <a:pt x="1271" y="268"/>
                  <a:pt x="1278" y="271"/>
                </a:cubicBezTo>
                <a:cubicBezTo>
                  <a:pt x="1279" y="272"/>
                  <a:pt x="1281" y="273"/>
                  <a:pt x="1282" y="273"/>
                </a:cubicBezTo>
                <a:cubicBezTo>
                  <a:pt x="1285" y="274"/>
                  <a:pt x="1287" y="274"/>
                  <a:pt x="1289" y="271"/>
                </a:cubicBezTo>
                <a:cubicBezTo>
                  <a:pt x="1290" y="270"/>
                  <a:pt x="1290" y="270"/>
                  <a:pt x="1291" y="269"/>
                </a:cubicBezTo>
                <a:cubicBezTo>
                  <a:pt x="1291" y="269"/>
                  <a:pt x="1291" y="269"/>
                  <a:pt x="1291" y="269"/>
                </a:cubicBezTo>
                <a:cubicBezTo>
                  <a:pt x="1290" y="268"/>
                  <a:pt x="1290" y="268"/>
                  <a:pt x="1290" y="268"/>
                </a:cubicBezTo>
                <a:cubicBezTo>
                  <a:pt x="1291" y="269"/>
                  <a:pt x="1291" y="269"/>
                  <a:pt x="1291" y="269"/>
                </a:cubicBezTo>
                <a:cubicBezTo>
                  <a:pt x="1291" y="269"/>
                  <a:pt x="1291" y="269"/>
                  <a:pt x="1291" y="269"/>
                </a:cubicBezTo>
                <a:cubicBezTo>
                  <a:pt x="1293" y="268"/>
                  <a:pt x="1296" y="267"/>
                  <a:pt x="1299" y="269"/>
                </a:cubicBezTo>
                <a:cubicBezTo>
                  <a:pt x="1304" y="273"/>
                  <a:pt x="1310" y="276"/>
                  <a:pt x="1317" y="274"/>
                </a:cubicBezTo>
                <a:cubicBezTo>
                  <a:pt x="1318" y="274"/>
                  <a:pt x="1319" y="275"/>
                  <a:pt x="1320" y="275"/>
                </a:cubicBezTo>
                <a:cubicBezTo>
                  <a:pt x="1323" y="275"/>
                  <a:pt x="1324" y="277"/>
                  <a:pt x="1324" y="281"/>
                </a:cubicBezTo>
                <a:cubicBezTo>
                  <a:pt x="1324" y="281"/>
                  <a:pt x="1324" y="282"/>
                  <a:pt x="1324" y="282"/>
                </a:cubicBezTo>
                <a:cubicBezTo>
                  <a:pt x="1324" y="285"/>
                  <a:pt x="1326" y="286"/>
                  <a:pt x="1328" y="286"/>
                </a:cubicBezTo>
                <a:cubicBezTo>
                  <a:pt x="1332" y="285"/>
                  <a:pt x="1336" y="284"/>
                  <a:pt x="1339" y="283"/>
                </a:cubicBezTo>
                <a:cubicBezTo>
                  <a:pt x="1342" y="282"/>
                  <a:pt x="1344" y="280"/>
                  <a:pt x="1347" y="281"/>
                </a:cubicBezTo>
                <a:cubicBezTo>
                  <a:pt x="1353" y="281"/>
                  <a:pt x="1357" y="277"/>
                  <a:pt x="1361" y="273"/>
                </a:cubicBezTo>
                <a:cubicBezTo>
                  <a:pt x="1361" y="273"/>
                  <a:pt x="1361" y="272"/>
                  <a:pt x="1361" y="272"/>
                </a:cubicBezTo>
                <a:cubicBezTo>
                  <a:pt x="1364" y="267"/>
                  <a:pt x="1363" y="264"/>
                  <a:pt x="1358" y="261"/>
                </a:cubicBezTo>
                <a:cubicBezTo>
                  <a:pt x="1356" y="260"/>
                  <a:pt x="1355" y="260"/>
                  <a:pt x="1354" y="258"/>
                </a:cubicBezTo>
                <a:cubicBezTo>
                  <a:pt x="1354" y="256"/>
                  <a:pt x="1355" y="254"/>
                  <a:pt x="1356" y="252"/>
                </a:cubicBezTo>
                <a:cubicBezTo>
                  <a:pt x="1357" y="251"/>
                  <a:pt x="1359" y="250"/>
                  <a:pt x="1360" y="249"/>
                </a:cubicBezTo>
                <a:cubicBezTo>
                  <a:pt x="1364" y="248"/>
                  <a:pt x="1367" y="246"/>
                  <a:pt x="1371" y="244"/>
                </a:cubicBezTo>
                <a:cubicBezTo>
                  <a:pt x="1374" y="242"/>
                  <a:pt x="1378" y="239"/>
                  <a:pt x="1379" y="235"/>
                </a:cubicBezTo>
                <a:cubicBezTo>
                  <a:pt x="1379" y="234"/>
                  <a:pt x="1380" y="233"/>
                  <a:pt x="1380" y="231"/>
                </a:cubicBezTo>
                <a:cubicBezTo>
                  <a:pt x="1380" y="231"/>
                  <a:pt x="1380" y="230"/>
                  <a:pt x="1381" y="230"/>
                </a:cubicBezTo>
                <a:cubicBezTo>
                  <a:pt x="1382" y="228"/>
                  <a:pt x="1384" y="226"/>
                  <a:pt x="1386" y="227"/>
                </a:cubicBezTo>
                <a:cubicBezTo>
                  <a:pt x="1391" y="229"/>
                  <a:pt x="1397" y="228"/>
                  <a:pt x="1402" y="228"/>
                </a:cubicBezTo>
                <a:cubicBezTo>
                  <a:pt x="1404" y="228"/>
                  <a:pt x="1406" y="225"/>
                  <a:pt x="1405" y="222"/>
                </a:cubicBezTo>
                <a:cubicBezTo>
                  <a:pt x="1404" y="221"/>
                  <a:pt x="1404" y="220"/>
                  <a:pt x="1404" y="219"/>
                </a:cubicBezTo>
                <a:cubicBezTo>
                  <a:pt x="1404" y="219"/>
                  <a:pt x="1403" y="219"/>
                  <a:pt x="1403" y="219"/>
                </a:cubicBezTo>
                <a:cubicBezTo>
                  <a:pt x="1403" y="219"/>
                  <a:pt x="1403" y="219"/>
                  <a:pt x="1402" y="219"/>
                </a:cubicBezTo>
                <a:cubicBezTo>
                  <a:pt x="1402" y="219"/>
                  <a:pt x="1401" y="218"/>
                  <a:pt x="1401" y="218"/>
                </a:cubicBezTo>
                <a:cubicBezTo>
                  <a:pt x="1402" y="217"/>
                  <a:pt x="1402" y="218"/>
                  <a:pt x="1402" y="219"/>
                </a:cubicBezTo>
                <a:cubicBezTo>
                  <a:pt x="1403" y="219"/>
                  <a:pt x="1403" y="219"/>
                  <a:pt x="1404" y="219"/>
                </a:cubicBezTo>
                <a:cubicBezTo>
                  <a:pt x="1404" y="219"/>
                  <a:pt x="1404" y="219"/>
                  <a:pt x="1404" y="219"/>
                </a:cubicBezTo>
                <a:cubicBezTo>
                  <a:pt x="1409" y="220"/>
                  <a:pt x="1413" y="219"/>
                  <a:pt x="1416" y="214"/>
                </a:cubicBezTo>
                <a:cubicBezTo>
                  <a:pt x="1417" y="212"/>
                  <a:pt x="1419" y="210"/>
                  <a:pt x="1421" y="208"/>
                </a:cubicBezTo>
                <a:cubicBezTo>
                  <a:pt x="1423" y="206"/>
                  <a:pt x="1424" y="204"/>
                  <a:pt x="1426" y="202"/>
                </a:cubicBezTo>
                <a:cubicBezTo>
                  <a:pt x="1428" y="199"/>
                  <a:pt x="1428" y="196"/>
                  <a:pt x="1426" y="193"/>
                </a:cubicBezTo>
                <a:cubicBezTo>
                  <a:pt x="1424" y="191"/>
                  <a:pt x="1423" y="189"/>
                  <a:pt x="1423" y="186"/>
                </a:cubicBezTo>
                <a:cubicBezTo>
                  <a:pt x="1423" y="186"/>
                  <a:pt x="1423" y="186"/>
                  <a:pt x="1423" y="186"/>
                </a:cubicBezTo>
                <a:cubicBezTo>
                  <a:pt x="1423" y="186"/>
                  <a:pt x="1422" y="186"/>
                  <a:pt x="1422" y="186"/>
                </a:cubicBezTo>
                <a:cubicBezTo>
                  <a:pt x="1422" y="186"/>
                  <a:pt x="1423" y="186"/>
                  <a:pt x="1423" y="186"/>
                </a:cubicBezTo>
                <a:cubicBezTo>
                  <a:pt x="1423" y="186"/>
                  <a:pt x="1423" y="186"/>
                  <a:pt x="1423" y="186"/>
                </a:cubicBezTo>
                <a:cubicBezTo>
                  <a:pt x="1426" y="187"/>
                  <a:pt x="1428" y="188"/>
                  <a:pt x="1431" y="189"/>
                </a:cubicBezTo>
                <a:cubicBezTo>
                  <a:pt x="1434" y="190"/>
                  <a:pt x="1436" y="188"/>
                  <a:pt x="1436" y="185"/>
                </a:cubicBezTo>
                <a:cubicBezTo>
                  <a:pt x="1437" y="182"/>
                  <a:pt x="1436" y="180"/>
                  <a:pt x="1433" y="178"/>
                </a:cubicBezTo>
                <a:cubicBezTo>
                  <a:pt x="1432" y="177"/>
                  <a:pt x="1429" y="177"/>
                  <a:pt x="1427" y="176"/>
                </a:cubicBezTo>
                <a:cubicBezTo>
                  <a:pt x="1427" y="176"/>
                  <a:pt x="1426" y="175"/>
                  <a:pt x="1426" y="175"/>
                </a:cubicBezTo>
                <a:cubicBezTo>
                  <a:pt x="1427" y="174"/>
                  <a:pt x="1427" y="173"/>
                  <a:pt x="1428" y="173"/>
                </a:cubicBezTo>
                <a:cubicBezTo>
                  <a:pt x="1430" y="172"/>
                  <a:pt x="1431" y="171"/>
                  <a:pt x="1433" y="171"/>
                </a:cubicBezTo>
                <a:cubicBezTo>
                  <a:pt x="1438" y="173"/>
                  <a:pt x="1442" y="172"/>
                  <a:pt x="1447" y="172"/>
                </a:cubicBezTo>
                <a:cubicBezTo>
                  <a:pt x="1450" y="172"/>
                  <a:pt x="1452" y="170"/>
                  <a:pt x="1453" y="167"/>
                </a:cubicBezTo>
                <a:cubicBezTo>
                  <a:pt x="1453" y="166"/>
                  <a:pt x="1454" y="165"/>
                  <a:pt x="1454" y="164"/>
                </a:cubicBezTo>
                <a:cubicBezTo>
                  <a:pt x="1455" y="165"/>
                  <a:pt x="1456" y="165"/>
                  <a:pt x="1456" y="166"/>
                </a:cubicBezTo>
                <a:cubicBezTo>
                  <a:pt x="1457" y="166"/>
                  <a:pt x="1458" y="167"/>
                  <a:pt x="1459" y="168"/>
                </a:cubicBezTo>
                <a:cubicBezTo>
                  <a:pt x="1466" y="171"/>
                  <a:pt x="1471" y="170"/>
                  <a:pt x="1476" y="164"/>
                </a:cubicBezTo>
                <a:cubicBezTo>
                  <a:pt x="1482" y="157"/>
                  <a:pt x="1488" y="151"/>
                  <a:pt x="1495" y="147"/>
                </a:cubicBezTo>
                <a:cubicBezTo>
                  <a:pt x="1499" y="145"/>
                  <a:pt x="1503" y="143"/>
                  <a:pt x="1506" y="140"/>
                </a:cubicBezTo>
                <a:cubicBezTo>
                  <a:pt x="1508" y="137"/>
                  <a:pt x="1510" y="136"/>
                  <a:pt x="1513" y="136"/>
                </a:cubicBezTo>
                <a:cubicBezTo>
                  <a:pt x="1521" y="133"/>
                  <a:pt x="1529" y="127"/>
                  <a:pt x="1537" y="126"/>
                </a:cubicBezTo>
                <a:cubicBezTo>
                  <a:pt x="1545" y="122"/>
                  <a:pt x="1553" y="118"/>
                  <a:pt x="1560" y="113"/>
                </a:cubicBezTo>
                <a:cubicBezTo>
                  <a:pt x="1561" y="112"/>
                  <a:pt x="1561" y="110"/>
                  <a:pt x="1562" y="109"/>
                </a:cubicBezTo>
                <a:cubicBezTo>
                  <a:pt x="1562" y="107"/>
                  <a:pt x="1561" y="106"/>
                  <a:pt x="1558" y="105"/>
                </a:cubicBezTo>
                <a:cubicBezTo>
                  <a:pt x="1556" y="104"/>
                  <a:pt x="1554" y="103"/>
                  <a:pt x="1552" y="103"/>
                </a:cubicBezTo>
                <a:cubicBezTo>
                  <a:pt x="1552" y="103"/>
                  <a:pt x="1552" y="103"/>
                  <a:pt x="1552" y="103"/>
                </a:cubicBezTo>
                <a:cubicBezTo>
                  <a:pt x="1551" y="104"/>
                  <a:pt x="1551" y="104"/>
                  <a:pt x="1551" y="104"/>
                </a:cubicBezTo>
                <a:cubicBezTo>
                  <a:pt x="1552" y="103"/>
                  <a:pt x="1552" y="103"/>
                  <a:pt x="1552" y="103"/>
                </a:cubicBezTo>
                <a:cubicBezTo>
                  <a:pt x="1552" y="103"/>
                  <a:pt x="1552" y="103"/>
                  <a:pt x="1552" y="103"/>
                </a:cubicBezTo>
                <a:cubicBezTo>
                  <a:pt x="1553" y="101"/>
                  <a:pt x="1553" y="99"/>
                  <a:pt x="1556" y="99"/>
                </a:cubicBezTo>
                <a:cubicBezTo>
                  <a:pt x="1564" y="99"/>
                  <a:pt x="1572" y="98"/>
                  <a:pt x="1580" y="97"/>
                </a:cubicBezTo>
                <a:cubicBezTo>
                  <a:pt x="1588" y="93"/>
                  <a:pt x="1596" y="89"/>
                  <a:pt x="1604" y="85"/>
                </a:cubicBezTo>
                <a:cubicBezTo>
                  <a:pt x="1605" y="85"/>
                  <a:pt x="1606" y="84"/>
                  <a:pt x="1606" y="83"/>
                </a:cubicBezTo>
                <a:cubicBezTo>
                  <a:pt x="1608" y="81"/>
                  <a:pt x="1610" y="80"/>
                  <a:pt x="1611" y="77"/>
                </a:cubicBezTo>
                <a:cubicBezTo>
                  <a:pt x="1612" y="74"/>
                  <a:pt x="1613" y="71"/>
                  <a:pt x="1613" y="68"/>
                </a:cubicBezTo>
                <a:cubicBezTo>
                  <a:pt x="1613" y="64"/>
                  <a:pt x="1611" y="61"/>
                  <a:pt x="1608" y="60"/>
                </a:cubicBezTo>
                <a:cubicBezTo>
                  <a:pt x="1605" y="59"/>
                  <a:pt x="1604" y="58"/>
                  <a:pt x="1604" y="55"/>
                </a:cubicBezTo>
                <a:cubicBezTo>
                  <a:pt x="1605" y="51"/>
                  <a:pt x="1605" y="48"/>
                  <a:pt x="1605" y="44"/>
                </a:cubicBezTo>
                <a:cubicBezTo>
                  <a:pt x="1605" y="43"/>
                  <a:pt x="1604" y="42"/>
                  <a:pt x="1603" y="41"/>
                </a:cubicBezTo>
                <a:cubicBezTo>
                  <a:pt x="1600" y="40"/>
                  <a:pt x="1596" y="39"/>
                  <a:pt x="1592" y="38"/>
                </a:cubicBezTo>
                <a:cubicBezTo>
                  <a:pt x="1589" y="37"/>
                  <a:pt x="1586" y="37"/>
                  <a:pt x="1583" y="39"/>
                </a:cubicBezTo>
                <a:cubicBezTo>
                  <a:pt x="1582" y="40"/>
                  <a:pt x="1581" y="40"/>
                  <a:pt x="1579" y="40"/>
                </a:cubicBezTo>
                <a:cubicBezTo>
                  <a:pt x="1579" y="40"/>
                  <a:pt x="1579" y="41"/>
                  <a:pt x="1579" y="41"/>
                </a:cubicBezTo>
                <a:cubicBezTo>
                  <a:pt x="1578" y="41"/>
                  <a:pt x="1578" y="41"/>
                  <a:pt x="1578" y="41"/>
                </a:cubicBezTo>
                <a:cubicBezTo>
                  <a:pt x="1577" y="41"/>
                  <a:pt x="1577" y="42"/>
                  <a:pt x="1576" y="42"/>
                </a:cubicBezTo>
                <a:cubicBezTo>
                  <a:pt x="1576" y="43"/>
                  <a:pt x="1576" y="42"/>
                  <a:pt x="1575" y="42"/>
                </a:cubicBezTo>
                <a:cubicBezTo>
                  <a:pt x="1576" y="41"/>
                  <a:pt x="1577" y="41"/>
                  <a:pt x="1578" y="41"/>
                </a:cubicBezTo>
                <a:cubicBezTo>
                  <a:pt x="1578" y="41"/>
                  <a:pt x="1578" y="41"/>
                  <a:pt x="1578" y="40"/>
                </a:cubicBezTo>
                <a:cubicBezTo>
                  <a:pt x="1579" y="40"/>
                  <a:pt x="1579" y="40"/>
                  <a:pt x="1579" y="40"/>
                </a:cubicBezTo>
                <a:cubicBezTo>
                  <a:pt x="1581" y="38"/>
                  <a:pt x="1583" y="37"/>
                  <a:pt x="1584" y="35"/>
                </a:cubicBezTo>
                <a:cubicBezTo>
                  <a:pt x="1587" y="33"/>
                  <a:pt x="1587" y="32"/>
                  <a:pt x="1584" y="30"/>
                </a:cubicBezTo>
                <a:cubicBezTo>
                  <a:pt x="1583" y="29"/>
                  <a:pt x="1582" y="28"/>
                  <a:pt x="1582" y="28"/>
                </a:cubicBezTo>
                <a:cubicBezTo>
                  <a:pt x="1581" y="27"/>
                  <a:pt x="1581" y="27"/>
                  <a:pt x="1580" y="27"/>
                </a:cubicBezTo>
                <a:cubicBezTo>
                  <a:pt x="1576" y="27"/>
                  <a:pt x="1572" y="23"/>
                  <a:pt x="1568" y="22"/>
                </a:cubicBezTo>
                <a:cubicBezTo>
                  <a:pt x="1565" y="22"/>
                  <a:pt x="1563" y="20"/>
                  <a:pt x="1562" y="17"/>
                </a:cubicBezTo>
                <a:cubicBezTo>
                  <a:pt x="1562" y="15"/>
                  <a:pt x="1560" y="14"/>
                  <a:pt x="1558" y="13"/>
                </a:cubicBezTo>
                <a:cubicBezTo>
                  <a:pt x="1553" y="12"/>
                  <a:pt x="1549" y="12"/>
                  <a:pt x="1545" y="11"/>
                </a:cubicBezTo>
                <a:cubicBezTo>
                  <a:pt x="1540" y="9"/>
                  <a:pt x="1537" y="9"/>
                  <a:pt x="1533" y="12"/>
                </a:cubicBezTo>
                <a:cubicBezTo>
                  <a:pt x="1530" y="14"/>
                  <a:pt x="1528" y="12"/>
                  <a:pt x="1528" y="8"/>
                </a:cubicBezTo>
                <a:cubicBezTo>
                  <a:pt x="1528" y="7"/>
                  <a:pt x="1528" y="6"/>
                  <a:pt x="1527" y="5"/>
                </a:cubicBezTo>
                <a:cubicBezTo>
                  <a:pt x="1521" y="4"/>
                  <a:pt x="1515" y="2"/>
                  <a:pt x="1510" y="1"/>
                </a:cubicBezTo>
                <a:cubicBezTo>
                  <a:pt x="1507" y="1"/>
                  <a:pt x="1505" y="1"/>
                  <a:pt x="1503" y="1"/>
                </a:cubicBezTo>
                <a:cubicBezTo>
                  <a:pt x="1501" y="1"/>
                  <a:pt x="1499" y="4"/>
                  <a:pt x="1499" y="6"/>
                </a:cubicBezTo>
                <a:cubicBezTo>
                  <a:pt x="1498" y="9"/>
                  <a:pt x="1498" y="13"/>
                  <a:pt x="1497" y="17"/>
                </a:cubicBezTo>
                <a:cubicBezTo>
                  <a:pt x="1497" y="17"/>
                  <a:pt x="1497" y="18"/>
                  <a:pt x="1496" y="18"/>
                </a:cubicBezTo>
                <a:cubicBezTo>
                  <a:pt x="1495" y="18"/>
                  <a:pt x="1494" y="18"/>
                  <a:pt x="1494" y="17"/>
                </a:cubicBezTo>
                <a:cubicBezTo>
                  <a:pt x="1494" y="15"/>
                  <a:pt x="1494" y="13"/>
                  <a:pt x="1494" y="12"/>
                </a:cubicBezTo>
                <a:cubicBezTo>
                  <a:pt x="1494" y="11"/>
                  <a:pt x="1494" y="10"/>
                  <a:pt x="1493" y="10"/>
                </a:cubicBezTo>
                <a:cubicBezTo>
                  <a:pt x="1493" y="9"/>
                  <a:pt x="1492" y="8"/>
                  <a:pt x="1491" y="8"/>
                </a:cubicBezTo>
                <a:cubicBezTo>
                  <a:pt x="1486" y="9"/>
                  <a:pt x="1484" y="6"/>
                  <a:pt x="1482" y="3"/>
                </a:cubicBezTo>
                <a:cubicBezTo>
                  <a:pt x="1480" y="1"/>
                  <a:pt x="1477" y="0"/>
                  <a:pt x="1474" y="1"/>
                </a:cubicBezTo>
                <a:cubicBezTo>
                  <a:pt x="1471" y="3"/>
                  <a:pt x="1470" y="5"/>
                  <a:pt x="1470" y="8"/>
                </a:cubicBezTo>
                <a:cubicBezTo>
                  <a:pt x="1470" y="10"/>
                  <a:pt x="1470" y="12"/>
                  <a:pt x="1471" y="14"/>
                </a:cubicBezTo>
                <a:cubicBezTo>
                  <a:pt x="1471" y="15"/>
                  <a:pt x="1470" y="15"/>
                  <a:pt x="1470" y="16"/>
                </a:cubicBezTo>
                <a:cubicBezTo>
                  <a:pt x="1469" y="16"/>
                  <a:pt x="1468" y="16"/>
                  <a:pt x="1468" y="15"/>
                </a:cubicBezTo>
                <a:cubicBezTo>
                  <a:pt x="1467" y="12"/>
                  <a:pt x="1465" y="9"/>
                  <a:pt x="1464" y="7"/>
                </a:cubicBezTo>
                <a:cubicBezTo>
                  <a:pt x="1462" y="4"/>
                  <a:pt x="1458" y="4"/>
                  <a:pt x="1456" y="7"/>
                </a:cubicBezTo>
                <a:cubicBezTo>
                  <a:pt x="1454" y="11"/>
                  <a:pt x="1454" y="11"/>
                  <a:pt x="1452" y="10"/>
                </a:cubicBezTo>
                <a:cubicBezTo>
                  <a:pt x="1451" y="10"/>
                  <a:pt x="1451" y="10"/>
                  <a:pt x="1450" y="10"/>
                </a:cubicBezTo>
                <a:cubicBezTo>
                  <a:pt x="1447" y="9"/>
                  <a:pt x="1444" y="10"/>
                  <a:pt x="1445" y="13"/>
                </a:cubicBezTo>
                <a:cubicBezTo>
                  <a:pt x="1446" y="18"/>
                  <a:pt x="1444" y="20"/>
                  <a:pt x="1441" y="22"/>
                </a:cubicBezTo>
                <a:cubicBezTo>
                  <a:pt x="1439" y="24"/>
                  <a:pt x="1439" y="26"/>
                  <a:pt x="1438" y="28"/>
                </a:cubicBezTo>
                <a:cubicBezTo>
                  <a:pt x="1437" y="30"/>
                  <a:pt x="1432" y="30"/>
                  <a:pt x="1431" y="28"/>
                </a:cubicBezTo>
                <a:cubicBezTo>
                  <a:pt x="1429" y="23"/>
                  <a:pt x="1427" y="19"/>
                  <a:pt x="1424" y="14"/>
                </a:cubicBezTo>
                <a:cubicBezTo>
                  <a:pt x="1424" y="13"/>
                  <a:pt x="1421" y="12"/>
                  <a:pt x="1419" y="12"/>
                </a:cubicBezTo>
                <a:cubicBezTo>
                  <a:pt x="1417" y="12"/>
                  <a:pt x="1415" y="13"/>
                  <a:pt x="1414" y="16"/>
                </a:cubicBezTo>
                <a:cubicBezTo>
                  <a:pt x="1414" y="19"/>
                  <a:pt x="1412" y="21"/>
                  <a:pt x="1409" y="21"/>
                </a:cubicBezTo>
                <a:cubicBezTo>
                  <a:pt x="1408" y="21"/>
                  <a:pt x="1407" y="22"/>
                  <a:pt x="1406" y="22"/>
                </a:cubicBezTo>
                <a:cubicBezTo>
                  <a:pt x="1405" y="23"/>
                  <a:pt x="1404" y="24"/>
                  <a:pt x="1405" y="25"/>
                </a:cubicBezTo>
                <a:cubicBezTo>
                  <a:pt x="1406" y="29"/>
                  <a:pt x="1408" y="33"/>
                  <a:pt x="1409" y="37"/>
                </a:cubicBezTo>
                <a:cubicBezTo>
                  <a:pt x="1409" y="37"/>
                  <a:pt x="1410" y="37"/>
                  <a:pt x="1410" y="37"/>
                </a:cubicBezTo>
                <a:cubicBezTo>
                  <a:pt x="1410" y="38"/>
                  <a:pt x="1410" y="38"/>
                  <a:pt x="1410" y="38"/>
                </a:cubicBezTo>
                <a:cubicBezTo>
                  <a:pt x="1409" y="37"/>
                  <a:pt x="1409" y="37"/>
                  <a:pt x="1409" y="37"/>
                </a:cubicBezTo>
                <a:cubicBezTo>
                  <a:pt x="1409" y="37"/>
                  <a:pt x="1409" y="37"/>
                  <a:pt x="1409" y="37"/>
                </a:cubicBezTo>
                <a:cubicBezTo>
                  <a:pt x="1407" y="37"/>
                  <a:pt x="1404" y="36"/>
                  <a:pt x="1403" y="34"/>
                </a:cubicBezTo>
                <a:cubicBezTo>
                  <a:pt x="1401" y="32"/>
                  <a:pt x="1399" y="31"/>
                  <a:pt x="1397" y="32"/>
                </a:cubicBezTo>
                <a:cubicBezTo>
                  <a:pt x="1395" y="32"/>
                  <a:pt x="1394" y="32"/>
                  <a:pt x="1393" y="31"/>
                </a:cubicBezTo>
                <a:cubicBezTo>
                  <a:pt x="1392" y="29"/>
                  <a:pt x="1391" y="28"/>
                  <a:pt x="1390" y="27"/>
                </a:cubicBezTo>
                <a:cubicBezTo>
                  <a:pt x="1388" y="24"/>
                  <a:pt x="1386" y="24"/>
                  <a:pt x="1384" y="26"/>
                </a:cubicBezTo>
                <a:cubicBezTo>
                  <a:pt x="1383" y="27"/>
                  <a:pt x="1381" y="29"/>
                  <a:pt x="1380" y="30"/>
                </a:cubicBezTo>
                <a:cubicBezTo>
                  <a:pt x="1379" y="31"/>
                  <a:pt x="1378" y="31"/>
                  <a:pt x="1377" y="30"/>
                </a:cubicBezTo>
                <a:cubicBezTo>
                  <a:pt x="1375" y="28"/>
                  <a:pt x="1372" y="27"/>
                  <a:pt x="1369" y="28"/>
                </a:cubicBezTo>
                <a:cubicBezTo>
                  <a:pt x="1363" y="29"/>
                  <a:pt x="1357" y="31"/>
                  <a:pt x="1352" y="35"/>
                </a:cubicBezTo>
                <a:cubicBezTo>
                  <a:pt x="1351" y="35"/>
                  <a:pt x="1350" y="37"/>
                  <a:pt x="1349" y="38"/>
                </a:cubicBezTo>
                <a:cubicBezTo>
                  <a:pt x="1347" y="40"/>
                  <a:pt x="1347" y="44"/>
                  <a:pt x="1350" y="46"/>
                </a:cubicBezTo>
                <a:cubicBezTo>
                  <a:pt x="1351" y="47"/>
                  <a:pt x="1352" y="47"/>
                  <a:pt x="1353" y="47"/>
                </a:cubicBezTo>
                <a:cubicBezTo>
                  <a:pt x="1353" y="47"/>
                  <a:pt x="1353" y="47"/>
                  <a:pt x="1353" y="47"/>
                </a:cubicBezTo>
                <a:cubicBezTo>
                  <a:pt x="1353" y="47"/>
                  <a:pt x="1353" y="47"/>
                  <a:pt x="1354" y="47"/>
                </a:cubicBezTo>
                <a:cubicBezTo>
                  <a:pt x="1354" y="46"/>
                  <a:pt x="1355" y="45"/>
                  <a:pt x="1356" y="44"/>
                </a:cubicBezTo>
                <a:cubicBezTo>
                  <a:pt x="1356" y="44"/>
                  <a:pt x="1357" y="43"/>
                  <a:pt x="1357" y="44"/>
                </a:cubicBezTo>
                <a:cubicBezTo>
                  <a:pt x="1358" y="44"/>
                  <a:pt x="1358" y="45"/>
                  <a:pt x="1357" y="46"/>
                </a:cubicBezTo>
                <a:cubicBezTo>
                  <a:pt x="1356" y="46"/>
                  <a:pt x="1355" y="46"/>
                  <a:pt x="1354" y="47"/>
                </a:cubicBezTo>
                <a:cubicBezTo>
                  <a:pt x="1354" y="47"/>
                  <a:pt x="1353" y="47"/>
                  <a:pt x="1353" y="47"/>
                </a:cubicBezTo>
                <a:cubicBezTo>
                  <a:pt x="1353" y="47"/>
                  <a:pt x="1353" y="47"/>
                  <a:pt x="1353" y="47"/>
                </a:cubicBezTo>
                <a:cubicBezTo>
                  <a:pt x="1353" y="49"/>
                  <a:pt x="1353" y="51"/>
                  <a:pt x="1354" y="53"/>
                </a:cubicBezTo>
                <a:cubicBezTo>
                  <a:pt x="1355" y="57"/>
                  <a:pt x="1355" y="57"/>
                  <a:pt x="1354" y="58"/>
                </a:cubicBezTo>
                <a:cubicBezTo>
                  <a:pt x="1353" y="59"/>
                  <a:pt x="1352" y="60"/>
                  <a:pt x="1351" y="62"/>
                </a:cubicBezTo>
                <a:cubicBezTo>
                  <a:pt x="1348" y="65"/>
                  <a:pt x="1349" y="69"/>
                  <a:pt x="1354" y="71"/>
                </a:cubicBezTo>
                <a:cubicBezTo>
                  <a:pt x="1354" y="71"/>
                  <a:pt x="1355" y="72"/>
                  <a:pt x="1356" y="72"/>
                </a:cubicBezTo>
                <a:cubicBezTo>
                  <a:pt x="1355" y="72"/>
                  <a:pt x="1355" y="73"/>
                  <a:pt x="1354" y="73"/>
                </a:cubicBezTo>
                <a:cubicBezTo>
                  <a:pt x="1353" y="73"/>
                  <a:pt x="1352" y="73"/>
                  <a:pt x="1351" y="73"/>
                </a:cubicBezTo>
                <a:cubicBezTo>
                  <a:pt x="1348" y="74"/>
                  <a:pt x="1347" y="76"/>
                  <a:pt x="1347" y="79"/>
                </a:cubicBezTo>
                <a:cubicBezTo>
                  <a:pt x="1348" y="83"/>
                  <a:pt x="1350" y="87"/>
                  <a:pt x="1353" y="90"/>
                </a:cubicBezTo>
                <a:cubicBezTo>
                  <a:pt x="1356" y="93"/>
                  <a:pt x="1359" y="94"/>
                  <a:pt x="1363" y="94"/>
                </a:cubicBezTo>
                <a:cubicBezTo>
                  <a:pt x="1363" y="94"/>
                  <a:pt x="1363" y="93"/>
                  <a:pt x="1363" y="93"/>
                </a:cubicBezTo>
                <a:cubicBezTo>
                  <a:pt x="1363" y="93"/>
                  <a:pt x="1364" y="93"/>
                  <a:pt x="1364" y="93"/>
                </a:cubicBezTo>
                <a:cubicBezTo>
                  <a:pt x="1364" y="93"/>
                  <a:pt x="1363" y="93"/>
                  <a:pt x="1363" y="94"/>
                </a:cubicBezTo>
                <a:cubicBezTo>
                  <a:pt x="1363" y="94"/>
                  <a:pt x="1363" y="94"/>
                  <a:pt x="1363" y="94"/>
                </a:cubicBezTo>
                <a:cubicBezTo>
                  <a:pt x="1364" y="96"/>
                  <a:pt x="1364" y="98"/>
                  <a:pt x="1366" y="99"/>
                </a:cubicBezTo>
                <a:cubicBezTo>
                  <a:pt x="1370" y="104"/>
                  <a:pt x="1375" y="106"/>
                  <a:pt x="1381" y="107"/>
                </a:cubicBezTo>
                <a:cubicBezTo>
                  <a:pt x="1385" y="108"/>
                  <a:pt x="1389" y="106"/>
                  <a:pt x="1393" y="104"/>
                </a:cubicBezTo>
                <a:cubicBezTo>
                  <a:pt x="1393" y="104"/>
                  <a:pt x="1393" y="103"/>
                  <a:pt x="1393" y="103"/>
                </a:cubicBezTo>
                <a:cubicBezTo>
                  <a:pt x="1393" y="103"/>
                  <a:pt x="1394" y="103"/>
                  <a:pt x="1393" y="104"/>
                </a:cubicBezTo>
                <a:cubicBezTo>
                  <a:pt x="1393" y="104"/>
                  <a:pt x="1393" y="104"/>
                  <a:pt x="1393" y="104"/>
                </a:cubicBezTo>
                <a:cubicBezTo>
                  <a:pt x="1393" y="106"/>
                  <a:pt x="1393" y="108"/>
                  <a:pt x="1395" y="109"/>
                </a:cubicBezTo>
                <a:cubicBezTo>
                  <a:pt x="1401" y="113"/>
                  <a:pt x="1408" y="115"/>
                  <a:pt x="1415" y="113"/>
                </a:cubicBezTo>
                <a:cubicBezTo>
                  <a:pt x="1422" y="112"/>
                  <a:pt x="1430" y="111"/>
                  <a:pt x="1434" y="103"/>
                </a:cubicBezTo>
                <a:cubicBezTo>
                  <a:pt x="1435" y="102"/>
                  <a:pt x="1437" y="101"/>
                  <a:pt x="1439" y="101"/>
                </a:cubicBezTo>
                <a:cubicBezTo>
                  <a:pt x="1439" y="100"/>
                  <a:pt x="1439" y="100"/>
                  <a:pt x="1439" y="100"/>
                </a:cubicBezTo>
                <a:cubicBezTo>
                  <a:pt x="1439" y="100"/>
                  <a:pt x="1439" y="100"/>
                  <a:pt x="1439" y="100"/>
                </a:cubicBezTo>
                <a:cubicBezTo>
                  <a:pt x="1439" y="100"/>
                  <a:pt x="1439" y="101"/>
                  <a:pt x="1439" y="101"/>
                </a:cubicBezTo>
                <a:cubicBezTo>
                  <a:pt x="1438" y="101"/>
                  <a:pt x="1438" y="102"/>
                  <a:pt x="1438" y="103"/>
                </a:cubicBezTo>
                <a:cubicBezTo>
                  <a:pt x="1438" y="103"/>
                  <a:pt x="1437" y="104"/>
                  <a:pt x="1437" y="104"/>
                </a:cubicBezTo>
                <a:cubicBezTo>
                  <a:pt x="1436" y="106"/>
                  <a:pt x="1437" y="109"/>
                  <a:pt x="1439" y="109"/>
                </a:cubicBezTo>
                <a:cubicBezTo>
                  <a:pt x="1442" y="111"/>
                  <a:pt x="1446" y="110"/>
                  <a:pt x="1449" y="113"/>
                </a:cubicBezTo>
                <a:cubicBezTo>
                  <a:pt x="1449" y="113"/>
                  <a:pt x="1449" y="113"/>
                  <a:pt x="1449" y="113"/>
                </a:cubicBezTo>
                <a:cubicBezTo>
                  <a:pt x="1450" y="114"/>
                  <a:pt x="1450" y="114"/>
                  <a:pt x="1450" y="114"/>
                </a:cubicBezTo>
                <a:cubicBezTo>
                  <a:pt x="1449" y="113"/>
                  <a:pt x="1449" y="113"/>
                  <a:pt x="1449" y="113"/>
                </a:cubicBezTo>
                <a:cubicBezTo>
                  <a:pt x="1449" y="113"/>
                  <a:pt x="1449" y="113"/>
                  <a:pt x="1449" y="113"/>
                </a:cubicBezTo>
                <a:cubicBezTo>
                  <a:pt x="1437" y="112"/>
                  <a:pt x="1426" y="112"/>
                  <a:pt x="1416" y="117"/>
                </a:cubicBezTo>
                <a:cubicBezTo>
                  <a:pt x="1411" y="120"/>
                  <a:pt x="1406" y="119"/>
                  <a:pt x="1401" y="118"/>
                </a:cubicBezTo>
                <a:cubicBezTo>
                  <a:pt x="1398" y="117"/>
                  <a:pt x="1395" y="117"/>
                  <a:pt x="1391" y="116"/>
                </a:cubicBezTo>
                <a:cubicBezTo>
                  <a:pt x="1390" y="116"/>
                  <a:pt x="1387" y="118"/>
                  <a:pt x="1387" y="120"/>
                </a:cubicBezTo>
                <a:cubicBezTo>
                  <a:pt x="1386" y="124"/>
                  <a:pt x="1386" y="129"/>
                  <a:pt x="1386" y="133"/>
                </a:cubicBezTo>
                <a:cubicBezTo>
                  <a:pt x="1386" y="135"/>
                  <a:pt x="1385" y="135"/>
                  <a:pt x="1384" y="135"/>
                </a:cubicBezTo>
                <a:cubicBezTo>
                  <a:pt x="1384" y="135"/>
                  <a:pt x="1384" y="134"/>
                  <a:pt x="1383" y="134"/>
                </a:cubicBezTo>
                <a:cubicBezTo>
                  <a:pt x="1382" y="122"/>
                  <a:pt x="1376" y="115"/>
                  <a:pt x="1366" y="110"/>
                </a:cubicBezTo>
                <a:cubicBezTo>
                  <a:pt x="1365" y="109"/>
                  <a:pt x="1365" y="109"/>
                  <a:pt x="1364" y="109"/>
                </a:cubicBezTo>
                <a:cubicBezTo>
                  <a:pt x="1362" y="107"/>
                  <a:pt x="1359" y="108"/>
                  <a:pt x="1357" y="110"/>
                </a:cubicBezTo>
                <a:cubicBezTo>
                  <a:pt x="1353" y="113"/>
                  <a:pt x="1350" y="116"/>
                  <a:pt x="1347" y="120"/>
                </a:cubicBezTo>
                <a:cubicBezTo>
                  <a:pt x="1348" y="122"/>
                  <a:pt x="1349" y="124"/>
                  <a:pt x="1348" y="126"/>
                </a:cubicBezTo>
                <a:close/>
                <a:moveTo>
                  <a:pt x="1313" y="229"/>
                </a:moveTo>
                <a:cubicBezTo>
                  <a:pt x="1313" y="229"/>
                  <a:pt x="1313" y="229"/>
                  <a:pt x="1313" y="228"/>
                </a:cubicBezTo>
                <a:cubicBezTo>
                  <a:pt x="1313" y="229"/>
                  <a:pt x="1313" y="229"/>
                  <a:pt x="1314" y="229"/>
                </a:cubicBezTo>
                <a:cubicBezTo>
                  <a:pt x="1314" y="229"/>
                  <a:pt x="1314" y="229"/>
                  <a:pt x="1314" y="229"/>
                </a:cubicBezTo>
                <a:lnTo>
                  <a:pt x="1313" y="229"/>
                </a:lnTo>
                <a:close/>
                <a:moveTo>
                  <a:pt x="1321" y="203"/>
                </a:moveTo>
                <a:cubicBezTo>
                  <a:pt x="1320" y="203"/>
                  <a:pt x="1320" y="203"/>
                  <a:pt x="1320" y="203"/>
                </a:cubicBezTo>
                <a:cubicBezTo>
                  <a:pt x="1320" y="202"/>
                  <a:pt x="1320" y="202"/>
                  <a:pt x="1320" y="202"/>
                </a:cubicBezTo>
                <a:cubicBezTo>
                  <a:pt x="1321" y="202"/>
                  <a:pt x="1321" y="202"/>
                  <a:pt x="1321" y="202"/>
                </a:cubicBezTo>
                <a:lnTo>
                  <a:pt x="1321" y="203"/>
                </a:lnTo>
                <a:close/>
                <a:moveTo>
                  <a:pt x="1338" y="241"/>
                </a:moveTo>
                <a:cubicBezTo>
                  <a:pt x="1338" y="241"/>
                  <a:pt x="1338" y="241"/>
                  <a:pt x="1338" y="241"/>
                </a:cubicBezTo>
                <a:cubicBezTo>
                  <a:pt x="1338" y="242"/>
                  <a:pt x="1337" y="242"/>
                  <a:pt x="1337" y="242"/>
                </a:cubicBezTo>
                <a:cubicBezTo>
                  <a:pt x="1337" y="243"/>
                  <a:pt x="1337" y="243"/>
                  <a:pt x="1336" y="243"/>
                </a:cubicBezTo>
                <a:cubicBezTo>
                  <a:pt x="1336" y="243"/>
                  <a:pt x="1335" y="244"/>
                  <a:pt x="1335" y="244"/>
                </a:cubicBezTo>
                <a:cubicBezTo>
                  <a:pt x="1336" y="243"/>
                  <a:pt x="1336" y="243"/>
                  <a:pt x="1337" y="242"/>
                </a:cubicBezTo>
                <a:cubicBezTo>
                  <a:pt x="1337" y="242"/>
                  <a:pt x="1338" y="241"/>
                  <a:pt x="1338" y="241"/>
                </a:cubicBezTo>
                <a:cubicBezTo>
                  <a:pt x="1338" y="241"/>
                  <a:pt x="1338" y="240"/>
                  <a:pt x="1338" y="240"/>
                </a:cubicBezTo>
                <a:cubicBezTo>
                  <a:pt x="1338" y="240"/>
                  <a:pt x="1338" y="240"/>
                  <a:pt x="1338" y="241"/>
                </a:cubicBezTo>
                <a:close/>
                <a:moveTo>
                  <a:pt x="1542" y="108"/>
                </a:moveTo>
                <a:cubicBezTo>
                  <a:pt x="1542" y="108"/>
                  <a:pt x="1543" y="108"/>
                  <a:pt x="1543" y="108"/>
                </a:cubicBezTo>
                <a:cubicBezTo>
                  <a:pt x="1543" y="108"/>
                  <a:pt x="1543" y="109"/>
                  <a:pt x="1543" y="109"/>
                </a:cubicBezTo>
                <a:cubicBezTo>
                  <a:pt x="1542" y="109"/>
                  <a:pt x="1542" y="109"/>
                  <a:pt x="1541" y="109"/>
                </a:cubicBezTo>
                <a:cubicBezTo>
                  <a:pt x="1541" y="108"/>
                  <a:pt x="1542" y="108"/>
                  <a:pt x="1542" y="108"/>
                </a:cubicBezTo>
                <a:close/>
                <a:moveTo>
                  <a:pt x="1367" y="90"/>
                </a:moveTo>
                <a:cubicBezTo>
                  <a:pt x="1367" y="90"/>
                  <a:pt x="1366" y="91"/>
                  <a:pt x="1366" y="91"/>
                </a:cubicBezTo>
                <a:cubicBezTo>
                  <a:pt x="1366" y="90"/>
                  <a:pt x="1366" y="90"/>
                  <a:pt x="1367" y="90"/>
                </a:cubicBezTo>
                <a:cubicBezTo>
                  <a:pt x="1367" y="90"/>
                  <a:pt x="1367" y="90"/>
                  <a:pt x="1367" y="90"/>
                </a:cubicBezTo>
                <a:close/>
                <a:moveTo>
                  <a:pt x="1417" y="171"/>
                </a:moveTo>
                <a:cubicBezTo>
                  <a:pt x="1417" y="172"/>
                  <a:pt x="1417" y="172"/>
                  <a:pt x="1417" y="172"/>
                </a:cubicBezTo>
                <a:cubicBezTo>
                  <a:pt x="1416" y="171"/>
                  <a:pt x="1416" y="171"/>
                  <a:pt x="1416" y="171"/>
                </a:cubicBezTo>
                <a:lnTo>
                  <a:pt x="1417" y="171"/>
                </a:lnTo>
                <a:close/>
                <a:moveTo>
                  <a:pt x="1209" y="480"/>
                </a:moveTo>
                <a:cubicBezTo>
                  <a:pt x="1216" y="480"/>
                  <a:pt x="1221" y="486"/>
                  <a:pt x="1228" y="485"/>
                </a:cubicBezTo>
                <a:cubicBezTo>
                  <a:pt x="1228" y="485"/>
                  <a:pt x="1229" y="485"/>
                  <a:pt x="1229" y="485"/>
                </a:cubicBezTo>
                <a:cubicBezTo>
                  <a:pt x="1230" y="486"/>
                  <a:pt x="1231" y="486"/>
                  <a:pt x="1232" y="487"/>
                </a:cubicBezTo>
                <a:cubicBezTo>
                  <a:pt x="1234" y="489"/>
                  <a:pt x="1237" y="491"/>
                  <a:pt x="1240" y="493"/>
                </a:cubicBezTo>
                <a:cubicBezTo>
                  <a:pt x="1241" y="494"/>
                  <a:pt x="1243" y="494"/>
                  <a:pt x="1244" y="494"/>
                </a:cubicBezTo>
                <a:cubicBezTo>
                  <a:pt x="1245" y="493"/>
                  <a:pt x="1246" y="492"/>
                  <a:pt x="1247" y="491"/>
                </a:cubicBezTo>
                <a:cubicBezTo>
                  <a:pt x="1246" y="490"/>
                  <a:pt x="1245" y="488"/>
                  <a:pt x="1244" y="487"/>
                </a:cubicBezTo>
                <a:cubicBezTo>
                  <a:pt x="1244" y="487"/>
                  <a:pt x="1244" y="487"/>
                  <a:pt x="1244" y="487"/>
                </a:cubicBezTo>
                <a:cubicBezTo>
                  <a:pt x="1241" y="487"/>
                  <a:pt x="1239" y="487"/>
                  <a:pt x="1238" y="484"/>
                </a:cubicBezTo>
                <a:cubicBezTo>
                  <a:pt x="1238" y="484"/>
                  <a:pt x="1238" y="484"/>
                  <a:pt x="1238" y="484"/>
                </a:cubicBezTo>
                <a:cubicBezTo>
                  <a:pt x="1237" y="483"/>
                  <a:pt x="1237" y="483"/>
                  <a:pt x="1237" y="483"/>
                </a:cubicBezTo>
                <a:cubicBezTo>
                  <a:pt x="1238" y="484"/>
                  <a:pt x="1238" y="484"/>
                  <a:pt x="1238" y="484"/>
                </a:cubicBezTo>
                <a:cubicBezTo>
                  <a:pt x="1238" y="484"/>
                  <a:pt x="1238" y="484"/>
                  <a:pt x="1238" y="484"/>
                </a:cubicBezTo>
                <a:cubicBezTo>
                  <a:pt x="1240" y="484"/>
                  <a:pt x="1243" y="484"/>
                  <a:pt x="1244" y="487"/>
                </a:cubicBezTo>
                <a:cubicBezTo>
                  <a:pt x="1244" y="487"/>
                  <a:pt x="1244" y="487"/>
                  <a:pt x="1244" y="487"/>
                </a:cubicBezTo>
                <a:cubicBezTo>
                  <a:pt x="1245" y="488"/>
                  <a:pt x="1246" y="489"/>
                  <a:pt x="1248" y="491"/>
                </a:cubicBezTo>
                <a:cubicBezTo>
                  <a:pt x="1247" y="491"/>
                  <a:pt x="1247" y="491"/>
                  <a:pt x="1247" y="491"/>
                </a:cubicBezTo>
                <a:cubicBezTo>
                  <a:pt x="1250" y="491"/>
                  <a:pt x="1252" y="490"/>
                  <a:pt x="1255" y="490"/>
                </a:cubicBezTo>
                <a:cubicBezTo>
                  <a:pt x="1259" y="488"/>
                  <a:pt x="1261" y="485"/>
                  <a:pt x="1261" y="480"/>
                </a:cubicBezTo>
                <a:cubicBezTo>
                  <a:pt x="1261" y="478"/>
                  <a:pt x="1261" y="476"/>
                  <a:pt x="1261" y="475"/>
                </a:cubicBezTo>
                <a:cubicBezTo>
                  <a:pt x="1261" y="475"/>
                  <a:pt x="1260" y="474"/>
                  <a:pt x="1260" y="474"/>
                </a:cubicBezTo>
                <a:cubicBezTo>
                  <a:pt x="1260" y="474"/>
                  <a:pt x="1260" y="474"/>
                  <a:pt x="1260" y="474"/>
                </a:cubicBezTo>
                <a:cubicBezTo>
                  <a:pt x="1258" y="471"/>
                  <a:pt x="1258" y="471"/>
                  <a:pt x="1261" y="468"/>
                </a:cubicBezTo>
                <a:cubicBezTo>
                  <a:pt x="1261" y="468"/>
                  <a:pt x="1261" y="468"/>
                  <a:pt x="1261" y="467"/>
                </a:cubicBezTo>
                <a:cubicBezTo>
                  <a:pt x="1261" y="466"/>
                  <a:pt x="1261" y="466"/>
                  <a:pt x="1262" y="467"/>
                </a:cubicBezTo>
                <a:cubicBezTo>
                  <a:pt x="1262" y="467"/>
                  <a:pt x="1261" y="468"/>
                  <a:pt x="1261" y="468"/>
                </a:cubicBezTo>
                <a:cubicBezTo>
                  <a:pt x="1261" y="468"/>
                  <a:pt x="1261" y="468"/>
                  <a:pt x="1261" y="468"/>
                </a:cubicBezTo>
                <a:cubicBezTo>
                  <a:pt x="1261" y="470"/>
                  <a:pt x="1260" y="472"/>
                  <a:pt x="1260" y="474"/>
                </a:cubicBezTo>
                <a:cubicBezTo>
                  <a:pt x="1260" y="474"/>
                  <a:pt x="1260" y="474"/>
                  <a:pt x="1261" y="474"/>
                </a:cubicBezTo>
                <a:cubicBezTo>
                  <a:pt x="1261" y="474"/>
                  <a:pt x="1261" y="474"/>
                  <a:pt x="1261" y="475"/>
                </a:cubicBezTo>
                <a:cubicBezTo>
                  <a:pt x="1264" y="476"/>
                  <a:pt x="1267" y="477"/>
                  <a:pt x="1271" y="479"/>
                </a:cubicBezTo>
                <a:cubicBezTo>
                  <a:pt x="1271" y="479"/>
                  <a:pt x="1272" y="481"/>
                  <a:pt x="1272" y="482"/>
                </a:cubicBezTo>
                <a:cubicBezTo>
                  <a:pt x="1272" y="482"/>
                  <a:pt x="1272" y="483"/>
                  <a:pt x="1272" y="483"/>
                </a:cubicBezTo>
                <a:cubicBezTo>
                  <a:pt x="1271" y="486"/>
                  <a:pt x="1269" y="489"/>
                  <a:pt x="1269" y="491"/>
                </a:cubicBezTo>
                <a:cubicBezTo>
                  <a:pt x="1270" y="493"/>
                  <a:pt x="1272" y="496"/>
                  <a:pt x="1273" y="498"/>
                </a:cubicBezTo>
                <a:cubicBezTo>
                  <a:pt x="1274" y="503"/>
                  <a:pt x="1277" y="508"/>
                  <a:pt x="1280" y="512"/>
                </a:cubicBezTo>
                <a:cubicBezTo>
                  <a:pt x="1282" y="514"/>
                  <a:pt x="1281" y="516"/>
                  <a:pt x="1279" y="516"/>
                </a:cubicBezTo>
                <a:cubicBezTo>
                  <a:pt x="1278" y="517"/>
                  <a:pt x="1276" y="517"/>
                  <a:pt x="1275" y="518"/>
                </a:cubicBezTo>
                <a:cubicBezTo>
                  <a:pt x="1274" y="519"/>
                  <a:pt x="1273" y="521"/>
                  <a:pt x="1272" y="522"/>
                </a:cubicBezTo>
                <a:cubicBezTo>
                  <a:pt x="1272" y="523"/>
                  <a:pt x="1273" y="524"/>
                  <a:pt x="1274" y="525"/>
                </a:cubicBezTo>
                <a:cubicBezTo>
                  <a:pt x="1278" y="526"/>
                  <a:pt x="1283" y="522"/>
                  <a:pt x="1287" y="525"/>
                </a:cubicBezTo>
                <a:cubicBezTo>
                  <a:pt x="1287" y="525"/>
                  <a:pt x="1288" y="525"/>
                  <a:pt x="1288" y="526"/>
                </a:cubicBezTo>
                <a:cubicBezTo>
                  <a:pt x="1289" y="527"/>
                  <a:pt x="1289" y="528"/>
                  <a:pt x="1288" y="528"/>
                </a:cubicBezTo>
                <a:cubicBezTo>
                  <a:pt x="1286" y="529"/>
                  <a:pt x="1285" y="529"/>
                  <a:pt x="1283" y="530"/>
                </a:cubicBezTo>
                <a:cubicBezTo>
                  <a:pt x="1282" y="531"/>
                  <a:pt x="1282" y="534"/>
                  <a:pt x="1283" y="535"/>
                </a:cubicBezTo>
                <a:cubicBezTo>
                  <a:pt x="1283" y="535"/>
                  <a:pt x="1285" y="536"/>
                  <a:pt x="1286" y="536"/>
                </a:cubicBezTo>
                <a:cubicBezTo>
                  <a:pt x="1287" y="536"/>
                  <a:pt x="1288" y="536"/>
                  <a:pt x="1289" y="535"/>
                </a:cubicBezTo>
                <a:cubicBezTo>
                  <a:pt x="1293" y="534"/>
                  <a:pt x="1296" y="535"/>
                  <a:pt x="1298" y="540"/>
                </a:cubicBezTo>
                <a:cubicBezTo>
                  <a:pt x="1298" y="541"/>
                  <a:pt x="1298" y="542"/>
                  <a:pt x="1299" y="543"/>
                </a:cubicBezTo>
                <a:cubicBezTo>
                  <a:pt x="1305" y="545"/>
                  <a:pt x="1305" y="549"/>
                  <a:pt x="1304" y="554"/>
                </a:cubicBezTo>
                <a:cubicBezTo>
                  <a:pt x="1303" y="559"/>
                  <a:pt x="1303" y="565"/>
                  <a:pt x="1303" y="570"/>
                </a:cubicBezTo>
                <a:cubicBezTo>
                  <a:pt x="1302" y="572"/>
                  <a:pt x="1302" y="574"/>
                  <a:pt x="1299" y="575"/>
                </a:cubicBezTo>
                <a:cubicBezTo>
                  <a:pt x="1296" y="576"/>
                  <a:pt x="1293" y="577"/>
                  <a:pt x="1291" y="580"/>
                </a:cubicBezTo>
                <a:cubicBezTo>
                  <a:pt x="1288" y="585"/>
                  <a:pt x="1283" y="588"/>
                  <a:pt x="1279" y="591"/>
                </a:cubicBezTo>
                <a:cubicBezTo>
                  <a:pt x="1270" y="597"/>
                  <a:pt x="1267" y="598"/>
                  <a:pt x="1272" y="611"/>
                </a:cubicBezTo>
                <a:cubicBezTo>
                  <a:pt x="1273" y="612"/>
                  <a:pt x="1272" y="614"/>
                  <a:pt x="1271" y="614"/>
                </a:cubicBezTo>
                <a:cubicBezTo>
                  <a:pt x="1266" y="614"/>
                  <a:pt x="1260" y="615"/>
                  <a:pt x="1255" y="617"/>
                </a:cubicBezTo>
                <a:cubicBezTo>
                  <a:pt x="1250" y="619"/>
                  <a:pt x="1245" y="619"/>
                  <a:pt x="1240" y="616"/>
                </a:cubicBezTo>
                <a:cubicBezTo>
                  <a:pt x="1237" y="614"/>
                  <a:pt x="1234" y="613"/>
                  <a:pt x="1231" y="611"/>
                </a:cubicBezTo>
                <a:cubicBezTo>
                  <a:pt x="1230" y="611"/>
                  <a:pt x="1228" y="611"/>
                  <a:pt x="1228" y="612"/>
                </a:cubicBezTo>
                <a:cubicBezTo>
                  <a:pt x="1225" y="616"/>
                  <a:pt x="1222" y="618"/>
                  <a:pt x="1219" y="621"/>
                </a:cubicBezTo>
                <a:cubicBezTo>
                  <a:pt x="1217" y="622"/>
                  <a:pt x="1216" y="625"/>
                  <a:pt x="1215" y="626"/>
                </a:cubicBezTo>
                <a:cubicBezTo>
                  <a:pt x="1213" y="629"/>
                  <a:pt x="1214" y="633"/>
                  <a:pt x="1216" y="636"/>
                </a:cubicBezTo>
                <a:cubicBezTo>
                  <a:pt x="1221" y="641"/>
                  <a:pt x="1227" y="645"/>
                  <a:pt x="1235" y="641"/>
                </a:cubicBezTo>
                <a:cubicBezTo>
                  <a:pt x="1237" y="640"/>
                  <a:pt x="1239" y="639"/>
                  <a:pt x="1241" y="639"/>
                </a:cubicBezTo>
                <a:cubicBezTo>
                  <a:pt x="1242" y="639"/>
                  <a:pt x="1244" y="638"/>
                  <a:pt x="1244" y="639"/>
                </a:cubicBezTo>
                <a:cubicBezTo>
                  <a:pt x="1250" y="642"/>
                  <a:pt x="1256" y="640"/>
                  <a:pt x="1262" y="641"/>
                </a:cubicBezTo>
                <a:cubicBezTo>
                  <a:pt x="1265" y="642"/>
                  <a:pt x="1267" y="643"/>
                  <a:pt x="1268" y="646"/>
                </a:cubicBezTo>
                <a:cubicBezTo>
                  <a:pt x="1271" y="650"/>
                  <a:pt x="1273" y="656"/>
                  <a:pt x="1276" y="660"/>
                </a:cubicBezTo>
                <a:cubicBezTo>
                  <a:pt x="1278" y="663"/>
                  <a:pt x="1280" y="665"/>
                  <a:pt x="1278" y="669"/>
                </a:cubicBezTo>
                <a:cubicBezTo>
                  <a:pt x="1277" y="671"/>
                  <a:pt x="1277" y="673"/>
                  <a:pt x="1279" y="675"/>
                </a:cubicBezTo>
                <a:cubicBezTo>
                  <a:pt x="1282" y="679"/>
                  <a:pt x="1285" y="683"/>
                  <a:pt x="1290" y="686"/>
                </a:cubicBezTo>
                <a:cubicBezTo>
                  <a:pt x="1290" y="686"/>
                  <a:pt x="1290" y="686"/>
                  <a:pt x="1290" y="686"/>
                </a:cubicBezTo>
                <a:cubicBezTo>
                  <a:pt x="1290" y="686"/>
                  <a:pt x="1291" y="686"/>
                  <a:pt x="1291" y="686"/>
                </a:cubicBezTo>
                <a:cubicBezTo>
                  <a:pt x="1290" y="685"/>
                  <a:pt x="1290" y="685"/>
                  <a:pt x="1290" y="685"/>
                </a:cubicBezTo>
                <a:cubicBezTo>
                  <a:pt x="1294" y="687"/>
                  <a:pt x="1297" y="690"/>
                  <a:pt x="1299" y="692"/>
                </a:cubicBezTo>
                <a:cubicBezTo>
                  <a:pt x="1304" y="697"/>
                  <a:pt x="1308" y="702"/>
                  <a:pt x="1315" y="703"/>
                </a:cubicBezTo>
                <a:cubicBezTo>
                  <a:pt x="1318" y="704"/>
                  <a:pt x="1321" y="707"/>
                  <a:pt x="1324" y="708"/>
                </a:cubicBezTo>
                <a:cubicBezTo>
                  <a:pt x="1327" y="709"/>
                  <a:pt x="1330" y="710"/>
                  <a:pt x="1333" y="711"/>
                </a:cubicBezTo>
                <a:cubicBezTo>
                  <a:pt x="1334" y="711"/>
                  <a:pt x="1335" y="711"/>
                  <a:pt x="1335" y="710"/>
                </a:cubicBezTo>
                <a:cubicBezTo>
                  <a:pt x="1337" y="707"/>
                  <a:pt x="1337" y="704"/>
                  <a:pt x="1336" y="700"/>
                </a:cubicBezTo>
                <a:cubicBezTo>
                  <a:pt x="1332" y="692"/>
                  <a:pt x="1327" y="684"/>
                  <a:pt x="1320" y="678"/>
                </a:cubicBezTo>
                <a:cubicBezTo>
                  <a:pt x="1318" y="676"/>
                  <a:pt x="1317" y="673"/>
                  <a:pt x="1317" y="669"/>
                </a:cubicBezTo>
                <a:cubicBezTo>
                  <a:pt x="1317" y="669"/>
                  <a:pt x="1317" y="669"/>
                  <a:pt x="1317" y="669"/>
                </a:cubicBezTo>
                <a:cubicBezTo>
                  <a:pt x="1317" y="669"/>
                  <a:pt x="1317" y="669"/>
                  <a:pt x="1317" y="668"/>
                </a:cubicBezTo>
                <a:cubicBezTo>
                  <a:pt x="1316" y="668"/>
                  <a:pt x="1316" y="668"/>
                  <a:pt x="1316" y="668"/>
                </a:cubicBezTo>
                <a:cubicBezTo>
                  <a:pt x="1316" y="668"/>
                  <a:pt x="1316" y="668"/>
                  <a:pt x="1317" y="668"/>
                </a:cubicBezTo>
                <a:cubicBezTo>
                  <a:pt x="1317" y="668"/>
                  <a:pt x="1317" y="668"/>
                  <a:pt x="1317" y="668"/>
                </a:cubicBezTo>
                <a:cubicBezTo>
                  <a:pt x="1317" y="668"/>
                  <a:pt x="1317" y="669"/>
                  <a:pt x="1317" y="669"/>
                </a:cubicBezTo>
                <a:cubicBezTo>
                  <a:pt x="1317" y="669"/>
                  <a:pt x="1317" y="669"/>
                  <a:pt x="1317" y="669"/>
                </a:cubicBezTo>
                <a:cubicBezTo>
                  <a:pt x="1322" y="671"/>
                  <a:pt x="1327" y="674"/>
                  <a:pt x="1330" y="678"/>
                </a:cubicBezTo>
                <a:cubicBezTo>
                  <a:pt x="1333" y="682"/>
                  <a:pt x="1337" y="684"/>
                  <a:pt x="1341" y="686"/>
                </a:cubicBezTo>
                <a:cubicBezTo>
                  <a:pt x="1344" y="687"/>
                  <a:pt x="1346" y="690"/>
                  <a:pt x="1347" y="693"/>
                </a:cubicBezTo>
                <a:cubicBezTo>
                  <a:pt x="1349" y="696"/>
                  <a:pt x="1350" y="699"/>
                  <a:pt x="1352" y="701"/>
                </a:cubicBezTo>
                <a:cubicBezTo>
                  <a:pt x="1353" y="702"/>
                  <a:pt x="1354" y="703"/>
                  <a:pt x="1355" y="703"/>
                </a:cubicBezTo>
                <a:cubicBezTo>
                  <a:pt x="1356" y="703"/>
                  <a:pt x="1357" y="701"/>
                  <a:pt x="1356" y="700"/>
                </a:cubicBezTo>
                <a:cubicBezTo>
                  <a:pt x="1353" y="696"/>
                  <a:pt x="1354" y="692"/>
                  <a:pt x="1357" y="688"/>
                </a:cubicBezTo>
                <a:cubicBezTo>
                  <a:pt x="1358" y="685"/>
                  <a:pt x="1360" y="682"/>
                  <a:pt x="1363" y="680"/>
                </a:cubicBezTo>
                <a:cubicBezTo>
                  <a:pt x="1365" y="679"/>
                  <a:pt x="1366" y="676"/>
                  <a:pt x="1365" y="673"/>
                </a:cubicBezTo>
                <a:cubicBezTo>
                  <a:pt x="1365" y="671"/>
                  <a:pt x="1364" y="670"/>
                  <a:pt x="1364" y="668"/>
                </a:cubicBezTo>
                <a:cubicBezTo>
                  <a:pt x="1361" y="663"/>
                  <a:pt x="1360" y="657"/>
                  <a:pt x="1361" y="651"/>
                </a:cubicBezTo>
                <a:cubicBezTo>
                  <a:pt x="1361" y="647"/>
                  <a:pt x="1359" y="645"/>
                  <a:pt x="1356" y="643"/>
                </a:cubicBezTo>
                <a:cubicBezTo>
                  <a:pt x="1353" y="640"/>
                  <a:pt x="1350" y="638"/>
                  <a:pt x="1348" y="635"/>
                </a:cubicBezTo>
                <a:cubicBezTo>
                  <a:pt x="1346" y="634"/>
                  <a:pt x="1345" y="632"/>
                  <a:pt x="1345" y="629"/>
                </a:cubicBezTo>
                <a:cubicBezTo>
                  <a:pt x="1346" y="624"/>
                  <a:pt x="1345" y="620"/>
                  <a:pt x="1341" y="616"/>
                </a:cubicBezTo>
                <a:cubicBezTo>
                  <a:pt x="1341" y="615"/>
                  <a:pt x="1341" y="614"/>
                  <a:pt x="1341" y="613"/>
                </a:cubicBezTo>
                <a:cubicBezTo>
                  <a:pt x="1341" y="613"/>
                  <a:pt x="1340" y="613"/>
                  <a:pt x="1340" y="613"/>
                </a:cubicBezTo>
                <a:cubicBezTo>
                  <a:pt x="1340" y="612"/>
                  <a:pt x="1340" y="612"/>
                  <a:pt x="1340" y="612"/>
                </a:cubicBezTo>
                <a:cubicBezTo>
                  <a:pt x="1341" y="613"/>
                  <a:pt x="1341" y="613"/>
                  <a:pt x="1341" y="613"/>
                </a:cubicBezTo>
                <a:cubicBezTo>
                  <a:pt x="1341" y="613"/>
                  <a:pt x="1341" y="613"/>
                  <a:pt x="1341" y="613"/>
                </a:cubicBezTo>
                <a:cubicBezTo>
                  <a:pt x="1342" y="613"/>
                  <a:pt x="1343" y="613"/>
                  <a:pt x="1344" y="613"/>
                </a:cubicBezTo>
                <a:cubicBezTo>
                  <a:pt x="1348" y="613"/>
                  <a:pt x="1349" y="613"/>
                  <a:pt x="1350" y="608"/>
                </a:cubicBezTo>
                <a:cubicBezTo>
                  <a:pt x="1351" y="607"/>
                  <a:pt x="1351" y="605"/>
                  <a:pt x="1352" y="604"/>
                </a:cubicBezTo>
                <a:cubicBezTo>
                  <a:pt x="1353" y="602"/>
                  <a:pt x="1355" y="602"/>
                  <a:pt x="1356" y="603"/>
                </a:cubicBezTo>
                <a:cubicBezTo>
                  <a:pt x="1358" y="606"/>
                  <a:pt x="1360" y="610"/>
                  <a:pt x="1363" y="613"/>
                </a:cubicBezTo>
                <a:cubicBezTo>
                  <a:pt x="1366" y="617"/>
                  <a:pt x="1368" y="621"/>
                  <a:pt x="1369" y="626"/>
                </a:cubicBezTo>
                <a:cubicBezTo>
                  <a:pt x="1369" y="628"/>
                  <a:pt x="1369" y="630"/>
                  <a:pt x="1370" y="632"/>
                </a:cubicBezTo>
                <a:cubicBezTo>
                  <a:pt x="1370" y="634"/>
                  <a:pt x="1371" y="635"/>
                  <a:pt x="1371" y="635"/>
                </a:cubicBezTo>
                <a:cubicBezTo>
                  <a:pt x="1375" y="638"/>
                  <a:pt x="1378" y="641"/>
                  <a:pt x="1382" y="642"/>
                </a:cubicBezTo>
                <a:cubicBezTo>
                  <a:pt x="1383" y="642"/>
                  <a:pt x="1385" y="642"/>
                  <a:pt x="1385" y="641"/>
                </a:cubicBezTo>
                <a:cubicBezTo>
                  <a:pt x="1386" y="638"/>
                  <a:pt x="1387" y="635"/>
                  <a:pt x="1388" y="631"/>
                </a:cubicBezTo>
                <a:cubicBezTo>
                  <a:pt x="1388" y="629"/>
                  <a:pt x="1389" y="628"/>
                  <a:pt x="1392" y="627"/>
                </a:cubicBezTo>
                <a:cubicBezTo>
                  <a:pt x="1393" y="626"/>
                  <a:pt x="1395" y="626"/>
                  <a:pt x="1396" y="626"/>
                </a:cubicBezTo>
                <a:cubicBezTo>
                  <a:pt x="1404" y="623"/>
                  <a:pt x="1407" y="615"/>
                  <a:pt x="1414" y="611"/>
                </a:cubicBezTo>
                <a:cubicBezTo>
                  <a:pt x="1416" y="610"/>
                  <a:pt x="1418" y="607"/>
                  <a:pt x="1419" y="605"/>
                </a:cubicBezTo>
                <a:cubicBezTo>
                  <a:pt x="1420" y="604"/>
                  <a:pt x="1420" y="602"/>
                  <a:pt x="1419" y="600"/>
                </a:cubicBezTo>
                <a:cubicBezTo>
                  <a:pt x="1418" y="596"/>
                  <a:pt x="1416" y="593"/>
                  <a:pt x="1412" y="592"/>
                </a:cubicBezTo>
                <a:cubicBezTo>
                  <a:pt x="1410" y="592"/>
                  <a:pt x="1407" y="592"/>
                  <a:pt x="1406" y="590"/>
                </a:cubicBezTo>
                <a:cubicBezTo>
                  <a:pt x="1406" y="590"/>
                  <a:pt x="1406" y="590"/>
                  <a:pt x="1406" y="590"/>
                </a:cubicBezTo>
                <a:cubicBezTo>
                  <a:pt x="1406" y="589"/>
                  <a:pt x="1406" y="589"/>
                  <a:pt x="1406" y="589"/>
                </a:cubicBezTo>
                <a:cubicBezTo>
                  <a:pt x="1406" y="589"/>
                  <a:pt x="1406" y="589"/>
                  <a:pt x="1406" y="590"/>
                </a:cubicBezTo>
                <a:cubicBezTo>
                  <a:pt x="1405" y="589"/>
                  <a:pt x="1405" y="587"/>
                  <a:pt x="1406" y="586"/>
                </a:cubicBezTo>
                <a:cubicBezTo>
                  <a:pt x="1406" y="586"/>
                  <a:pt x="1406" y="587"/>
                  <a:pt x="1406" y="587"/>
                </a:cubicBezTo>
                <a:cubicBezTo>
                  <a:pt x="1406" y="586"/>
                  <a:pt x="1406" y="586"/>
                  <a:pt x="1406" y="586"/>
                </a:cubicBezTo>
                <a:cubicBezTo>
                  <a:pt x="1406" y="586"/>
                  <a:pt x="1406" y="586"/>
                  <a:pt x="1406" y="586"/>
                </a:cubicBezTo>
                <a:cubicBezTo>
                  <a:pt x="1405" y="586"/>
                  <a:pt x="1405" y="584"/>
                  <a:pt x="1404" y="584"/>
                </a:cubicBezTo>
                <a:cubicBezTo>
                  <a:pt x="1403" y="584"/>
                  <a:pt x="1402" y="584"/>
                  <a:pt x="1401" y="584"/>
                </a:cubicBezTo>
                <a:cubicBezTo>
                  <a:pt x="1399" y="584"/>
                  <a:pt x="1398" y="584"/>
                  <a:pt x="1397" y="584"/>
                </a:cubicBezTo>
                <a:cubicBezTo>
                  <a:pt x="1395" y="583"/>
                  <a:pt x="1394" y="581"/>
                  <a:pt x="1395" y="579"/>
                </a:cubicBezTo>
                <a:cubicBezTo>
                  <a:pt x="1396" y="574"/>
                  <a:pt x="1397" y="573"/>
                  <a:pt x="1394" y="571"/>
                </a:cubicBezTo>
                <a:cubicBezTo>
                  <a:pt x="1391" y="570"/>
                  <a:pt x="1388" y="568"/>
                  <a:pt x="1388" y="564"/>
                </a:cubicBezTo>
                <a:cubicBezTo>
                  <a:pt x="1385" y="563"/>
                  <a:pt x="1382" y="562"/>
                  <a:pt x="1379" y="561"/>
                </a:cubicBezTo>
                <a:cubicBezTo>
                  <a:pt x="1377" y="560"/>
                  <a:pt x="1375" y="557"/>
                  <a:pt x="1374" y="555"/>
                </a:cubicBezTo>
                <a:cubicBezTo>
                  <a:pt x="1373" y="549"/>
                  <a:pt x="1370" y="546"/>
                  <a:pt x="1364" y="545"/>
                </a:cubicBezTo>
                <a:cubicBezTo>
                  <a:pt x="1362" y="545"/>
                  <a:pt x="1362" y="543"/>
                  <a:pt x="1363" y="541"/>
                </a:cubicBezTo>
                <a:cubicBezTo>
                  <a:pt x="1366" y="538"/>
                  <a:pt x="1370" y="534"/>
                  <a:pt x="1369" y="528"/>
                </a:cubicBezTo>
                <a:cubicBezTo>
                  <a:pt x="1368" y="527"/>
                  <a:pt x="1369" y="527"/>
                  <a:pt x="1371" y="527"/>
                </a:cubicBezTo>
                <a:cubicBezTo>
                  <a:pt x="1373" y="528"/>
                  <a:pt x="1376" y="529"/>
                  <a:pt x="1379" y="529"/>
                </a:cubicBezTo>
                <a:cubicBezTo>
                  <a:pt x="1380" y="530"/>
                  <a:pt x="1382" y="529"/>
                  <a:pt x="1383" y="528"/>
                </a:cubicBezTo>
                <a:cubicBezTo>
                  <a:pt x="1383" y="526"/>
                  <a:pt x="1383" y="525"/>
                  <a:pt x="1383" y="523"/>
                </a:cubicBezTo>
                <a:cubicBezTo>
                  <a:pt x="1383" y="522"/>
                  <a:pt x="1382" y="522"/>
                  <a:pt x="1382" y="522"/>
                </a:cubicBezTo>
                <a:cubicBezTo>
                  <a:pt x="1379" y="519"/>
                  <a:pt x="1378" y="516"/>
                  <a:pt x="1381" y="513"/>
                </a:cubicBezTo>
                <a:cubicBezTo>
                  <a:pt x="1383" y="511"/>
                  <a:pt x="1384" y="507"/>
                  <a:pt x="1382" y="504"/>
                </a:cubicBezTo>
                <a:cubicBezTo>
                  <a:pt x="1381" y="500"/>
                  <a:pt x="1378" y="495"/>
                  <a:pt x="1377" y="490"/>
                </a:cubicBezTo>
                <a:cubicBezTo>
                  <a:pt x="1376" y="483"/>
                  <a:pt x="1371" y="478"/>
                  <a:pt x="1364" y="476"/>
                </a:cubicBezTo>
                <a:cubicBezTo>
                  <a:pt x="1360" y="475"/>
                  <a:pt x="1358" y="474"/>
                  <a:pt x="1357" y="470"/>
                </a:cubicBezTo>
                <a:cubicBezTo>
                  <a:pt x="1357" y="469"/>
                  <a:pt x="1355" y="468"/>
                  <a:pt x="1354" y="467"/>
                </a:cubicBezTo>
                <a:cubicBezTo>
                  <a:pt x="1354" y="467"/>
                  <a:pt x="1354" y="467"/>
                  <a:pt x="1354" y="467"/>
                </a:cubicBezTo>
                <a:cubicBezTo>
                  <a:pt x="1353" y="468"/>
                  <a:pt x="1353" y="468"/>
                  <a:pt x="1353" y="468"/>
                </a:cubicBezTo>
                <a:cubicBezTo>
                  <a:pt x="1353" y="467"/>
                  <a:pt x="1353" y="467"/>
                  <a:pt x="1353" y="467"/>
                </a:cubicBezTo>
                <a:cubicBezTo>
                  <a:pt x="1353" y="467"/>
                  <a:pt x="1354" y="467"/>
                  <a:pt x="1354" y="467"/>
                </a:cubicBezTo>
                <a:cubicBezTo>
                  <a:pt x="1355" y="463"/>
                  <a:pt x="1355" y="459"/>
                  <a:pt x="1353" y="456"/>
                </a:cubicBezTo>
                <a:cubicBezTo>
                  <a:pt x="1352" y="454"/>
                  <a:pt x="1350" y="451"/>
                  <a:pt x="1348" y="449"/>
                </a:cubicBezTo>
                <a:cubicBezTo>
                  <a:pt x="1346" y="447"/>
                  <a:pt x="1343" y="446"/>
                  <a:pt x="1340" y="448"/>
                </a:cubicBezTo>
                <a:cubicBezTo>
                  <a:pt x="1337" y="449"/>
                  <a:pt x="1335" y="449"/>
                  <a:pt x="1334" y="447"/>
                </a:cubicBezTo>
                <a:cubicBezTo>
                  <a:pt x="1333" y="442"/>
                  <a:pt x="1330" y="443"/>
                  <a:pt x="1326" y="444"/>
                </a:cubicBezTo>
                <a:cubicBezTo>
                  <a:pt x="1326" y="444"/>
                  <a:pt x="1325" y="444"/>
                  <a:pt x="1325" y="443"/>
                </a:cubicBezTo>
                <a:cubicBezTo>
                  <a:pt x="1324" y="442"/>
                  <a:pt x="1324" y="442"/>
                  <a:pt x="1325" y="441"/>
                </a:cubicBezTo>
                <a:cubicBezTo>
                  <a:pt x="1327" y="439"/>
                  <a:pt x="1328" y="437"/>
                  <a:pt x="1329" y="435"/>
                </a:cubicBezTo>
                <a:cubicBezTo>
                  <a:pt x="1329" y="435"/>
                  <a:pt x="1329" y="433"/>
                  <a:pt x="1329" y="432"/>
                </a:cubicBezTo>
                <a:cubicBezTo>
                  <a:pt x="1328" y="431"/>
                  <a:pt x="1326" y="430"/>
                  <a:pt x="1325" y="429"/>
                </a:cubicBezTo>
                <a:cubicBezTo>
                  <a:pt x="1324" y="427"/>
                  <a:pt x="1326" y="425"/>
                  <a:pt x="1326" y="423"/>
                </a:cubicBezTo>
                <a:cubicBezTo>
                  <a:pt x="1326" y="420"/>
                  <a:pt x="1325" y="418"/>
                  <a:pt x="1323" y="416"/>
                </a:cubicBezTo>
                <a:cubicBezTo>
                  <a:pt x="1318" y="412"/>
                  <a:pt x="1312" y="408"/>
                  <a:pt x="1307" y="404"/>
                </a:cubicBezTo>
                <a:cubicBezTo>
                  <a:pt x="1307" y="404"/>
                  <a:pt x="1307" y="404"/>
                  <a:pt x="1307" y="404"/>
                </a:cubicBezTo>
                <a:cubicBezTo>
                  <a:pt x="1307" y="404"/>
                  <a:pt x="1307" y="404"/>
                  <a:pt x="1307" y="404"/>
                </a:cubicBezTo>
                <a:cubicBezTo>
                  <a:pt x="1307" y="405"/>
                  <a:pt x="1307" y="405"/>
                  <a:pt x="1307" y="405"/>
                </a:cubicBezTo>
                <a:cubicBezTo>
                  <a:pt x="1302" y="404"/>
                  <a:pt x="1298" y="406"/>
                  <a:pt x="1293" y="409"/>
                </a:cubicBezTo>
                <a:cubicBezTo>
                  <a:pt x="1289" y="411"/>
                  <a:pt x="1285" y="411"/>
                  <a:pt x="1281" y="409"/>
                </a:cubicBezTo>
                <a:cubicBezTo>
                  <a:pt x="1277" y="407"/>
                  <a:pt x="1274" y="408"/>
                  <a:pt x="1271" y="410"/>
                </a:cubicBezTo>
                <a:cubicBezTo>
                  <a:pt x="1271" y="411"/>
                  <a:pt x="1271" y="411"/>
                  <a:pt x="1271" y="411"/>
                </a:cubicBezTo>
                <a:cubicBezTo>
                  <a:pt x="1270" y="411"/>
                  <a:pt x="1270" y="412"/>
                  <a:pt x="1269" y="412"/>
                </a:cubicBezTo>
                <a:cubicBezTo>
                  <a:pt x="1270" y="412"/>
                  <a:pt x="1270" y="411"/>
                  <a:pt x="1271" y="411"/>
                </a:cubicBezTo>
                <a:cubicBezTo>
                  <a:pt x="1271" y="410"/>
                  <a:pt x="1271" y="410"/>
                  <a:pt x="1271" y="410"/>
                </a:cubicBezTo>
                <a:cubicBezTo>
                  <a:pt x="1272" y="407"/>
                  <a:pt x="1272" y="405"/>
                  <a:pt x="1273" y="402"/>
                </a:cubicBezTo>
                <a:cubicBezTo>
                  <a:pt x="1275" y="395"/>
                  <a:pt x="1278" y="388"/>
                  <a:pt x="1278" y="380"/>
                </a:cubicBezTo>
                <a:cubicBezTo>
                  <a:pt x="1278" y="378"/>
                  <a:pt x="1279" y="376"/>
                  <a:pt x="1280" y="375"/>
                </a:cubicBezTo>
                <a:cubicBezTo>
                  <a:pt x="1280" y="374"/>
                  <a:pt x="1280" y="373"/>
                  <a:pt x="1280" y="372"/>
                </a:cubicBezTo>
                <a:cubicBezTo>
                  <a:pt x="1280" y="365"/>
                  <a:pt x="1278" y="364"/>
                  <a:pt x="1273" y="363"/>
                </a:cubicBezTo>
                <a:cubicBezTo>
                  <a:pt x="1270" y="362"/>
                  <a:pt x="1267" y="362"/>
                  <a:pt x="1265" y="363"/>
                </a:cubicBezTo>
                <a:cubicBezTo>
                  <a:pt x="1258" y="364"/>
                  <a:pt x="1252" y="368"/>
                  <a:pt x="1246" y="368"/>
                </a:cubicBezTo>
                <a:cubicBezTo>
                  <a:pt x="1240" y="368"/>
                  <a:pt x="1235" y="370"/>
                  <a:pt x="1231" y="375"/>
                </a:cubicBezTo>
                <a:cubicBezTo>
                  <a:pt x="1230" y="377"/>
                  <a:pt x="1227" y="378"/>
                  <a:pt x="1225" y="380"/>
                </a:cubicBezTo>
                <a:cubicBezTo>
                  <a:pt x="1220" y="386"/>
                  <a:pt x="1218" y="392"/>
                  <a:pt x="1221" y="400"/>
                </a:cubicBezTo>
                <a:cubicBezTo>
                  <a:pt x="1221" y="401"/>
                  <a:pt x="1222" y="403"/>
                  <a:pt x="1219" y="403"/>
                </a:cubicBezTo>
                <a:cubicBezTo>
                  <a:pt x="1216" y="404"/>
                  <a:pt x="1215" y="406"/>
                  <a:pt x="1212" y="407"/>
                </a:cubicBezTo>
                <a:cubicBezTo>
                  <a:pt x="1210" y="409"/>
                  <a:pt x="1208" y="411"/>
                  <a:pt x="1209" y="414"/>
                </a:cubicBezTo>
                <a:cubicBezTo>
                  <a:pt x="1210" y="418"/>
                  <a:pt x="1211" y="421"/>
                  <a:pt x="1212" y="424"/>
                </a:cubicBezTo>
                <a:cubicBezTo>
                  <a:pt x="1213" y="425"/>
                  <a:pt x="1213" y="426"/>
                  <a:pt x="1213" y="427"/>
                </a:cubicBezTo>
                <a:cubicBezTo>
                  <a:pt x="1213" y="427"/>
                  <a:pt x="1212" y="428"/>
                  <a:pt x="1212" y="428"/>
                </a:cubicBezTo>
                <a:cubicBezTo>
                  <a:pt x="1211" y="429"/>
                  <a:pt x="1210" y="429"/>
                  <a:pt x="1209" y="429"/>
                </a:cubicBezTo>
                <a:cubicBezTo>
                  <a:pt x="1205" y="425"/>
                  <a:pt x="1202" y="414"/>
                  <a:pt x="1204" y="409"/>
                </a:cubicBezTo>
                <a:cubicBezTo>
                  <a:pt x="1204" y="409"/>
                  <a:pt x="1204" y="408"/>
                  <a:pt x="1205" y="408"/>
                </a:cubicBezTo>
                <a:cubicBezTo>
                  <a:pt x="1206" y="406"/>
                  <a:pt x="1206" y="404"/>
                  <a:pt x="1208" y="402"/>
                </a:cubicBezTo>
                <a:cubicBezTo>
                  <a:pt x="1211" y="398"/>
                  <a:pt x="1211" y="394"/>
                  <a:pt x="1211" y="390"/>
                </a:cubicBezTo>
                <a:cubicBezTo>
                  <a:pt x="1211" y="387"/>
                  <a:pt x="1212" y="384"/>
                  <a:pt x="1214" y="382"/>
                </a:cubicBezTo>
                <a:cubicBezTo>
                  <a:pt x="1216" y="381"/>
                  <a:pt x="1217" y="379"/>
                  <a:pt x="1219" y="378"/>
                </a:cubicBezTo>
                <a:cubicBezTo>
                  <a:pt x="1225" y="370"/>
                  <a:pt x="1232" y="365"/>
                  <a:pt x="1241" y="361"/>
                </a:cubicBezTo>
                <a:cubicBezTo>
                  <a:pt x="1242" y="360"/>
                  <a:pt x="1243" y="359"/>
                  <a:pt x="1243" y="358"/>
                </a:cubicBezTo>
                <a:cubicBezTo>
                  <a:pt x="1243" y="358"/>
                  <a:pt x="1244" y="356"/>
                  <a:pt x="1243" y="356"/>
                </a:cubicBezTo>
                <a:cubicBezTo>
                  <a:pt x="1242" y="354"/>
                  <a:pt x="1240" y="352"/>
                  <a:pt x="1238" y="351"/>
                </a:cubicBezTo>
                <a:cubicBezTo>
                  <a:pt x="1227" y="347"/>
                  <a:pt x="1217" y="349"/>
                  <a:pt x="1207" y="355"/>
                </a:cubicBezTo>
                <a:cubicBezTo>
                  <a:pt x="1202" y="357"/>
                  <a:pt x="1198" y="361"/>
                  <a:pt x="1194" y="365"/>
                </a:cubicBezTo>
                <a:cubicBezTo>
                  <a:pt x="1187" y="370"/>
                  <a:pt x="1184" y="378"/>
                  <a:pt x="1177" y="383"/>
                </a:cubicBezTo>
                <a:cubicBezTo>
                  <a:pt x="1176" y="383"/>
                  <a:pt x="1175" y="384"/>
                  <a:pt x="1175" y="385"/>
                </a:cubicBezTo>
                <a:cubicBezTo>
                  <a:pt x="1174" y="387"/>
                  <a:pt x="1172" y="389"/>
                  <a:pt x="1171" y="391"/>
                </a:cubicBezTo>
                <a:cubicBezTo>
                  <a:pt x="1170" y="393"/>
                  <a:pt x="1170" y="395"/>
                  <a:pt x="1168" y="396"/>
                </a:cubicBezTo>
                <a:cubicBezTo>
                  <a:pt x="1162" y="402"/>
                  <a:pt x="1160" y="410"/>
                  <a:pt x="1156" y="418"/>
                </a:cubicBezTo>
                <a:cubicBezTo>
                  <a:pt x="1154" y="421"/>
                  <a:pt x="1156" y="425"/>
                  <a:pt x="1160" y="427"/>
                </a:cubicBezTo>
                <a:cubicBezTo>
                  <a:pt x="1164" y="429"/>
                  <a:pt x="1169" y="430"/>
                  <a:pt x="1173" y="432"/>
                </a:cubicBezTo>
                <a:cubicBezTo>
                  <a:pt x="1174" y="433"/>
                  <a:pt x="1175" y="434"/>
                  <a:pt x="1176" y="436"/>
                </a:cubicBezTo>
                <a:cubicBezTo>
                  <a:pt x="1176" y="436"/>
                  <a:pt x="1176" y="438"/>
                  <a:pt x="1176" y="438"/>
                </a:cubicBezTo>
                <a:cubicBezTo>
                  <a:pt x="1175" y="439"/>
                  <a:pt x="1174" y="440"/>
                  <a:pt x="1173" y="439"/>
                </a:cubicBezTo>
                <a:cubicBezTo>
                  <a:pt x="1170" y="438"/>
                  <a:pt x="1167" y="436"/>
                  <a:pt x="1164" y="434"/>
                </a:cubicBezTo>
                <a:cubicBezTo>
                  <a:pt x="1160" y="432"/>
                  <a:pt x="1155" y="435"/>
                  <a:pt x="1155" y="440"/>
                </a:cubicBezTo>
                <a:cubicBezTo>
                  <a:pt x="1155" y="443"/>
                  <a:pt x="1155" y="446"/>
                  <a:pt x="1155" y="448"/>
                </a:cubicBezTo>
                <a:cubicBezTo>
                  <a:pt x="1155" y="452"/>
                  <a:pt x="1158" y="455"/>
                  <a:pt x="1161" y="458"/>
                </a:cubicBezTo>
                <a:cubicBezTo>
                  <a:pt x="1163" y="461"/>
                  <a:pt x="1166" y="461"/>
                  <a:pt x="1168" y="461"/>
                </a:cubicBezTo>
                <a:cubicBezTo>
                  <a:pt x="1170" y="461"/>
                  <a:pt x="1171" y="461"/>
                  <a:pt x="1173" y="462"/>
                </a:cubicBezTo>
                <a:cubicBezTo>
                  <a:pt x="1176" y="462"/>
                  <a:pt x="1177" y="465"/>
                  <a:pt x="1178" y="467"/>
                </a:cubicBezTo>
                <a:cubicBezTo>
                  <a:pt x="1181" y="470"/>
                  <a:pt x="1184" y="473"/>
                  <a:pt x="1189" y="472"/>
                </a:cubicBezTo>
                <a:cubicBezTo>
                  <a:pt x="1192" y="471"/>
                  <a:pt x="1194" y="474"/>
                  <a:pt x="1195" y="477"/>
                </a:cubicBezTo>
                <a:cubicBezTo>
                  <a:pt x="1198" y="478"/>
                  <a:pt x="1202" y="478"/>
                  <a:pt x="1204" y="480"/>
                </a:cubicBezTo>
                <a:cubicBezTo>
                  <a:pt x="1206" y="480"/>
                  <a:pt x="1208" y="479"/>
                  <a:pt x="1209" y="480"/>
                </a:cubicBezTo>
                <a:close/>
                <a:moveTo>
                  <a:pt x="1293" y="639"/>
                </a:moveTo>
                <a:cubicBezTo>
                  <a:pt x="1293" y="639"/>
                  <a:pt x="1291" y="638"/>
                  <a:pt x="1290" y="638"/>
                </a:cubicBezTo>
                <a:cubicBezTo>
                  <a:pt x="1290" y="638"/>
                  <a:pt x="1290" y="637"/>
                  <a:pt x="1290" y="636"/>
                </a:cubicBezTo>
                <a:cubicBezTo>
                  <a:pt x="1292" y="633"/>
                  <a:pt x="1293" y="631"/>
                  <a:pt x="1295" y="628"/>
                </a:cubicBezTo>
                <a:cubicBezTo>
                  <a:pt x="1295" y="626"/>
                  <a:pt x="1296" y="626"/>
                  <a:pt x="1297" y="627"/>
                </a:cubicBezTo>
                <a:cubicBezTo>
                  <a:pt x="1298" y="627"/>
                  <a:pt x="1298" y="627"/>
                  <a:pt x="1298" y="628"/>
                </a:cubicBezTo>
                <a:cubicBezTo>
                  <a:pt x="1299" y="629"/>
                  <a:pt x="1299" y="631"/>
                  <a:pt x="1300" y="632"/>
                </a:cubicBezTo>
                <a:cubicBezTo>
                  <a:pt x="1300" y="635"/>
                  <a:pt x="1297" y="638"/>
                  <a:pt x="1293" y="639"/>
                </a:cubicBezTo>
                <a:close/>
                <a:moveTo>
                  <a:pt x="1370" y="495"/>
                </a:moveTo>
                <a:cubicBezTo>
                  <a:pt x="1371" y="495"/>
                  <a:pt x="1372" y="495"/>
                  <a:pt x="1372" y="496"/>
                </a:cubicBezTo>
                <a:cubicBezTo>
                  <a:pt x="1372" y="498"/>
                  <a:pt x="1372" y="499"/>
                  <a:pt x="1370" y="500"/>
                </a:cubicBezTo>
                <a:cubicBezTo>
                  <a:pt x="1370" y="500"/>
                  <a:pt x="1370" y="500"/>
                  <a:pt x="1370" y="500"/>
                </a:cubicBezTo>
                <a:cubicBezTo>
                  <a:pt x="1369" y="501"/>
                  <a:pt x="1369" y="501"/>
                  <a:pt x="1369" y="501"/>
                </a:cubicBezTo>
                <a:cubicBezTo>
                  <a:pt x="1370" y="500"/>
                  <a:pt x="1370" y="500"/>
                  <a:pt x="1370" y="500"/>
                </a:cubicBezTo>
                <a:cubicBezTo>
                  <a:pt x="1370" y="500"/>
                  <a:pt x="1370" y="500"/>
                  <a:pt x="1370" y="500"/>
                </a:cubicBezTo>
                <a:cubicBezTo>
                  <a:pt x="1370" y="498"/>
                  <a:pt x="1369" y="497"/>
                  <a:pt x="1369" y="496"/>
                </a:cubicBezTo>
                <a:cubicBezTo>
                  <a:pt x="1369" y="496"/>
                  <a:pt x="1370" y="495"/>
                  <a:pt x="1370" y="495"/>
                </a:cubicBezTo>
                <a:close/>
                <a:moveTo>
                  <a:pt x="1267" y="414"/>
                </a:moveTo>
                <a:cubicBezTo>
                  <a:pt x="1268" y="414"/>
                  <a:pt x="1268" y="413"/>
                  <a:pt x="1269" y="413"/>
                </a:cubicBezTo>
                <a:cubicBezTo>
                  <a:pt x="1268" y="413"/>
                  <a:pt x="1268" y="414"/>
                  <a:pt x="1268" y="414"/>
                </a:cubicBezTo>
                <a:cubicBezTo>
                  <a:pt x="1268" y="414"/>
                  <a:pt x="1266" y="416"/>
                  <a:pt x="1267" y="414"/>
                </a:cubicBezTo>
                <a:close/>
                <a:moveTo>
                  <a:pt x="1207" y="435"/>
                </a:moveTo>
                <a:cubicBezTo>
                  <a:pt x="1208" y="436"/>
                  <a:pt x="1208" y="436"/>
                  <a:pt x="1208" y="436"/>
                </a:cubicBezTo>
                <a:cubicBezTo>
                  <a:pt x="1207" y="436"/>
                  <a:pt x="1207" y="436"/>
                  <a:pt x="1207" y="436"/>
                </a:cubicBezTo>
                <a:lnTo>
                  <a:pt x="1207" y="435"/>
                </a:lnTo>
                <a:close/>
                <a:moveTo>
                  <a:pt x="923" y="295"/>
                </a:moveTo>
                <a:cubicBezTo>
                  <a:pt x="923" y="295"/>
                  <a:pt x="924" y="295"/>
                  <a:pt x="924" y="295"/>
                </a:cubicBezTo>
                <a:cubicBezTo>
                  <a:pt x="923" y="295"/>
                  <a:pt x="923" y="295"/>
                  <a:pt x="923" y="295"/>
                </a:cubicBezTo>
                <a:cubicBezTo>
                  <a:pt x="923" y="295"/>
                  <a:pt x="923" y="295"/>
                  <a:pt x="923" y="295"/>
                </a:cubicBezTo>
                <a:cubicBezTo>
                  <a:pt x="923" y="295"/>
                  <a:pt x="923" y="295"/>
                  <a:pt x="923" y="295"/>
                </a:cubicBezTo>
                <a:close/>
                <a:moveTo>
                  <a:pt x="923" y="295"/>
                </a:moveTo>
                <a:cubicBezTo>
                  <a:pt x="921" y="297"/>
                  <a:pt x="919" y="298"/>
                  <a:pt x="916" y="298"/>
                </a:cubicBezTo>
                <a:cubicBezTo>
                  <a:pt x="913" y="298"/>
                  <a:pt x="910" y="298"/>
                  <a:pt x="907" y="299"/>
                </a:cubicBezTo>
                <a:cubicBezTo>
                  <a:pt x="906" y="299"/>
                  <a:pt x="906" y="300"/>
                  <a:pt x="905" y="301"/>
                </a:cubicBezTo>
                <a:cubicBezTo>
                  <a:pt x="898" y="305"/>
                  <a:pt x="890" y="308"/>
                  <a:pt x="882" y="311"/>
                </a:cubicBezTo>
                <a:cubicBezTo>
                  <a:pt x="879" y="312"/>
                  <a:pt x="875" y="314"/>
                  <a:pt x="875" y="319"/>
                </a:cubicBezTo>
                <a:cubicBezTo>
                  <a:pt x="875" y="321"/>
                  <a:pt x="873" y="321"/>
                  <a:pt x="872" y="322"/>
                </a:cubicBezTo>
                <a:cubicBezTo>
                  <a:pt x="869" y="324"/>
                  <a:pt x="867" y="325"/>
                  <a:pt x="865" y="326"/>
                </a:cubicBezTo>
                <a:cubicBezTo>
                  <a:pt x="862" y="329"/>
                  <a:pt x="858" y="331"/>
                  <a:pt x="858" y="335"/>
                </a:cubicBezTo>
                <a:cubicBezTo>
                  <a:pt x="858" y="338"/>
                  <a:pt x="860" y="340"/>
                  <a:pt x="861" y="343"/>
                </a:cubicBezTo>
                <a:cubicBezTo>
                  <a:pt x="861" y="343"/>
                  <a:pt x="861" y="344"/>
                  <a:pt x="861" y="344"/>
                </a:cubicBezTo>
                <a:cubicBezTo>
                  <a:pt x="862" y="347"/>
                  <a:pt x="863" y="348"/>
                  <a:pt x="866" y="348"/>
                </a:cubicBezTo>
                <a:cubicBezTo>
                  <a:pt x="871" y="349"/>
                  <a:pt x="876" y="349"/>
                  <a:pt x="880" y="350"/>
                </a:cubicBezTo>
                <a:cubicBezTo>
                  <a:pt x="881" y="350"/>
                  <a:pt x="881" y="351"/>
                  <a:pt x="881" y="351"/>
                </a:cubicBezTo>
                <a:cubicBezTo>
                  <a:pt x="882" y="352"/>
                  <a:pt x="881" y="353"/>
                  <a:pt x="880" y="353"/>
                </a:cubicBezTo>
                <a:cubicBezTo>
                  <a:pt x="874" y="354"/>
                  <a:pt x="869" y="354"/>
                  <a:pt x="863" y="355"/>
                </a:cubicBezTo>
                <a:cubicBezTo>
                  <a:pt x="860" y="355"/>
                  <a:pt x="857" y="356"/>
                  <a:pt x="854" y="358"/>
                </a:cubicBezTo>
                <a:cubicBezTo>
                  <a:pt x="853" y="359"/>
                  <a:pt x="852" y="361"/>
                  <a:pt x="852" y="362"/>
                </a:cubicBezTo>
                <a:cubicBezTo>
                  <a:pt x="851" y="364"/>
                  <a:pt x="852" y="366"/>
                  <a:pt x="852" y="369"/>
                </a:cubicBezTo>
                <a:cubicBezTo>
                  <a:pt x="853" y="374"/>
                  <a:pt x="853" y="376"/>
                  <a:pt x="861" y="378"/>
                </a:cubicBezTo>
                <a:cubicBezTo>
                  <a:pt x="870" y="380"/>
                  <a:pt x="879" y="383"/>
                  <a:pt x="889" y="382"/>
                </a:cubicBezTo>
                <a:cubicBezTo>
                  <a:pt x="890" y="382"/>
                  <a:pt x="892" y="382"/>
                  <a:pt x="893" y="383"/>
                </a:cubicBezTo>
                <a:cubicBezTo>
                  <a:pt x="900" y="388"/>
                  <a:pt x="906" y="392"/>
                  <a:pt x="909" y="399"/>
                </a:cubicBezTo>
                <a:cubicBezTo>
                  <a:pt x="910" y="401"/>
                  <a:pt x="910" y="402"/>
                  <a:pt x="909" y="402"/>
                </a:cubicBezTo>
                <a:cubicBezTo>
                  <a:pt x="909" y="402"/>
                  <a:pt x="908" y="402"/>
                  <a:pt x="908" y="402"/>
                </a:cubicBezTo>
                <a:cubicBezTo>
                  <a:pt x="900" y="401"/>
                  <a:pt x="892" y="399"/>
                  <a:pt x="884" y="395"/>
                </a:cubicBezTo>
                <a:cubicBezTo>
                  <a:pt x="881" y="394"/>
                  <a:pt x="878" y="392"/>
                  <a:pt x="875" y="392"/>
                </a:cubicBezTo>
                <a:cubicBezTo>
                  <a:pt x="868" y="391"/>
                  <a:pt x="860" y="391"/>
                  <a:pt x="852" y="391"/>
                </a:cubicBezTo>
                <a:cubicBezTo>
                  <a:pt x="849" y="391"/>
                  <a:pt x="846" y="394"/>
                  <a:pt x="845" y="397"/>
                </a:cubicBezTo>
                <a:cubicBezTo>
                  <a:pt x="843" y="401"/>
                  <a:pt x="843" y="405"/>
                  <a:pt x="843" y="410"/>
                </a:cubicBezTo>
                <a:cubicBezTo>
                  <a:pt x="844" y="418"/>
                  <a:pt x="848" y="423"/>
                  <a:pt x="856" y="426"/>
                </a:cubicBezTo>
                <a:cubicBezTo>
                  <a:pt x="859" y="427"/>
                  <a:pt x="863" y="428"/>
                  <a:pt x="866" y="429"/>
                </a:cubicBezTo>
                <a:cubicBezTo>
                  <a:pt x="867" y="430"/>
                  <a:pt x="869" y="432"/>
                  <a:pt x="868" y="433"/>
                </a:cubicBezTo>
                <a:cubicBezTo>
                  <a:pt x="868" y="436"/>
                  <a:pt x="866" y="438"/>
                  <a:pt x="865" y="441"/>
                </a:cubicBezTo>
                <a:cubicBezTo>
                  <a:pt x="864" y="442"/>
                  <a:pt x="864" y="444"/>
                  <a:pt x="864" y="445"/>
                </a:cubicBezTo>
                <a:cubicBezTo>
                  <a:pt x="864" y="449"/>
                  <a:pt x="865" y="452"/>
                  <a:pt x="866" y="455"/>
                </a:cubicBezTo>
                <a:cubicBezTo>
                  <a:pt x="866" y="456"/>
                  <a:pt x="868" y="457"/>
                  <a:pt x="869" y="457"/>
                </a:cubicBezTo>
                <a:cubicBezTo>
                  <a:pt x="870" y="457"/>
                  <a:pt x="872" y="457"/>
                  <a:pt x="873" y="457"/>
                </a:cubicBezTo>
                <a:cubicBezTo>
                  <a:pt x="881" y="458"/>
                  <a:pt x="889" y="457"/>
                  <a:pt x="896" y="459"/>
                </a:cubicBezTo>
                <a:cubicBezTo>
                  <a:pt x="901" y="461"/>
                  <a:pt x="905" y="460"/>
                  <a:pt x="909" y="458"/>
                </a:cubicBezTo>
                <a:cubicBezTo>
                  <a:pt x="911" y="457"/>
                  <a:pt x="914" y="456"/>
                  <a:pt x="916" y="454"/>
                </a:cubicBezTo>
                <a:cubicBezTo>
                  <a:pt x="920" y="452"/>
                  <a:pt x="924" y="451"/>
                  <a:pt x="927" y="452"/>
                </a:cubicBezTo>
                <a:cubicBezTo>
                  <a:pt x="932" y="453"/>
                  <a:pt x="936" y="452"/>
                  <a:pt x="940" y="449"/>
                </a:cubicBezTo>
                <a:cubicBezTo>
                  <a:pt x="942" y="448"/>
                  <a:pt x="944" y="447"/>
                  <a:pt x="946" y="446"/>
                </a:cubicBezTo>
                <a:cubicBezTo>
                  <a:pt x="947" y="445"/>
                  <a:pt x="948" y="445"/>
                  <a:pt x="948" y="447"/>
                </a:cubicBezTo>
                <a:cubicBezTo>
                  <a:pt x="949" y="447"/>
                  <a:pt x="949" y="447"/>
                  <a:pt x="949" y="448"/>
                </a:cubicBezTo>
                <a:cubicBezTo>
                  <a:pt x="950" y="451"/>
                  <a:pt x="952" y="452"/>
                  <a:pt x="955" y="453"/>
                </a:cubicBezTo>
                <a:cubicBezTo>
                  <a:pt x="958" y="455"/>
                  <a:pt x="957" y="460"/>
                  <a:pt x="959" y="462"/>
                </a:cubicBezTo>
                <a:cubicBezTo>
                  <a:pt x="960" y="462"/>
                  <a:pt x="960" y="463"/>
                  <a:pt x="960" y="463"/>
                </a:cubicBezTo>
                <a:cubicBezTo>
                  <a:pt x="966" y="465"/>
                  <a:pt x="971" y="467"/>
                  <a:pt x="976" y="468"/>
                </a:cubicBezTo>
                <a:cubicBezTo>
                  <a:pt x="982" y="469"/>
                  <a:pt x="987" y="469"/>
                  <a:pt x="993" y="467"/>
                </a:cubicBezTo>
                <a:cubicBezTo>
                  <a:pt x="995" y="467"/>
                  <a:pt x="998" y="465"/>
                  <a:pt x="999" y="462"/>
                </a:cubicBezTo>
                <a:cubicBezTo>
                  <a:pt x="1000" y="457"/>
                  <a:pt x="1000" y="452"/>
                  <a:pt x="996" y="448"/>
                </a:cubicBezTo>
                <a:cubicBezTo>
                  <a:pt x="996" y="448"/>
                  <a:pt x="996" y="448"/>
                  <a:pt x="996" y="448"/>
                </a:cubicBezTo>
                <a:cubicBezTo>
                  <a:pt x="995" y="449"/>
                  <a:pt x="994" y="450"/>
                  <a:pt x="992" y="450"/>
                </a:cubicBezTo>
                <a:cubicBezTo>
                  <a:pt x="992" y="450"/>
                  <a:pt x="991" y="450"/>
                  <a:pt x="991" y="450"/>
                </a:cubicBezTo>
                <a:cubicBezTo>
                  <a:pt x="990" y="449"/>
                  <a:pt x="990" y="448"/>
                  <a:pt x="992" y="448"/>
                </a:cubicBezTo>
                <a:cubicBezTo>
                  <a:pt x="993" y="448"/>
                  <a:pt x="994" y="448"/>
                  <a:pt x="996" y="448"/>
                </a:cubicBezTo>
                <a:cubicBezTo>
                  <a:pt x="996" y="447"/>
                  <a:pt x="996" y="447"/>
                  <a:pt x="996" y="447"/>
                </a:cubicBezTo>
                <a:cubicBezTo>
                  <a:pt x="996" y="447"/>
                  <a:pt x="996" y="447"/>
                  <a:pt x="996" y="448"/>
                </a:cubicBezTo>
                <a:cubicBezTo>
                  <a:pt x="996" y="448"/>
                  <a:pt x="996" y="448"/>
                  <a:pt x="997" y="448"/>
                </a:cubicBezTo>
                <a:cubicBezTo>
                  <a:pt x="997" y="446"/>
                  <a:pt x="998" y="445"/>
                  <a:pt x="999" y="444"/>
                </a:cubicBezTo>
                <a:cubicBezTo>
                  <a:pt x="1001" y="443"/>
                  <a:pt x="1003" y="442"/>
                  <a:pt x="1004" y="443"/>
                </a:cubicBezTo>
                <a:cubicBezTo>
                  <a:pt x="1006" y="446"/>
                  <a:pt x="1010" y="447"/>
                  <a:pt x="1012" y="450"/>
                </a:cubicBezTo>
                <a:cubicBezTo>
                  <a:pt x="1017" y="449"/>
                  <a:pt x="1020" y="447"/>
                  <a:pt x="1022" y="442"/>
                </a:cubicBezTo>
                <a:cubicBezTo>
                  <a:pt x="1023" y="439"/>
                  <a:pt x="1023" y="436"/>
                  <a:pt x="1021" y="433"/>
                </a:cubicBezTo>
                <a:cubicBezTo>
                  <a:pt x="1020" y="431"/>
                  <a:pt x="1019" y="429"/>
                  <a:pt x="1017" y="427"/>
                </a:cubicBezTo>
                <a:cubicBezTo>
                  <a:pt x="1014" y="425"/>
                  <a:pt x="1013" y="422"/>
                  <a:pt x="1013" y="419"/>
                </a:cubicBezTo>
                <a:cubicBezTo>
                  <a:pt x="1012" y="415"/>
                  <a:pt x="1010" y="412"/>
                  <a:pt x="1007" y="409"/>
                </a:cubicBezTo>
                <a:cubicBezTo>
                  <a:pt x="1003" y="407"/>
                  <a:pt x="1003" y="402"/>
                  <a:pt x="1001" y="398"/>
                </a:cubicBezTo>
                <a:cubicBezTo>
                  <a:pt x="1000" y="395"/>
                  <a:pt x="1000" y="392"/>
                  <a:pt x="1003" y="390"/>
                </a:cubicBezTo>
                <a:cubicBezTo>
                  <a:pt x="1008" y="385"/>
                  <a:pt x="1010" y="379"/>
                  <a:pt x="1010" y="372"/>
                </a:cubicBezTo>
                <a:cubicBezTo>
                  <a:pt x="1010" y="370"/>
                  <a:pt x="1010" y="367"/>
                  <a:pt x="1011" y="364"/>
                </a:cubicBezTo>
                <a:cubicBezTo>
                  <a:pt x="1014" y="357"/>
                  <a:pt x="1017" y="349"/>
                  <a:pt x="1020" y="341"/>
                </a:cubicBezTo>
                <a:cubicBezTo>
                  <a:pt x="1021" y="339"/>
                  <a:pt x="1023" y="336"/>
                  <a:pt x="1025" y="335"/>
                </a:cubicBezTo>
                <a:cubicBezTo>
                  <a:pt x="1032" y="331"/>
                  <a:pt x="1038" y="326"/>
                  <a:pt x="1043" y="321"/>
                </a:cubicBezTo>
                <a:cubicBezTo>
                  <a:pt x="1045" y="320"/>
                  <a:pt x="1046" y="317"/>
                  <a:pt x="1046" y="315"/>
                </a:cubicBezTo>
                <a:cubicBezTo>
                  <a:pt x="1047" y="309"/>
                  <a:pt x="1044" y="306"/>
                  <a:pt x="1039" y="304"/>
                </a:cubicBezTo>
                <a:cubicBezTo>
                  <a:pt x="1035" y="303"/>
                  <a:pt x="1032" y="302"/>
                  <a:pt x="1029" y="302"/>
                </a:cubicBezTo>
                <a:cubicBezTo>
                  <a:pt x="1025" y="301"/>
                  <a:pt x="1022" y="303"/>
                  <a:pt x="1019" y="306"/>
                </a:cubicBezTo>
                <a:cubicBezTo>
                  <a:pt x="1016" y="308"/>
                  <a:pt x="1017" y="311"/>
                  <a:pt x="1018" y="314"/>
                </a:cubicBezTo>
                <a:cubicBezTo>
                  <a:pt x="1019" y="317"/>
                  <a:pt x="1019" y="321"/>
                  <a:pt x="1019" y="324"/>
                </a:cubicBezTo>
                <a:cubicBezTo>
                  <a:pt x="1019" y="324"/>
                  <a:pt x="1019" y="325"/>
                  <a:pt x="1019" y="325"/>
                </a:cubicBezTo>
                <a:cubicBezTo>
                  <a:pt x="1020" y="325"/>
                  <a:pt x="1020" y="325"/>
                  <a:pt x="1020" y="325"/>
                </a:cubicBezTo>
                <a:cubicBezTo>
                  <a:pt x="1019" y="325"/>
                  <a:pt x="1019" y="325"/>
                  <a:pt x="1019" y="325"/>
                </a:cubicBezTo>
                <a:cubicBezTo>
                  <a:pt x="1019" y="325"/>
                  <a:pt x="1019" y="324"/>
                  <a:pt x="1019" y="324"/>
                </a:cubicBezTo>
                <a:cubicBezTo>
                  <a:pt x="1018" y="323"/>
                  <a:pt x="1018" y="323"/>
                  <a:pt x="1018" y="322"/>
                </a:cubicBezTo>
                <a:cubicBezTo>
                  <a:pt x="1017" y="319"/>
                  <a:pt x="1015" y="317"/>
                  <a:pt x="1012" y="316"/>
                </a:cubicBezTo>
                <a:cubicBezTo>
                  <a:pt x="1011" y="316"/>
                  <a:pt x="1009" y="315"/>
                  <a:pt x="1007" y="314"/>
                </a:cubicBezTo>
                <a:cubicBezTo>
                  <a:pt x="1003" y="312"/>
                  <a:pt x="1000" y="314"/>
                  <a:pt x="998" y="317"/>
                </a:cubicBezTo>
                <a:cubicBezTo>
                  <a:pt x="996" y="320"/>
                  <a:pt x="995" y="322"/>
                  <a:pt x="994" y="325"/>
                </a:cubicBezTo>
                <a:cubicBezTo>
                  <a:pt x="991" y="331"/>
                  <a:pt x="990" y="339"/>
                  <a:pt x="987" y="345"/>
                </a:cubicBezTo>
                <a:cubicBezTo>
                  <a:pt x="983" y="351"/>
                  <a:pt x="983" y="358"/>
                  <a:pt x="980" y="365"/>
                </a:cubicBezTo>
                <a:cubicBezTo>
                  <a:pt x="980" y="365"/>
                  <a:pt x="980" y="366"/>
                  <a:pt x="979" y="366"/>
                </a:cubicBezTo>
                <a:cubicBezTo>
                  <a:pt x="979" y="367"/>
                  <a:pt x="979" y="367"/>
                  <a:pt x="979" y="368"/>
                </a:cubicBezTo>
                <a:cubicBezTo>
                  <a:pt x="978" y="369"/>
                  <a:pt x="976" y="370"/>
                  <a:pt x="975" y="370"/>
                </a:cubicBezTo>
                <a:cubicBezTo>
                  <a:pt x="973" y="369"/>
                  <a:pt x="972" y="367"/>
                  <a:pt x="972" y="366"/>
                </a:cubicBezTo>
                <a:cubicBezTo>
                  <a:pt x="974" y="360"/>
                  <a:pt x="975" y="354"/>
                  <a:pt x="977" y="349"/>
                </a:cubicBezTo>
                <a:cubicBezTo>
                  <a:pt x="981" y="341"/>
                  <a:pt x="981" y="333"/>
                  <a:pt x="978" y="325"/>
                </a:cubicBezTo>
                <a:cubicBezTo>
                  <a:pt x="978" y="323"/>
                  <a:pt x="977" y="322"/>
                  <a:pt x="976" y="321"/>
                </a:cubicBezTo>
                <a:cubicBezTo>
                  <a:pt x="974" y="319"/>
                  <a:pt x="971" y="320"/>
                  <a:pt x="970" y="322"/>
                </a:cubicBezTo>
                <a:cubicBezTo>
                  <a:pt x="969" y="325"/>
                  <a:pt x="969" y="329"/>
                  <a:pt x="968" y="333"/>
                </a:cubicBezTo>
                <a:cubicBezTo>
                  <a:pt x="968" y="335"/>
                  <a:pt x="966" y="336"/>
                  <a:pt x="965" y="336"/>
                </a:cubicBezTo>
                <a:cubicBezTo>
                  <a:pt x="960" y="334"/>
                  <a:pt x="955" y="334"/>
                  <a:pt x="950" y="334"/>
                </a:cubicBezTo>
                <a:cubicBezTo>
                  <a:pt x="948" y="334"/>
                  <a:pt x="948" y="334"/>
                  <a:pt x="948" y="333"/>
                </a:cubicBezTo>
                <a:cubicBezTo>
                  <a:pt x="949" y="333"/>
                  <a:pt x="949" y="333"/>
                  <a:pt x="950" y="332"/>
                </a:cubicBezTo>
                <a:cubicBezTo>
                  <a:pt x="952" y="331"/>
                  <a:pt x="955" y="330"/>
                  <a:pt x="957" y="328"/>
                </a:cubicBezTo>
                <a:cubicBezTo>
                  <a:pt x="959" y="327"/>
                  <a:pt x="959" y="324"/>
                  <a:pt x="958" y="323"/>
                </a:cubicBezTo>
                <a:cubicBezTo>
                  <a:pt x="956" y="318"/>
                  <a:pt x="953" y="315"/>
                  <a:pt x="950" y="312"/>
                </a:cubicBezTo>
                <a:cubicBezTo>
                  <a:pt x="947" y="309"/>
                  <a:pt x="943" y="309"/>
                  <a:pt x="940" y="311"/>
                </a:cubicBezTo>
                <a:cubicBezTo>
                  <a:pt x="938" y="313"/>
                  <a:pt x="937" y="314"/>
                  <a:pt x="935" y="316"/>
                </a:cubicBezTo>
                <a:cubicBezTo>
                  <a:pt x="934" y="317"/>
                  <a:pt x="932" y="318"/>
                  <a:pt x="931" y="317"/>
                </a:cubicBezTo>
                <a:cubicBezTo>
                  <a:pt x="929" y="317"/>
                  <a:pt x="929" y="316"/>
                  <a:pt x="931" y="313"/>
                </a:cubicBezTo>
                <a:cubicBezTo>
                  <a:pt x="934" y="310"/>
                  <a:pt x="936" y="306"/>
                  <a:pt x="938" y="303"/>
                </a:cubicBezTo>
                <a:cubicBezTo>
                  <a:pt x="940" y="300"/>
                  <a:pt x="939" y="296"/>
                  <a:pt x="936" y="294"/>
                </a:cubicBezTo>
                <a:cubicBezTo>
                  <a:pt x="935" y="293"/>
                  <a:pt x="934" y="293"/>
                  <a:pt x="933" y="292"/>
                </a:cubicBezTo>
                <a:cubicBezTo>
                  <a:pt x="934" y="292"/>
                  <a:pt x="934" y="292"/>
                  <a:pt x="934" y="292"/>
                </a:cubicBezTo>
                <a:cubicBezTo>
                  <a:pt x="934" y="292"/>
                  <a:pt x="933" y="292"/>
                  <a:pt x="933" y="292"/>
                </a:cubicBezTo>
                <a:cubicBezTo>
                  <a:pt x="933" y="292"/>
                  <a:pt x="933" y="292"/>
                  <a:pt x="933" y="292"/>
                </a:cubicBezTo>
                <a:cubicBezTo>
                  <a:pt x="930" y="295"/>
                  <a:pt x="927" y="294"/>
                  <a:pt x="923" y="295"/>
                </a:cubicBezTo>
                <a:close/>
                <a:moveTo>
                  <a:pt x="4141" y="1869"/>
                </a:moveTo>
                <a:cubicBezTo>
                  <a:pt x="4141" y="1868"/>
                  <a:pt x="4141" y="1868"/>
                  <a:pt x="4140" y="1867"/>
                </a:cubicBezTo>
                <a:cubicBezTo>
                  <a:pt x="4138" y="1865"/>
                  <a:pt x="4135" y="1864"/>
                  <a:pt x="4133" y="1861"/>
                </a:cubicBezTo>
                <a:cubicBezTo>
                  <a:pt x="4130" y="1859"/>
                  <a:pt x="4129" y="1856"/>
                  <a:pt x="4127" y="1853"/>
                </a:cubicBezTo>
                <a:cubicBezTo>
                  <a:pt x="4125" y="1851"/>
                  <a:pt x="4123" y="1850"/>
                  <a:pt x="4121" y="1848"/>
                </a:cubicBezTo>
                <a:cubicBezTo>
                  <a:pt x="4119" y="1845"/>
                  <a:pt x="4117" y="1843"/>
                  <a:pt x="4115" y="1840"/>
                </a:cubicBezTo>
                <a:cubicBezTo>
                  <a:pt x="4114" y="1838"/>
                  <a:pt x="4114" y="1836"/>
                  <a:pt x="4116" y="1834"/>
                </a:cubicBezTo>
                <a:cubicBezTo>
                  <a:pt x="4118" y="1833"/>
                  <a:pt x="4119" y="1833"/>
                  <a:pt x="4121" y="1832"/>
                </a:cubicBezTo>
                <a:cubicBezTo>
                  <a:pt x="4123" y="1830"/>
                  <a:pt x="4122" y="1825"/>
                  <a:pt x="4120" y="1823"/>
                </a:cubicBezTo>
                <a:cubicBezTo>
                  <a:pt x="4118" y="1822"/>
                  <a:pt x="4117" y="1821"/>
                  <a:pt x="4115" y="1821"/>
                </a:cubicBezTo>
                <a:cubicBezTo>
                  <a:pt x="4112" y="1819"/>
                  <a:pt x="4108" y="1818"/>
                  <a:pt x="4105" y="1817"/>
                </a:cubicBezTo>
                <a:cubicBezTo>
                  <a:pt x="4099" y="1815"/>
                  <a:pt x="4096" y="1812"/>
                  <a:pt x="4096" y="1806"/>
                </a:cubicBezTo>
                <a:cubicBezTo>
                  <a:pt x="4095" y="1805"/>
                  <a:pt x="4093" y="1803"/>
                  <a:pt x="4092" y="1801"/>
                </a:cubicBezTo>
                <a:cubicBezTo>
                  <a:pt x="4082" y="1793"/>
                  <a:pt x="4070" y="1787"/>
                  <a:pt x="4057" y="1783"/>
                </a:cubicBezTo>
                <a:cubicBezTo>
                  <a:pt x="4051" y="1782"/>
                  <a:pt x="4045" y="1780"/>
                  <a:pt x="4040" y="1777"/>
                </a:cubicBezTo>
                <a:cubicBezTo>
                  <a:pt x="4034" y="1775"/>
                  <a:pt x="4028" y="1772"/>
                  <a:pt x="4021" y="1770"/>
                </a:cubicBezTo>
                <a:cubicBezTo>
                  <a:pt x="4012" y="1768"/>
                  <a:pt x="4003" y="1765"/>
                  <a:pt x="3995" y="1761"/>
                </a:cubicBezTo>
                <a:cubicBezTo>
                  <a:pt x="3987" y="1758"/>
                  <a:pt x="3980" y="1756"/>
                  <a:pt x="3975" y="1765"/>
                </a:cubicBezTo>
                <a:cubicBezTo>
                  <a:pt x="3975" y="1766"/>
                  <a:pt x="3975" y="1766"/>
                  <a:pt x="3974" y="1766"/>
                </a:cubicBezTo>
                <a:cubicBezTo>
                  <a:pt x="3966" y="1770"/>
                  <a:pt x="3960" y="1775"/>
                  <a:pt x="3955" y="1782"/>
                </a:cubicBezTo>
                <a:cubicBezTo>
                  <a:pt x="3954" y="1783"/>
                  <a:pt x="3951" y="1784"/>
                  <a:pt x="3949" y="1782"/>
                </a:cubicBezTo>
                <a:cubicBezTo>
                  <a:pt x="3946" y="1779"/>
                  <a:pt x="3943" y="1776"/>
                  <a:pt x="3940" y="1773"/>
                </a:cubicBezTo>
                <a:cubicBezTo>
                  <a:pt x="3938" y="1772"/>
                  <a:pt x="3938" y="1769"/>
                  <a:pt x="3938" y="1767"/>
                </a:cubicBezTo>
                <a:cubicBezTo>
                  <a:pt x="3938" y="1765"/>
                  <a:pt x="3938" y="1763"/>
                  <a:pt x="3938" y="1761"/>
                </a:cubicBezTo>
                <a:cubicBezTo>
                  <a:pt x="3939" y="1757"/>
                  <a:pt x="3937" y="1753"/>
                  <a:pt x="3936" y="1750"/>
                </a:cubicBezTo>
                <a:cubicBezTo>
                  <a:pt x="3934" y="1747"/>
                  <a:pt x="3931" y="1747"/>
                  <a:pt x="3928" y="1747"/>
                </a:cubicBezTo>
                <a:cubicBezTo>
                  <a:pt x="3925" y="1746"/>
                  <a:pt x="3922" y="1744"/>
                  <a:pt x="3919" y="1743"/>
                </a:cubicBezTo>
                <a:cubicBezTo>
                  <a:pt x="3916" y="1742"/>
                  <a:pt x="3913" y="1742"/>
                  <a:pt x="3910" y="1744"/>
                </a:cubicBezTo>
                <a:cubicBezTo>
                  <a:pt x="3904" y="1747"/>
                  <a:pt x="3898" y="1750"/>
                  <a:pt x="3892" y="1752"/>
                </a:cubicBezTo>
                <a:cubicBezTo>
                  <a:pt x="3891" y="1752"/>
                  <a:pt x="3891" y="1754"/>
                  <a:pt x="3891" y="1755"/>
                </a:cubicBezTo>
                <a:cubicBezTo>
                  <a:pt x="3891" y="1755"/>
                  <a:pt x="3891" y="1757"/>
                  <a:pt x="3892" y="1757"/>
                </a:cubicBezTo>
                <a:cubicBezTo>
                  <a:pt x="3894" y="1758"/>
                  <a:pt x="3896" y="1759"/>
                  <a:pt x="3898" y="1760"/>
                </a:cubicBezTo>
                <a:cubicBezTo>
                  <a:pt x="3901" y="1761"/>
                  <a:pt x="3903" y="1762"/>
                  <a:pt x="3905" y="1764"/>
                </a:cubicBezTo>
                <a:cubicBezTo>
                  <a:pt x="3907" y="1769"/>
                  <a:pt x="3911" y="1771"/>
                  <a:pt x="3917" y="1771"/>
                </a:cubicBezTo>
                <a:cubicBezTo>
                  <a:pt x="3920" y="1771"/>
                  <a:pt x="3923" y="1771"/>
                  <a:pt x="3927" y="1771"/>
                </a:cubicBezTo>
                <a:cubicBezTo>
                  <a:pt x="3927" y="1771"/>
                  <a:pt x="3928" y="1772"/>
                  <a:pt x="3929" y="1772"/>
                </a:cubicBezTo>
                <a:cubicBezTo>
                  <a:pt x="3928" y="1772"/>
                  <a:pt x="3928" y="1773"/>
                  <a:pt x="3928" y="1773"/>
                </a:cubicBezTo>
                <a:cubicBezTo>
                  <a:pt x="3922" y="1773"/>
                  <a:pt x="3916" y="1777"/>
                  <a:pt x="3910" y="1777"/>
                </a:cubicBezTo>
                <a:cubicBezTo>
                  <a:pt x="3909" y="1777"/>
                  <a:pt x="3908" y="1778"/>
                  <a:pt x="3909" y="1779"/>
                </a:cubicBezTo>
                <a:cubicBezTo>
                  <a:pt x="3913" y="1784"/>
                  <a:pt x="3916" y="1788"/>
                  <a:pt x="3917" y="1794"/>
                </a:cubicBezTo>
                <a:cubicBezTo>
                  <a:pt x="3918" y="1796"/>
                  <a:pt x="3922" y="1797"/>
                  <a:pt x="3924" y="1795"/>
                </a:cubicBezTo>
                <a:cubicBezTo>
                  <a:pt x="3925" y="1794"/>
                  <a:pt x="3926" y="1793"/>
                  <a:pt x="3927" y="1791"/>
                </a:cubicBezTo>
                <a:cubicBezTo>
                  <a:pt x="3928" y="1790"/>
                  <a:pt x="3929" y="1789"/>
                  <a:pt x="3931" y="1790"/>
                </a:cubicBezTo>
                <a:cubicBezTo>
                  <a:pt x="3935" y="1792"/>
                  <a:pt x="3940" y="1794"/>
                  <a:pt x="3944" y="1797"/>
                </a:cubicBezTo>
                <a:cubicBezTo>
                  <a:pt x="3947" y="1799"/>
                  <a:pt x="3949" y="1801"/>
                  <a:pt x="3953" y="1802"/>
                </a:cubicBezTo>
                <a:cubicBezTo>
                  <a:pt x="3958" y="1803"/>
                  <a:pt x="3963" y="1805"/>
                  <a:pt x="3968" y="1806"/>
                </a:cubicBezTo>
                <a:cubicBezTo>
                  <a:pt x="3972" y="1807"/>
                  <a:pt x="3975" y="1808"/>
                  <a:pt x="3978" y="1810"/>
                </a:cubicBezTo>
                <a:cubicBezTo>
                  <a:pt x="3984" y="1813"/>
                  <a:pt x="3989" y="1816"/>
                  <a:pt x="3991" y="1824"/>
                </a:cubicBezTo>
                <a:cubicBezTo>
                  <a:pt x="3991" y="1826"/>
                  <a:pt x="3993" y="1828"/>
                  <a:pt x="3994" y="1831"/>
                </a:cubicBezTo>
                <a:cubicBezTo>
                  <a:pt x="3995" y="1833"/>
                  <a:pt x="3996" y="1835"/>
                  <a:pt x="3997" y="1837"/>
                </a:cubicBezTo>
                <a:cubicBezTo>
                  <a:pt x="3998" y="1839"/>
                  <a:pt x="3997" y="1841"/>
                  <a:pt x="3996" y="1841"/>
                </a:cubicBezTo>
                <a:cubicBezTo>
                  <a:pt x="3990" y="1842"/>
                  <a:pt x="3987" y="1846"/>
                  <a:pt x="3985" y="1850"/>
                </a:cubicBezTo>
                <a:cubicBezTo>
                  <a:pt x="3983" y="1853"/>
                  <a:pt x="3985" y="1856"/>
                  <a:pt x="3988" y="1856"/>
                </a:cubicBezTo>
                <a:cubicBezTo>
                  <a:pt x="3993" y="1857"/>
                  <a:pt x="3998" y="1855"/>
                  <a:pt x="4002" y="1854"/>
                </a:cubicBezTo>
                <a:cubicBezTo>
                  <a:pt x="4008" y="1853"/>
                  <a:pt x="4013" y="1854"/>
                  <a:pt x="4017" y="1859"/>
                </a:cubicBezTo>
                <a:cubicBezTo>
                  <a:pt x="4018" y="1860"/>
                  <a:pt x="4019" y="1862"/>
                  <a:pt x="4020" y="1863"/>
                </a:cubicBezTo>
                <a:cubicBezTo>
                  <a:pt x="4022" y="1866"/>
                  <a:pt x="4025" y="1867"/>
                  <a:pt x="4029" y="1867"/>
                </a:cubicBezTo>
                <a:cubicBezTo>
                  <a:pt x="4035" y="1868"/>
                  <a:pt x="4042" y="1868"/>
                  <a:pt x="4048" y="1870"/>
                </a:cubicBezTo>
                <a:cubicBezTo>
                  <a:pt x="4051" y="1871"/>
                  <a:pt x="4054" y="1870"/>
                  <a:pt x="4056" y="1869"/>
                </a:cubicBezTo>
                <a:cubicBezTo>
                  <a:pt x="4060" y="1867"/>
                  <a:pt x="4060" y="1865"/>
                  <a:pt x="4059" y="1861"/>
                </a:cubicBezTo>
                <a:cubicBezTo>
                  <a:pt x="4059" y="1860"/>
                  <a:pt x="4059" y="1858"/>
                  <a:pt x="4059" y="1858"/>
                </a:cubicBezTo>
                <a:cubicBezTo>
                  <a:pt x="4063" y="1854"/>
                  <a:pt x="4066" y="1851"/>
                  <a:pt x="4070" y="1848"/>
                </a:cubicBezTo>
                <a:cubicBezTo>
                  <a:pt x="4074" y="1846"/>
                  <a:pt x="4078" y="1846"/>
                  <a:pt x="4082" y="1847"/>
                </a:cubicBezTo>
                <a:cubicBezTo>
                  <a:pt x="4085" y="1849"/>
                  <a:pt x="4088" y="1851"/>
                  <a:pt x="4092" y="1852"/>
                </a:cubicBezTo>
                <a:cubicBezTo>
                  <a:pt x="4095" y="1854"/>
                  <a:pt x="4097" y="1856"/>
                  <a:pt x="4099" y="1859"/>
                </a:cubicBezTo>
                <a:cubicBezTo>
                  <a:pt x="4104" y="1865"/>
                  <a:pt x="4109" y="1871"/>
                  <a:pt x="4114" y="1877"/>
                </a:cubicBezTo>
                <a:cubicBezTo>
                  <a:pt x="4117" y="1881"/>
                  <a:pt x="4121" y="1883"/>
                  <a:pt x="4127" y="1883"/>
                </a:cubicBezTo>
                <a:cubicBezTo>
                  <a:pt x="4136" y="1883"/>
                  <a:pt x="4144" y="1885"/>
                  <a:pt x="4152" y="1889"/>
                </a:cubicBezTo>
                <a:cubicBezTo>
                  <a:pt x="4152" y="1889"/>
                  <a:pt x="4153" y="1889"/>
                  <a:pt x="4154" y="1889"/>
                </a:cubicBezTo>
                <a:cubicBezTo>
                  <a:pt x="4155" y="1889"/>
                  <a:pt x="4156" y="1889"/>
                  <a:pt x="4156" y="1888"/>
                </a:cubicBezTo>
                <a:cubicBezTo>
                  <a:pt x="4157" y="1887"/>
                  <a:pt x="4157" y="1886"/>
                  <a:pt x="4157" y="1885"/>
                </a:cubicBezTo>
                <a:cubicBezTo>
                  <a:pt x="4157" y="1883"/>
                  <a:pt x="4156" y="1881"/>
                  <a:pt x="4154" y="1880"/>
                </a:cubicBezTo>
                <a:cubicBezTo>
                  <a:pt x="4149" y="1879"/>
                  <a:pt x="4150" y="1876"/>
                  <a:pt x="4151" y="1873"/>
                </a:cubicBezTo>
                <a:cubicBezTo>
                  <a:pt x="4147" y="1873"/>
                  <a:pt x="4143" y="1873"/>
                  <a:pt x="4141" y="1869"/>
                </a:cubicBezTo>
                <a:close/>
                <a:moveTo>
                  <a:pt x="3592" y="1733"/>
                </a:moveTo>
                <a:cubicBezTo>
                  <a:pt x="3594" y="1739"/>
                  <a:pt x="3595" y="1745"/>
                  <a:pt x="3597" y="1751"/>
                </a:cubicBezTo>
                <a:cubicBezTo>
                  <a:pt x="3597" y="1754"/>
                  <a:pt x="3599" y="1758"/>
                  <a:pt x="3603" y="1759"/>
                </a:cubicBezTo>
                <a:cubicBezTo>
                  <a:pt x="3604" y="1759"/>
                  <a:pt x="3605" y="1761"/>
                  <a:pt x="3605" y="1761"/>
                </a:cubicBezTo>
                <a:cubicBezTo>
                  <a:pt x="3605" y="1766"/>
                  <a:pt x="3607" y="1770"/>
                  <a:pt x="3608" y="1774"/>
                </a:cubicBezTo>
                <a:cubicBezTo>
                  <a:pt x="3608" y="1779"/>
                  <a:pt x="3611" y="1781"/>
                  <a:pt x="3616" y="1781"/>
                </a:cubicBezTo>
                <a:cubicBezTo>
                  <a:pt x="3618" y="1782"/>
                  <a:pt x="3621" y="1782"/>
                  <a:pt x="3624" y="1782"/>
                </a:cubicBezTo>
                <a:cubicBezTo>
                  <a:pt x="3627" y="1782"/>
                  <a:pt x="3629" y="1783"/>
                  <a:pt x="3630" y="1786"/>
                </a:cubicBezTo>
                <a:cubicBezTo>
                  <a:pt x="3632" y="1789"/>
                  <a:pt x="3634" y="1789"/>
                  <a:pt x="3637" y="1788"/>
                </a:cubicBezTo>
                <a:cubicBezTo>
                  <a:pt x="3640" y="1787"/>
                  <a:pt x="3643" y="1786"/>
                  <a:pt x="3646" y="1785"/>
                </a:cubicBezTo>
                <a:cubicBezTo>
                  <a:pt x="3648" y="1785"/>
                  <a:pt x="3649" y="1785"/>
                  <a:pt x="3650" y="1785"/>
                </a:cubicBezTo>
                <a:cubicBezTo>
                  <a:pt x="3654" y="1786"/>
                  <a:pt x="3659" y="1788"/>
                  <a:pt x="3663" y="1790"/>
                </a:cubicBezTo>
                <a:cubicBezTo>
                  <a:pt x="3665" y="1791"/>
                  <a:pt x="3665" y="1793"/>
                  <a:pt x="3666" y="1794"/>
                </a:cubicBezTo>
                <a:cubicBezTo>
                  <a:pt x="3668" y="1796"/>
                  <a:pt x="3669" y="1797"/>
                  <a:pt x="3672" y="1796"/>
                </a:cubicBezTo>
                <a:cubicBezTo>
                  <a:pt x="3675" y="1795"/>
                  <a:pt x="3678" y="1794"/>
                  <a:pt x="3681" y="1793"/>
                </a:cubicBezTo>
                <a:cubicBezTo>
                  <a:pt x="3683" y="1793"/>
                  <a:pt x="3684" y="1794"/>
                  <a:pt x="3686" y="1794"/>
                </a:cubicBezTo>
                <a:cubicBezTo>
                  <a:pt x="3688" y="1795"/>
                  <a:pt x="3691" y="1793"/>
                  <a:pt x="3691" y="1791"/>
                </a:cubicBezTo>
                <a:cubicBezTo>
                  <a:pt x="3691" y="1790"/>
                  <a:pt x="3691" y="1790"/>
                  <a:pt x="3691" y="1789"/>
                </a:cubicBezTo>
                <a:cubicBezTo>
                  <a:pt x="3689" y="1786"/>
                  <a:pt x="3689" y="1782"/>
                  <a:pt x="3691" y="1779"/>
                </a:cubicBezTo>
                <a:cubicBezTo>
                  <a:pt x="3693" y="1776"/>
                  <a:pt x="3693" y="1773"/>
                  <a:pt x="3693" y="1771"/>
                </a:cubicBezTo>
                <a:cubicBezTo>
                  <a:pt x="3692" y="1766"/>
                  <a:pt x="3694" y="1762"/>
                  <a:pt x="3697" y="1759"/>
                </a:cubicBezTo>
                <a:cubicBezTo>
                  <a:pt x="3702" y="1754"/>
                  <a:pt x="3704" y="1747"/>
                  <a:pt x="3706" y="1741"/>
                </a:cubicBezTo>
                <a:cubicBezTo>
                  <a:pt x="3708" y="1738"/>
                  <a:pt x="3709" y="1735"/>
                  <a:pt x="3710" y="1732"/>
                </a:cubicBezTo>
                <a:cubicBezTo>
                  <a:pt x="3711" y="1730"/>
                  <a:pt x="3713" y="1729"/>
                  <a:pt x="3715" y="1728"/>
                </a:cubicBezTo>
                <a:cubicBezTo>
                  <a:pt x="3716" y="1728"/>
                  <a:pt x="3718" y="1728"/>
                  <a:pt x="3720" y="1728"/>
                </a:cubicBezTo>
                <a:cubicBezTo>
                  <a:pt x="3721" y="1728"/>
                  <a:pt x="3722" y="1727"/>
                  <a:pt x="3723" y="1727"/>
                </a:cubicBezTo>
                <a:cubicBezTo>
                  <a:pt x="3724" y="1726"/>
                  <a:pt x="3725" y="1724"/>
                  <a:pt x="3724" y="1723"/>
                </a:cubicBezTo>
                <a:cubicBezTo>
                  <a:pt x="3722" y="1719"/>
                  <a:pt x="3717" y="1717"/>
                  <a:pt x="3715" y="1714"/>
                </a:cubicBezTo>
                <a:cubicBezTo>
                  <a:pt x="3713" y="1712"/>
                  <a:pt x="3712" y="1710"/>
                  <a:pt x="3713" y="1708"/>
                </a:cubicBezTo>
                <a:cubicBezTo>
                  <a:pt x="3714" y="1705"/>
                  <a:pt x="3714" y="1703"/>
                  <a:pt x="3713" y="1701"/>
                </a:cubicBezTo>
                <a:cubicBezTo>
                  <a:pt x="3707" y="1696"/>
                  <a:pt x="3708" y="1690"/>
                  <a:pt x="3711" y="1683"/>
                </a:cubicBezTo>
                <a:cubicBezTo>
                  <a:pt x="3712" y="1681"/>
                  <a:pt x="3714" y="1679"/>
                  <a:pt x="3716" y="1678"/>
                </a:cubicBezTo>
                <a:cubicBezTo>
                  <a:pt x="3718" y="1677"/>
                  <a:pt x="3719" y="1675"/>
                  <a:pt x="3719" y="1673"/>
                </a:cubicBezTo>
                <a:cubicBezTo>
                  <a:pt x="3719" y="1671"/>
                  <a:pt x="3721" y="1669"/>
                  <a:pt x="3723" y="1669"/>
                </a:cubicBezTo>
                <a:cubicBezTo>
                  <a:pt x="3725" y="1668"/>
                  <a:pt x="3727" y="1668"/>
                  <a:pt x="3729" y="1666"/>
                </a:cubicBezTo>
                <a:cubicBezTo>
                  <a:pt x="3729" y="1665"/>
                  <a:pt x="3729" y="1665"/>
                  <a:pt x="3729" y="1664"/>
                </a:cubicBezTo>
                <a:cubicBezTo>
                  <a:pt x="3729" y="1664"/>
                  <a:pt x="3729" y="1663"/>
                  <a:pt x="3729" y="1663"/>
                </a:cubicBezTo>
                <a:cubicBezTo>
                  <a:pt x="3725" y="1660"/>
                  <a:pt x="3721" y="1658"/>
                  <a:pt x="3717" y="1656"/>
                </a:cubicBezTo>
                <a:cubicBezTo>
                  <a:pt x="3714" y="1654"/>
                  <a:pt x="3709" y="1653"/>
                  <a:pt x="3709" y="1647"/>
                </a:cubicBezTo>
                <a:cubicBezTo>
                  <a:pt x="3707" y="1645"/>
                  <a:pt x="3705" y="1642"/>
                  <a:pt x="3702" y="1640"/>
                </a:cubicBezTo>
                <a:cubicBezTo>
                  <a:pt x="3701" y="1639"/>
                  <a:pt x="3699" y="1640"/>
                  <a:pt x="3698" y="1640"/>
                </a:cubicBezTo>
                <a:cubicBezTo>
                  <a:pt x="3695" y="1641"/>
                  <a:pt x="3692" y="1642"/>
                  <a:pt x="3691" y="1645"/>
                </a:cubicBezTo>
                <a:cubicBezTo>
                  <a:pt x="3689" y="1647"/>
                  <a:pt x="3688" y="1650"/>
                  <a:pt x="3686" y="1653"/>
                </a:cubicBezTo>
                <a:cubicBezTo>
                  <a:pt x="3685" y="1655"/>
                  <a:pt x="3684" y="1657"/>
                  <a:pt x="3682" y="1659"/>
                </a:cubicBezTo>
                <a:cubicBezTo>
                  <a:pt x="3679" y="1661"/>
                  <a:pt x="3675" y="1665"/>
                  <a:pt x="3670" y="1667"/>
                </a:cubicBezTo>
                <a:cubicBezTo>
                  <a:pt x="3664" y="1669"/>
                  <a:pt x="3659" y="1673"/>
                  <a:pt x="3656" y="1679"/>
                </a:cubicBezTo>
                <a:cubicBezTo>
                  <a:pt x="3654" y="1682"/>
                  <a:pt x="3652" y="1685"/>
                  <a:pt x="3650" y="1687"/>
                </a:cubicBezTo>
                <a:cubicBezTo>
                  <a:pt x="3647" y="1693"/>
                  <a:pt x="3642" y="1696"/>
                  <a:pt x="3636" y="1697"/>
                </a:cubicBezTo>
                <a:cubicBezTo>
                  <a:pt x="3629" y="1698"/>
                  <a:pt x="3626" y="1702"/>
                  <a:pt x="3624" y="1708"/>
                </a:cubicBezTo>
                <a:cubicBezTo>
                  <a:pt x="3623" y="1710"/>
                  <a:pt x="3622" y="1712"/>
                  <a:pt x="3621" y="1714"/>
                </a:cubicBezTo>
                <a:cubicBezTo>
                  <a:pt x="3621" y="1716"/>
                  <a:pt x="3618" y="1717"/>
                  <a:pt x="3616" y="1716"/>
                </a:cubicBezTo>
                <a:cubicBezTo>
                  <a:pt x="3612" y="1715"/>
                  <a:pt x="3609" y="1714"/>
                  <a:pt x="3605" y="1712"/>
                </a:cubicBezTo>
                <a:cubicBezTo>
                  <a:pt x="3601" y="1711"/>
                  <a:pt x="3599" y="1712"/>
                  <a:pt x="3596" y="1715"/>
                </a:cubicBezTo>
                <a:cubicBezTo>
                  <a:pt x="3595" y="1716"/>
                  <a:pt x="3594" y="1717"/>
                  <a:pt x="3594" y="1719"/>
                </a:cubicBezTo>
                <a:cubicBezTo>
                  <a:pt x="3592" y="1724"/>
                  <a:pt x="3590" y="1729"/>
                  <a:pt x="3592" y="1733"/>
                </a:cubicBezTo>
                <a:close/>
                <a:moveTo>
                  <a:pt x="2768" y="1903"/>
                </a:moveTo>
                <a:cubicBezTo>
                  <a:pt x="2768" y="1902"/>
                  <a:pt x="2767" y="1902"/>
                  <a:pt x="2766" y="1903"/>
                </a:cubicBezTo>
                <a:cubicBezTo>
                  <a:pt x="2763" y="1905"/>
                  <a:pt x="2762" y="1908"/>
                  <a:pt x="2761" y="1912"/>
                </a:cubicBezTo>
                <a:cubicBezTo>
                  <a:pt x="2761" y="1915"/>
                  <a:pt x="2759" y="1918"/>
                  <a:pt x="2756" y="1919"/>
                </a:cubicBezTo>
                <a:cubicBezTo>
                  <a:pt x="2756" y="1920"/>
                  <a:pt x="2756" y="1921"/>
                  <a:pt x="2755" y="1922"/>
                </a:cubicBezTo>
                <a:cubicBezTo>
                  <a:pt x="2752" y="1924"/>
                  <a:pt x="2748" y="1925"/>
                  <a:pt x="2748" y="1930"/>
                </a:cubicBezTo>
                <a:cubicBezTo>
                  <a:pt x="2747" y="1935"/>
                  <a:pt x="2744" y="1938"/>
                  <a:pt x="2739" y="1941"/>
                </a:cubicBezTo>
                <a:cubicBezTo>
                  <a:pt x="2735" y="1943"/>
                  <a:pt x="2732" y="1948"/>
                  <a:pt x="2727" y="1950"/>
                </a:cubicBezTo>
                <a:cubicBezTo>
                  <a:pt x="2723" y="1952"/>
                  <a:pt x="2718" y="1953"/>
                  <a:pt x="2713" y="1954"/>
                </a:cubicBezTo>
                <a:cubicBezTo>
                  <a:pt x="2713" y="1954"/>
                  <a:pt x="2712" y="1955"/>
                  <a:pt x="2712" y="1955"/>
                </a:cubicBezTo>
                <a:cubicBezTo>
                  <a:pt x="2707" y="1957"/>
                  <a:pt x="2703" y="1959"/>
                  <a:pt x="2698" y="1960"/>
                </a:cubicBezTo>
                <a:cubicBezTo>
                  <a:pt x="2696" y="1964"/>
                  <a:pt x="2695" y="1967"/>
                  <a:pt x="2693" y="1971"/>
                </a:cubicBezTo>
                <a:cubicBezTo>
                  <a:pt x="2689" y="1977"/>
                  <a:pt x="2689" y="1984"/>
                  <a:pt x="2691" y="1991"/>
                </a:cubicBezTo>
                <a:cubicBezTo>
                  <a:pt x="2692" y="1993"/>
                  <a:pt x="2693" y="1995"/>
                  <a:pt x="2694" y="1997"/>
                </a:cubicBezTo>
                <a:cubicBezTo>
                  <a:pt x="2696" y="2004"/>
                  <a:pt x="2696" y="2009"/>
                  <a:pt x="2692" y="2015"/>
                </a:cubicBezTo>
                <a:cubicBezTo>
                  <a:pt x="2688" y="2020"/>
                  <a:pt x="2685" y="2026"/>
                  <a:pt x="2681" y="2031"/>
                </a:cubicBezTo>
                <a:cubicBezTo>
                  <a:pt x="2676" y="2038"/>
                  <a:pt x="2674" y="2045"/>
                  <a:pt x="2678" y="2053"/>
                </a:cubicBezTo>
                <a:cubicBezTo>
                  <a:pt x="2679" y="2057"/>
                  <a:pt x="2679" y="2060"/>
                  <a:pt x="2679" y="2064"/>
                </a:cubicBezTo>
                <a:cubicBezTo>
                  <a:pt x="2679" y="2068"/>
                  <a:pt x="2679" y="2071"/>
                  <a:pt x="2680" y="2074"/>
                </a:cubicBezTo>
                <a:cubicBezTo>
                  <a:pt x="2680" y="2076"/>
                  <a:pt x="2681" y="2079"/>
                  <a:pt x="2682" y="2080"/>
                </a:cubicBezTo>
                <a:cubicBezTo>
                  <a:pt x="2686" y="2087"/>
                  <a:pt x="2692" y="2090"/>
                  <a:pt x="2699" y="2093"/>
                </a:cubicBezTo>
                <a:cubicBezTo>
                  <a:pt x="2703" y="2094"/>
                  <a:pt x="2706" y="2091"/>
                  <a:pt x="2710" y="2090"/>
                </a:cubicBezTo>
                <a:cubicBezTo>
                  <a:pt x="2712" y="2089"/>
                  <a:pt x="2715" y="2088"/>
                  <a:pt x="2718" y="2088"/>
                </a:cubicBezTo>
                <a:cubicBezTo>
                  <a:pt x="2724" y="2088"/>
                  <a:pt x="2728" y="2085"/>
                  <a:pt x="2730" y="2079"/>
                </a:cubicBezTo>
                <a:cubicBezTo>
                  <a:pt x="2732" y="2075"/>
                  <a:pt x="2734" y="2071"/>
                  <a:pt x="2736" y="2067"/>
                </a:cubicBezTo>
                <a:cubicBezTo>
                  <a:pt x="2739" y="2057"/>
                  <a:pt x="2742" y="2047"/>
                  <a:pt x="2747" y="2038"/>
                </a:cubicBezTo>
                <a:cubicBezTo>
                  <a:pt x="2753" y="2024"/>
                  <a:pt x="2757" y="2009"/>
                  <a:pt x="2763" y="1995"/>
                </a:cubicBezTo>
                <a:cubicBezTo>
                  <a:pt x="2765" y="1991"/>
                  <a:pt x="2766" y="1986"/>
                  <a:pt x="2767" y="1982"/>
                </a:cubicBezTo>
                <a:cubicBezTo>
                  <a:pt x="2768" y="1977"/>
                  <a:pt x="2769" y="1971"/>
                  <a:pt x="2771" y="1966"/>
                </a:cubicBezTo>
                <a:cubicBezTo>
                  <a:pt x="2773" y="1962"/>
                  <a:pt x="2772" y="1956"/>
                  <a:pt x="2778" y="1954"/>
                </a:cubicBezTo>
                <a:cubicBezTo>
                  <a:pt x="2780" y="1952"/>
                  <a:pt x="2781" y="1949"/>
                  <a:pt x="2780" y="1946"/>
                </a:cubicBezTo>
                <a:cubicBezTo>
                  <a:pt x="2780" y="1941"/>
                  <a:pt x="2779" y="1937"/>
                  <a:pt x="2779" y="1932"/>
                </a:cubicBezTo>
                <a:cubicBezTo>
                  <a:pt x="2779" y="1921"/>
                  <a:pt x="2775" y="1911"/>
                  <a:pt x="2768" y="1903"/>
                </a:cubicBezTo>
                <a:close/>
                <a:moveTo>
                  <a:pt x="2634" y="428"/>
                </a:moveTo>
                <a:cubicBezTo>
                  <a:pt x="2630" y="433"/>
                  <a:pt x="2631" y="440"/>
                  <a:pt x="2628" y="445"/>
                </a:cubicBezTo>
                <a:cubicBezTo>
                  <a:pt x="2626" y="447"/>
                  <a:pt x="2627" y="450"/>
                  <a:pt x="2629" y="452"/>
                </a:cubicBezTo>
                <a:cubicBezTo>
                  <a:pt x="2630" y="453"/>
                  <a:pt x="2631" y="455"/>
                  <a:pt x="2632" y="456"/>
                </a:cubicBezTo>
                <a:cubicBezTo>
                  <a:pt x="2634" y="459"/>
                  <a:pt x="2633" y="464"/>
                  <a:pt x="2629" y="466"/>
                </a:cubicBezTo>
                <a:cubicBezTo>
                  <a:pt x="2627" y="467"/>
                  <a:pt x="2624" y="468"/>
                  <a:pt x="2624" y="471"/>
                </a:cubicBezTo>
                <a:cubicBezTo>
                  <a:pt x="2623" y="474"/>
                  <a:pt x="2623" y="478"/>
                  <a:pt x="2624" y="481"/>
                </a:cubicBezTo>
                <a:cubicBezTo>
                  <a:pt x="2626" y="484"/>
                  <a:pt x="2628" y="487"/>
                  <a:pt x="2631" y="488"/>
                </a:cubicBezTo>
                <a:cubicBezTo>
                  <a:pt x="2632" y="489"/>
                  <a:pt x="2634" y="490"/>
                  <a:pt x="2635" y="490"/>
                </a:cubicBezTo>
                <a:cubicBezTo>
                  <a:pt x="2637" y="489"/>
                  <a:pt x="2640" y="488"/>
                  <a:pt x="2642" y="488"/>
                </a:cubicBezTo>
                <a:cubicBezTo>
                  <a:pt x="2645" y="487"/>
                  <a:pt x="2648" y="489"/>
                  <a:pt x="2650" y="492"/>
                </a:cubicBezTo>
                <a:cubicBezTo>
                  <a:pt x="2652" y="493"/>
                  <a:pt x="2653" y="496"/>
                  <a:pt x="2653" y="498"/>
                </a:cubicBezTo>
                <a:cubicBezTo>
                  <a:pt x="2654" y="503"/>
                  <a:pt x="2657" y="505"/>
                  <a:pt x="2661" y="506"/>
                </a:cubicBezTo>
                <a:cubicBezTo>
                  <a:pt x="2664" y="507"/>
                  <a:pt x="2667" y="508"/>
                  <a:pt x="2669" y="509"/>
                </a:cubicBezTo>
                <a:cubicBezTo>
                  <a:pt x="2672" y="510"/>
                  <a:pt x="2674" y="511"/>
                  <a:pt x="2677" y="510"/>
                </a:cubicBezTo>
                <a:cubicBezTo>
                  <a:pt x="2679" y="510"/>
                  <a:pt x="2681" y="510"/>
                  <a:pt x="2684" y="510"/>
                </a:cubicBezTo>
                <a:cubicBezTo>
                  <a:pt x="2684" y="510"/>
                  <a:pt x="2684" y="511"/>
                  <a:pt x="2684" y="511"/>
                </a:cubicBezTo>
                <a:cubicBezTo>
                  <a:pt x="2687" y="511"/>
                  <a:pt x="2690" y="511"/>
                  <a:pt x="2694" y="511"/>
                </a:cubicBezTo>
                <a:cubicBezTo>
                  <a:pt x="2694" y="511"/>
                  <a:pt x="2696" y="510"/>
                  <a:pt x="2696" y="509"/>
                </a:cubicBezTo>
                <a:cubicBezTo>
                  <a:pt x="2697" y="507"/>
                  <a:pt x="2697" y="506"/>
                  <a:pt x="2697" y="504"/>
                </a:cubicBezTo>
                <a:cubicBezTo>
                  <a:pt x="2698" y="502"/>
                  <a:pt x="2697" y="500"/>
                  <a:pt x="2695" y="498"/>
                </a:cubicBezTo>
                <a:cubicBezTo>
                  <a:pt x="2692" y="496"/>
                  <a:pt x="2689" y="494"/>
                  <a:pt x="2685" y="492"/>
                </a:cubicBezTo>
                <a:cubicBezTo>
                  <a:pt x="2676" y="486"/>
                  <a:pt x="2671" y="478"/>
                  <a:pt x="2667" y="468"/>
                </a:cubicBezTo>
                <a:cubicBezTo>
                  <a:pt x="2666" y="463"/>
                  <a:pt x="2665" y="458"/>
                  <a:pt x="2664" y="453"/>
                </a:cubicBezTo>
                <a:cubicBezTo>
                  <a:pt x="2662" y="446"/>
                  <a:pt x="2664" y="439"/>
                  <a:pt x="2664" y="432"/>
                </a:cubicBezTo>
                <a:cubicBezTo>
                  <a:pt x="2664" y="428"/>
                  <a:pt x="2666" y="426"/>
                  <a:pt x="2668" y="423"/>
                </a:cubicBezTo>
                <a:cubicBezTo>
                  <a:pt x="2669" y="421"/>
                  <a:pt x="2670" y="419"/>
                  <a:pt x="2670" y="417"/>
                </a:cubicBezTo>
                <a:cubicBezTo>
                  <a:pt x="2672" y="408"/>
                  <a:pt x="2673" y="398"/>
                  <a:pt x="2674" y="389"/>
                </a:cubicBezTo>
                <a:cubicBezTo>
                  <a:pt x="2674" y="385"/>
                  <a:pt x="2676" y="381"/>
                  <a:pt x="2679" y="379"/>
                </a:cubicBezTo>
                <a:cubicBezTo>
                  <a:pt x="2684" y="376"/>
                  <a:pt x="2687" y="372"/>
                  <a:pt x="2689" y="367"/>
                </a:cubicBezTo>
                <a:cubicBezTo>
                  <a:pt x="2692" y="360"/>
                  <a:pt x="2696" y="354"/>
                  <a:pt x="2700" y="348"/>
                </a:cubicBezTo>
                <a:cubicBezTo>
                  <a:pt x="2703" y="343"/>
                  <a:pt x="2708" y="338"/>
                  <a:pt x="2713" y="333"/>
                </a:cubicBezTo>
                <a:cubicBezTo>
                  <a:pt x="2718" y="328"/>
                  <a:pt x="2724" y="323"/>
                  <a:pt x="2731" y="319"/>
                </a:cubicBezTo>
                <a:cubicBezTo>
                  <a:pt x="2734" y="318"/>
                  <a:pt x="2736" y="315"/>
                  <a:pt x="2739" y="313"/>
                </a:cubicBezTo>
                <a:cubicBezTo>
                  <a:pt x="2745" y="309"/>
                  <a:pt x="2746" y="304"/>
                  <a:pt x="2744" y="298"/>
                </a:cubicBezTo>
                <a:cubicBezTo>
                  <a:pt x="2743" y="296"/>
                  <a:pt x="2743" y="295"/>
                  <a:pt x="2743" y="293"/>
                </a:cubicBezTo>
                <a:cubicBezTo>
                  <a:pt x="2742" y="291"/>
                  <a:pt x="2741" y="289"/>
                  <a:pt x="2739" y="288"/>
                </a:cubicBezTo>
                <a:cubicBezTo>
                  <a:pt x="2738" y="287"/>
                  <a:pt x="2736" y="286"/>
                  <a:pt x="2735" y="285"/>
                </a:cubicBezTo>
                <a:cubicBezTo>
                  <a:pt x="2731" y="281"/>
                  <a:pt x="2727" y="282"/>
                  <a:pt x="2723" y="284"/>
                </a:cubicBezTo>
                <a:cubicBezTo>
                  <a:pt x="2717" y="287"/>
                  <a:pt x="2712" y="291"/>
                  <a:pt x="2711" y="298"/>
                </a:cubicBezTo>
                <a:cubicBezTo>
                  <a:pt x="2710" y="303"/>
                  <a:pt x="2707" y="306"/>
                  <a:pt x="2703" y="309"/>
                </a:cubicBezTo>
                <a:cubicBezTo>
                  <a:pt x="2698" y="312"/>
                  <a:pt x="2693" y="315"/>
                  <a:pt x="2686" y="315"/>
                </a:cubicBezTo>
                <a:cubicBezTo>
                  <a:pt x="2676" y="315"/>
                  <a:pt x="2670" y="321"/>
                  <a:pt x="2665" y="329"/>
                </a:cubicBezTo>
                <a:cubicBezTo>
                  <a:pt x="2665" y="329"/>
                  <a:pt x="2664" y="330"/>
                  <a:pt x="2664" y="330"/>
                </a:cubicBezTo>
                <a:cubicBezTo>
                  <a:pt x="2663" y="333"/>
                  <a:pt x="2661" y="334"/>
                  <a:pt x="2658" y="335"/>
                </a:cubicBezTo>
                <a:cubicBezTo>
                  <a:pt x="2656" y="336"/>
                  <a:pt x="2654" y="337"/>
                  <a:pt x="2654" y="340"/>
                </a:cubicBezTo>
                <a:cubicBezTo>
                  <a:pt x="2653" y="342"/>
                  <a:pt x="2653" y="345"/>
                  <a:pt x="2651" y="347"/>
                </a:cubicBezTo>
                <a:cubicBezTo>
                  <a:pt x="2650" y="350"/>
                  <a:pt x="2649" y="352"/>
                  <a:pt x="2650" y="355"/>
                </a:cubicBezTo>
                <a:cubicBezTo>
                  <a:pt x="2650" y="356"/>
                  <a:pt x="2649" y="357"/>
                  <a:pt x="2649" y="358"/>
                </a:cubicBezTo>
                <a:cubicBezTo>
                  <a:pt x="2648" y="358"/>
                  <a:pt x="2648" y="358"/>
                  <a:pt x="2647" y="359"/>
                </a:cubicBezTo>
                <a:cubicBezTo>
                  <a:pt x="2644" y="359"/>
                  <a:pt x="2643" y="362"/>
                  <a:pt x="2641" y="364"/>
                </a:cubicBezTo>
                <a:cubicBezTo>
                  <a:pt x="2640" y="366"/>
                  <a:pt x="2638" y="366"/>
                  <a:pt x="2636" y="366"/>
                </a:cubicBezTo>
                <a:cubicBezTo>
                  <a:pt x="2634" y="367"/>
                  <a:pt x="2633" y="369"/>
                  <a:pt x="2634" y="370"/>
                </a:cubicBezTo>
                <a:cubicBezTo>
                  <a:pt x="2636" y="374"/>
                  <a:pt x="2639" y="377"/>
                  <a:pt x="2639" y="380"/>
                </a:cubicBezTo>
                <a:cubicBezTo>
                  <a:pt x="2640" y="384"/>
                  <a:pt x="2638" y="389"/>
                  <a:pt x="2638" y="393"/>
                </a:cubicBezTo>
                <a:cubicBezTo>
                  <a:pt x="2638" y="396"/>
                  <a:pt x="2638" y="399"/>
                  <a:pt x="2636" y="401"/>
                </a:cubicBezTo>
                <a:cubicBezTo>
                  <a:pt x="2634" y="404"/>
                  <a:pt x="2633" y="408"/>
                  <a:pt x="2631" y="411"/>
                </a:cubicBezTo>
                <a:cubicBezTo>
                  <a:pt x="2629" y="413"/>
                  <a:pt x="2630" y="416"/>
                  <a:pt x="2632" y="418"/>
                </a:cubicBezTo>
                <a:cubicBezTo>
                  <a:pt x="2636" y="423"/>
                  <a:pt x="2637" y="425"/>
                  <a:pt x="2634" y="428"/>
                </a:cubicBezTo>
                <a:close/>
                <a:moveTo>
                  <a:pt x="3847" y="1258"/>
                </a:moveTo>
                <a:cubicBezTo>
                  <a:pt x="3848" y="1258"/>
                  <a:pt x="3848" y="1258"/>
                  <a:pt x="3849" y="1257"/>
                </a:cubicBezTo>
                <a:cubicBezTo>
                  <a:pt x="3850" y="1255"/>
                  <a:pt x="3852" y="1253"/>
                  <a:pt x="3853" y="1250"/>
                </a:cubicBezTo>
                <a:cubicBezTo>
                  <a:pt x="3854" y="1242"/>
                  <a:pt x="3854" y="1233"/>
                  <a:pt x="3855" y="1224"/>
                </a:cubicBezTo>
                <a:cubicBezTo>
                  <a:pt x="3853" y="1219"/>
                  <a:pt x="3852" y="1211"/>
                  <a:pt x="3844" y="1210"/>
                </a:cubicBezTo>
                <a:cubicBezTo>
                  <a:pt x="3844" y="1210"/>
                  <a:pt x="3843" y="1209"/>
                  <a:pt x="3844" y="1209"/>
                </a:cubicBezTo>
                <a:cubicBezTo>
                  <a:pt x="3844" y="1208"/>
                  <a:pt x="3844" y="1207"/>
                  <a:pt x="3844" y="1207"/>
                </a:cubicBezTo>
                <a:cubicBezTo>
                  <a:pt x="3845" y="1207"/>
                  <a:pt x="3846" y="1206"/>
                  <a:pt x="3847" y="1206"/>
                </a:cubicBezTo>
                <a:cubicBezTo>
                  <a:pt x="3851" y="1206"/>
                  <a:pt x="3854" y="1206"/>
                  <a:pt x="3855" y="1202"/>
                </a:cubicBezTo>
                <a:cubicBezTo>
                  <a:pt x="3856" y="1201"/>
                  <a:pt x="3858" y="1200"/>
                  <a:pt x="3859" y="1200"/>
                </a:cubicBezTo>
                <a:cubicBezTo>
                  <a:pt x="3864" y="1199"/>
                  <a:pt x="3869" y="1198"/>
                  <a:pt x="3874" y="1199"/>
                </a:cubicBezTo>
                <a:cubicBezTo>
                  <a:pt x="3874" y="1199"/>
                  <a:pt x="3874" y="1199"/>
                  <a:pt x="3874" y="1199"/>
                </a:cubicBezTo>
                <a:cubicBezTo>
                  <a:pt x="3874" y="1198"/>
                  <a:pt x="3874" y="1198"/>
                  <a:pt x="3874" y="1198"/>
                </a:cubicBezTo>
                <a:cubicBezTo>
                  <a:pt x="3874" y="1199"/>
                  <a:pt x="3874" y="1199"/>
                  <a:pt x="3874" y="1199"/>
                </a:cubicBezTo>
                <a:cubicBezTo>
                  <a:pt x="3874" y="1199"/>
                  <a:pt x="3874" y="1199"/>
                  <a:pt x="3874" y="1199"/>
                </a:cubicBezTo>
                <a:cubicBezTo>
                  <a:pt x="3872" y="1202"/>
                  <a:pt x="3870" y="1204"/>
                  <a:pt x="3866" y="1204"/>
                </a:cubicBezTo>
                <a:cubicBezTo>
                  <a:pt x="3865" y="1204"/>
                  <a:pt x="3864" y="1204"/>
                  <a:pt x="3863" y="1204"/>
                </a:cubicBezTo>
                <a:cubicBezTo>
                  <a:pt x="3860" y="1205"/>
                  <a:pt x="3857" y="1210"/>
                  <a:pt x="3858" y="1213"/>
                </a:cubicBezTo>
                <a:cubicBezTo>
                  <a:pt x="3859" y="1216"/>
                  <a:pt x="3860" y="1219"/>
                  <a:pt x="3861" y="1221"/>
                </a:cubicBezTo>
                <a:cubicBezTo>
                  <a:pt x="3861" y="1221"/>
                  <a:pt x="3862" y="1222"/>
                  <a:pt x="3862" y="1222"/>
                </a:cubicBezTo>
                <a:cubicBezTo>
                  <a:pt x="3864" y="1225"/>
                  <a:pt x="3869" y="1225"/>
                  <a:pt x="3870" y="1221"/>
                </a:cubicBezTo>
                <a:cubicBezTo>
                  <a:pt x="3871" y="1218"/>
                  <a:pt x="3871" y="1216"/>
                  <a:pt x="3873" y="1214"/>
                </a:cubicBezTo>
                <a:cubicBezTo>
                  <a:pt x="3876" y="1212"/>
                  <a:pt x="3879" y="1213"/>
                  <a:pt x="3881" y="1214"/>
                </a:cubicBezTo>
                <a:cubicBezTo>
                  <a:pt x="3882" y="1214"/>
                  <a:pt x="3882" y="1214"/>
                  <a:pt x="3883" y="1214"/>
                </a:cubicBezTo>
                <a:cubicBezTo>
                  <a:pt x="3886" y="1213"/>
                  <a:pt x="3889" y="1205"/>
                  <a:pt x="3887" y="1202"/>
                </a:cubicBezTo>
                <a:cubicBezTo>
                  <a:pt x="3885" y="1200"/>
                  <a:pt x="3883" y="1198"/>
                  <a:pt x="3882" y="1196"/>
                </a:cubicBezTo>
                <a:cubicBezTo>
                  <a:pt x="3881" y="1194"/>
                  <a:pt x="3882" y="1193"/>
                  <a:pt x="3883" y="1191"/>
                </a:cubicBezTo>
                <a:cubicBezTo>
                  <a:pt x="3884" y="1190"/>
                  <a:pt x="3886" y="1190"/>
                  <a:pt x="3887" y="1189"/>
                </a:cubicBezTo>
                <a:cubicBezTo>
                  <a:pt x="3888" y="1189"/>
                  <a:pt x="3888" y="1189"/>
                  <a:pt x="3889" y="1190"/>
                </a:cubicBezTo>
                <a:cubicBezTo>
                  <a:pt x="3890" y="1190"/>
                  <a:pt x="3890" y="1191"/>
                  <a:pt x="3889" y="1192"/>
                </a:cubicBezTo>
                <a:cubicBezTo>
                  <a:pt x="3888" y="1194"/>
                  <a:pt x="3887" y="1195"/>
                  <a:pt x="3888" y="1197"/>
                </a:cubicBezTo>
                <a:cubicBezTo>
                  <a:pt x="3889" y="1200"/>
                  <a:pt x="3891" y="1203"/>
                  <a:pt x="3893" y="1205"/>
                </a:cubicBezTo>
                <a:cubicBezTo>
                  <a:pt x="3894" y="1207"/>
                  <a:pt x="3897" y="1209"/>
                  <a:pt x="3899" y="1211"/>
                </a:cubicBezTo>
                <a:cubicBezTo>
                  <a:pt x="3900" y="1212"/>
                  <a:pt x="3904" y="1211"/>
                  <a:pt x="3905" y="1209"/>
                </a:cubicBezTo>
                <a:cubicBezTo>
                  <a:pt x="3908" y="1204"/>
                  <a:pt x="3911" y="1198"/>
                  <a:pt x="3915" y="1192"/>
                </a:cubicBezTo>
                <a:cubicBezTo>
                  <a:pt x="3915" y="1191"/>
                  <a:pt x="3917" y="1190"/>
                  <a:pt x="3918" y="1189"/>
                </a:cubicBezTo>
                <a:cubicBezTo>
                  <a:pt x="3921" y="1189"/>
                  <a:pt x="3924" y="1189"/>
                  <a:pt x="3926" y="1189"/>
                </a:cubicBezTo>
                <a:cubicBezTo>
                  <a:pt x="3930" y="1189"/>
                  <a:pt x="3932" y="1186"/>
                  <a:pt x="3935" y="1184"/>
                </a:cubicBezTo>
                <a:cubicBezTo>
                  <a:pt x="3935" y="1184"/>
                  <a:pt x="3937" y="1185"/>
                  <a:pt x="3938" y="1185"/>
                </a:cubicBezTo>
                <a:cubicBezTo>
                  <a:pt x="3940" y="1186"/>
                  <a:pt x="3942" y="1185"/>
                  <a:pt x="3942" y="1184"/>
                </a:cubicBezTo>
                <a:cubicBezTo>
                  <a:pt x="3943" y="1180"/>
                  <a:pt x="3943" y="1176"/>
                  <a:pt x="3947" y="1174"/>
                </a:cubicBezTo>
                <a:cubicBezTo>
                  <a:pt x="3947" y="1173"/>
                  <a:pt x="3947" y="1173"/>
                  <a:pt x="3948" y="1173"/>
                </a:cubicBezTo>
                <a:cubicBezTo>
                  <a:pt x="3948" y="1173"/>
                  <a:pt x="3948" y="1173"/>
                  <a:pt x="3949" y="1174"/>
                </a:cubicBezTo>
                <a:cubicBezTo>
                  <a:pt x="3949" y="1175"/>
                  <a:pt x="3949" y="1177"/>
                  <a:pt x="3950" y="1178"/>
                </a:cubicBezTo>
                <a:cubicBezTo>
                  <a:pt x="3950" y="1180"/>
                  <a:pt x="3952" y="1181"/>
                  <a:pt x="3954" y="1180"/>
                </a:cubicBezTo>
                <a:cubicBezTo>
                  <a:pt x="3960" y="1177"/>
                  <a:pt x="3964" y="1169"/>
                  <a:pt x="3961" y="1163"/>
                </a:cubicBezTo>
                <a:cubicBezTo>
                  <a:pt x="3958" y="1158"/>
                  <a:pt x="3957" y="1152"/>
                  <a:pt x="3957" y="1147"/>
                </a:cubicBezTo>
                <a:cubicBezTo>
                  <a:pt x="3958" y="1138"/>
                  <a:pt x="3957" y="1130"/>
                  <a:pt x="3954" y="1123"/>
                </a:cubicBezTo>
                <a:cubicBezTo>
                  <a:pt x="3953" y="1120"/>
                  <a:pt x="3954" y="1117"/>
                  <a:pt x="3956" y="1115"/>
                </a:cubicBezTo>
                <a:cubicBezTo>
                  <a:pt x="3958" y="1113"/>
                  <a:pt x="3960" y="1111"/>
                  <a:pt x="3959" y="1108"/>
                </a:cubicBezTo>
                <a:cubicBezTo>
                  <a:pt x="3959" y="1106"/>
                  <a:pt x="3959" y="1103"/>
                  <a:pt x="3959" y="1100"/>
                </a:cubicBezTo>
                <a:cubicBezTo>
                  <a:pt x="3959" y="1092"/>
                  <a:pt x="3957" y="1084"/>
                  <a:pt x="3953" y="1077"/>
                </a:cubicBezTo>
                <a:cubicBezTo>
                  <a:pt x="3948" y="1069"/>
                  <a:pt x="3941" y="1062"/>
                  <a:pt x="3938" y="1053"/>
                </a:cubicBezTo>
                <a:cubicBezTo>
                  <a:pt x="3938" y="1051"/>
                  <a:pt x="3934" y="1051"/>
                  <a:pt x="3933" y="1052"/>
                </a:cubicBezTo>
                <a:cubicBezTo>
                  <a:pt x="3926" y="1059"/>
                  <a:pt x="3922" y="1066"/>
                  <a:pt x="3925" y="1076"/>
                </a:cubicBezTo>
                <a:cubicBezTo>
                  <a:pt x="3925" y="1080"/>
                  <a:pt x="3923" y="1084"/>
                  <a:pt x="3928" y="1087"/>
                </a:cubicBezTo>
                <a:cubicBezTo>
                  <a:pt x="3929" y="1088"/>
                  <a:pt x="3929" y="1089"/>
                  <a:pt x="3929" y="1090"/>
                </a:cubicBezTo>
                <a:cubicBezTo>
                  <a:pt x="3930" y="1102"/>
                  <a:pt x="3932" y="1115"/>
                  <a:pt x="3924" y="1126"/>
                </a:cubicBezTo>
                <a:cubicBezTo>
                  <a:pt x="3923" y="1127"/>
                  <a:pt x="3923" y="1130"/>
                  <a:pt x="3923" y="1132"/>
                </a:cubicBezTo>
                <a:cubicBezTo>
                  <a:pt x="3921" y="1139"/>
                  <a:pt x="3916" y="1143"/>
                  <a:pt x="3909" y="1145"/>
                </a:cubicBezTo>
                <a:cubicBezTo>
                  <a:pt x="3908" y="1145"/>
                  <a:pt x="3905" y="1144"/>
                  <a:pt x="3905" y="1142"/>
                </a:cubicBezTo>
                <a:cubicBezTo>
                  <a:pt x="3905" y="1141"/>
                  <a:pt x="3905" y="1140"/>
                  <a:pt x="3905" y="1139"/>
                </a:cubicBezTo>
                <a:cubicBezTo>
                  <a:pt x="3904" y="1137"/>
                  <a:pt x="3903" y="1135"/>
                  <a:pt x="3902" y="1136"/>
                </a:cubicBezTo>
                <a:cubicBezTo>
                  <a:pt x="3901" y="1137"/>
                  <a:pt x="3899" y="1137"/>
                  <a:pt x="3898" y="1139"/>
                </a:cubicBezTo>
                <a:cubicBezTo>
                  <a:pt x="3897" y="1141"/>
                  <a:pt x="3898" y="1143"/>
                  <a:pt x="3898" y="1145"/>
                </a:cubicBezTo>
                <a:cubicBezTo>
                  <a:pt x="3898" y="1147"/>
                  <a:pt x="3899" y="1150"/>
                  <a:pt x="3898" y="1152"/>
                </a:cubicBezTo>
                <a:cubicBezTo>
                  <a:pt x="3895" y="1157"/>
                  <a:pt x="3894" y="1163"/>
                  <a:pt x="3893" y="1169"/>
                </a:cubicBezTo>
                <a:cubicBezTo>
                  <a:pt x="3892" y="1170"/>
                  <a:pt x="3891" y="1171"/>
                  <a:pt x="3890" y="1171"/>
                </a:cubicBezTo>
                <a:cubicBezTo>
                  <a:pt x="3886" y="1170"/>
                  <a:pt x="3881" y="1170"/>
                  <a:pt x="3877" y="1171"/>
                </a:cubicBezTo>
                <a:cubicBezTo>
                  <a:pt x="3872" y="1173"/>
                  <a:pt x="3867" y="1174"/>
                  <a:pt x="3861" y="1175"/>
                </a:cubicBezTo>
                <a:cubicBezTo>
                  <a:pt x="3858" y="1175"/>
                  <a:pt x="3856" y="1177"/>
                  <a:pt x="3854" y="1179"/>
                </a:cubicBezTo>
                <a:cubicBezTo>
                  <a:pt x="3849" y="1186"/>
                  <a:pt x="3843" y="1193"/>
                  <a:pt x="3837" y="1199"/>
                </a:cubicBezTo>
                <a:cubicBezTo>
                  <a:pt x="3836" y="1200"/>
                  <a:pt x="3836" y="1202"/>
                  <a:pt x="3835" y="1203"/>
                </a:cubicBezTo>
                <a:cubicBezTo>
                  <a:pt x="3835" y="1205"/>
                  <a:pt x="3835" y="1207"/>
                  <a:pt x="3834" y="1208"/>
                </a:cubicBezTo>
                <a:cubicBezTo>
                  <a:pt x="3831" y="1211"/>
                  <a:pt x="3829" y="1213"/>
                  <a:pt x="3826" y="1216"/>
                </a:cubicBezTo>
                <a:cubicBezTo>
                  <a:pt x="3824" y="1218"/>
                  <a:pt x="3823" y="1221"/>
                  <a:pt x="3824" y="1224"/>
                </a:cubicBezTo>
                <a:cubicBezTo>
                  <a:pt x="3824" y="1227"/>
                  <a:pt x="3825" y="1229"/>
                  <a:pt x="3827" y="1231"/>
                </a:cubicBezTo>
                <a:cubicBezTo>
                  <a:pt x="3827" y="1231"/>
                  <a:pt x="3827" y="1231"/>
                  <a:pt x="3827" y="1231"/>
                </a:cubicBezTo>
                <a:cubicBezTo>
                  <a:pt x="3827" y="1231"/>
                  <a:pt x="3827" y="1232"/>
                  <a:pt x="3828" y="1232"/>
                </a:cubicBezTo>
                <a:cubicBezTo>
                  <a:pt x="3828" y="1231"/>
                  <a:pt x="3828" y="1231"/>
                  <a:pt x="3828" y="1231"/>
                </a:cubicBezTo>
                <a:cubicBezTo>
                  <a:pt x="3828" y="1231"/>
                  <a:pt x="3828" y="1231"/>
                  <a:pt x="3828" y="1230"/>
                </a:cubicBezTo>
                <a:cubicBezTo>
                  <a:pt x="3831" y="1230"/>
                  <a:pt x="3833" y="1231"/>
                  <a:pt x="3833" y="1233"/>
                </a:cubicBezTo>
                <a:cubicBezTo>
                  <a:pt x="3833" y="1235"/>
                  <a:pt x="3832" y="1236"/>
                  <a:pt x="3831" y="1238"/>
                </a:cubicBezTo>
                <a:cubicBezTo>
                  <a:pt x="3831" y="1238"/>
                  <a:pt x="3831" y="1238"/>
                  <a:pt x="3831" y="1238"/>
                </a:cubicBezTo>
                <a:cubicBezTo>
                  <a:pt x="3831" y="1238"/>
                  <a:pt x="3831" y="1238"/>
                  <a:pt x="3831" y="1238"/>
                </a:cubicBezTo>
                <a:cubicBezTo>
                  <a:pt x="3831" y="1238"/>
                  <a:pt x="3831" y="1238"/>
                  <a:pt x="3831" y="1238"/>
                </a:cubicBezTo>
                <a:cubicBezTo>
                  <a:pt x="3833" y="1244"/>
                  <a:pt x="3835" y="1249"/>
                  <a:pt x="3837" y="1255"/>
                </a:cubicBezTo>
                <a:cubicBezTo>
                  <a:pt x="3838" y="1258"/>
                  <a:pt x="3845" y="1260"/>
                  <a:pt x="3847" y="1258"/>
                </a:cubicBezTo>
                <a:close/>
                <a:moveTo>
                  <a:pt x="3933" y="1059"/>
                </a:moveTo>
                <a:cubicBezTo>
                  <a:pt x="3934" y="1059"/>
                  <a:pt x="3934" y="1059"/>
                  <a:pt x="3934" y="1059"/>
                </a:cubicBezTo>
                <a:cubicBezTo>
                  <a:pt x="3934" y="1059"/>
                  <a:pt x="3934" y="1059"/>
                  <a:pt x="3934" y="1059"/>
                </a:cubicBezTo>
                <a:cubicBezTo>
                  <a:pt x="3933" y="1060"/>
                  <a:pt x="3933" y="1060"/>
                  <a:pt x="3933" y="1060"/>
                </a:cubicBezTo>
                <a:lnTo>
                  <a:pt x="3933" y="1059"/>
                </a:lnTo>
                <a:close/>
                <a:moveTo>
                  <a:pt x="1266" y="186"/>
                </a:moveTo>
                <a:cubicBezTo>
                  <a:pt x="1268" y="188"/>
                  <a:pt x="1270" y="189"/>
                  <a:pt x="1272" y="189"/>
                </a:cubicBezTo>
                <a:cubicBezTo>
                  <a:pt x="1276" y="188"/>
                  <a:pt x="1280" y="189"/>
                  <a:pt x="1283" y="191"/>
                </a:cubicBezTo>
                <a:cubicBezTo>
                  <a:pt x="1285" y="192"/>
                  <a:pt x="1287" y="191"/>
                  <a:pt x="1289" y="190"/>
                </a:cubicBezTo>
                <a:cubicBezTo>
                  <a:pt x="1291" y="188"/>
                  <a:pt x="1292" y="187"/>
                  <a:pt x="1294" y="186"/>
                </a:cubicBezTo>
                <a:cubicBezTo>
                  <a:pt x="1294" y="186"/>
                  <a:pt x="1294" y="186"/>
                  <a:pt x="1294" y="186"/>
                </a:cubicBezTo>
                <a:cubicBezTo>
                  <a:pt x="1294" y="186"/>
                  <a:pt x="1294" y="186"/>
                  <a:pt x="1294" y="187"/>
                </a:cubicBezTo>
                <a:cubicBezTo>
                  <a:pt x="1294" y="186"/>
                  <a:pt x="1294" y="186"/>
                  <a:pt x="1294" y="186"/>
                </a:cubicBezTo>
                <a:cubicBezTo>
                  <a:pt x="1298" y="184"/>
                  <a:pt x="1301" y="182"/>
                  <a:pt x="1304" y="179"/>
                </a:cubicBezTo>
                <a:cubicBezTo>
                  <a:pt x="1307" y="176"/>
                  <a:pt x="1310" y="175"/>
                  <a:pt x="1314" y="173"/>
                </a:cubicBezTo>
                <a:cubicBezTo>
                  <a:pt x="1314" y="171"/>
                  <a:pt x="1315" y="169"/>
                  <a:pt x="1316" y="168"/>
                </a:cubicBezTo>
                <a:cubicBezTo>
                  <a:pt x="1318" y="165"/>
                  <a:pt x="1320" y="164"/>
                  <a:pt x="1324" y="164"/>
                </a:cubicBezTo>
                <a:cubicBezTo>
                  <a:pt x="1324" y="163"/>
                  <a:pt x="1324" y="163"/>
                  <a:pt x="1324" y="163"/>
                </a:cubicBezTo>
                <a:cubicBezTo>
                  <a:pt x="1324" y="163"/>
                  <a:pt x="1324" y="163"/>
                  <a:pt x="1324" y="163"/>
                </a:cubicBezTo>
                <a:cubicBezTo>
                  <a:pt x="1323" y="162"/>
                  <a:pt x="1324" y="162"/>
                  <a:pt x="1325" y="163"/>
                </a:cubicBezTo>
                <a:cubicBezTo>
                  <a:pt x="1324" y="163"/>
                  <a:pt x="1324" y="163"/>
                  <a:pt x="1324" y="163"/>
                </a:cubicBezTo>
                <a:cubicBezTo>
                  <a:pt x="1324" y="168"/>
                  <a:pt x="1324" y="168"/>
                  <a:pt x="1328" y="169"/>
                </a:cubicBezTo>
                <a:cubicBezTo>
                  <a:pt x="1329" y="169"/>
                  <a:pt x="1329" y="169"/>
                  <a:pt x="1330" y="169"/>
                </a:cubicBezTo>
                <a:cubicBezTo>
                  <a:pt x="1333" y="166"/>
                  <a:pt x="1334" y="162"/>
                  <a:pt x="1337" y="159"/>
                </a:cubicBezTo>
                <a:cubicBezTo>
                  <a:pt x="1340" y="157"/>
                  <a:pt x="1343" y="155"/>
                  <a:pt x="1344" y="151"/>
                </a:cubicBezTo>
                <a:cubicBezTo>
                  <a:pt x="1344" y="145"/>
                  <a:pt x="1344" y="140"/>
                  <a:pt x="1340" y="135"/>
                </a:cubicBezTo>
                <a:cubicBezTo>
                  <a:pt x="1340" y="134"/>
                  <a:pt x="1339" y="133"/>
                  <a:pt x="1339" y="132"/>
                </a:cubicBezTo>
                <a:cubicBezTo>
                  <a:pt x="1338" y="131"/>
                  <a:pt x="1338" y="129"/>
                  <a:pt x="1339" y="128"/>
                </a:cubicBezTo>
                <a:cubicBezTo>
                  <a:pt x="1341" y="125"/>
                  <a:pt x="1343" y="122"/>
                  <a:pt x="1346" y="120"/>
                </a:cubicBezTo>
                <a:cubicBezTo>
                  <a:pt x="1346" y="116"/>
                  <a:pt x="1345" y="113"/>
                  <a:pt x="1346" y="109"/>
                </a:cubicBezTo>
                <a:cubicBezTo>
                  <a:pt x="1347" y="106"/>
                  <a:pt x="1348" y="104"/>
                  <a:pt x="1348" y="101"/>
                </a:cubicBezTo>
                <a:cubicBezTo>
                  <a:pt x="1348" y="97"/>
                  <a:pt x="1343" y="97"/>
                  <a:pt x="1341" y="95"/>
                </a:cubicBezTo>
                <a:cubicBezTo>
                  <a:pt x="1339" y="92"/>
                  <a:pt x="1336" y="91"/>
                  <a:pt x="1333" y="89"/>
                </a:cubicBezTo>
                <a:cubicBezTo>
                  <a:pt x="1332" y="88"/>
                  <a:pt x="1331" y="86"/>
                  <a:pt x="1331" y="85"/>
                </a:cubicBezTo>
                <a:cubicBezTo>
                  <a:pt x="1331" y="81"/>
                  <a:pt x="1331" y="76"/>
                  <a:pt x="1332" y="72"/>
                </a:cubicBezTo>
                <a:cubicBezTo>
                  <a:pt x="1332" y="68"/>
                  <a:pt x="1333" y="64"/>
                  <a:pt x="1334" y="60"/>
                </a:cubicBezTo>
                <a:cubicBezTo>
                  <a:pt x="1334" y="54"/>
                  <a:pt x="1331" y="50"/>
                  <a:pt x="1327" y="46"/>
                </a:cubicBezTo>
                <a:cubicBezTo>
                  <a:pt x="1324" y="43"/>
                  <a:pt x="1320" y="43"/>
                  <a:pt x="1316" y="44"/>
                </a:cubicBezTo>
                <a:cubicBezTo>
                  <a:pt x="1314" y="44"/>
                  <a:pt x="1312" y="46"/>
                  <a:pt x="1312" y="48"/>
                </a:cubicBezTo>
                <a:cubicBezTo>
                  <a:pt x="1312" y="50"/>
                  <a:pt x="1313" y="51"/>
                  <a:pt x="1315" y="52"/>
                </a:cubicBezTo>
                <a:cubicBezTo>
                  <a:pt x="1317" y="53"/>
                  <a:pt x="1319" y="53"/>
                  <a:pt x="1321" y="54"/>
                </a:cubicBezTo>
                <a:cubicBezTo>
                  <a:pt x="1322" y="55"/>
                  <a:pt x="1322" y="56"/>
                  <a:pt x="1321" y="57"/>
                </a:cubicBezTo>
                <a:cubicBezTo>
                  <a:pt x="1321" y="58"/>
                  <a:pt x="1320" y="58"/>
                  <a:pt x="1320" y="58"/>
                </a:cubicBezTo>
                <a:cubicBezTo>
                  <a:pt x="1317" y="58"/>
                  <a:pt x="1315" y="58"/>
                  <a:pt x="1312" y="59"/>
                </a:cubicBezTo>
                <a:cubicBezTo>
                  <a:pt x="1309" y="59"/>
                  <a:pt x="1307" y="60"/>
                  <a:pt x="1304" y="61"/>
                </a:cubicBezTo>
                <a:cubicBezTo>
                  <a:pt x="1301" y="61"/>
                  <a:pt x="1299" y="65"/>
                  <a:pt x="1299" y="68"/>
                </a:cubicBezTo>
                <a:cubicBezTo>
                  <a:pt x="1300" y="71"/>
                  <a:pt x="1301" y="73"/>
                  <a:pt x="1301" y="75"/>
                </a:cubicBezTo>
                <a:cubicBezTo>
                  <a:pt x="1302" y="75"/>
                  <a:pt x="1301" y="77"/>
                  <a:pt x="1300" y="77"/>
                </a:cubicBezTo>
                <a:cubicBezTo>
                  <a:pt x="1300" y="78"/>
                  <a:pt x="1299" y="78"/>
                  <a:pt x="1299" y="77"/>
                </a:cubicBezTo>
                <a:cubicBezTo>
                  <a:pt x="1297" y="76"/>
                  <a:pt x="1294" y="74"/>
                  <a:pt x="1291" y="77"/>
                </a:cubicBezTo>
                <a:cubicBezTo>
                  <a:pt x="1289" y="79"/>
                  <a:pt x="1286" y="80"/>
                  <a:pt x="1282" y="79"/>
                </a:cubicBezTo>
                <a:cubicBezTo>
                  <a:pt x="1279" y="79"/>
                  <a:pt x="1278" y="82"/>
                  <a:pt x="1279" y="85"/>
                </a:cubicBezTo>
                <a:cubicBezTo>
                  <a:pt x="1279" y="88"/>
                  <a:pt x="1281" y="90"/>
                  <a:pt x="1282" y="92"/>
                </a:cubicBezTo>
                <a:cubicBezTo>
                  <a:pt x="1284" y="94"/>
                  <a:pt x="1287" y="97"/>
                  <a:pt x="1286" y="100"/>
                </a:cubicBezTo>
                <a:cubicBezTo>
                  <a:pt x="1287" y="100"/>
                  <a:pt x="1287" y="100"/>
                  <a:pt x="1287" y="100"/>
                </a:cubicBezTo>
                <a:cubicBezTo>
                  <a:pt x="1287" y="100"/>
                  <a:pt x="1288" y="101"/>
                  <a:pt x="1288" y="101"/>
                </a:cubicBezTo>
                <a:cubicBezTo>
                  <a:pt x="1289" y="101"/>
                  <a:pt x="1290" y="101"/>
                  <a:pt x="1290" y="101"/>
                </a:cubicBezTo>
                <a:cubicBezTo>
                  <a:pt x="1289" y="102"/>
                  <a:pt x="1289" y="101"/>
                  <a:pt x="1288" y="101"/>
                </a:cubicBezTo>
                <a:cubicBezTo>
                  <a:pt x="1287" y="101"/>
                  <a:pt x="1287" y="101"/>
                  <a:pt x="1286" y="101"/>
                </a:cubicBezTo>
                <a:cubicBezTo>
                  <a:pt x="1286" y="100"/>
                  <a:pt x="1286" y="100"/>
                  <a:pt x="1286" y="100"/>
                </a:cubicBezTo>
                <a:cubicBezTo>
                  <a:pt x="1283" y="100"/>
                  <a:pt x="1281" y="98"/>
                  <a:pt x="1278" y="96"/>
                </a:cubicBezTo>
                <a:cubicBezTo>
                  <a:pt x="1276" y="96"/>
                  <a:pt x="1274" y="96"/>
                  <a:pt x="1274" y="97"/>
                </a:cubicBezTo>
                <a:cubicBezTo>
                  <a:pt x="1269" y="106"/>
                  <a:pt x="1267" y="116"/>
                  <a:pt x="1262" y="125"/>
                </a:cubicBezTo>
                <a:cubicBezTo>
                  <a:pt x="1261" y="128"/>
                  <a:pt x="1262" y="131"/>
                  <a:pt x="1265" y="133"/>
                </a:cubicBezTo>
                <a:cubicBezTo>
                  <a:pt x="1268" y="136"/>
                  <a:pt x="1271" y="137"/>
                  <a:pt x="1274" y="137"/>
                </a:cubicBezTo>
                <a:cubicBezTo>
                  <a:pt x="1276" y="137"/>
                  <a:pt x="1277" y="138"/>
                  <a:pt x="1278" y="139"/>
                </a:cubicBezTo>
                <a:cubicBezTo>
                  <a:pt x="1279" y="140"/>
                  <a:pt x="1279" y="141"/>
                  <a:pt x="1279" y="142"/>
                </a:cubicBezTo>
                <a:cubicBezTo>
                  <a:pt x="1279" y="143"/>
                  <a:pt x="1278" y="144"/>
                  <a:pt x="1278" y="145"/>
                </a:cubicBezTo>
                <a:cubicBezTo>
                  <a:pt x="1277" y="145"/>
                  <a:pt x="1275" y="145"/>
                  <a:pt x="1274" y="144"/>
                </a:cubicBezTo>
                <a:cubicBezTo>
                  <a:pt x="1267" y="143"/>
                  <a:pt x="1263" y="146"/>
                  <a:pt x="1260" y="152"/>
                </a:cubicBezTo>
                <a:cubicBezTo>
                  <a:pt x="1258" y="157"/>
                  <a:pt x="1258" y="163"/>
                  <a:pt x="1257" y="168"/>
                </a:cubicBezTo>
                <a:cubicBezTo>
                  <a:pt x="1256" y="176"/>
                  <a:pt x="1260" y="182"/>
                  <a:pt x="1266" y="186"/>
                </a:cubicBezTo>
                <a:close/>
                <a:moveTo>
                  <a:pt x="1314" y="173"/>
                </a:moveTo>
                <a:cubicBezTo>
                  <a:pt x="1314" y="173"/>
                  <a:pt x="1313" y="173"/>
                  <a:pt x="1313" y="173"/>
                </a:cubicBezTo>
                <a:cubicBezTo>
                  <a:pt x="1313" y="173"/>
                  <a:pt x="1314" y="173"/>
                  <a:pt x="1314" y="173"/>
                </a:cubicBezTo>
                <a:cubicBezTo>
                  <a:pt x="1314" y="173"/>
                  <a:pt x="1314" y="173"/>
                  <a:pt x="1314" y="172"/>
                </a:cubicBezTo>
                <a:cubicBezTo>
                  <a:pt x="1314" y="173"/>
                  <a:pt x="1314" y="173"/>
                  <a:pt x="1314" y="173"/>
                </a:cubicBezTo>
                <a:close/>
                <a:moveTo>
                  <a:pt x="3550" y="1801"/>
                </a:moveTo>
                <a:cubicBezTo>
                  <a:pt x="3550" y="1794"/>
                  <a:pt x="3553" y="1788"/>
                  <a:pt x="3553" y="1781"/>
                </a:cubicBezTo>
                <a:cubicBezTo>
                  <a:pt x="3553" y="1781"/>
                  <a:pt x="3553" y="1781"/>
                  <a:pt x="3553" y="1781"/>
                </a:cubicBezTo>
                <a:cubicBezTo>
                  <a:pt x="3552" y="1779"/>
                  <a:pt x="3550" y="1778"/>
                  <a:pt x="3549" y="1777"/>
                </a:cubicBezTo>
                <a:cubicBezTo>
                  <a:pt x="3549" y="1777"/>
                  <a:pt x="3549" y="1776"/>
                  <a:pt x="3549" y="1776"/>
                </a:cubicBezTo>
                <a:cubicBezTo>
                  <a:pt x="3548" y="1775"/>
                  <a:pt x="3548" y="1775"/>
                  <a:pt x="3548" y="1774"/>
                </a:cubicBezTo>
                <a:cubicBezTo>
                  <a:pt x="3548" y="1774"/>
                  <a:pt x="3548" y="1774"/>
                  <a:pt x="3549" y="1774"/>
                </a:cubicBezTo>
                <a:cubicBezTo>
                  <a:pt x="3549" y="1775"/>
                  <a:pt x="3549" y="1775"/>
                  <a:pt x="3549" y="1776"/>
                </a:cubicBezTo>
                <a:cubicBezTo>
                  <a:pt x="3549" y="1776"/>
                  <a:pt x="3549" y="1776"/>
                  <a:pt x="3550" y="1777"/>
                </a:cubicBezTo>
                <a:cubicBezTo>
                  <a:pt x="3551" y="1778"/>
                  <a:pt x="3552" y="1779"/>
                  <a:pt x="3553" y="1780"/>
                </a:cubicBezTo>
                <a:cubicBezTo>
                  <a:pt x="3553" y="1780"/>
                  <a:pt x="3553" y="1781"/>
                  <a:pt x="3553" y="1781"/>
                </a:cubicBezTo>
                <a:cubicBezTo>
                  <a:pt x="3555" y="1781"/>
                  <a:pt x="3556" y="1781"/>
                  <a:pt x="3558" y="1782"/>
                </a:cubicBezTo>
                <a:cubicBezTo>
                  <a:pt x="3558" y="1782"/>
                  <a:pt x="3559" y="1782"/>
                  <a:pt x="3559" y="1782"/>
                </a:cubicBezTo>
                <a:cubicBezTo>
                  <a:pt x="3561" y="1781"/>
                  <a:pt x="3562" y="1779"/>
                  <a:pt x="3561" y="1778"/>
                </a:cubicBezTo>
                <a:cubicBezTo>
                  <a:pt x="3558" y="1773"/>
                  <a:pt x="3555" y="1768"/>
                  <a:pt x="3552" y="1763"/>
                </a:cubicBezTo>
                <a:cubicBezTo>
                  <a:pt x="3551" y="1762"/>
                  <a:pt x="3550" y="1762"/>
                  <a:pt x="3549" y="1762"/>
                </a:cubicBezTo>
                <a:cubicBezTo>
                  <a:pt x="3547" y="1762"/>
                  <a:pt x="3544" y="1763"/>
                  <a:pt x="3543" y="1765"/>
                </a:cubicBezTo>
                <a:cubicBezTo>
                  <a:pt x="3542" y="1766"/>
                  <a:pt x="3542" y="1767"/>
                  <a:pt x="3541" y="1768"/>
                </a:cubicBezTo>
                <a:cubicBezTo>
                  <a:pt x="3540" y="1770"/>
                  <a:pt x="3537" y="1769"/>
                  <a:pt x="3536" y="1767"/>
                </a:cubicBezTo>
                <a:cubicBezTo>
                  <a:pt x="3535" y="1764"/>
                  <a:pt x="3534" y="1761"/>
                  <a:pt x="3532" y="1758"/>
                </a:cubicBezTo>
                <a:cubicBezTo>
                  <a:pt x="3532" y="1756"/>
                  <a:pt x="3530" y="1754"/>
                  <a:pt x="3528" y="1754"/>
                </a:cubicBezTo>
                <a:cubicBezTo>
                  <a:pt x="3526" y="1753"/>
                  <a:pt x="3524" y="1753"/>
                  <a:pt x="3522" y="1752"/>
                </a:cubicBezTo>
                <a:cubicBezTo>
                  <a:pt x="3521" y="1752"/>
                  <a:pt x="3520" y="1750"/>
                  <a:pt x="3520" y="1750"/>
                </a:cubicBezTo>
                <a:cubicBezTo>
                  <a:pt x="3522" y="1747"/>
                  <a:pt x="3518" y="1743"/>
                  <a:pt x="3521" y="1741"/>
                </a:cubicBezTo>
                <a:cubicBezTo>
                  <a:pt x="3522" y="1739"/>
                  <a:pt x="3522" y="1738"/>
                  <a:pt x="3521" y="1736"/>
                </a:cubicBezTo>
                <a:cubicBezTo>
                  <a:pt x="3518" y="1732"/>
                  <a:pt x="3513" y="1730"/>
                  <a:pt x="3512" y="1725"/>
                </a:cubicBezTo>
                <a:cubicBezTo>
                  <a:pt x="3512" y="1724"/>
                  <a:pt x="3510" y="1722"/>
                  <a:pt x="3508" y="1722"/>
                </a:cubicBezTo>
                <a:cubicBezTo>
                  <a:pt x="3506" y="1720"/>
                  <a:pt x="3502" y="1719"/>
                  <a:pt x="3500" y="1717"/>
                </a:cubicBezTo>
                <a:cubicBezTo>
                  <a:pt x="3498" y="1717"/>
                  <a:pt x="3496" y="1716"/>
                  <a:pt x="3496" y="1715"/>
                </a:cubicBezTo>
                <a:cubicBezTo>
                  <a:pt x="3494" y="1711"/>
                  <a:pt x="3490" y="1710"/>
                  <a:pt x="3487" y="1708"/>
                </a:cubicBezTo>
                <a:cubicBezTo>
                  <a:pt x="3484" y="1705"/>
                  <a:pt x="3480" y="1702"/>
                  <a:pt x="3476" y="1701"/>
                </a:cubicBezTo>
                <a:cubicBezTo>
                  <a:pt x="3473" y="1700"/>
                  <a:pt x="3471" y="1698"/>
                  <a:pt x="3469" y="1696"/>
                </a:cubicBezTo>
                <a:cubicBezTo>
                  <a:pt x="3468" y="1692"/>
                  <a:pt x="3465" y="1690"/>
                  <a:pt x="3461" y="1688"/>
                </a:cubicBezTo>
                <a:cubicBezTo>
                  <a:pt x="3452" y="1683"/>
                  <a:pt x="3444" y="1676"/>
                  <a:pt x="3438" y="1667"/>
                </a:cubicBezTo>
                <a:cubicBezTo>
                  <a:pt x="3437" y="1664"/>
                  <a:pt x="3433" y="1663"/>
                  <a:pt x="3430" y="1662"/>
                </a:cubicBezTo>
                <a:cubicBezTo>
                  <a:pt x="3423" y="1662"/>
                  <a:pt x="3416" y="1661"/>
                  <a:pt x="3409" y="1658"/>
                </a:cubicBezTo>
                <a:cubicBezTo>
                  <a:pt x="3408" y="1657"/>
                  <a:pt x="3406" y="1658"/>
                  <a:pt x="3405" y="1658"/>
                </a:cubicBezTo>
                <a:cubicBezTo>
                  <a:pt x="3403" y="1659"/>
                  <a:pt x="3402" y="1662"/>
                  <a:pt x="3403" y="1664"/>
                </a:cubicBezTo>
                <a:cubicBezTo>
                  <a:pt x="3404" y="1667"/>
                  <a:pt x="3405" y="1670"/>
                  <a:pt x="3407" y="1672"/>
                </a:cubicBezTo>
                <a:cubicBezTo>
                  <a:pt x="3411" y="1677"/>
                  <a:pt x="3416" y="1681"/>
                  <a:pt x="3422" y="1684"/>
                </a:cubicBezTo>
                <a:cubicBezTo>
                  <a:pt x="3425" y="1686"/>
                  <a:pt x="3428" y="1689"/>
                  <a:pt x="3430" y="1692"/>
                </a:cubicBezTo>
                <a:cubicBezTo>
                  <a:pt x="3432" y="1694"/>
                  <a:pt x="3435" y="1697"/>
                  <a:pt x="3436" y="1700"/>
                </a:cubicBezTo>
                <a:cubicBezTo>
                  <a:pt x="3440" y="1706"/>
                  <a:pt x="3444" y="1710"/>
                  <a:pt x="3449" y="1714"/>
                </a:cubicBezTo>
                <a:cubicBezTo>
                  <a:pt x="3451" y="1716"/>
                  <a:pt x="3452" y="1718"/>
                  <a:pt x="3453" y="1720"/>
                </a:cubicBezTo>
                <a:cubicBezTo>
                  <a:pt x="3454" y="1723"/>
                  <a:pt x="3455" y="1727"/>
                  <a:pt x="3457" y="1731"/>
                </a:cubicBezTo>
                <a:cubicBezTo>
                  <a:pt x="3458" y="1733"/>
                  <a:pt x="3459" y="1735"/>
                  <a:pt x="3461" y="1736"/>
                </a:cubicBezTo>
                <a:cubicBezTo>
                  <a:pt x="3467" y="1742"/>
                  <a:pt x="3471" y="1748"/>
                  <a:pt x="3473" y="1756"/>
                </a:cubicBezTo>
                <a:cubicBezTo>
                  <a:pt x="3475" y="1760"/>
                  <a:pt x="3476" y="1764"/>
                  <a:pt x="3477" y="1767"/>
                </a:cubicBezTo>
                <a:cubicBezTo>
                  <a:pt x="3479" y="1771"/>
                  <a:pt x="3481" y="1774"/>
                  <a:pt x="3483" y="1777"/>
                </a:cubicBezTo>
                <a:cubicBezTo>
                  <a:pt x="3488" y="1783"/>
                  <a:pt x="3494" y="1787"/>
                  <a:pt x="3498" y="1792"/>
                </a:cubicBezTo>
                <a:cubicBezTo>
                  <a:pt x="3503" y="1798"/>
                  <a:pt x="3508" y="1802"/>
                  <a:pt x="3514" y="1807"/>
                </a:cubicBezTo>
                <a:cubicBezTo>
                  <a:pt x="3518" y="1810"/>
                  <a:pt x="3523" y="1813"/>
                  <a:pt x="3526" y="1818"/>
                </a:cubicBezTo>
                <a:cubicBezTo>
                  <a:pt x="3528" y="1819"/>
                  <a:pt x="3530" y="1820"/>
                  <a:pt x="3532" y="1819"/>
                </a:cubicBezTo>
                <a:cubicBezTo>
                  <a:pt x="3538" y="1819"/>
                  <a:pt x="3544" y="1818"/>
                  <a:pt x="3549" y="1820"/>
                </a:cubicBezTo>
                <a:cubicBezTo>
                  <a:pt x="3550" y="1813"/>
                  <a:pt x="3550" y="1807"/>
                  <a:pt x="3550" y="1801"/>
                </a:cubicBezTo>
                <a:close/>
                <a:moveTo>
                  <a:pt x="3549" y="1820"/>
                </a:moveTo>
                <a:cubicBezTo>
                  <a:pt x="3549" y="1820"/>
                  <a:pt x="3549" y="1820"/>
                  <a:pt x="3549" y="1820"/>
                </a:cubicBezTo>
                <a:cubicBezTo>
                  <a:pt x="3550" y="1820"/>
                  <a:pt x="3550" y="1820"/>
                  <a:pt x="3550" y="1820"/>
                </a:cubicBezTo>
                <a:cubicBezTo>
                  <a:pt x="3550" y="1820"/>
                  <a:pt x="3550" y="1820"/>
                  <a:pt x="3550" y="1820"/>
                </a:cubicBezTo>
                <a:cubicBezTo>
                  <a:pt x="3550" y="1820"/>
                  <a:pt x="3550" y="1820"/>
                  <a:pt x="3549" y="1820"/>
                </a:cubicBezTo>
                <a:close/>
                <a:moveTo>
                  <a:pt x="807" y="324"/>
                </a:moveTo>
                <a:cubicBezTo>
                  <a:pt x="807" y="329"/>
                  <a:pt x="807" y="333"/>
                  <a:pt x="807" y="337"/>
                </a:cubicBezTo>
                <a:cubicBezTo>
                  <a:pt x="807" y="339"/>
                  <a:pt x="809" y="341"/>
                  <a:pt x="810" y="341"/>
                </a:cubicBezTo>
                <a:cubicBezTo>
                  <a:pt x="816" y="340"/>
                  <a:pt x="822" y="338"/>
                  <a:pt x="827" y="335"/>
                </a:cubicBezTo>
                <a:cubicBezTo>
                  <a:pt x="827" y="335"/>
                  <a:pt x="827" y="335"/>
                  <a:pt x="827" y="335"/>
                </a:cubicBezTo>
                <a:cubicBezTo>
                  <a:pt x="828" y="334"/>
                  <a:pt x="828" y="334"/>
                  <a:pt x="828" y="334"/>
                </a:cubicBezTo>
                <a:cubicBezTo>
                  <a:pt x="827" y="335"/>
                  <a:pt x="827" y="335"/>
                  <a:pt x="827" y="335"/>
                </a:cubicBezTo>
                <a:cubicBezTo>
                  <a:pt x="827" y="335"/>
                  <a:pt x="827" y="335"/>
                  <a:pt x="827" y="335"/>
                </a:cubicBezTo>
                <a:cubicBezTo>
                  <a:pt x="829" y="337"/>
                  <a:pt x="831" y="339"/>
                  <a:pt x="834" y="339"/>
                </a:cubicBezTo>
                <a:cubicBezTo>
                  <a:pt x="836" y="339"/>
                  <a:pt x="839" y="339"/>
                  <a:pt x="841" y="337"/>
                </a:cubicBezTo>
                <a:cubicBezTo>
                  <a:pt x="843" y="335"/>
                  <a:pt x="845" y="334"/>
                  <a:pt x="846" y="332"/>
                </a:cubicBezTo>
                <a:cubicBezTo>
                  <a:pt x="848" y="329"/>
                  <a:pt x="849" y="326"/>
                  <a:pt x="851" y="324"/>
                </a:cubicBezTo>
                <a:cubicBezTo>
                  <a:pt x="855" y="320"/>
                  <a:pt x="858" y="317"/>
                  <a:pt x="864" y="317"/>
                </a:cubicBezTo>
                <a:cubicBezTo>
                  <a:pt x="866" y="317"/>
                  <a:pt x="868" y="315"/>
                  <a:pt x="871" y="313"/>
                </a:cubicBezTo>
                <a:cubicBezTo>
                  <a:pt x="873" y="311"/>
                  <a:pt x="875" y="308"/>
                  <a:pt x="877" y="306"/>
                </a:cubicBezTo>
                <a:cubicBezTo>
                  <a:pt x="879" y="305"/>
                  <a:pt x="881" y="304"/>
                  <a:pt x="883" y="303"/>
                </a:cubicBezTo>
                <a:cubicBezTo>
                  <a:pt x="889" y="303"/>
                  <a:pt x="895" y="301"/>
                  <a:pt x="900" y="299"/>
                </a:cubicBezTo>
                <a:cubicBezTo>
                  <a:pt x="903" y="299"/>
                  <a:pt x="905" y="299"/>
                  <a:pt x="907" y="298"/>
                </a:cubicBezTo>
                <a:cubicBezTo>
                  <a:pt x="906" y="299"/>
                  <a:pt x="906" y="299"/>
                  <a:pt x="906" y="299"/>
                </a:cubicBezTo>
                <a:cubicBezTo>
                  <a:pt x="906" y="299"/>
                  <a:pt x="907" y="299"/>
                  <a:pt x="907" y="299"/>
                </a:cubicBezTo>
                <a:cubicBezTo>
                  <a:pt x="907" y="299"/>
                  <a:pt x="907" y="298"/>
                  <a:pt x="907" y="298"/>
                </a:cubicBezTo>
                <a:cubicBezTo>
                  <a:pt x="909" y="296"/>
                  <a:pt x="913" y="295"/>
                  <a:pt x="916" y="295"/>
                </a:cubicBezTo>
                <a:cubicBezTo>
                  <a:pt x="919" y="295"/>
                  <a:pt x="921" y="295"/>
                  <a:pt x="923" y="295"/>
                </a:cubicBezTo>
                <a:cubicBezTo>
                  <a:pt x="926" y="292"/>
                  <a:pt x="930" y="292"/>
                  <a:pt x="933" y="292"/>
                </a:cubicBezTo>
                <a:cubicBezTo>
                  <a:pt x="934" y="283"/>
                  <a:pt x="933" y="274"/>
                  <a:pt x="933" y="266"/>
                </a:cubicBezTo>
                <a:cubicBezTo>
                  <a:pt x="933" y="261"/>
                  <a:pt x="930" y="258"/>
                  <a:pt x="927" y="255"/>
                </a:cubicBezTo>
                <a:cubicBezTo>
                  <a:pt x="925" y="252"/>
                  <a:pt x="922" y="252"/>
                  <a:pt x="919" y="252"/>
                </a:cubicBezTo>
                <a:cubicBezTo>
                  <a:pt x="914" y="252"/>
                  <a:pt x="911" y="251"/>
                  <a:pt x="907" y="248"/>
                </a:cubicBezTo>
                <a:cubicBezTo>
                  <a:pt x="905" y="246"/>
                  <a:pt x="902" y="244"/>
                  <a:pt x="901" y="242"/>
                </a:cubicBezTo>
                <a:cubicBezTo>
                  <a:pt x="897" y="236"/>
                  <a:pt x="892" y="235"/>
                  <a:pt x="886" y="236"/>
                </a:cubicBezTo>
                <a:cubicBezTo>
                  <a:pt x="881" y="236"/>
                  <a:pt x="876" y="236"/>
                  <a:pt x="871" y="236"/>
                </a:cubicBezTo>
                <a:cubicBezTo>
                  <a:pt x="868" y="236"/>
                  <a:pt x="865" y="236"/>
                  <a:pt x="863" y="237"/>
                </a:cubicBezTo>
                <a:cubicBezTo>
                  <a:pt x="860" y="237"/>
                  <a:pt x="859" y="239"/>
                  <a:pt x="858" y="241"/>
                </a:cubicBezTo>
                <a:cubicBezTo>
                  <a:pt x="857" y="245"/>
                  <a:pt x="857" y="248"/>
                  <a:pt x="857" y="251"/>
                </a:cubicBezTo>
                <a:cubicBezTo>
                  <a:pt x="856" y="255"/>
                  <a:pt x="855" y="257"/>
                  <a:pt x="852" y="259"/>
                </a:cubicBezTo>
                <a:cubicBezTo>
                  <a:pt x="847" y="263"/>
                  <a:pt x="842" y="268"/>
                  <a:pt x="837" y="272"/>
                </a:cubicBezTo>
                <a:cubicBezTo>
                  <a:pt x="834" y="274"/>
                  <a:pt x="832" y="276"/>
                  <a:pt x="832" y="280"/>
                </a:cubicBezTo>
                <a:cubicBezTo>
                  <a:pt x="832" y="281"/>
                  <a:pt x="831" y="282"/>
                  <a:pt x="830" y="283"/>
                </a:cubicBezTo>
                <a:cubicBezTo>
                  <a:pt x="821" y="288"/>
                  <a:pt x="814" y="296"/>
                  <a:pt x="806" y="302"/>
                </a:cubicBezTo>
                <a:cubicBezTo>
                  <a:pt x="804" y="303"/>
                  <a:pt x="802" y="305"/>
                  <a:pt x="801" y="306"/>
                </a:cubicBezTo>
                <a:cubicBezTo>
                  <a:pt x="800" y="309"/>
                  <a:pt x="803" y="311"/>
                  <a:pt x="804" y="313"/>
                </a:cubicBezTo>
                <a:cubicBezTo>
                  <a:pt x="806" y="317"/>
                  <a:pt x="807" y="320"/>
                  <a:pt x="807" y="324"/>
                </a:cubicBezTo>
                <a:close/>
                <a:moveTo>
                  <a:pt x="2021" y="850"/>
                </a:moveTo>
                <a:cubicBezTo>
                  <a:pt x="2025" y="854"/>
                  <a:pt x="2026" y="858"/>
                  <a:pt x="2025" y="864"/>
                </a:cubicBezTo>
                <a:cubicBezTo>
                  <a:pt x="2024" y="865"/>
                  <a:pt x="2025" y="867"/>
                  <a:pt x="2026" y="868"/>
                </a:cubicBezTo>
                <a:cubicBezTo>
                  <a:pt x="2029" y="869"/>
                  <a:pt x="2029" y="871"/>
                  <a:pt x="2027" y="873"/>
                </a:cubicBezTo>
                <a:cubicBezTo>
                  <a:pt x="2027" y="875"/>
                  <a:pt x="2026" y="876"/>
                  <a:pt x="2025" y="878"/>
                </a:cubicBezTo>
                <a:cubicBezTo>
                  <a:pt x="2026" y="878"/>
                  <a:pt x="2027" y="879"/>
                  <a:pt x="2027" y="880"/>
                </a:cubicBezTo>
                <a:cubicBezTo>
                  <a:pt x="2028" y="881"/>
                  <a:pt x="2028" y="882"/>
                  <a:pt x="2028" y="883"/>
                </a:cubicBezTo>
                <a:cubicBezTo>
                  <a:pt x="2030" y="887"/>
                  <a:pt x="2031" y="887"/>
                  <a:pt x="2035" y="883"/>
                </a:cubicBezTo>
                <a:cubicBezTo>
                  <a:pt x="2036" y="882"/>
                  <a:pt x="2036" y="882"/>
                  <a:pt x="2036" y="882"/>
                </a:cubicBezTo>
                <a:cubicBezTo>
                  <a:pt x="2037" y="883"/>
                  <a:pt x="2037" y="884"/>
                  <a:pt x="2037" y="885"/>
                </a:cubicBezTo>
                <a:cubicBezTo>
                  <a:pt x="2037" y="888"/>
                  <a:pt x="2036" y="890"/>
                  <a:pt x="2036" y="893"/>
                </a:cubicBezTo>
                <a:cubicBezTo>
                  <a:pt x="2036" y="896"/>
                  <a:pt x="2037" y="898"/>
                  <a:pt x="2041" y="898"/>
                </a:cubicBezTo>
                <a:cubicBezTo>
                  <a:pt x="2041" y="898"/>
                  <a:pt x="2042" y="899"/>
                  <a:pt x="2042" y="899"/>
                </a:cubicBezTo>
                <a:cubicBezTo>
                  <a:pt x="2045" y="899"/>
                  <a:pt x="2048" y="898"/>
                  <a:pt x="2050" y="898"/>
                </a:cubicBezTo>
                <a:cubicBezTo>
                  <a:pt x="2053" y="899"/>
                  <a:pt x="2052" y="903"/>
                  <a:pt x="2053" y="906"/>
                </a:cubicBezTo>
                <a:cubicBezTo>
                  <a:pt x="2054" y="907"/>
                  <a:pt x="2055" y="908"/>
                  <a:pt x="2056" y="909"/>
                </a:cubicBezTo>
                <a:cubicBezTo>
                  <a:pt x="2059" y="911"/>
                  <a:pt x="2059" y="914"/>
                  <a:pt x="2059" y="917"/>
                </a:cubicBezTo>
                <a:cubicBezTo>
                  <a:pt x="2057" y="925"/>
                  <a:pt x="2055" y="926"/>
                  <a:pt x="2046" y="925"/>
                </a:cubicBezTo>
                <a:cubicBezTo>
                  <a:pt x="2046" y="925"/>
                  <a:pt x="2045" y="925"/>
                  <a:pt x="2045" y="925"/>
                </a:cubicBezTo>
                <a:cubicBezTo>
                  <a:pt x="2043" y="925"/>
                  <a:pt x="2042" y="925"/>
                  <a:pt x="2043" y="926"/>
                </a:cubicBezTo>
                <a:cubicBezTo>
                  <a:pt x="2043" y="931"/>
                  <a:pt x="2042" y="935"/>
                  <a:pt x="2046" y="939"/>
                </a:cubicBezTo>
                <a:cubicBezTo>
                  <a:pt x="2047" y="940"/>
                  <a:pt x="2046" y="943"/>
                  <a:pt x="2045" y="945"/>
                </a:cubicBezTo>
                <a:cubicBezTo>
                  <a:pt x="2043" y="946"/>
                  <a:pt x="2041" y="947"/>
                  <a:pt x="2040" y="949"/>
                </a:cubicBezTo>
                <a:cubicBezTo>
                  <a:pt x="2038" y="950"/>
                  <a:pt x="2037" y="950"/>
                  <a:pt x="2036" y="952"/>
                </a:cubicBezTo>
                <a:cubicBezTo>
                  <a:pt x="2035" y="952"/>
                  <a:pt x="2035" y="954"/>
                  <a:pt x="2035" y="955"/>
                </a:cubicBezTo>
                <a:cubicBezTo>
                  <a:pt x="2036" y="956"/>
                  <a:pt x="2036" y="957"/>
                  <a:pt x="2037" y="957"/>
                </a:cubicBezTo>
                <a:cubicBezTo>
                  <a:pt x="2044" y="958"/>
                  <a:pt x="2050" y="960"/>
                  <a:pt x="2056" y="964"/>
                </a:cubicBezTo>
                <a:cubicBezTo>
                  <a:pt x="2056" y="964"/>
                  <a:pt x="2057" y="964"/>
                  <a:pt x="2057" y="965"/>
                </a:cubicBezTo>
                <a:cubicBezTo>
                  <a:pt x="2056" y="965"/>
                  <a:pt x="2055" y="966"/>
                  <a:pt x="2055" y="965"/>
                </a:cubicBezTo>
                <a:cubicBezTo>
                  <a:pt x="2049" y="965"/>
                  <a:pt x="2045" y="967"/>
                  <a:pt x="2042" y="971"/>
                </a:cubicBezTo>
                <a:cubicBezTo>
                  <a:pt x="2039" y="977"/>
                  <a:pt x="2034" y="980"/>
                  <a:pt x="2030" y="985"/>
                </a:cubicBezTo>
                <a:cubicBezTo>
                  <a:pt x="2030" y="985"/>
                  <a:pt x="2030" y="986"/>
                  <a:pt x="2030" y="986"/>
                </a:cubicBezTo>
                <a:cubicBezTo>
                  <a:pt x="2031" y="987"/>
                  <a:pt x="2031" y="988"/>
                  <a:pt x="2032" y="988"/>
                </a:cubicBezTo>
                <a:cubicBezTo>
                  <a:pt x="2033" y="987"/>
                  <a:pt x="2035" y="988"/>
                  <a:pt x="2036" y="987"/>
                </a:cubicBezTo>
                <a:cubicBezTo>
                  <a:pt x="2039" y="985"/>
                  <a:pt x="2042" y="983"/>
                  <a:pt x="2045" y="984"/>
                </a:cubicBezTo>
                <a:cubicBezTo>
                  <a:pt x="2051" y="985"/>
                  <a:pt x="2055" y="984"/>
                  <a:pt x="2058" y="979"/>
                </a:cubicBezTo>
                <a:cubicBezTo>
                  <a:pt x="2059" y="978"/>
                  <a:pt x="2062" y="977"/>
                  <a:pt x="2064" y="977"/>
                </a:cubicBezTo>
                <a:cubicBezTo>
                  <a:pt x="2070" y="978"/>
                  <a:pt x="2075" y="978"/>
                  <a:pt x="2080" y="976"/>
                </a:cubicBezTo>
                <a:cubicBezTo>
                  <a:pt x="2087" y="975"/>
                  <a:pt x="2093" y="974"/>
                  <a:pt x="2100" y="974"/>
                </a:cubicBezTo>
                <a:cubicBezTo>
                  <a:pt x="2106" y="973"/>
                  <a:pt x="2111" y="970"/>
                  <a:pt x="2116" y="966"/>
                </a:cubicBezTo>
                <a:cubicBezTo>
                  <a:pt x="2117" y="965"/>
                  <a:pt x="2116" y="962"/>
                  <a:pt x="2115" y="961"/>
                </a:cubicBezTo>
                <a:cubicBezTo>
                  <a:pt x="2114" y="961"/>
                  <a:pt x="2113" y="960"/>
                  <a:pt x="2112" y="960"/>
                </a:cubicBezTo>
                <a:cubicBezTo>
                  <a:pt x="2110" y="958"/>
                  <a:pt x="2110" y="957"/>
                  <a:pt x="2111" y="956"/>
                </a:cubicBezTo>
                <a:cubicBezTo>
                  <a:pt x="2113" y="952"/>
                  <a:pt x="2116" y="949"/>
                  <a:pt x="2117" y="946"/>
                </a:cubicBezTo>
                <a:cubicBezTo>
                  <a:pt x="2121" y="939"/>
                  <a:pt x="2117" y="931"/>
                  <a:pt x="2109" y="930"/>
                </a:cubicBezTo>
                <a:cubicBezTo>
                  <a:pt x="2106" y="930"/>
                  <a:pt x="2104" y="930"/>
                  <a:pt x="2101" y="930"/>
                </a:cubicBezTo>
                <a:cubicBezTo>
                  <a:pt x="2101" y="930"/>
                  <a:pt x="2101" y="930"/>
                  <a:pt x="2101" y="930"/>
                </a:cubicBezTo>
                <a:cubicBezTo>
                  <a:pt x="2100" y="931"/>
                  <a:pt x="2100" y="931"/>
                  <a:pt x="2100" y="931"/>
                </a:cubicBezTo>
                <a:cubicBezTo>
                  <a:pt x="2101" y="930"/>
                  <a:pt x="2101" y="930"/>
                  <a:pt x="2101" y="930"/>
                </a:cubicBezTo>
                <a:cubicBezTo>
                  <a:pt x="2101" y="930"/>
                  <a:pt x="2101" y="930"/>
                  <a:pt x="2101" y="930"/>
                </a:cubicBezTo>
                <a:cubicBezTo>
                  <a:pt x="2101" y="928"/>
                  <a:pt x="2101" y="926"/>
                  <a:pt x="2100" y="925"/>
                </a:cubicBezTo>
                <a:cubicBezTo>
                  <a:pt x="2097" y="920"/>
                  <a:pt x="2095" y="915"/>
                  <a:pt x="2093" y="910"/>
                </a:cubicBezTo>
                <a:cubicBezTo>
                  <a:pt x="2092" y="907"/>
                  <a:pt x="2090" y="904"/>
                  <a:pt x="2087" y="902"/>
                </a:cubicBezTo>
                <a:cubicBezTo>
                  <a:pt x="2082" y="900"/>
                  <a:pt x="2079" y="895"/>
                  <a:pt x="2078" y="890"/>
                </a:cubicBezTo>
                <a:cubicBezTo>
                  <a:pt x="2075" y="882"/>
                  <a:pt x="2071" y="876"/>
                  <a:pt x="2063" y="873"/>
                </a:cubicBezTo>
                <a:cubicBezTo>
                  <a:pt x="2062" y="873"/>
                  <a:pt x="2061" y="872"/>
                  <a:pt x="2062" y="871"/>
                </a:cubicBezTo>
                <a:cubicBezTo>
                  <a:pt x="2063" y="868"/>
                  <a:pt x="2063" y="865"/>
                  <a:pt x="2065" y="863"/>
                </a:cubicBezTo>
                <a:cubicBezTo>
                  <a:pt x="2068" y="859"/>
                  <a:pt x="2070" y="853"/>
                  <a:pt x="2071" y="848"/>
                </a:cubicBezTo>
                <a:cubicBezTo>
                  <a:pt x="2072" y="846"/>
                  <a:pt x="2070" y="843"/>
                  <a:pt x="2067" y="842"/>
                </a:cubicBezTo>
                <a:cubicBezTo>
                  <a:pt x="2066" y="842"/>
                  <a:pt x="2065" y="841"/>
                  <a:pt x="2064" y="841"/>
                </a:cubicBezTo>
                <a:cubicBezTo>
                  <a:pt x="2060" y="841"/>
                  <a:pt x="2056" y="842"/>
                  <a:pt x="2052" y="841"/>
                </a:cubicBezTo>
                <a:cubicBezTo>
                  <a:pt x="2051" y="841"/>
                  <a:pt x="2051" y="840"/>
                  <a:pt x="2050" y="840"/>
                </a:cubicBezTo>
                <a:cubicBezTo>
                  <a:pt x="2050" y="839"/>
                  <a:pt x="2050" y="839"/>
                  <a:pt x="2050" y="838"/>
                </a:cubicBezTo>
                <a:cubicBezTo>
                  <a:pt x="2052" y="836"/>
                  <a:pt x="2055" y="833"/>
                  <a:pt x="2056" y="830"/>
                </a:cubicBezTo>
                <a:cubicBezTo>
                  <a:pt x="2057" y="830"/>
                  <a:pt x="2057" y="828"/>
                  <a:pt x="2057" y="827"/>
                </a:cubicBezTo>
                <a:cubicBezTo>
                  <a:pt x="2057" y="826"/>
                  <a:pt x="2055" y="824"/>
                  <a:pt x="2053" y="825"/>
                </a:cubicBezTo>
                <a:cubicBezTo>
                  <a:pt x="2049" y="825"/>
                  <a:pt x="2044" y="825"/>
                  <a:pt x="2040" y="825"/>
                </a:cubicBezTo>
                <a:cubicBezTo>
                  <a:pt x="2038" y="826"/>
                  <a:pt x="2036" y="827"/>
                  <a:pt x="2035" y="829"/>
                </a:cubicBezTo>
                <a:cubicBezTo>
                  <a:pt x="2032" y="834"/>
                  <a:pt x="2030" y="839"/>
                  <a:pt x="2027" y="844"/>
                </a:cubicBezTo>
                <a:cubicBezTo>
                  <a:pt x="2027" y="845"/>
                  <a:pt x="2026" y="845"/>
                  <a:pt x="2024" y="845"/>
                </a:cubicBezTo>
                <a:cubicBezTo>
                  <a:pt x="2020" y="845"/>
                  <a:pt x="2018" y="847"/>
                  <a:pt x="2021" y="850"/>
                </a:cubicBezTo>
                <a:close/>
                <a:moveTo>
                  <a:pt x="2192" y="268"/>
                </a:moveTo>
                <a:cubicBezTo>
                  <a:pt x="2192" y="273"/>
                  <a:pt x="2195" y="277"/>
                  <a:pt x="2197" y="280"/>
                </a:cubicBezTo>
                <a:cubicBezTo>
                  <a:pt x="2199" y="283"/>
                  <a:pt x="2202" y="286"/>
                  <a:pt x="2203" y="290"/>
                </a:cubicBezTo>
                <a:cubicBezTo>
                  <a:pt x="2208" y="294"/>
                  <a:pt x="2211" y="299"/>
                  <a:pt x="2216" y="302"/>
                </a:cubicBezTo>
                <a:cubicBezTo>
                  <a:pt x="2216" y="301"/>
                  <a:pt x="2216" y="301"/>
                  <a:pt x="2216" y="301"/>
                </a:cubicBezTo>
                <a:cubicBezTo>
                  <a:pt x="2216" y="301"/>
                  <a:pt x="2217" y="301"/>
                  <a:pt x="2217" y="302"/>
                </a:cubicBezTo>
                <a:cubicBezTo>
                  <a:pt x="2219" y="299"/>
                  <a:pt x="2221" y="297"/>
                  <a:pt x="2223" y="294"/>
                </a:cubicBezTo>
                <a:cubicBezTo>
                  <a:pt x="2224" y="292"/>
                  <a:pt x="2225" y="290"/>
                  <a:pt x="2224" y="287"/>
                </a:cubicBezTo>
                <a:cubicBezTo>
                  <a:pt x="2224" y="286"/>
                  <a:pt x="2225" y="285"/>
                  <a:pt x="2226" y="284"/>
                </a:cubicBezTo>
                <a:cubicBezTo>
                  <a:pt x="2227" y="284"/>
                  <a:pt x="2228" y="284"/>
                  <a:pt x="2228" y="285"/>
                </a:cubicBezTo>
                <a:cubicBezTo>
                  <a:pt x="2230" y="289"/>
                  <a:pt x="2233" y="289"/>
                  <a:pt x="2237" y="288"/>
                </a:cubicBezTo>
                <a:cubicBezTo>
                  <a:pt x="2237" y="288"/>
                  <a:pt x="2238" y="289"/>
                  <a:pt x="2238" y="289"/>
                </a:cubicBezTo>
                <a:cubicBezTo>
                  <a:pt x="2238" y="289"/>
                  <a:pt x="2238" y="290"/>
                  <a:pt x="2238" y="290"/>
                </a:cubicBezTo>
                <a:cubicBezTo>
                  <a:pt x="2234" y="292"/>
                  <a:pt x="2231" y="295"/>
                  <a:pt x="2228" y="298"/>
                </a:cubicBezTo>
                <a:cubicBezTo>
                  <a:pt x="2225" y="302"/>
                  <a:pt x="2221" y="302"/>
                  <a:pt x="2217" y="302"/>
                </a:cubicBezTo>
                <a:cubicBezTo>
                  <a:pt x="2217" y="302"/>
                  <a:pt x="2217" y="302"/>
                  <a:pt x="2217" y="302"/>
                </a:cubicBezTo>
                <a:cubicBezTo>
                  <a:pt x="2216" y="302"/>
                  <a:pt x="2216" y="302"/>
                  <a:pt x="2216" y="302"/>
                </a:cubicBezTo>
                <a:cubicBezTo>
                  <a:pt x="2216" y="305"/>
                  <a:pt x="2216" y="308"/>
                  <a:pt x="2216" y="311"/>
                </a:cubicBezTo>
                <a:cubicBezTo>
                  <a:pt x="2216" y="313"/>
                  <a:pt x="2218" y="315"/>
                  <a:pt x="2220" y="315"/>
                </a:cubicBezTo>
                <a:cubicBezTo>
                  <a:pt x="2222" y="316"/>
                  <a:pt x="2225" y="316"/>
                  <a:pt x="2226" y="319"/>
                </a:cubicBezTo>
                <a:cubicBezTo>
                  <a:pt x="2226" y="318"/>
                  <a:pt x="2226" y="318"/>
                  <a:pt x="2226" y="318"/>
                </a:cubicBezTo>
                <a:cubicBezTo>
                  <a:pt x="2227" y="319"/>
                  <a:pt x="2227" y="319"/>
                  <a:pt x="2227" y="319"/>
                </a:cubicBezTo>
                <a:cubicBezTo>
                  <a:pt x="2228" y="319"/>
                  <a:pt x="2229" y="319"/>
                  <a:pt x="2231" y="319"/>
                </a:cubicBezTo>
                <a:cubicBezTo>
                  <a:pt x="2232" y="319"/>
                  <a:pt x="2233" y="320"/>
                  <a:pt x="2232" y="321"/>
                </a:cubicBezTo>
                <a:cubicBezTo>
                  <a:pt x="2231" y="321"/>
                  <a:pt x="2231" y="321"/>
                  <a:pt x="2230" y="321"/>
                </a:cubicBezTo>
                <a:cubicBezTo>
                  <a:pt x="2229" y="321"/>
                  <a:pt x="2228" y="320"/>
                  <a:pt x="2227" y="319"/>
                </a:cubicBezTo>
                <a:cubicBezTo>
                  <a:pt x="2227" y="319"/>
                  <a:pt x="2226" y="319"/>
                  <a:pt x="2226" y="319"/>
                </a:cubicBezTo>
                <a:cubicBezTo>
                  <a:pt x="2226" y="319"/>
                  <a:pt x="2226" y="319"/>
                  <a:pt x="2226" y="319"/>
                </a:cubicBezTo>
                <a:cubicBezTo>
                  <a:pt x="2224" y="319"/>
                  <a:pt x="2222" y="319"/>
                  <a:pt x="2221" y="321"/>
                </a:cubicBezTo>
                <a:cubicBezTo>
                  <a:pt x="2219" y="324"/>
                  <a:pt x="2219" y="327"/>
                  <a:pt x="2221" y="329"/>
                </a:cubicBezTo>
                <a:cubicBezTo>
                  <a:pt x="2225" y="337"/>
                  <a:pt x="2231" y="343"/>
                  <a:pt x="2240" y="346"/>
                </a:cubicBezTo>
                <a:cubicBezTo>
                  <a:pt x="2240" y="346"/>
                  <a:pt x="2240" y="345"/>
                  <a:pt x="2240" y="345"/>
                </a:cubicBezTo>
                <a:cubicBezTo>
                  <a:pt x="2240" y="345"/>
                  <a:pt x="2240" y="345"/>
                  <a:pt x="2240" y="345"/>
                </a:cubicBezTo>
                <a:cubicBezTo>
                  <a:pt x="2240" y="346"/>
                  <a:pt x="2240" y="346"/>
                  <a:pt x="2240" y="346"/>
                </a:cubicBezTo>
                <a:cubicBezTo>
                  <a:pt x="2240" y="346"/>
                  <a:pt x="2240" y="346"/>
                  <a:pt x="2240" y="346"/>
                </a:cubicBezTo>
                <a:cubicBezTo>
                  <a:pt x="2240" y="347"/>
                  <a:pt x="2239" y="348"/>
                  <a:pt x="2240" y="349"/>
                </a:cubicBezTo>
                <a:cubicBezTo>
                  <a:pt x="2241" y="353"/>
                  <a:pt x="2244" y="356"/>
                  <a:pt x="2247" y="359"/>
                </a:cubicBezTo>
                <a:cubicBezTo>
                  <a:pt x="2248" y="360"/>
                  <a:pt x="2252" y="360"/>
                  <a:pt x="2253" y="358"/>
                </a:cubicBezTo>
                <a:cubicBezTo>
                  <a:pt x="2253" y="357"/>
                  <a:pt x="2254" y="356"/>
                  <a:pt x="2254" y="355"/>
                </a:cubicBezTo>
                <a:cubicBezTo>
                  <a:pt x="2254" y="348"/>
                  <a:pt x="2256" y="341"/>
                  <a:pt x="2257" y="334"/>
                </a:cubicBezTo>
                <a:cubicBezTo>
                  <a:pt x="2257" y="330"/>
                  <a:pt x="2258" y="327"/>
                  <a:pt x="2260" y="323"/>
                </a:cubicBezTo>
                <a:cubicBezTo>
                  <a:pt x="2262" y="322"/>
                  <a:pt x="2263" y="319"/>
                  <a:pt x="2263" y="317"/>
                </a:cubicBezTo>
                <a:cubicBezTo>
                  <a:pt x="2262" y="308"/>
                  <a:pt x="2267" y="300"/>
                  <a:pt x="2267" y="291"/>
                </a:cubicBezTo>
                <a:cubicBezTo>
                  <a:pt x="2266" y="290"/>
                  <a:pt x="2267" y="289"/>
                  <a:pt x="2267" y="288"/>
                </a:cubicBezTo>
                <a:cubicBezTo>
                  <a:pt x="2268" y="284"/>
                  <a:pt x="2270" y="281"/>
                  <a:pt x="2274" y="280"/>
                </a:cubicBezTo>
                <a:cubicBezTo>
                  <a:pt x="2276" y="279"/>
                  <a:pt x="2277" y="280"/>
                  <a:pt x="2277" y="281"/>
                </a:cubicBezTo>
                <a:cubicBezTo>
                  <a:pt x="2277" y="283"/>
                  <a:pt x="2276" y="286"/>
                  <a:pt x="2277" y="287"/>
                </a:cubicBezTo>
                <a:cubicBezTo>
                  <a:pt x="2281" y="293"/>
                  <a:pt x="2281" y="300"/>
                  <a:pt x="2285" y="305"/>
                </a:cubicBezTo>
                <a:cubicBezTo>
                  <a:pt x="2286" y="308"/>
                  <a:pt x="2286" y="310"/>
                  <a:pt x="2286" y="313"/>
                </a:cubicBezTo>
                <a:cubicBezTo>
                  <a:pt x="2285" y="316"/>
                  <a:pt x="2284" y="318"/>
                  <a:pt x="2284" y="321"/>
                </a:cubicBezTo>
                <a:cubicBezTo>
                  <a:pt x="2283" y="323"/>
                  <a:pt x="2286" y="326"/>
                  <a:pt x="2288" y="325"/>
                </a:cubicBezTo>
                <a:cubicBezTo>
                  <a:pt x="2290" y="324"/>
                  <a:pt x="2293" y="323"/>
                  <a:pt x="2295" y="322"/>
                </a:cubicBezTo>
                <a:cubicBezTo>
                  <a:pt x="2298" y="321"/>
                  <a:pt x="2298" y="321"/>
                  <a:pt x="2299" y="325"/>
                </a:cubicBezTo>
                <a:cubicBezTo>
                  <a:pt x="2299" y="325"/>
                  <a:pt x="2299" y="326"/>
                  <a:pt x="2300" y="327"/>
                </a:cubicBezTo>
                <a:cubicBezTo>
                  <a:pt x="2300" y="329"/>
                  <a:pt x="2302" y="330"/>
                  <a:pt x="2304" y="328"/>
                </a:cubicBezTo>
                <a:cubicBezTo>
                  <a:pt x="2311" y="323"/>
                  <a:pt x="2314" y="317"/>
                  <a:pt x="2316" y="309"/>
                </a:cubicBezTo>
                <a:cubicBezTo>
                  <a:pt x="2316" y="308"/>
                  <a:pt x="2315" y="307"/>
                  <a:pt x="2314" y="306"/>
                </a:cubicBezTo>
                <a:cubicBezTo>
                  <a:pt x="2313" y="306"/>
                  <a:pt x="2312" y="305"/>
                  <a:pt x="2311" y="305"/>
                </a:cubicBezTo>
                <a:cubicBezTo>
                  <a:pt x="2306" y="305"/>
                  <a:pt x="2303" y="303"/>
                  <a:pt x="2303" y="297"/>
                </a:cubicBezTo>
                <a:cubicBezTo>
                  <a:pt x="2303" y="292"/>
                  <a:pt x="2301" y="292"/>
                  <a:pt x="2295" y="293"/>
                </a:cubicBezTo>
                <a:cubicBezTo>
                  <a:pt x="2292" y="294"/>
                  <a:pt x="2292" y="294"/>
                  <a:pt x="2293" y="291"/>
                </a:cubicBezTo>
                <a:cubicBezTo>
                  <a:pt x="2293" y="289"/>
                  <a:pt x="2294" y="287"/>
                  <a:pt x="2294" y="286"/>
                </a:cubicBezTo>
                <a:cubicBezTo>
                  <a:pt x="2295" y="282"/>
                  <a:pt x="2294" y="280"/>
                  <a:pt x="2291" y="279"/>
                </a:cubicBezTo>
                <a:cubicBezTo>
                  <a:pt x="2287" y="278"/>
                  <a:pt x="2285" y="278"/>
                  <a:pt x="2283" y="274"/>
                </a:cubicBezTo>
                <a:cubicBezTo>
                  <a:pt x="2281" y="271"/>
                  <a:pt x="2276" y="269"/>
                  <a:pt x="2275" y="264"/>
                </a:cubicBezTo>
                <a:cubicBezTo>
                  <a:pt x="2275" y="263"/>
                  <a:pt x="2274" y="262"/>
                  <a:pt x="2273" y="262"/>
                </a:cubicBezTo>
                <a:cubicBezTo>
                  <a:pt x="2271" y="261"/>
                  <a:pt x="2268" y="261"/>
                  <a:pt x="2266" y="261"/>
                </a:cubicBezTo>
                <a:cubicBezTo>
                  <a:pt x="2262" y="259"/>
                  <a:pt x="2259" y="257"/>
                  <a:pt x="2257" y="252"/>
                </a:cubicBezTo>
                <a:cubicBezTo>
                  <a:pt x="2256" y="247"/>
                  <a:pt x="2254" y="244"/>
                  <a:pt x="2250" y="241"/>
                </a:cubicBezTo>
                <a:cubicBezTo>
                  <a:pt x="2249" y="240"/>
                  <a:pt x="2248" y="239"/>
                  <a:pt x="2247" y="238"/>
                </a:cubicBezTo>
                <a:cubicBezTo>
                  <a:pt x="2245" y="235"/>
                  <a:pt x="2243" y="232"/>
                  <a:pt x="2240" y="231"/>
                </a:cubicBezTo>
                <a:cubicBezTo>
                  <a:pt x="2238" y="231"/>
                  <a:pt x="2236" y="229"/>
                  <a:pt x="2234" y="228"/>
                </a:cubicBezTo>
                <a:cubicBezTo>
                  <a:pt x="2232" y="227"/>
                  <a:pt x="2230" y="228"/>
                  <a:pt x="2229" y="231"/>
                </a:cubicBezTo>
                <a:cubicBezTo>
                  <a:pt x="2228" y="234"/>
                  <a:pt x="2228" y="238"/>
                  <a:pt x="2227" y="242"/>
                </a:cubicBezTo>
                <a:cubicBezTo>
                  <a:pt x="2227" y="242"/>
                  <a:pt x="2227" y="242"/>
                  <a:pt x="2227" y="242"/>
                </a:cubicBezTo>
                <a:cubicBezTo>
                  <a:pt x="2227" y="242"/>
                  <a:pt x="2227" y="242"/>
                  <a:pt x="2227" y="243"/>
                </a:cubicBezTo>
                <a:cubicBezTo>
                  <a:pt x="2229" y="245"/>
                  <a:pt x="2229" y="247"/>
                  <a:pt x="2229" y="249"/>
                </a:cubicBezTo>
                <a:cubicBezTo>
                  <a:pt x="2229" y="250"/>
                  <a:pt x="2229" y="250"/>
                  <a:pt x="2229" y="251"/>
                </a:cubicBezTo>
                <a:cubicBezTo>
                  <a:pt x="2228" y="252"/>
                  <a:pt x="2227" y="251"/>
                  <a:pt x="2227" y="250"/>
                </a:cubicBezTo>
                <a:cubicBezTo>
                  <a:pt x="2227" y="247"/>
                  <a:pt x="2227" y="245"/>
                  <a:pt x="2227" y="243"/>
                </a:cubicBezTo>
                <a:cubicBezTo>
                  <a:pt x="2227" y="242"/>
                  <a:pt x="2227" y="242"/>
                  <a:pt x="2227" y="242"/>
                </a:cubicBezTo>
                <a:cubicBezTo>
                  <a:pt x="2227" y="242"/>
                  <a:pt x="2227" y="242"/>
                  <a:pt x="2227" y="242"/>
                </a:cubicBezTo>
                <a:cubicBezTo>
                  <a:pt x="2226" y="242"/>
                  <a:pt x="2225" y="242"/>
                  <a:pt x="2224" y="242"/>
                </a:cubicBezTo>
                <a:cubicBezTo>
                  <a:pt x="2220" y="239"/>
                  <a:pt x="2217" y="240"/>
                  <a:pt x="2213" y="242"/>
                </a:cubicBezTo>
                <a:cubicBezTo>
                  <a:pt x="2213" y="242"/>
                  <a:pt x="2213" y="242"/>
                  <a:pt x="2213" y="242"/>
                </a:cubicBezTo>
                <a:cubicBezTo>
                  <a:pt x="2213" y="242"/>
                  <a:pt x="2213" y="242"/>
                  <a:pt x="2213" y="242"/>
                </a:cubicBezTo>
                <a:cubicBezTo>
                  <a:pt x="2213" y="243"/>
                  <a:pt x="2213" y="244"/>
                  <a:pt x="2213" y="245"/>
                </a:cubicBezTo>
                <a:cubicBezTo>
                  <a:pt x="2213" y="246"/>
                  <a:pt x="2212" y="247"/>
                  <a:pt x="2211" y="246"/>
                </a:cubicBezTo>
                <a:cubicBezTo>
                  <a:pt x="2210" y="246"/>
                  <a:pt x="2210" y="246"/>
                  <a:pt x="2209" y="245"/>
                </a:cubicBezTo>
                <a:cubicBezTo>
                  <a:pt x="2209" y="244"/>
                  <a:pt x="2209" y="243"/>
                  <a:pt x="2210" y="243"/>
                </a:cubicBezTo>
                <a:cubicBezTo>
                  <a:pt x="2211" y="243"/>
                  <a:pt x="2212" y="243"/>
                  <a:pt x="2213" y="242"/>
                </a:cubicBezTo>
                <a:cubicBezTo>
                  <a:pt x="2213" y="242"/>
                  <a:pt x="2213" y="242"/>
                  <a:pt x="2213" y="242"/>
                </a:cubicBezTo>
                <a:cubicBezTo>
                  <a:pt x="2213" y="242"/>
                  <a:pt x="2213" y="242"/>
                  <a:pt x="2213" y="242"/>
                </a:cubicBezTo>
                <a:cubicBezTo>
                  <a:pt x="2213" y="241"/>
                  <a:pt x="2213" y="241"/>
                  <a:pt x="2213" y="241"/>
                </a:cubicBezTo>
                <a:cubicBezTo>
                  <a:pt x="2212" y="236"/>
                  <a:pt x="2210" y="235"/>
                  <a:pt x="2206" y="236"/>
                </a:cubicBezTo>
                <a:cubicBezTo>
                  <a:pt x="2202" y="237"/>
                  <a:pt x="2198" y="238"/>
                  <a:pt x="2194" y="239"/>
                </a:cubicBezTo>
                <a:cubicBezTo>
                  <a:pt x="2191" y="239"/>
                  <a:pt x="2189" y="241"/>
                  <a:pt x="2188" y="244"/>
                </a:cubicBezTo>
                <a:cubicBezTo>
                  <a:pt x="2187" y="245"/>
                  <a:pt x="2187" y="247"/>
                  <a:pt x="2186" y="248"/>
                </a:cubicBezTo>
                <a:cubicBezTo>
                  <a:pt x="2184" y="255"/>
                  <a:pt x="2185" y="260"/>
                  <a:pt x="2190" y="265"/>
                </a:cubicBezTo>
                <a:cubicBezTo>
                  <a:pt x="2191" y="266"/>
                  <a:pt x="2193" y="267"/>
                  <a:pt x="2192" y="268"/>
                </a:cubicBezTo>
                <a:close/>
                <a:moveTo>
                  <a:pt x="2233" y="314"/>
                </a:moveTo>
                <a:cubicBezTo>
                  <a:pt x="2232" y="313"/>
                  <a:pt x="2232" y="313"/>
                  <a:pt x="2232" y="313"/>
                </a:cubicBezTo>
                <a:cubicBezTo>
                  <a:pt x="2233" y="313"/>
                  <a:pt x="2233" y="313"/>
                  <a:pt x="2233" y="313"/>
                </a:cubicBezTo>
                <a:lnTo>
                  <a:pt x="2233" y="314"/>
                </a:lnTo>
                <a:close/>
                <a:moveTo>
                  <a:pt x="2230" y="262"/>
                </a:moveTo>
                <a:cubicBezTo>
                  <a:pt x="2230" y="263"/>
                  <a:pt x="2230" y="263"/>
                  <a:pt x="2230" y="263"/>
                </a:cubicBezTo>
                <a:cubicBezTo>
                  <a:pt x="2229" y="262"/>
                  <a:pt x="2229" y="262"/>
                  <a:pt x="2229" y="262"/>
                </a:cubicBezTo>
                <a:cubicBezTo>
                  <a:pt x="2229" y="261"/>
                  <a:pt x="2229" y="261"/>
                  <a:pt x="2229" y="261"/>
                </a:cubicBezTo>
                <a:lnTo>
                  <a:pt x="2230" y="262"/>
                </a:lnTo>
                <a:close/>
                <a:moveTo>
                  <a:pt x="1315" y="301"/>
                </a:moveTo>
                <a:cubicBezTo>
                  <a:pt x="1314" y="300"/>
                  <a:pt x="1312" y="299"/>
                  <a:pt x="1312" y="296"/>
                </a:cubicBezTo>
                <a:cubicBezTo>
                  <a:pt x="1310" y="293"/>
                  <a:pt x="1307" y="292"/>
                  <a:pt x="1304" y="292"/>
                </a:cubicBezTo>
                <a:cubicBezTo>
                  <a:pt x="1299" y="292"/>
                  <a:pt x="1294" y="292"/>
                  <a:pt x="1289" y="289"/>
                </a:cubicBezTo>
                <a:cubicBezTo>
                  <a:pt x="1288" y="289"/>
                  <a:pt x="1286" y="289"/>
                  <a:pt x="1284" y="289"/>
                </a:cubicBezTo>
                <a:cubicBezTo>
                  <a:pt x="1277" y="290"/>
                  <a:pt x="1270" y="290"/>
                  <a:pt x="1263" y="291"/>
                </a:cubicBezTo>
                <a:cubicBezTo>
                  <a:pt x="1259" y="292"/>
                  <a:pt x="1255" y="294"/>
                  <a:pt x="1252" y="288"/>
                </a:cubicBezTo>
                <a:cubicBezTo>
                  <a:pt x="1251" y="286"/>
                  <a:pt x="1248" y="286"/>
                  <a:pt x="1246" y="286"/>
                </a:cubicBezTo>
                <a:cubicBezTo>
                  <a:pt x="1240" y="283"/>
                  <a:pt x="1234" y="280"/>
                  <a:pt x="1233" y="273"/>
                </a:cubicBezTo>
                <a:cubicBezTo>
                  <a:pt x="1232" y="269"/>
                  <a:pt x="1230" y="268"/>
                  <a:pt x="1227" y="268"/>
                </a:cubicBezTo>
                <a:cubicBezTo>
                  <a:pt x="1225" y="267"/>
                  <a:pt x="1225" y="267"/>
                  <a:pt x="1227" y="266"/>
                </a:cubicBezTo>
                <a:cubicBezTo>
                  <a:pt x="1228" y="265"/>
                  <a:pt x="1230" y="263"/>
                  <a:pt x="1231" y="262"/>
                </a:cubicBezTo>
                <a:cubicBezTo>
                  <a:pt x="1231" y="262"/>
                  <a:pt x="1231" y="262"/>
                  <a:pt x="1231" y="262"/>
                </a:cubicBezTo>
                <a:cubicBezTo>
                  <a:pt x="1231" y="262"/>
                  <a:pt x="1231" y="262"/>
                  <a:pt x="1231" y="262"/>
                </a:cubicBezTo>
                <a:cubicBezTo>
                  <a:pt x="1232" y="262"/>
                  <a:pt x="1232" y="262"/>
                  <a:pt x="1232" y="262"/>
                </a:cubicBezTo>
                <a:cubicBezTo>
                  <a:pt x="1232" y="262"/>
                  <a:pt x="1231" y="262"/>
                  <a:pt x="1231" y="262"/>
                </a:cubicBezTo>
                <a:cubicBezTo>
                  <a:pt x="1235" y="263"/>
                  <a:pt x="1238" y="264"/>
                  <a:pt x="1241" y="263"/>
                </a:cubicBezTo>
                <a:cubicBezTo>
                  <a:pt x="1242" y="262"/>
                  <a:pt x="1243" y="259"/>
                  <a:pt x="1243" y="258"/>
                </a:cubicBezTo>
                <a:cubicBezTo>
                  <a:pt x="1242" y="258"/>
                  <a:pt x="1242" y="256"/>
                  <a:pt x="1241" y="256"/>
                </a:cubicBezTo>
                <a:cubicBezTo>
                  <a:pt x="1238" y="253"/>
                  <a:pt x="1237" y="250"/>
                  <a:pt x="1238" y="246"/>
                </a:cubicBezTo>
                <a:cubicBezTo>
                  <a:pt x="1238" y="243"/>
                  <a:pt x="1234" y="239"/>
                  <a:pt x="1232" y="239"/>
                </a:cubicBezTo>
                <a:cubicBezTo>
                  <a:pt x="1229" y="238"/>
                  <a:pt x="1226" y="239"/>
                  <a:pt x="1223" y="238"/>
                </a:cubicBezTo>
                <a:cubicBezTo>
                  <a:pt x="1221" y="238"/>
                  <a:pt x="1219" y="237"/>
                  <a:pt x="1218" y="235"/>
                </a:cubicBezTo>
                <a:cubicBezTo>
                  <a:pt x="1218" y="233"/>
                  <a:pt x="1217" y="230"/>
                  <a:pt x="1216" y="228"/>
                </a:cubicBezTo>
                <a:cubicBezTo>
                  <a:pt x="1216" y="227"/>
                  <a:pt x="1215" y="225"/>
                  <a:pt x="1214" y="224"/>
                </a:cubicBezTo>
                <a:cubicBezTo>
                  <a:pt x="1210" y="221"/>
                  <a:pt x="1207" y="216"/>
                  <a:pt x="1201" y="214"/>
                </a:cubicBezTo>
                <a:cubicBezTo>
                  <a:pt x="1197" y="212"/>
                  <a:pt x="1193" y="213"/>
                  <a:pt x="1189" y="216"/>
                </a:cubicBezTo>
                <a:cubicBezTo>
                  <a:pt x="1187" y="217"/>
                  <a:pt x="1185" y="220"/>
                  <a:pt x="1186" y="223"/>
                </a:cubicBezTo>
                <a:cubicBezTo>
                  <a:pt x="1188" y="229"/>
                  <a:pt x="1189" y="236"/>
                  <a:pt x="1190" y="242"/>
                </a:cubicBezTo>
                <a:cubicBezTo>
                  <a:pt x="1190" y="243"/>
                  <a:pt x="1191" y="244"/>
                  <a:pt x="1192" y="244"/>
                </a:cubicBezTo>
                <a:cubicBezTo>
                  <a:pt x="1196" y="246"/>
                  <a:pt x="1201" y="248"/>
                  <a:pt x="1205" y="250"/>
                </a:cubicBezTo>
                <a:cubicBezTo>
                  <a:pt x="1210" y="252"/>
                  <a:pt x="1210" y="252"/>
                  <a:pt x="1210" y="255"/>
                </a:cubicBezTo>
                <a:cubicBezTo>
                  <a:pt x="1210" y="259"/>
                  <a:pt x="1210" y="262"/>
                  <a:pt x="1210" y="265"/>
                </a:cubicBezTo>
                <a:cubicBezTo>
                  <a:pt x="1210" y="270"/>
                  <a:pt x="1209" y="273"/>
                  <a:pt x="1205" y="275"/>
                </a:cubicBezTo>
                <a:cubicBezTo>
                  <a:pt x="1202" y="277"/>
                  <a:pt x="1200" y="280"/>
                  <a:pt x="1199" y="283"/>
                </a:cubicBezTo>
                <a:cubicBezTo>
                  <a:pt x="1194" y="289"/>
                  <a:pt x="1193" y="297"/>
                  <a:pt x="1194" y="305"/>
                </a:cubicBezTo>
                <a:cubicBezTo>
                  <a:pt x="1194" y="310"/>
                  <a:pt x="1201" y="309"/>
                  <a:pt x="1203" y="313"/>
                </a:cubicBezTo>
                <a:cubicBezTo>
                  <a:pt x="1203" y="314"/>
                  <a:pt x="1204" y="314"/>
                  <a:pt x="1204" y="314"/>
                </a:cubicBezTo>
                <a:cubicBezTo>
                  <a:pt x="1208" y="318"/>
                  <a:pt x="1212" y="318"/>
                  <a:pt x="1216" y="315"/>
                </a:cubicBezTo>
                <a:cubicBezTo>
                  <a:pt x="1217" y="315"/>
                  <a:pt x="1218" y="314"/>
                  <a:pt x="1219" y="314"/>
                </a:cubicBezTo>
                <a:cubicBezTo>
                  <a:pt x="1221" y="314"/>
                  <a:pt x="1221" y="315"/>
                  <a:pt x="1221" y="316"/>
                </a:cubicBezTo>
                <a:cubicBezTo>
                  <a:pt x="1221" y="318"/>
                  <a:pt x="1220" y="319"/>
                  <a:pt x="1220" y="321"/>
                </a:cubicBezTo>
                <a:cubicBezTo>
                  <a:pt x="1221" y="323"/>
                  <a:pt x="1223" y="324"/>
                  <a:pt x="1225" y="325"/>
                </a:cubicBezTo>
                <a:cubicBezTo>
                  <a:pt x="1230" y="326"/>
                  <a:pt x="1236" y="328"/>
                  <a:pt x="1241" y="328"/>
                </a:cubicBezTo>
                <a:cubicBezTo>
                  <a:pt x="1252" y="328"/>
                  <a:pt x="1261" y="334"/>
                  <a:pt x="1272" y="333"/>
                </a:cubicBezTo>
                <a:cubicBezTo>
                  <a:pt x="1274" y="333"/>
                  <a:pt x="1276" y="335"/>
                  <a:pt x="1278" y="336"/>
                </a:cubicBezTo>
                <a:cubicBezTo>
                  <a:pt x="1282" y="338"/>
                  <a:pt x="1286" y="339"/>
                  <a:pt x="1290" y="339"/>
                </a:cubicBezTo>
                <a:cubicBezTo>
                  <a:pt x="1293" y="338"/>
                  <a:pt x="1297" y="339"/>
                  <a:pt x="1300" y="338"/>
                </a:cubicBezTo>
                <a:cubicBezTo>
                  <a:pt x="1302" y="338"/>
                  <a:pt x="1303" y="337"/>
                  <a:pt x="1304" y="336"/>
                </a:cubicBezTo>
                <a:cubicBezTo>
                  <a:pt x="1307" y="334"/>
                  <a:pt x="1310" y="331"/>
                  <a:pt x="1314" y="330"/>
                </a:cubicBezTo>
                <a:cubicBezTo>
                  <a:pt x="1316" y="329"/>
                  <a:pt x="1317" y="327"/>
                  <a:pt x="1316" y="324"/>
                </a:cubicBezTo>
                <a:cubicBezTo>
                  <a:pt x="1316" y="322"/>
                  <a:pt x="1317" y="320"/>
                  <a:pt x="1318" y="318"/>
                </a:cubicBezTo>
                <a:cubicBezTo>
                  <a:pt x="1323" y="311"/>
                  <a:pt x="1322" y="306"/>
                  <a:pt x="1315" y="301"/>
                </a:cubicBezTo>
                <a:close/>
                <a:moveTo>
                  <a:pt x="1021" y="224"/>
                </a:moveTo>
                <a:cubicBezTo>
                  <a:pt x="1024" y="220"/>
                  <a:pt x="1021" y="215"/>
                  <a:pt x="1022" y="210"/>
                </a:cubicBezTo>
                <a:cubicBezTo>
                  <a:pt x="1022" y="206"/>
                  <a:pt x="1022" y="202"/>
                  <a:pt x="1021" y="198"/>
                </a:cubicBezTo>
                <a:cubicBezTo>
                  <a:pt x="1021" y="195"/>
                  <a:pt x="1018" y="193"/>
                  <a:pt x="1015" y="192"/>
                </a:cubicBezTo>
                <a:cubicBezTo>
                  <a:pt x="1011" y="191"/>
                  <a:pt x="1012" y="191"/>
                  <a:pt x="1012" y="188"/>
                </a:cubicBezTo>
                <a:cubicBezTo>
                  <a:pt x="1012" y="183"/>
                  <a:pt x="1010" y="180"/>
                  <a:pt x="1006" y="180"/>
                </a:cubicBezTo>
                <a:cubicBezTo>
                  <a:pt x="1002" y="179"/>
                  <a:pt x="998" y="178"/>
                  <a:pt x="996" y="181"/>
                </a:cubicBezTo>
                <a:cubicBezTo>
                  <a:pt x="992" y="185"/>
                  <a:pt x="986" y="185"/>
                  <a:pt x="982" y="189"/>
                </a:cubicBezTo>
                <a:cubicBezTo>
                  <a:pt x="980" y="190"/>
                  <a:pt x="979" y="192"/>
                  <a:pt x="978" y="193"/>
                </a:cubicBezTo>
                <a:cubicBezTo>
                  <a:pt x="978" y="198"/>
                  <a:pt x="976" y="199"/>
                  <a:pt x="972" y="200"/>
                </a:cubicBezTo>
                <a:cubicBezTo>
                  <a:pt x="970" y="201"/>
                  <a:pt x="968" y="204"/>
                  <a:pt x="966" y="206"/>
                </a:cubicBezTo>
                <a:cubicBezTo>
                  <a:pt x="965" y="207"/>
                  <a:pt x="965" y="208"/>
                  <a:pt x="966" y="209"/>
                </a:cubicBezTo>
                <a:cubicBezTo>
                  <a:pt x="968" y="210"/>
                  <a:pt x="970" y="211"/>
                  <a:pt x="972" y="212"/>
                </a:cubicBezTo>
                <a:cubicBezTo>
                  <a:pt x="973" y="213"/>
                  <a:pt x="973" y="214"/>
                  <a:pt x="973" y="214"/>
                </a:cubicBezTo>
                <a:cubicBezTo>
                  <a:pt x="972" y="215"/>
                  <a:pt x="972" y="215"/>
                  <a:pt x="971" y="215"/>
                </a:cubicBezTo>
                <a:cubicBezTo>
                  <a:pt x="967" y="214"/>
                  <a:pt x="964" y="213"/>
                  <a:pt x="960" y="213"/>
                </a:cubicBezTo>
                <a:cubicBezTo>
                  <a:pt x="956" y="213"/>
                  <a:pt x="953" y="217"/>
                  <a:pt x="952" y="221"/>
                </a:cubicBezTo>
                <a:cubicBezTo>
                  <a:pt x="951" y="224"/>
                  <a:pt x="952" y="226"/>
                  <a:pt x="954" y="228"/>
                </a:cubicBezTo>
                <a:cubicBezTo>
                  <a:pt x="957" y="229"/>
                  <a:pt x="959" y="231"/>
                  <a:pt x="961" y="233"/>
                </a:cubicBezTo>
                <a:cubicBezTo>
                  <a:pt x="966" y="237"/>
                  <a:pt x="972" y="241"/>
                  <a:pt x="979" y="237"/>
                </a:cubicBezTo>
                <a:cubicBezTo>
                  <a:pt x="980" y="237"/>
                  <a:pt x="981" y="237"/>
                  <a:pt x="982" y="237"/>
                </a:cubicBezTo>
                <a:cubicBezTo>
                  <a:pt x="986" y="240"/>
                  <a:pt x="990" y="240"/>
                  <a:pt x="995" y="240"/>
                </a:cubicBezTo>
                <a:cubicBezTo>
                  <a:pt x="995" y="240"/>
                  <a:pt x="995" y="241"/>
                  <a:pt x="996" y="241"/>
                </a:cubicBezTo>
                <a:cubicBezTo>
                  <a:pt x="995" y="241"/>
                  <a:pt x="995" y="241"/>
                  <a:pt x="994" y="242"/>
                </a:cubicBezTo>
                <a:cubicBezTo>
                  <a:pt x="987" y="243"/>
                  <a:pt x="980" y="244"/>
                  <a:pt x="973" y="245"/>
                </a:cubicBezTo>
                <a:cubicBezTo>
                  <a:pt x="971" y="245"/>
                  <a:pt x="969" y="248"/>
                  <a:pt x="969" y="250"/>
                </a:cubicBezTo>
                <a:cubicBezTo>
                  <a:pt x="969" y="255"/>
                  <a:pt x="971" y="259"/>
                  <a:pt x="975" y="261"/>
                </a:cubicBezTo>
                <a:cubicBezTo>
                  <a:pt x="977" y="262"/>
                  <a:pt x="979" y="262"/>
                  <a:pt x="981" y="263"/>
                </a:cubicBezTo>
                <a:cubicBezTo>
                  <a:pt x="984" y="263"/>
                  <a:pt x="987" y="263"/>
                  <a:pt x="991" y="263"/>
                </a:cubicBezTo>
                <a:cubicBezTo>
                  <a:pt x="997" y="264"/>
                  <a:pt x="1003" y="262"/>
                  <a:pt x="1008" y="259"/>
                </a:cubicBezTo>
                <a:cubicBezTo>
                  <a:pt x="1010" y="258"/>
                  <a:pt x="1012" y="257"/>
                  <a:pt x="1014" y="257"/>
                </a:cubicBezTo>
                <a:cubicBezTo>
                  <a:pt x="1019" y="256"/>
                  <a:pt x="1024" y="256"/>
                  <a:pt x="1029" y="254"/>
                </a:cubicBezTo>
                <a:cubicBezTo>
                  <a:pt x="1030" y="254"/>
                  <a:pt x="1031" y="254"/>
                  <a:pt x="1032" y="255"/>
                </a:cubicBezTo>
                <a:cubicBezTo>
                  <a:pt x="1035" y="256"/>
                  <a:pt x="1039" y="257"/>
                  <a:pt x="1042" y="259"/>
                </a:cubicBezTo>
                <a:cubicBezTo>
                  <a:pt x="1045" y="260"/>
                  <a:pt x="1048" y="261"/>
                  <a:pt x="1050" y="260"/>
                </a:cubicBezTo>
                <a:cubicBezTo>
                  <a:pt x="1053" y="260"/>
                  <a:pt x="1055" y="259"/>
                  <a:pt x="1057" y="259"/>
                </a:cubicBezTo>
                <a:cubicBezTo>
                  <a:pt x="1060" y="259"/>
                  <a:pt x="1063" y="257"/>
                  <a:pt x="1065" y="254"/>
                </a:cubicBezTo>
                <a:cubicBezTo>
                  <a:pt x="1071" y="249"/>
                  <a:pt x="1075" y="244"/>
                  <a:pt x="1080" y="239"/>
                </a:cubicBezTo>
                <a:cubicBezTo>
                  <a:pt x="1082" y="238"/>
                  <a:pt x="1083" y="236"/>
                  <a:pt x="1084" y="234"/>
                </a:cubicBezTo>
                <a:cubicBezTo>
                  <a:pt x="1086" y="229"/>
                  <a:pt x="1085" y="224"/>
                  <a:pt x="1080" y="221"/>
                </a:cubicBezTo>
                <a:cubicBezTo>
                  <a:pt x="1079" y="220"/>
                  <a:pt x="1078" y="220"/>
                  <a:pt x="1077" y="220"/>
                </a:cubicBezTo>
                <a:cubicBezTo>
                  <a:pt x="1075" y="221"/>
                  <a:pt x="1073" y="222"/>
                  <a:pt x="1072" y="224"/>
                </a:cubicBezTo>
                <a:cubicBezTo>
                  <a:pt x="1071" y="226"/>
                  <a:pt x="1070" y="226"/>
                  <a:pt x="1069" y="225"/>
                </a:cubicBezTo>
                <a:cubicBezTo>
                  <a:pt x="1067" y="223"/>
                  <a:pt x="1063" y="222"/>
                  <a:pt x="1064" y="217"/>
                </a:cubicBezTo>
                <a:cubicBezTo>
                  <a:pt x="1063" y="215"/>
                  <a:pt x="1061" y="213"/>
                  <a:pt x="1064" y="210"/>
                </a:cubicBezTo>
                <a:cubicBezTo>
                  <a:pt x="1065" y="209"/>
                  <a:pt x="1066" y="207"/>
                  <a:pt x="1066" y="204"/>
                </a:cubicBezTo>
                <a:cubicBezTo>
                  <a:pt x="1066" y="199"/>
                  <a:pt x="1067" y="195"/>
                  <a:pt x="1069" y="190"/>
                </a:cubicBezTo>
                <a:cubicBezTo>
                  <a:pt x="1070" y="188"/>
                  <a:pt x="1069" y="187"/>
                  <a:pt x="1068" y="186"/>
                </a:cubicBezTo>
                <a:cubicBezTo>
                  <a:pt x="1066" y="184"/>
                  <a:pt x="1064" y="184"/>
                  <a:pt x="1062" y="185"/>
                </a:cubicBezTo>
                <a:cubicBezTo>
                  <a:pt x="1057" y="189"/>
                  <a:pt x="1053" y="192"/>
                  <a:pt x="1048" y="195"/>
                </a:cubicBezTo>
                <a:cubicBezTo>
                  <a:pt x="1046" y="197"/>
                  <a:pt x="1045" y="200"/>
                  <a:pt x="1046" y="203"/>
                </a:cubicBezTo>
                <a:cubicBezTo>
                  <a:pt x="1046" y="204"/>
                  <a:pt x="1046" y="206"/>
                  <a:pt x="1047" y="207"/>
                </a:cubicBezTo>
                <a:cubicBezTo>
                  <a:pt x="1048" y="211"/>
                  <a:pt x="1046" y="212"/>
                  <a:pt x="1043" y="214"/>
                </a:cubicBezTo>
                <a:cubicBezTo>
                  <a:pt x="1043" y="214"/>
                  <a:pt x="1042" y="215"/>
                  <a:pt x="1042" y="215"/>
                </a:cubicBezTo>
                <a:cubicBezTo>
                  <a:pt x="1039" y="217"/>
                  <a:pt x="1039" y="219"/>
                  <a:pt x="1040" y="222"/>
                </a:cubicBezTo>
                <a:cubicBezTo>
                  <a:pt x="1040" y="223"/>
                  <a:pt x="1041" y="224"/>
                  <a:pt x="1041" y="225"/>
                </a:cubicBezTo>
                <a:cubicBezTo>
                  <a:pt x="1041" y="227"/>
                  <a:pt x="1039" y="230"/>
                  <a:pt x="1037" y="230"/>
                </a:cubicBezTo>
                <a:cubicBezTo>
                  <a:pt x="1032" y="229"/>
                  <a:pt x="1028" y="228"/>
                  <a:pt x="1023" y="227"/>
                </a:cubicBezTo>
                <a:cubicBezTo>
                  <a:pt x="1022" y="226"/>
                  <a:pt x="1021" y="225"/>
                  <a:pt x="1021" y="224"/>
                </a:cubicBezTo>
                <a:close/>
                <a:moveTo>
                  <a:pt x="4371" y="2456"/>
                </a:moveTo>
                <a:cubicBezTo>
                  <a:pt x="4369" y="2456"/>
                  <a:pt x="4367" y="2458"/>
                  <a:pt x="4365" y="2457"/>
                </a:cubicBezTo>
                <a:cubicBezTo>
                  <a:pt x="4361" y="2457"/>
                  <a:pt x="4363" y="2453"/>
                  <a:pt x="4361" y="2451"/>
                </a:cubicBezTo>
                <a:cubicBezTo>
                  <a:pt x="4361" y="2450"/>
                  <a:pt x="4360" y="2449"/>
                  <a:pt x="4359" y="2448"/>
                </a:cubicBezTo>
                <a:cubicBezTo>
                  <a:pt x="4358" y="2446"/>
                  <a:pt x="4356" y="2446"/>
                  <a:pt x="4354" y="2447"/>
                </a:cubicBezTo>
                <a:cubicBezTo>
                  <a:pt x="4352" y="2448"/>
                  <a:pt x="4350" y="2449"/>
                  <a:pt x="4350" y="2451"/>
                </a:cubicBezTo>
                <a:cubicBezTo>
                  <a:pt x="4347" y="2459"/>
                  <a:pt x="4342" y="2466"/>
                  <a:pt x="4334" y="2471"/>
                </a:cubicBezTo>
                <a:cubicBezTo>
                  <a:pt x="4332" y="2472"/>
                  <a:pt x="4331" y="2474"/>
                  <a:pt x="4330" y="2476"/>
                </a:cubicBezTo>
                <a:cubicBezTo>
                  <a:pt x="4328" y="2478"/>
                  <a:pt x="4327" y="2481"/>
                  <a:pt x="4326" y="2483"/>
                </a:cubicBezTo>
                <a:cubicBezTo>
                  <a:pt x="4323" y="2489"/>
                  <a:pt x="4319" y="2493"/>
                  <a:pt x="4314" y="2496"/>
                </a:cubicBezTo>
                <a:cubicBezTo>
                  <a:pt x="4307" y="2499"/>
                  <a:pt x="4302" y="2503"/>
                  <a:pt x="4295" y="2507"/>
                </a:cubicBezTo>
                <a:cubicBezTo>
                  <a:pt x="4290" y="2510"/>
                  <a:pt x="4286" y="2515"/>
                  <a:pt x="4280" y="2515"/>
                </a:cubicBezTo>
                <a:cubicBezTo>
                  <a:pt x="4278" y="2515"/>
                  <a:pt x="4277" y="2517"/>
                  <a:pt x="4275" y="2518"/>
                </a:cubicBezTo>
                <a:cubicBezTo>
                  <a:pt x="4267" y="2524"/>
                  <a:pt x="4260" y="2531"/>
                  <a:pt x="4252" y="2539"/>
                </a:cubicBezTo>
                <a:cubicBezTo>
                  <a:pt x="4246" y="2544"/>
                  <a:pt x="4242" y="2552"/>
                  <a:pt x="4239" y="2559"/>
                </a:cubicBezTo>
                <a:cubicBezTo>
                  <a:pt x="4238" y="2561"/>
                  <a:pt x="4239" y="2565"/>
                  <a:pt x="4241" y="2566"/>
                </a:cubicBezTo>
                <a:cubicBezTo>
                  <a:pt x="4247" y="2568"/>
                  <a:pt x="4252" y="2570"/>
                  <a:pt x="4255" y="2575"/>
                </a:cubicBezTo>
                <a:cubicBezTo>
                  <a:pt x="4256" y="2576"/>
                  <a:pt x="4256" y="2576"/>
                  <a:pt x="4257" y="2577"/>
                </a:cubicBezTo>
                <a:cubicBezTo>
                  <a:pt x="4261" y="2581"/>
                  <a:pt x="4266" y="2581"/>
                  <a:pt x="4271" y="2579"/>
                </a:cubicBezTo>
                <a:cubicBezTo>
                  <a:pt x="4279" y="2576"/>
                  <a:pt x="4284" y="2568"/>
                  <a:pt x="4292" y="2564"/>
                </a:cubicBezTo>
                <a:cubicBezTo>
                  <a:pt x="4295" y="2560"/>
                  <a:pt x="4297" y="2557"/>
                  <a:pt x="4299" y="2553"/>
                </a:cubicBezTo>
                <a:cubicBezTo>
                  <a:pt x="4301" y="2551"/>
                  <a:pt x="4302" y="2548"/>
                  <a:pt x="4304" y="2546"/>
                </a:cubicBezTo>
                <a:cubicBezTo>
                  <a:pt x="4307" y="2544"/>
                  <a:pt x="4309" y="2540"/>
                  <a:pt x="4311" y="2537"/>
                </a:cubicBezTo>
                <a:cubicBezTo>
                  <a:pt x="4317" y="2525"/>
                  <a:pt x="4316" y="2528"/>
                  <a:pt x="4327" y="2522"/>
                </a:cubicBezTo>
                <a:cubicBezTo>
                  <a:pt x="4330" y="2520"/>
                  <a:pt x="4333" y="2520"/>
                  <a:pt x="4336" y="2520"/>
                </a:cubicBezTo>
                <a:cubicBezTo>
                  <a:pt x="4340" y="2520"/>
                  <a:pt x="4342" y="2518"/>
                  <a:pt x="4342" y="2515"/>
                </a:cubicBezTo>
                <a:cubicBezTo>
                  <a:pt x="4340" y="2510"/>
                  <a:pt x="4341" y="2506"/>
                  <a:pt x="4347" y="2503"/>
                </a:cubicBezTo>
                <a:cubicBezTo>
                  <a:pt x="4349" y="2502"/>
                  <a:pt x="4351" y="2500"/>
                  <a:pt x="4352" y="2499"/>
                </a:cubicBezTo>
                <a:cubicBezTo>
                  <a:pt x="4357" y="2491"/>
                  <a:pt x="4364" y="2485"/>
                  <a:pt x="4370" y="2478"/>
                </a:cubicBezTo>
                <a:cubicBezTo>
                  <a:pt x="4372" y="2476"/>
                  <a:pt x="4373" y="2474"/>
                  <a:pt x="4373" y="2472"/>
                </a:cubicBezTo>
                <a:cubicBezTo>
                  <a:pt x="4373" y="2470"/>
                  <a:pt x="4373" y="2467"/>
                  <a:pt x="4373" y="2466"/>
                </a:cubicBezTo>
                <a:cubicBezTo>
                  <a:pt x="4374" y="2465"/>
                  <a:pt x="4374" y="2464"/>
                  <a:pt x="4374" y="2464"/>
                </a:cubicBezTo>
                <a:cubicBezTo>
                  <a:pt x="4374" y="2463"/>
                  <a:pt x="4375" y="2462"/>
                  <a:pt x="4375" y="2460"/>
                </a:cubicBezTo>
                <a:cubicBezTo>
                  <a:pt x="4375" y="2460"/>
                  <a:pt x="4375" y="2459"/>
                  <a:pt x="4375" y="2459"/>
                </a:cubicBezTo>
                <a:cubicBezTo>
                  <a:pt x="4375" y="2458"/>
                  <a:pt x="4373" y="2456"/>
                  <a:pt x="4371" y="2456"/>
                </a:cubicBezTo>
                <a:close/>
                <a:moveTo>
                  <a:pt x="1887" y="715"/>
                </a:moveTo>
                <a:cubicBezTo>
                  <a:pt x="1895" y="712"/>
                  <a:pt x="1903" y="707"/>
                  <a:pt x="1911" y="704"/>
                </a:cubicBezTo>
                <a:cubicBezTo>
                  <a:pt x="1913" y="704"/>
                  <a:pt x="1914" y="703"/>
                  <a:pt x="1915" y="702"/>
                </a:cubicBezTo>
                <a:cubicBezTo>
                  <a:pt x="1919" y="698"/>
                  <a:pt x="1924" y="695"/>
                  <a:pt x="1929" y="694"/>
                </a:cubicBezTo>
                <a:cubicBezTo>
                  <a:pt x="1932" y="693"/>
                  <a:pt x="1933" y="692"/>
                  <a:pt x="1935" y="690"/>
                </a:cubicBezTo>
                <a:cubicBezTo>
                  <a:pt x="1936" y="688"/>
                  <a:pt x="1938" y="686"/>
                  <a:pt x="1940" y="684"/>
                </a:cubicBezTo>
                <a:cubicBezTo>
                  <a:pt x="1941" y="683"/>
                  <a:pt x="1941" y="682"/>
                  <a:pt x="1941" y="681"/>
                </a:cubicBezTo>
                <a:cubicBezTo>
                  <a:pt x="1939" y="676"/>
                  <a:pt x="1941" y="673"/>
                  <a:pt x="1943" y="669"/>
                </a:cubicBezTo>
                <a:cubicBezTo>
                  <a:pt x="1944" y="669"/>
                  <a:pt x="1944" y="668"/>
                  <a:pt x="1944" y="667"/>
                </a:cubicBezTo>
                <a:cubicBezTo>
                  <a:pt x="1943" y="667"/>
                  <a:pt x="1943" y="666"/>
                  <a:pt x="1943" y="666"/>
                </a:cubicBezTo>
                <a:cubicBezTo>
                  <a:pt x="1941" y="665"/>
                  <a:pt x="1939" y="664"/>
                  <a:pt x="1937" y="663"/>
                </a:cubicBezTo>
                <a:cubicBezTo>
                  <a:pt x="1934" y="661"/>
                  <a:pt x="1936" y="658"/>
                  <a:pt x="1935" y="655"/>
                </a:cubicBezTo>
                <a:cubicBezTo>
                  <a:pt x="1934" y="653"/>
                  <a:pt x="1933" y="650"/>
                  <a:pt x="1931" y="648"/>
                </a:cubicBezTo>
                <a:cubicBezTo>
                  <a:pt x="1931" y="647"/>
                  <a:pt x="1930" y="647"/>
                  <a:pt x="1929" y="647"/>
                </a:cubicBezTo>
                <a:cubicBezTo>
                  <a:pt x="1926" y="648"/>
                  <a:pt x="1924" y="647"/>
                  <a:pt x="1923" y="646"/>
                </a:cubicBezTo>
                <a:cubicBezTo>
                  <a:pt x="1920" y="643"/>
                  <a:pt x="1917" y="643"/>
                  <a:pt x="1914" y="646"/>
                </a:cubicBezTo>
                <a:cubicBezTo>
                  <a:pt x="1909" y="650"/>
                  <a:pt x="1904" y="652"/>
                  <a:pt x="1898" y="650"/>
                </a:cubicBezTo>
                <a:cubicBezTo>
                  <a:pt x="1896" y="649"/>
                  <a:pt x="1893" y="651"/>
                  <a:pt x="1891" y="650"/>
                </a:cubicBezTo>
                <a:cubicBezTo>
                  <a:pt x="1886" y="648"/>
                  <a:pt x="1883" y="651"/>
                  <a:pt x="1881" y="655"/>
                </a:cubicBezTo>
                <a:cubicBezTo>
                  <a:pt x="1880" y="655"/>
                  <a:pt x="1878" y="655"/>
                  <a:pt x="1878" y="655"/>
                </a:cubicBezTo>
                <a:cubicBezTo>
                  <a:pt x="1877" y="654"/>
                  <a:pt x="1876" y="652"/>
                  <a:pt x="1875" y="651"/>
                </a:cubicBezTo>
                <a:cubicBezTo>
                  <a:pt x="1874" y="650"/>
                  <a:pt x="1872" y="651"/>
                  <a:pt x="1871" y="652"/>
                </a:cubicBezTo>
                <a:cubicBezTo>
                  <a:pt x="1869" y="654"/>
                  <a:pt x="1869" y="656"/>
                  <a:pt x="1870" y="658"/>
                </a:cubicBezTo>
                <a:cubicBezTo>
                  <a:pt x="1871" y="661"/>
                  <a:pt x="1869" y="663"/>
                  <a:pt x="1866" y="664"/>
                </a:cubicBezTo>
                <a:cubicBezTo>
                  <a:pt x="1865" y="665"/>
                  <a:pt x="1864" y="665"/>
                  <a:pt x="1863" y="666"/>
                </a:cubicBezTo>
                <a:cubicBezTo>
                  <a:pt x="1863" y="666"/>
                  <a:pt x="1863" y="666"/>
                  <a:pt x="1863" y="666"/>
                </a:cubicBezTo>
                <a:cubicBezTo>
                  <a:pt x="1863" y="666"/>
                  <a:pt x="1863" y="666"/>
                  <a:pt x="1862" y="667"/>
                </a:cubicBezTo>
                <a:cubicBezTo>
                  <a:pt x="1862" y="666"/>
                  <a:pt x="1863" y="666"/>
                  <a:pt x="1863" y="666"/>
                </a:cubicBezTo>
                <a:cubicBezTo>
                  <a:pt x="1863" y="666"/>
                  <a:pt x="1863" y="666"/>
                  <a:pt x="1863" y="666"/>
                </a:cubicBezTo>
                <a:cubicBezTo>
                  <a:pt x="1861" y="663"/>
                  <a:pt x="1860" y="660"/>
                  <a:pt x="1861" y="657"/>
                </a:cubicBezTo>
                <a:cubicBezTo>
                  <a:pt x="1861" y="654"/>
                  <a:pt x="1860" y="651"/>
                  <a:pt x="1857" y="649"/>
                </a:cubicBezTo>
                <a:cubicBezTo>
                  <a:pt x="1856" y="648"/>
                  <a:pt x="1855" y="646"/>
                  <a:pt x="1854" y="645"/>
                </a:cubicBezTo>
                <a:cubicBezTo>
                  <a:pt x="1850" y="642"/>
                  <a:pt x="1848" y="642"/>
                  <a:pt x="1843" y="646"/>
                </a:cubicBezTo>
                <a:cubicBezTo>
                  <a:pt x="1843" y="646"/>
                  <a:pt x="1843" y="646"/>
                  <a:pt x="1843" y="646"/>
                </a:cubicBezTo>
                <a:cubicBezTo>
                  <a:pt x="1843" y="646"/>
                  <a:pt x="1843" y="646"/>
                  <a:pt x="1843" y="646"/>
                </a:cubicBezTo>
                <a:cubicBezTo>
                  <a:pt x="1843" y="646"/>
                  <a:pt x="1843" y="646"/>
                  <a:pt x="1843" y="646"/>
                </a:cubicBezTo>
                <a:cubicBezTo>
                  <a:pt x="1843" y="645"/>
                  <a:pt x="1843" y="645"/>
                  <a:pt x="1843" y="645"/>
                </a:cubicBezTo>
                <a:cubicBezTo>
                  <a:pt x="1840" y="646"/>
                  <a:pt x="1837" y="646"/>
                  <a:pt x="1836" y="649"/>
                </a:cubicBezTo>
                <a:cubicBezTo>
                  <a:pt x="1833" y="653"/>
                  <a:pt x="1830" y="657"/>
                  <a:pt x="1827" y="661"/>
                </a:cubicBezTo>
                <a:cubicBezTo>
                  <a:pt x="1826" y="662"/>
                  <a:pt x="1829" y="666"/>
                  <a:pt x="1831" y="666"/>
                </a:cubicBezTo>
                <a:cubicBezTo>
                  <a:pt x="1832" y="666"/>
                  <a:pt x="1834" y="666"/>
                  <a:pt x="1835" y="665"/>
                </a:cubicBezTo>
                <a:cubicBezTo>
                  <a:pt x="1839" y="663"/>
                  <a:pt x="1843" y="665"/>
                  <a:pt x="1846" y="666"/>
                </a:cubicBezTo>
                <a:cubicBezTo>
                  <a:pt x="1848" y="667"/>
                  <a:pt x="1848" y="668"/>
                  <a:pt x="1847" y="669"/>
                </a:cubicBezTo>
                <a:cubicBezTo>
                  <a:pt x="1846" y="671"/>
                  <a:pt x="1845" y="674"/>
                  <a:pt x="1842" y="674"/>
                </a:cubicBezTo>
                <a:cubicBezTo>
                  <a:pt x="1838" y="674"/>
                  <a:pt x="1834" y="675"/>
                  <a:pt x="1830" y="676"/>
                </a:cubicBezTo>
                <a:cubicBezTo>
                  <a:pt x="1830" y="676"/>
                  <a:pt x="1829" y="678"/>
                  <a:pt x="1829" y="679"/>
                </a:cubicBezTo>
                <a:cubicBezTo>
                  <a:pt x="1829" y="680"/>
                  <a:pt x="1830" y="681"/>
                  <a:pt x="1831" y="681"/>
                </a:cubicBezTo>
                <a:cubicBezTo>
                  <a:pt x="1833" y="682"/>
                  <a:pt x="1836" y="682"/>
                  <a:pt x="1839" y="683"/>
                </a:cubicBezTo>
                <a:cubicBezTo>
                  <a:pt x="1840" y="683"/>
                  <a:pt x="1842" y="684"/>
                  <a:pt x="1843" y="685"/>
                </a:cubicBezTo>
                <a:cubicBezTo>
                  <a:pt x="1845" y="687"/>
                  <a:pt x="1846" y="690"/>
                  <a:pt x="1847" y="692"/>
                </a:cubicBezTo>
                <a:cubicBezTo>
                  <a:pt x="1847" y="693"/>
                  <a:pt x="1847" y="694"/>
                  <a:pt x="1846" y="695"/>
                </a:cubicBezTo>
                <a:cubicBezTo>
                  <a:pt x="1845" y="696"/>
                  <a:pt x="1844" y="696"/>
                  <a:pt x="1843" y="697"/>
                </a:cubicBezTo>
                <a:cubicBezTo>
                  <a:pt x="1841" y="697"/>
                  <a:pt x="1840" y="698"/>
                  <a:pt x="1840" y="701"/>
                </a:cubicBezTo>
                <a:cubicBezTo>
                  <a:pt x="1840" y="704"/>
                  <a:pt x="1841" y="706"/>
                  <a:pt x="1845" y="706"/>
                </a:cubicBezTo>
                <a:cubicBezTo>
                  <a:pt x="1847" y="706"/>
                  <a:pt x="1848" y="706"/>
                  <a:pt x="1850" y="706"/>
                </a:cubicBezTo>
                <a:cubicBezTo>
                  <a:pt x="1855" y="706"/>
                  <a:pt x="1861" y="706"/>
                  <a:pt x="1865" y="710"/>
                </a:cubicBezTo>
                <a:cubicBezTo>
                  <a:pt x="1870" y="712"/>
                  <a:pt x="1875" y="714"/>
                  <a:pt x="1881" y="715"/>
                </a:cubicBezTo>
                <a:cubicBezTo>
                  <a:pt x="1883" y="716"/>
                  <a:pt x="1885" y="716"/>
                  <a:pt x="1887" y="715"/>
                </a:cubicBezTo>
                <a:close/>
                <a:moveTo>
                  <a:pt x="2867" y="99"/>
                </a:moveTo>
                <a:cubicBezTo>
                  <a:pt x="2867" y="101"/>
                  <a:pt x="2868" y="102"/>
                  <a:pt x="2870" y="102"/>
                </a:cubicBezTo>
                <a:cubicBezTo>
                  <a:pt x="2871" y="103"/>
                  <a:pt x="2873" y="102"/>
                  <a:pt x="2874" y="103"/>
                </a:cubicBezTo>
                <a:cubicBezTo>
                  <a:pt x="2878" y="106"/>
                  <a:pt x="2881" y="107"/>
                  <a:pt x="2885" y="107"/>
                </a:cubicBezTo>
                <a:cubicBezTo>
                  <a:pt x="2886" y="107"/>
                  <a:pt x="2886" y="108"/>
                  <a:pt x="2886" y="108"/>
                </a:cubicBezTo>
                <a:cubicBezTo>
                  <a:pt x="2887" y="109"/>
                  <a:pt x="2887" y="109"/>
                  <a:pt x="2885" y="109"/>
                </a:cubicBezTo>
                <a:cubicBezTo>
                  <a:pt x="2883" y="110"/>
                  <a:pt x="2881" y="110"/>
                  <a:pt x="2879" y="110"/>
                </a:cubicBezTo>
                <a:cubicBezTo>
                  <a:pt x="2876" y="111"/>
                  <a:pt x="2874" y="112"/>
                  <a:pt x="2873" y="114"/>
                </a:cubicBezTo>
                <a:cubicBezTo>
                  <a:pt x="2872" y="115"/>
                  <a:pt x="2873" y="117"/>
                  <a:pt x="2876" y="119"/>
                </a:cubicBezTo>
                <a:cubicBezTo>
                  <a:pt x="2879" y="122"/>
                  <a:pt x="2882" y="125"/>
                  <a:pt x="2885" y="128"/>
                </a:cubicBezTo>
                <a:cubicBezTo>
                  <a:pt x="2886" y="129"/>
                  <a:pt x="2887" y="129"/>
                  <a:pt x="2888" y="129"/>
                </a:cubicBezTo>
                <a:cubicBezTo>
                  <a:pt x="2895" y="128"/>
                  <a:pt x="2899" y="121"/>
                  <a:pt x="2898" y="114"/>
                </a:cubicBezTo>
                <a:cubicBezTo>
                  <a:pt x="2897" y="112"/>
                  <a:pt x="2896" y="111"/>
                  <a:pt x="2897" y="110"/>
                </a:cubicBezTo>
                <a:cubicBezTo>
                  <a:pt x="2897" y="109"/>
                  <a:pt x="2897" y="109"/>
                  <a:pt x="2898" y="108"/>
                </a:cubicBezTo>
                <a:cubicBezTo>
                  <a:pt x="2898" y="108"/>
                  <a:pt x="2899" y="108"/>
                  <a:pt x="2899" y="108"/>
                </a:cubicBezTo>
                <a:cubicBezTo>
                  <a:pt x="2902" y="111"/>
                  <a:pt x="2904" y="114"/>
                  <a:pt x="2904" y="119"/>
                </a:cubicBezTo>
                <a:cubicBezTo>
                  <a:pt x="2903" y="121"/>
                  <a:pt x="2903" y="123"/>
                  <a:pt x="2903" y="125"/>
                </a:cubicBezTo>
                <a:cubicBezTo>
                  <a:pt x="2902" y="131"/>
                  <a:pt x="2902" y="131"/>
                  <a:pt x="2907" y="131"/>
                </a:cubicBezTo>
                <a:cubicBezTo>
                  <a:pt x="2911" y="131"/>
                  <a:pt x="2914" y="132"/>
                  <a:pt x="2917" y="136"/>
                </a:cubicBezTo>
                <a:cubicBezTo>
                  <a:pt x="2920" y="142"/>
                  <a:pt x="2925" y="143"/>
                  <a:pt x="2930" y="143"/>
                </a:cubicBezTo>
                <a:cubicBezTo>
                  <a:pt x="2940" y="144"/>
                  <a:pt x="2949" y="144"/>
                  <a:pt x="2958" y="147"/>
                </a:cubicBezTo>
                <a:cubicBezTo>
                  <a:pt x="2959" y="147"/>
                  <a:pt x="2961" y="147"/>
                  <a:pt x="2963" y="147"/>
                </a:cubicBezTo>
                <a:cubicBezTo>
                  <a:pt x="2967" y="145"/>
                  <a:pt x="2971" y="143"/>
                  <a:pt x="2973" y="139"/>
                </a:cubicBezTo>
                <a:cubicBezTo>
                  <a:pt x="2975" y="138"/>
                  <a:pt x="2975" y="134"/>
                  <a:pt x="2974" y="133"/>
                </a:cubicBezTo>
                <a:cubicBezTo>
                  <a:pt x="2973" y="132"/>
                  <a:pt x="2972" y="131"/>
                  <a:pt x="2972" y="131"/>
                </a:cubicBezTo>
                <a:cubicBezTo>
                  <a:pt x="2970" y="129"/>
                  <a:pt x="2968" y="128"/>
                  <a:pt x="2966" y="127"/>
                </a:cubicBezTo>
                <a:cubicBezTo>
                  <a:pt x="2964" y="125"/>
                  <a:pt x="2964" y="123"/>
                  <a:pt x="2964" y="121"/>
                </a:cubicBezTo>
                <a:cubicBezTo>
                  <a:pt x="2965" y="116"/>
                  <a:pt x="2960" y="113"/>
                  <a:pt x="2959" y="109"/>
                </a:cubicBezTo>
                <a:cubicBezTo>
                  <a:pt x="2958" y="101"/>
                  <a:pt x="2952" y="96"/>
                  <a:pt x="2945" y="92"/>
                </a:cubicBezTo>
                <a:cubicBezTo>
                  <a:pt x="2942" y="90"/>
                  <a:pt x="2938" y="90"/>
                  <a:pt x="2936" y="92"/>
                </a:cubicBezTo>
                <a:cubicBezTo>
                  <a:pt x="2933" y="94"/>
                  <a:pt x="2931" y="93"/>
                  <a:pt x="2928" y="91"/>
                </a:cubicBezTo>
                <a:cubicBezTo>
                  <a:pt x="2925" y="89"/>
                  <a:pt x="2921" y="89"/>
                  <a:pt x="2918" y="92"/>
                </a:cubicBezTo>
                <a:cubicBezTo>
                  <a:pt x="2917" y="92"/>
                  <a:pt x="2916" y="93"/>
                  <a:pt x="2915" y="93"/>
                </a:cubicBezTo>
                <a:cubicBezTo>
                  <a:pt x="2915" y="93"/>
                  <a:pt x="2915" y="94"/>
                  <a:pt x="2915" y="94"/>
                </a:cubicBezTo>
                <a:cubicBezTo>
                  <a:pt x="2915" y="94"/>
                  <a:pt x="2915" y="94"/>
                  <a:pt x="2914" y="94"/>
                </a:cubicBezTo>
                <a:cubicBezTo>
                  <a:pt x="2912" y="96"/>
                  <a:pt x="2909" y="99"/>
                  <a:pt x="2907" y="101"/>
                </a:cubicBezTo>
                <a:cubicBezTo>
                  <a:pt x="2906" y="102"/>
                  <a:pt x="2905" y="102"/>
                  <a:pt x="2904" y="101"/>
                </a:cubicBezTo>
                <a:cubicBezTo>
                  <a:pt x="2904" y="100"/>
                  <a:pt x="2904" y="100"/>
                  <a:pt x="2905" y="99"/>
                </a:cubicBezTo>
                <a:cubicBezTo>
                  <a:pt x="2907" y="96"/>
                  <a:pt x="2910" y="94"/>
                  <a:pt x="2914" y="94"/>
                </a:cubicBezTo>
                <a:cubicBezTo>
                  <a:pt x="2914" y="94"/>
                  <a:pt x="2915" y="94"/>
                  <a:pt x="2915" y="93"/>
                </a:cubicBezTo>
                <a:cubicBezTo>
                  <a:pt x="2915" y="93"/>
                  <a:pt x="2915" y="93"/>
                  <a:pt x="2915" y="93"/>
                </a:cubicBezTo>
                <a:cubicBezTo>
                  <a:pt x="2916" y="88"/>
                  <a:pt x="2915" y="84"/>
                  <a:pt x="2910" y="81"/>
                </a:cubicBezTo>
                <a:cubicBezTo>
                  <a:pt x="2907" y="78"/>
                  <a:pt x="2905" y="74"/>
                  <a:pt x="2905" y="69"/>
                </a:cubicBezTo>
                <a:cubicBezTo>
                  <a:pt x="2905" y="67"/>
                  <a:pt x="2903" y="65"/>
                  <a:pt x="2901" y="65"/>
                </a:cubicBezTo>
                <a:cubicBezTo>
                  <a:pt x="2894" y="64"/>
                  <a:pt x="2889" y="60"/>
                  <a:pt x="2884" y="55"/>
                </a:cubicBezTo>
                <a:cubicBezTo>
                  <a:pt x="2883" y="53"/>
                  <a:pt x="2880" y="52"/>
                  <a:pt x="2878" y="50"/>
                </a:cubicBezTo>
                <a:cubicBezTo>
                  <a:pt x="2876" y="49"/>
                  <a:pt x="2873" y="51"/>
                  <a:pt x="2872" y="52"/>
                </a:cubicBezTo>
                <a:cubicBezTo>
                  <a:pt x="2871" y="57"/>
                  <a:pt x="2870" y="61"/>
                  <a:pt x="2867" y="65"/>
                </a:cubicBezTo>
                <a:cubicBezTo>
                  <a:pt x="2863" y="70"/>
                  <a:pt x="2863" y="77"/>
                  <a:pt x="2865" y="83"/>
                </a:cubicBezTo>
                <a:cubicBezTo>
                  <a:pt x="2867" y="89"/>
                  <a:pt x="2868" y="94"/>
                  <a:pt x="2867" y="99"/>
                </a:cubicBezTo>
                <a:close/>
                <a:moveTo>
                  <a:pt x="4452" y="2387"/>
                </a:moveTo>
                <a:cubicBezTo>
                  <a:pt x="4451" y="2386"/>
                  <a:pt x="4449" y="2386"/>
                  <a:pt x="4447" y="2387"/>
                </a:cubicBezTo>
                <a:cubicBezTo>
                  <a:pt x="4446" y="2387"/>
                  <a:pt x="4446" y="2388"/>
                  <a:pt x="4445" y="2388"/>
                </a:cubicBezTo>
                <a:cubicBezTo>
                  <a:pt x="4438" y="2392"/>
                  <a:pt x="4437" y="2392"/>
                  <a:pt x="4432" y="2388"/>
                </a:cubicBezTo>
                <a:cubicBezTo>
                  <a:pt x="4429" y="2386"/>
                  <a:pt x="4427" y="2383"/>
                  <a:pt x="4427" y="2380"/>
                </a:cubicBezTo>
                <a:cubicBezTo>
                  <a:pt x="4427" y="2376"/>
                  <a:pt x="4426" y="2372"/>
                  <a:pt x="4425" y="2368"/>
                </a:cubicBezTo>
                <a:cubicBezTo>
                  <a:pt x="4425" y="2367"/>
                  <a:pt x="4424" y="2365"/>
                  <a:pt x="4423" y="2364"/>
                </a:cubicBezTo>
                <a:cubicBezTo>
                  <a:pt x="4423" y="2363"/>
                  <a:pt x="4422" y="2363"/>
                  <a:pt x="4421" y="2362"/>
                </a:cubicBezTo>
                <a:cubicBezTo>
                  <a:pt x="4421" y="2362"/>
                  <a:pt x="4420" y="2363"/>
                  <a:pt x="4420" y="2363"/>
                </a:cubicBezTo>
                <a:cubicBezTo>
                  <a:pt x="4419" y="2364"/>
                  <a:pt x="4419" y="2366"/>
                  <a:pt x="4419" y="2367"/>
                </a:cubicBezTo>
                <a:cubicBezTo>
                  <a:pt x="4418" y="2367"/>
                  <a:pt x="4417" y="2368"/>
                  <a:pt x="4417" y="2369"/>
                </a:cubicBezTo>
                <a:cubicBezTo>
                  <a:pt x="4416" y="2369"/>
                  <a:pt x="4413" y="2367"/>
                  <a:pt x="4414" y="2365"/>
                </a:cubicBezTo>
                <a:cubicBezTo>
                  <a:pt x="4415" y="2358"/>
                  <a:pt x="4414" y="2350"/>
                  <a:pt x="4416" y="2343"/>
                </a:cubicBezTo>
                <a:cubicBezTo>
                  <a:pt x="4417" y="2338"/>
                  <a:pt x="4417" y="2334"/>
                  <a:pt x="4414" y="2330"/>
                </a:cubicBezTo>
                <a:cubicBezTo>
                  <a:pt x="4410" y="2326"/>
                  <a:pt x="4408" y="2320"/>
                  <a:pt x="4403" y="2317"/>
                </a:cubicBezTo>
                <a:cubicBezTo>
                  <a:pt x="4401" y="2316"/>
                  <a:pt x="4401" y="2314"/>
                  <a:pt x="4400" y="2312"/>
                </a:cubicBezTo>
                <a:cubicBezTo>
                  <a:pt x="4400" y="2312"/>
                  <a:pt x="4400" y="2311"/>
                  <a:pt x="4399" y="2311"/>
                </a:cubicBezTo>
                <a:cubicBezTo>
                  <a:pt x="4398" y="2310"/>
                  <a:pt x="4397" y="2310"/>
                  <a:pt x="4396" y="2311"/>
                </a:cubicBezTo>
                <a:cubicBezTo>
                  <a:pt x="4396" y="2311"/>
                  <a:pt x="4396" y="2312"/>
                  <a:pt x="4396" y="2312"/>
                </a:cubicBezTo>
                <a:cubicBezTo>
                  <a:pt x="4396" y="2317"/>
                  <a:pt x="4400" y="2321"/>
                  <a:pt x="4398" y="2325"/>
                </a:cubicBezTo>
                <a:cubicBezTo>
                  <a:pt x="4396" y="2328"/>
                  <a:pt x="4397" y="2331"/>
                  <a:pt x="4398" y="2335"/>
                </a:cubicBezTo>
                <a:cubicBezTo>
                  <a:pt x="4400" y="2339"/>
                  <a:pt x="4401" y="2344"/>
                  <a:pt x="4402" y="2349"/>
                </a:cubicBezTo>
                <a:cubicBezTo>
                  <a:pt x="4403" y="2354"/>
                  <a:pt x="4405" y="2358"/>
                  <a:pt x="4403" y="2363"/>
                </a:cubicBezTo>
                <a:cubicBezTo>
                  <a:pt x="4403" y="2365"/>
                  <a:pt x="4404" y="2367"/>
                  <a:pt x="4404" y="2368"/>
                </a:cubicBezTo>
                <a:cubicBezTo>
                  <a:pt x="4405" y="2370"/>
                  <a:pt x="4406" y="2372"/>
                  <a:pt x="4406" y="2374"/>
                </a:cubicBezTo>
                <a:cubicBezTo>
                  <a:pt x="4406" y="2379"/>
                  <a:pt x="4405" y="2384"/>
                  <a:pt x="4403" y="2389"/>
                </a:cubicBezTo>
                <a:cubicBezTo>
                  <a:pt x="4401" y="2394"/>
                  <a:pt x="4399" y="2399"/>
                  <a:pt x="4397" y="2404"/>
                </a:cubicBezTo>
                <a:cubicBezTo>
                  <a:pt x="4396" y="2407"/>
                  <a:pt x="4394" y="2409"/>
                  <a:pt x="4391" y="2410"/>
                </a:cubicBezTo>
                <a:cubicBezTo>
                  <a:pt x="4389" y="2410"/>
                  <a:pt x="4386" y="2412"/>
                  <a:pt x="4384" y="2413"/>
                </a:cubicBezTo>
                <a:cubicBezTo>
                  <a:pt x="4380" y="2415"/>
                  <a:pt x="4379" y="2421"/>
                  <a:pt x="4382" y="2424"/>
                </a:cubicBezTo>
                <a:cubicBezTo>
                  <a:pt x="4385" y="2427"/>
                  <a:pt x="4387" y="2430"/>
                  <a:pt x="4390" y="2432"/>
                </a:cubicBezTo>
                <a:cubicBezTo>
                  <a:pt x="4393" y="2435"/>
                  <a:pt x="4393" y="2438"/>
                  <a:pt x="4393" y="2442"/>
                </a:cubicBezTo>
                <a:cubicBezTo>
                  <a:pt x="4393" y="2444"/>
                  <a:pt x="4392" y="2447"/>
                  <a:pt x="4390" y="2449"/>
                </a:cubicBezTo>
                <a:cubicBezTo>
                  <a:pt x="4387" y="2453"/>
                  <a:pt x="4384" y="2457"/>
                  <a:pt x="4381" y="2461"/>
                </a:cubicBezTo>
                <a:cubicBezTo>
                  <a:pt x="4380" y="2461"/>
                  <a:pt x="4380" y="2463"/>
                  <a:pt x="4381" y="2464"/>
                </a:cubicBezTo>
                <a:cubicBezTo>
                  <a:pt x="4382" y="2466"/>
                  <a:pt x="4384" y="2468"/>
                  <a:pt x="4386" y="2469"/>
                </a:cubicBezTo>
                <a:cubicBezTo>
                  <a:pt x="4387" y="2470"/>
                  <a:pt x="4389" y="2470"/>
                  <a:pt x="4390" y="2470"/>
                </a:cubicBezTo>
                <a:cubicBezTo>
                  <a:pt x="4394" y="2468"/>
                  <a:pt x="4397" y="2465"/>
                  <a:pt x="4400" y="2462"/>
                </a:cubicBezTo>
                <a:cubicBezTo>
                  <a:pt x="4406" y="2457"/>
                  <a:pt x="4411" y="2451"/>
                  <a:pt x="4416" y="2446"/>
                </a:cubicBezTo>
                <a:cubicBezTo>
                  <a:pt x="4421" y="2440"/>
                  <a:pt x="4425" y="2434"/>
                  <a:pt x="4425" y="2427"/>
                </a:cubicBezTo>
                <a:cubicBezTo>
                  <a:pt x="4425" y="2423"/>
                  <a:pt x="4429" y="2420"/>
                  <a:pt x="4433" y="2420"/>
                </a:cubicBezTo>
                <a:cubicBezTo>
                  <a:pt x="4434" y="2419"/>
                  <a:pt x="4435" y="2420"/>
                  <a:pt x="4436" y="2420"/>
                </a:cubicBezTo>
                <a:cubicBezTo>
                  <a:pt x="4437" y="2419"/>
                  <a:pt x="4439" y="2419"/>
                  <a:pt x="4439" y="2418"/>
                </a:cubicBezTo>
                <a:cubicBezTo>
                  <a:pt x="4440" y="2413"/>
                  <a:pt x="4445" y="2410"/>
                  <a:pt x="4448" y="2407"/>
                </a:cubicBezTo>
                <a:cubicBezTo>
                  <a:pt x="4450" y="2406"/>
                  <a:pt x="4451" y="2403"/>
                  <a:pt x="4452" y="2401"/>
                </a:cubicBezTo>
                <a:cubicBezTo>
                  <a:pt x="4453" y="2398"/>
                  <a:pt x="4454" y="2395"/>
                  <a:pt x="4455" y="2392"/>
                </a:cubicBezTo>
                <a:cubicBezTo>
                  <a:pt x="4455" y="2390"/>
                  <a:pt x="4454" y="2388"/>
                  <a:pt x="4452" y="2387"/>
                </a:cubicBezTo>
                <a:close/>
                <a:moveTo>
                  <a:pt x="3404" y="141"/>
                </a:moveTo>
                <a:cubicBezTo>
                  <a:pt x="3406" y="145"/>
                  <a:pt x="3409" y="147"/>
                  <a:pt x="3409" y="152"/>
                </a:cubicBezTo>
                <a:cubicBezTo>
                  <a:pt x="3410" y="154"/>
                  <a:pt x="3411" y="155"/>
                  <a:pt x="3413" y="156"/>
                </a:cubicBezTo>
                <a:cubicBezTo>
                  <a:pt x="3415" y="158"/>
                  <a:pt x="3418" y="159"/>
                  <a:pt x="3421" y="160"/>
                </a:cubicBezTo>
                <a:cubicBezTo>
                  <a:pt x="3425" y="161"/>
                  <a:pt x="3428" y="163"/>
                  <a:pt x="3431" y="166"/>
                </a:cubicBezTo>
                <a:cubicBezTo>
                  <a:pt x="3433" y="168"/>
                  <a:pt x="3436" y="169"/>
                  <a:pt x="3440" y="169"/>
                </a:cubicBezTo>
                <a:cubicBezTo>
                  <a:pt x="3443" y="168"/>
                  <a:pt x="3445" y="169"/>
                  <a:pt x="3448" y="169"/>
                </a:cubicBezTo>
                <a:cubicBezTo>
                  <a:pt x="3449" y="169"/>
                  <a:pt x="3451" y="167"/>
                  <a:pt x="3452" y="166"/>
                </a:cubicBezTo>
                <a:cubicBezTo>
                  <a:pt x="3453" y="164"/>
                  <a:pt x="3453" y="161"/>
                  <a:pt x="3456" y="159"/>
                </a:cubicBezTo>
                <a:cubicBezTo>
                  <a:pt x="3458" y="158"/>
                  <a:pt x="3460" y="155"/>
                  <a:pt x="3461" y="153"/>
                </a:cubicBezTo>
                <a:cubicBezTo>
                  <a:pt x="3464" y="149"/>
                  <a:pt x="3468" y="146"/>
                  <a:pt x="3474" y="148"/>
                </a:cubicBezTo>
                <a:cubicBezTo>
                  <a:pt x="3475" y="148"/>
                  <a:pt x="3477" y="147"/>
                  <a:pt x="3478" y="147"/>
                </a:cubicBezTo>
                <a:cubicBezTo>
                  <a:pt x="3480" y="146"/>
                  <a:pt x="3481" y="145"/>
                  <a:pt x="3482" y="143"/>
                </a:cubicBezTo>
                <a:cubicBezTo>
                  <a:pt x="3482" y="143"/>
                  <a:pt x="3483" y="141"/>
                  <a:pt x="3483" y="140"/>
                </a:cubicBezTo>
                <a:cubicBezTo>
                  <a:pt x="3483" y="138"/>
                  <a:pt x="3484" y="138"/>
                  <a:pt x="3485" y="137"/>
                </a:cubicBezTo>
                <a:cubicBezTo>
                  <a:pt x="3486" y="136"/>
                  <a:pt x="3487" y="135"/>
                  <a:pt x="3488" y="134"/>
                </a:cubicBezTo>
                <a:cubicBezTo>
                  <a:pt x="3489" y="133"/>
                  <a:pt x="3490" y="132"/>
                  <a:pt x="3490" y="130"/>
                </a:cubicBezTo>
                <a:cubicBezTo>
                  <a:pt x="3490" y="128"/>
                  <a:pt x="3490" y="126"/>
                  <a:pt x="3490" y="124"/>
                </a:cubicBezTo>
                <a:cubicBezTo>
                  <a:pt x="3489" y="121"/>
                  <a:pt x="3488" y="119"/>
                  <a:pt x="3487" y="116"/>
                </a:cubicBezTo>
                <a:cubicBezTo>
                  <a:pt x="3488" y="111"/>
                  <a:pt x="3485" y="109"/>
                  <a:pt x="3481" y="108"/>
                </a:cubicBezTo>
                <a:cubicBezTo>
                  <a:pt x="3474" y="107"/>
                  <a:pt x="3467" y="106"/>
                  <a:pt x="3460" y="104"/>
                </a:cubicBezTo>
                <a:cubicBezTo>
                  <a:pt x="3460" y="104"/>
                  <a:pt x="3459" y="104"/>
                  <a:pt x="3459" y="104"/>
                </a:cubicBezTo>
                <a:cubicBezTo>
                  <a:pt x="3457" y="105"/>
                  <a:pt x="3456" y="105"/>
                  <a:pt x="3455" y="106"/>
                </a:cubicBezTo>
                <a:cubicBezTo>
                  <a:pt x="3454" y="107"/>
                  <a:pt x="3454" y="109"/>
                  <a:pt x="3455" y="109"/>
                </a:cubicBezTo>
                <a:cubicBezTo>
                  <a:pt x="3458" y="114"/>
                  <a:pt x="3459" y="119"/>
                  <a:pt x="3459" y="125"/>
                </a:cubicBezTo>
                <a:cubicBezTo>
                  <a:pt x="3459" y="126"/>
                  <a:pt x="3459" y="128"/>
                  <a:pt x="3460" y="129"/>
                </a:cubicBezTo>
                <a:cubicBezTo>
                  <a:pt x="3460" y="129"/>
                  <a:pt x="3460" y="129"/>
                  <a:pt x="3460" y="129"/>
                </a:cubicBezTo>
                <a:cubicBezTo>
                  <a:pt x="3461" y="130"/>
                  <a:pt x="3461" y="130"/>
                  <a:pt x="3461" y="131"/>
                </a:cubicBezTo>
                <a:cubicBezTo>
                  <a:pt x="3461" y="130"/>
                  <a:pt x="3460" y="130"/>
                  <a:pt x="3460" y="130"/>
                </a:cubicBezTo>
                <a:cubicBezTo>
                  <a:pt x="3460" y="130"/>
                  <a:pt x="3460" y="129"/>
                  <a:pt x="3460" y="129"/>
                </a:cubicBezTo>
                <a:cubicBezTo>
                  <a:pt x="3459" y="129"/>
                  <a:pt x="3458" y="128"/>
                  <a:pt x="3458" y="128"/>
                </a:cubicBezTo>
                <a:cubicBezTo>
                  <a:pt x="3454" y="123"/>
                  <a:pt x="3451" y="117"/>
                  <a:pt x="3451" y="111"/>
                </a:cubicBezTo>
                <a:cubicBezTo>
                  <a:pt x="3450" y="107"/>
                  <a:pt x="3448" y="106"/>
                  <a:pt x="3444" y="105"/>
                </a:cubicBezTo>
                <a:cubicBezTo>
                  <a:pt x="3441" y="104"/>
                  <a:pt x="3438" y="103"/>
                  <a:pt x="3435" y="103"/>
                </a:cubicBezTo>
                <a:cubicBezTo>
                  <a:pt x="3434" y="103"/>
                  <a:pt x="3433" y="103"/>
                  <a:pt x="3432" y="104"/>
                </a:cubicBezTo>
                <a:cubicBezTo>
                  <a:pt x="3431" y="106"/>
                  <a:pt x="3430" y="108"/>
                  <a:pt x="3430" y="110"/>
                </a:cubicBezTo>
                <a:cubicBezTo>
                  <a:pt x="3430" y="113"/>
                  <a:pt x="3430" y="116"/>
                  <a:pt x="3430" y="120"/>
                </a:cubicBezTo>
                <a:cubicBezTo>
                  <a:pt x="3430" y="120"/>
                  <a:pt x="3430" y="120"/>
                  <a:pt x="3430" y="120"/>
                </a:cubicBezTo>
                <a:cubicBezTo>
                  <a:pt x="3431" y="120"/>
                  <a:pt x="3431" y="121"/>
                  <a:pt x="3432" y="122"/>
                </a:cubicBezTo>
                <a:cubicBezTo>
                  <a:pt x="3431" y="121"/>
                  <a:pt x="3431" y="121"/>
                  <a:pt x="3430" y="120"/>
                </a:cubicBezTo>
                <a:cubicBezTo>
                  <a:pt x="3430" y="120"/>
                  <a:pt x="3430" y="120"/>
                  <a:pt x="3430" y="120"/>
                </a:cubicBezTo>
                <a:cubicBezTo>
                  <a:pt x="3426" y="118"/>
                  <a:pt x="3421" y="118"/>
                  <a:pt x="3417" y="114"/>
                </a:cubicBezTo>
                <a:cubicBezTo>
                  <a:pt x="3415" y="110"/>
                  <a:pt x="3410" y="109"/>
                  <a:pt x="3406" y="108"/>
                </a:cubicBezTo>
                <a:cubicBezTo>
                  <a:pt x="3404" y="107"/>
                  <a:pt x="3401" y="109"/>
                  <a:pt x="3401" y="111"/>
                </a:cubicBezTo>
                <a:cubicBezTo>
                  <a:pt x="3399" y="115"/>
                  <a:pt x="3398" y="119"/>
                  <a:pt x="3396" y="123"/>
                </a:cubicBezTo>
                <a:cubicBezTo>
                  <a:pt x="3396" y="125"/>
                  <a:pt x="3396" y="127"/>
                  <a:pt x="3397" y="128"/>
                </a:cubicBezTo>
                <a:cubicBezTo>
                  <a:pt x="3399" y="132"/>
                  <a:pt x="3401" y="137"/>
                  <a:pt x="3404" y="141"/>
                </a:cubicBezTo>
                <a:close/>
                <a:moveTo>
                  <a:pt x="3464" y="133"/>
                </a:moveTo>
                <a:cubicBezTo>
                  <a:pt x="3464" y="134"/>
                  <a:pt x="3464" y="134"/>
                  <a:pt x="3464" y="134"/>
                </a:cubicBezTo>
                <a:cubicBezTo>
                  <a:pt x="3463" y="133"/>
                  <a:pt x="3463" y="133"/>
                  <a:pt x="3463" y="133"/>
                </a:cubicBezTo>
                <a:cubicBezTo>
                  <a:pt x="3463" y="133"/>
                  <a:pt x="3463" y="133"/>
                  <a:pt x="3463" y="132"/>
                </a:cubicBezTo>
                <a:cubicBezTo>
                  <a:pt x="3463" y="132"/>
                  <a:pt x="3463" y="133"/>
                  <a:pt x="3464" y="133"/>
                </a:cubicBezTo>
                <a:close/>
                <a:moveTo>
                  <a:pt x="3434" y="123"/>
                </a:moveTo>
                <a:cubicBezTo>
                  <a:pt x="3434" y="123"/>
                  <a:pt x="3434" y="123"/>
                  <a:pt x="3434" y="123"/>
                </a:cubicBezTo>
                <a:cubicBezTo>
                  <a:pt x="3434" y="123"/>
                  <a:pt x="3434" y="123"/>
                  <a:pt x="3434" y="123"/>
                </a:cubicBezTo>
                <a:cubicBezTo>
                  <a:pt x="3433" y="123"/>
                  <a:pt x="3433" y="122"/>
                  <a:pt x="3432" y="122"/>
                </a:cubicBezTo>
                <a:cubicBezTo>
                  <a:pt x="3433" y="122"/>
                  <a:pt x="3433" y="123"/>
                  <a:pt x="3434" y="123"/>
                </a:cubicBezTo>
                <a:close/>
                <a:moveTo>
                  <a:pt x="1122" y="331"/>
                </a:moveTo>
                <a:cubicBezTo>
                  <a:pt x="1124" y="330"/>
                  <a:pt x="1124" y="327"/>
                  <a:pt x="1124" y="325"/>
                </a:cubicBezTo>
                <a:cubicBezTo>
                  <a:pt x="1123" y="323"/>
                  <a:pt x="1121" y="322"/>
                  <a:pt x="1119" y="321"/>
                </a:cubicBezTo>
                <a:cubicBezTo>
                  <a:pt x="1115" y="321"/>
                  <a:pt x="1111" y="321"/>
                  <a:pt x="1108" y="320"/>
                </a:cubicBezTo>
                <a:cubicBezTo>
                  <a:pt x="1106" y="320"/>
                  <a:pt x="1104" y="319"/>
                  <a:pt x="1102" y="318"/>
                </a:cubicBezTo>
                <a:cubicBezTo>
                  <a:pt x="1102" y="318"/>
                  <a:pt x="1102" y="318"/>
                  <a:pt x="1102" y="318"/>
                </a:cubicBezTo>
                <a:cubicBezTo>
                  <a:pt x="1102" y="318"/>
                  <a:pt x="1102" y="318"/>
                  <a:pt x="1102" y="318"/>
                </a:cubicBezTo>
                <a:cubicBezTo>
                  <a:pt x="1102" y="318"/>
                  <a:pt x="1102" y="318"/>
                  <a:pt x="1102" y="318"/>
                </a:cubicBezTo>
                <a:cubicBezTo>
                  <a:pt x="1101" y="317"/>
                  <a:pt x="1100" y="316"/>
                  <a:pt x="1099" y="315"/>
                </a:cubicBezTo>
                <a:cubicBezTo>
                  <a:pt x="1097" y="314"/>
                  <a:pt x="1096" y="313"/>
                  <a:pt x="1094" y="313"/>
                </a:cubicBezTo>
                <a:cubicBezTo>
                  <a:pt x="1092" y="314"/>
                  <a:pt x="1089" y="314"/>
                  <a:pt x="1086" y="315"/>
                </a:cubicBezTo>
                <a:cubicBezTo>
                  <a:pt x="1085" y="316"/>
                  <a:pt x="1083" y="317"/>
                  <a:pt x="1083" y="318"/>
                </a:cubicBezTo>
                <a:cubicBezTo>
                  <a:pt x="1081" y="322"/>
                  <a:pt x="1078" y="324"/>
                  <a:pt x="1075" y="326"/>
                </a:cubicBezTo>
                <a:cubicBezTo>
                  <a:pt x="1074" y="327"/>
                  <a:pt x="1073" y="329"/>
                  <a:pt x="1074" y="331"/>
                </a:cubicBezTo>
                <a:cubicBezTo>
                  <a:pt x="1074" y="332"/>
                  <a:pt x="1075" y="334"/>
                  <a:pt x="1076" y="335"/>
                </a:cubicBezTo>
                <a:cubicBezTo>
                  <a:pt x="1079" y="341"/>
                  <a:pt x="1077" y="346"/>
                  <a:pt x="1074" y="351"/>
                </a:cubicBezTo>
                <a:cubicBezTo>
                  <a:pt x="1073" y="352"/>
                  <a:pt x="1071" y="352"/>
                  <a:pt x="1070" y="351"/>
                </a:cubicBezTo>
                <a:cubicBezTo>
                  <a:pt x="1067" y="348"/>
                  <a:pt x="1066" y="345"/>
                  <a:pt x="1065" y="341"/>
                </a:cubicBezTo>
                <a:cubicBezTo>
                  <a:pt x="1064" y="339"/>
                  <a:pt x="1062" y="338"/>
                  <a:pt x="1060" y="338"/>
                </a:cubicBezTo>
                <a:cubicBezTo>
                  <a:pt x="1053" y="338"/>
                  <a:pt x="1049" y="342"/>
                  <a:pt x="1049" y="348"/>
                </a:cubicBezTo>
                <a:cubicBezTo>
                  <a:pt x="1048" y="352"/>
                  <a:pt x="1048" y="357"/>
                  <a:pt x="1048" y="361"/>
                </a:cubicBezTo>
                <a:cubicBezTo>
                  <a:pt x="1048" y="363"/>
                  <a:pt x="1049" y="364"/>
                  <a:pt x="1050" y="365"/>
                </a:cubicBezTo>
                <a:cubicBezTo>
                  <a:pt x="1054" y="367"/>
                  <a:pt x="1056" y="370"/>
                  <a:pt x="1058" y="374"/>
                </a:cubicBezTo>
                <a:cubicBezTo>
                  <a:pt x="1060" y="380"/>
                  <a:pt x="1063" y="387"/>
                  <a:pt x="1063" y="394"/>
                </a:cubicBezTo>
                <a:cubicBezTo>
                  <a:pt x="1062" y="398"/>
                  <a:pt x="1064" y="402"/>
                  <a:pt x="1067" y="404"/>
                </a:cubicBezTo>
                <a:cubicBezTo>
                  <a:pt x="1069" y="406"/>
                  <a:pt x="1071" y="407"/>
                  <a:pt x="1073" y="405"/>
                </a:cubicBezTo>
                <a:cubicBezTo>
                  <a:pt x="1076" y="403"/>
                  <a:pt x="1078" y="400"/>
                  <a:pt x="1080" y="399"/>
                </a:cubicBezTo>
                <a:cubicBezTo>
                  <a:pt x="1083" y="397"/>
                  <a:pt x="1087" y="397"/>
                  <a:pt x="1090" y="396"/>
                </a:cubicBezTo>
                <a:cubicBezTo>
                  <a:pt x="1093" y="394"/>
                  <a:pt x="1096" y="393"/>
                  <a:pt x="1098" y="391"/>
                </a:cubicBezTo>
                <a:cubicBezTo>
                  <a:pt x="1100" y="390"/>
                  <a:pt x="1101" y="389"/>
                  <a:pt x="1102" y="387"/>
                </a:cubicBezTo>
                <a:cubicBezTo>
                  <a:pt x="1103" y="382"/>
                  <a:pt x="1106" y="378"/>
                  <a:pt x="1110" y="374"/>
                </a:cubicBezTo>
                <a:cubicBezTo>
                  <a:pt x="1113" y="371"/>
                  <a:pt x="1113" y="367"/>
                  <a:pt x="1112" y="363"/>
                </a:cubicBezTo>
                <a:cubicBezTo>
                  <a:pt x="1112" y="360"/>
                  <a:pt x="1110" y="358"/>
                  <a:pt x="1110" y="355"/>
                </a:cubicBezTo>
                <a:cubicBezTo>
                  <a:pt x="1109" y="351"/>
                  <a:pt x="1106" y="349"/>
                  <a:pt x="1103" y="348"/>
                </a:cubicBezTo>
                <a:cubicBezTo>
                  <a:pt x="1102" y="347"/>
                  <a:pt x="1102" y="346"/>
                  <a:pt x="1104" y="345"/>
                </a:cubicBezTo>
                <a:cubicBezTo>
                  <a:pt x="1107" y="344"/>
                  <a:pt x="1110" y="343"/>
                  <a:pt x="1113" y="342"/>
                </a:cubicBezTo>
                <a:cubicBezTo>
                  <a:pt x="1115" y="341"/>
                  <a:pt x="1117" y="339"/>
                  <a:pt x="1117" y="337"/>
                </a:cubicBezTo>
                <a:cubicBezTo>
                  <a:pt x="1117" y="333"/>
                  <a:pt x="1120" y="333"/>
                  <a:pt x="1122" y="331"/>
                </a:cubicBezTo>
                <a:close/>
                <a:moveTo>
                  <a:pt x="3751" y="1734"/>
                </a:moveTo>
                <a:cubicBezTo>
                  <a:pt x="3763" y="1733"/>
                  <a:pt x="3775" y="1733"/>
                  <a:pt x="3787" y="1735"/>
                </a:cubicBezTo>
                <a:cubicBezTo>
                  <a:pt x="3799" y="1737"/>
                  <a:pt x="3807" y="1732"/>
                  <a:pt x="3813" y="1722"/>
                </a:cubicBezTo>
                <a:cubicBezTo>
                  <a:pt x="3814" y="1720"/>
                  <a:pt x="3814" y="1719"/>
                  <a:pt x="3812" y="1717"/>
                </a:cubicBezTo>
                <a:cubicBezTo>
                  <a:pt x="3811" y="1716"/>
                  <a:pt x="3809" y="1715"/>
                  <a:pt x="3808" y="1716"/>
                </a:cubicBezTo>
                <a:cubicBezTo>
                  <a:pt x="3806" y="1718"/>
                  <a:pt x="3804" y="1720"/>
                  <a:pt x="3802" y="1722"/>
                </a:cubicBezTo>
                <a:cubicBezTo>
                  <a:pt x="3798" y="1725"/>
                  <a:pt x="3795" y="1726"/>
                  <a:pt x="3790" y="1725"/>
                </a:cubicBezTo>
                <a:cubicBezTo>
                  <a:pt x="3783" y="1724"/>
                  <a:pt x="3777" y="1724"/>
                  <a:pt x="3770" y="1723"/>
                </a:cubicBezTo>
                <a:cubicBezTo>
                  <a:pt x="3766" y="1723"/>
                  <a:pt x="3762" y="1721"/>
                  <a:pt x="3757" y="1721"/>
                </a:cubicBezTo>
                <a:cubicBezTo>
                  <a:pt x="3752" y="1721"/>
                  <a:pt x="3750" y="1727"/>
                  <a:pt x="3744" y="1727"/>
                </a:cubicBezTo>
                <a:cubicBezTo>
                  <a:pt x="3744" y="1727"/>
                  <a:pt x="3743" y="1728"/>
                  <a:pt x="3743" y="1728"/>
                </a:cubicBezTo>
                <a:cubicBezTo>
                  <a:pt x="3740" y="1730"/>
                  <a:pt x="3738" y="1733"/>
                  <a:pt x="3737" y="1736"/>
                </a:cubicBezTo>
                <a:cubicBezTo>
                  <a:pt x="3737" y="1738"/>
                  <a:pt x="3737" y="1740"/>
                  <a:pt x="3737" y="1743"/>
                </a:cubicBezTo>
                <a:cubicBezTo>
                  <a:pt x="3737" y="1745"/>
                  <a:pt x="3736" y="1747"/>
                  <a:pt x="3735" y="1749"/>
                </a:cubicBezTo>
                <a:cubicBezTo>
                  <a:pt x="3732" y="1752"/>
                  <a:pt x="3730" y="1756"/>
                  <a:pt x="3730" y="1761"/>
                </a:cubicBezTo>
                <a:cubicBezTo>
                  <a:pt x="3730" y="1765"/>
                  <a:pt x="3729" y="1768"/>
                  <a:pt x="3727" y="1772"/>
                </a:cubicBezTo>
                <a:cubicBezTo>
                  <a:pt x="3726" y="1774"/>
                  <a:pt x="3725" y="1777"/>
                  <a:pt x="3724" y="1779"/>
                </a:cubicBezTo>
                <a:cubicBezTo>
                  <a:pt x="3723" y="1783"/>
                  <a:pt x="3724" y="1786"/>
                  <a:pt x="3727" y="1788"/>
                </a:cubicBezTo>
                <a:cubicBezTo>
                  <a:pt x="3728" y="1790"/>
                  <a:pt x="3729" y="1790"/>
                  <a:pt x="3731" y="1791"/>
                </a:cubicBezTo>
                <a:cubicBezTo>
                  <a:pt x="3733" y="1794"/>
                  <a:pt x="3734" y="1797"/>
                  <a:pt x="3733" y="1800"/>
                </a:cubicBezTo>
                <a:cubicBezTo>
                  <a:pt x="3733" y="1804"/>
                  <a:pt x="3731" y="1808"/>
                  <a:pt x="3731" y="1812"/>
                </a:cubicBezTo>
                <a:cubicBezTo>
                  <a:pt x="3732" y="1813"/>
                  <a:pt x="3732" y="1815"/>
                  <a:pt x="3733" y="1816"/>
                </a:cubicBezTo>
                <a:cubicBezTo>
                  <a:pt x="3737" y="1819"/>
                  <a:pt x="3741" y="1818"/>
                  <a:pt x="3744" y="1816"/>
                </a:cubicBezTo>
                <a:cubicBezTo>
                  <a:pt x="3747" y="1815"/>
                  <a:pt x="3746" y="1813"/>
                  <a:pt x="3746" y="1811"/>
                </a:cubicBezTo>
                <a:cubicBezTo>
                  <a:pt x="3746" y="1801"/>
                  <a:pt x="3748" y="1791"/>
                  <a:pt x="3749" y="1781"/>
                </a:cubicBezTo>
                <a:cubicBezTo>
                  <a:pt x="3749" y="1781"/>
                  <a:pt x="3751" y="1780"/>
                  <a:pt x="3752" y="1780"/>
                </a:cubicBezTo>
                <a:cubicBezTo>
                  <a:pt x="3752" y="1780"/>
                  <a:pt x="3754" y="1781"/>
                  <a:pt x="3754" y="1781"/>
                </a:cubicBezTo>
                <a:cubicBezTo>
                  <a:pt x="3753" y="1787"/>
                  <a:pt x="3754" y="1792"/>
                  <a:pt x="3758" y="1796"/>
                </a:cubicBezTo>
                <a:cubicBezTo>
                  <a:pt x="3760" y="1797"/>
                  <a:pt x="3760" y="1800"/>
                  <a:pt x="3760" y="1802"/>
                </a:cubicBezTo>
                <a:cubicBezTo>
                  <a:pt x="3762" y="1806"/>
                  <a:pt x="3763" y="1807"/>
                  <a:pt x="3768" y="1807"/>
                </a:cubicBezTo>
                <a:cubicBezTo>
                  <a:pt x="3769" y="1807"/>
                  <a:pt x="3770" y="1807"/>
                  <a:pt x="3771" y="1807"/>
                </a:cubicBezTo>
                <a:cubicBezTo>
                  <a:pt x="3771" y="1807"/>
                  <a:pt x="3771" y="1807"/>
                  <a:pt x="3771" y="1807"/>
                </a:cubicBezTo>
                <a:cubicBezTo>
                  <a:pt x="3771" y="1807"/>
                  <a:pt x="3771" y="1806"/>
                  <a:pt x="3772" y="1806"/>
                </a:cubicBezTo>
                <a:cubicBezTo>
                  <a:pt x="3772" y="1806"/>
                  <a:pt x="3771" y="1807"/>
                  <a:pt x="3771" y="1807"/>
                </a:cubicBezTo>
                <a:cubicBezTo>
                  <a:pt x="3771" y="1807"/>
                  <a:pt x="3771" y="1807"/>
                  <a:pt x="3771" y="1807"/>
                </a:cubicBezTo>
                <a:cubicBezTo>
                  <a:pt x="3771" y="1810"/>
                  <a:pt x="3772" y="1813"/>
                  <a:pt x="3776" y="1814"/>
                </a:cubicBezTo>
                <a:cubicBezTo>
                  <a:pt x="3776" y="1814"/>
                  <a:pt x="3777" y="1815"/>
                  <a:pt x="3777" y="1815"/>
                </a:cubicBezTo>
                <a:cubicBezTo>
                  <a:pt x="3780" y="1816"/>
                  <a:pt x="3783" y="1815"/>
                  <a:pt x="3784" y="1813"/>
                </a:cubicBezTo>
                <a:cubicBezTo>
                  <a:pt x="3785" y="1808"/>
                  <a:pt x="3785" y="1804"/>
                  <a:pt x="3784" y="1800"/>
                </a:cubicBezTo>
                <a:cubicBezTo>
                  <a:pt x="3784" y="1797"/>
                  <a:pt x="3783" y="1796"/>
                  <a:pt x="3781" y="1794"/>
                </a:cubicBezTo>
                <a:cubicBezTo>
                  <a:pt x="3779" y="1794"/>
                  <a:pt x="3778" y="1793"/>
                  <a:pt x="3777" y="1792"/>
                </a:cubicBezTo>
                <a:cubicBezTo>
                  <a:pt x="3775" y="1791"/>
                  <a:pt x="3774" y="1789"/>
                  <a:pt x="3774" y="1786"/>
                </a:cubicBezTo>
                <a:cubicBezTo>
                  <a:pt x="3775" y="1783"/>
                  <a:pt x="3774" y="1781"/>
                  <a:pt x="3772" y="1779"/>
                </a:cubicBezTo>
                <a:cubicBezTo>
                  <a:pt x="3770" y="1776"/>
                  <a:pt x="3768" y="1773"/>
                  <a:pt x="3766" y="1771"/>
                </a:cubicBezTo>
                <a:cubicBezTo>
                  <a:pt x="3766" y="1770"/>
                  <a:pt x="3766" y="1767"/>
                  <a:pt x="3767" y="1766"/>
                </a:cubicBezTo>
                <a:cubicBezTo>
                  <a:pt x="3770" y="1764"/>
                  <a:pt x="3773" y="1762"/>
                  <a:pt x="3776" y="1761"/>
                </a:cubicBezTo>
                <a:cubicBezTo>
                  <a:pt x="3778" y="1759"/>
                  <a:pt x="3780" y="1760"/>
                  <a:pt x="3782" y="1761"/>
                </a:cubicBezTo>
                <a:cubicBezTo>
                  <a:pt x="3784" y="1761"/>
                  <a:pt x="3785" y="1761"/>
                  <a:pt x="3787" y="1761"/>
                </a:cubicBezTo>
                <a:cubicBezTo>
                  <a:pt x="3788" y="1761"/>
                  <a:pt x="3789" y="1760"/>
                  <a:pt x="3789" y="1759"/>
                </a:cubicBezTo>
                <a:cubicBezTo>
                  <a:pt x="3790" y="1756"/>
                  <a:pt x="3790" y="1753"/>
                  <a:pt x="3790" y="1749"/>
                </a:cubicBezTo>
                <a:cubicBezTo>
                  <a:pt x="3790" y="1749"/>
                  <a:pt x="3789" y="1747"/>
                  <a:pt x="3788" y="1747"/>
                </a:cubicBezTo>
                <a:cubicBezTo>
                  <a:pt x="3786" y="1747"/>
                  <a:pt x="3784" y="1746"/>
                  <a:pt x="3782" y="1747"/>
                </a:cubicBezTo>
                <a:cubicBezTo>
                  <a:pt x="3777" y="1748"/>
                  <a:pt x="3773" y="1750"/>
                  <a:pt x="3769" y="1750"/>
                </a:cubicBezTo>
                <a:cubicBezTo>
                  <a:pt x="3763" y="1750"/>
                  <a:pt x="3759" y="1751"/>
                  <a:pt x="3756" y="1756"/>
                </a:cubicBezTo>
                <a:cubicBezTo>
                  <a:pt x="3755" y="1756"/>
                  <a:pt x="3753" y="1756"/>
                  <a:pt x="3753" y="1756"/>
                </a:cubicBezTo>
                <a:cubicBezTo>
                  <a:pt x="3748" y="1754"/>
                  <a:pt x="3745" y="1750"/>
                  <a:pt x="3743" y="1745"/>
                </a:cubicBezTo>
                <a:cubicBezTo>
                  <a:pt x="3742" y="1740"/>
                  <a:pt x="3747" y="1735"/>
                  <a:pt x="3751" y="1734"/>
                </a:cubicBezTo>
                <a:close/>
                <a:moveTo>
                  <a:pt x="3774" y="1803"/>
                </a:moveTo>
                <a:cubicBezTo>
                  <a:pt x="3775" y="1803"/>
                  <a:pt x="3775" y="1803"/>
                  <a:pt x="3775" y="1803"/>
                </a:cubicBezTo>
                <a:cubicBezTo>
                  <a:pt x="3776" y="1802"/>
                  <a:pt x="3777" y="1801"/>
                  <a:pt x="3778" y="1801"/>
                </a:cubicBezTo>
                <a:cubicBezTo>
                  <a:pt x="3779" y="1802"/>
                  <a:pt x="3780" y="1802"/>
                  <a:pt x="3780" y="1804"/>
                </a:cubicBezTo>
                <a:cubicBezTo>
                  <a:pt x="3780" y="1804"/>
                  <a:pt x="3779" y="1805"/>
                  <a:pt x="3779" y="1804"/>
                </a:cubicBezTo>
                <a:cubicBezTo>
                  <a:pt x="3777" y="1804"/>
                  <a:pt x="3776" y="1804"/>
                  <a:pt x="3775" y="1803"/>
                </a:cubicBezTo>
                <a:cubicBezTo>
                  <a:pt x="3775" y="1803"/>
                  <a:pt x="3775" y="1803"/>
                  <a:pt x="3775" y="1804"/>
                </a:cubicBezTo>
                <a:cubicBezTo>
                  <a:pt x="3774" y="1804"/>
                  <a:pt x="3774" y="1804"/>
                  <a:pt x="3774" y="1804"/>
                </a:cubicBezTo>
                <a:cubicBezTo>
                  <a:pt x="3774" y="1804"/>
                  <a:pt x="3774" y="1804"/>
                  <a:pt x="3774" y="1803"/>
                </a:cubicBezTo>
                <a:close/>
                <a:moveTo>
                  <a:pt x="1436" y="1009"/>
                </a:moveTo>
                <a:cubicBezTo>
                  <a:pt x="1436" y="1010"/>
                  <a:pt x="1436" y="1010"/>
                  <a:pt x="1436" y="1010"/>
                </a:cubicBezTo>
                <a:cubicBezTo>
                  <a:pt x="1436" y="1010"/>
                  <a:pt x="1436" y="1010"/>
                  <a:pt x="1436" y="1010"/>
                </a:cubicBezTo>
                <a:cubicBezTo>
                  <a:pt x="1436" y="1010"/>
                  <a:pt x="1436" y="1010"/>
                  <a:pt x="1436" y="1009"/>
                </a:cubicBezTo>
                <a:close/>
                <a:moveTo>
                  <a:pt x="1431" y="985"/>
                </a:moveTo>
                <a:cubicBezTo>
                  <a:pt x="1432" y="983"/>
                  <a:pt x="1431" y="981"/>
                  <a:pt x="1431" y="980"/>
                </a:cubicBezTo>
                <a:cubicBezTo>
                  <a:pt x="1430" y="979"/>
                  <a:pt x="1429" y="978"/>
                  <a:pt x="1427" y="977"/>
                </a:cubicBezTo>
                <a:cubicBezTo>
                  <a:pt x="1426" y="976"/>
                  <a:pt x="1425" y="975"/>
                  <a:pt x="1423" y="976"/>
                </a:cubicBezTo>
                <a:cubicBezTo>
                  <a:pt x="1422" y="976"/>
                  <a:pt x="1420" y="977"/>
                  <a:pt x="1419" y="978"/>
                </a:cubicBezTo>
                <a:cubicBezTo>
                  <a:pt x="1415" y="980"/>
                  <a:pt x="1411" y="979"/>
                  <a:pt x="1408" y="979"/>
                </a:cubicBezTo>
                <a:cubicBezTo>
                  <a:pt x="1405" y="978"/>
                  <a:pt x="1405" y="977"/>
                  <a:pt x="1405" y="974"/>
                </a:cubicBezTo>
                <a:cubicBezTo>
                  <a:pt x="1405" y="973"/>
                  <a:pt x="1405" y="972"/>
                  <a:pt x="1405" y="972"/>
                </a:cubicBezTo>
                <a:cubicBezTo>
                  <a:pt x="1405" y="969"/>
                  <a:pt x="1404" y="967"/>
                  <a:pt x="1401" y="966"/>
                </a:cubicBezTo>
                <a:cubicBezTo>
                  <a:pt x="1400" y="966"/>
                  <a:pt x="1398" y="966"/>
                  <a:pt x="1397" y="966"/>
                </a:cubicBezTo>
                <a:cubicBezTo>
                  <a:pt x="1397" y="966"/>
                  <a:pt x="1397" y="966"/>
                  <a:pt x="1396" y="966"/>
                </a:cubicBezTo>
                <a:cubicBezTo>
                  <a:pt x="1396" y="967"/>
                  <a:pt x="1396" y="967"/>
                  <a:pt x="1396" y="967"/>
                </a:cubicBezTo>
                <a:cubicBezTo>
                  <a:pt x="1396" y="966"/>
                  <a:pt x="1396" y="966"/>
                  <a:pt x="1396" y="966"/>
                </a:cubicBezTo>
                <a:cubicBezTo>
                  <a:pt x="1396" y="966"/>
                  <a:pt x="1396" y="966"/>
                  <a:pt x="1397" y="966"/>
                </a:cubicBezTo>
                <a:cubicBezTo>
                  <a:pt x="1398" y="961"/>
                  <a:pt x="1401" y="958"/>
                  <a:pt x="1405" y="955"/>
                </a:cubicBezTo>
                <a:cubicBezTo>
                  <a:pt x="1409" y="952"/>
                  <a:pt x="1410" y="947"/>
                  <a:pt x="1412" y="944"/>
                </a:cubicBezTo>
                <a:cubicBezTo>
                  <a:pt x="1413" y="943"/>
                  <a:pt x="1413" y="942"/>
                  <a:pt x="1413" y="941"/>
                </a:cubicBezTo>
                <a:cubicBezTo>
                  <a:pt x="1413" y="940"/>
                  <a:pt x="1410" y="939"/>
                  <a:pt x="1408" y="940"/>
                </a:cubicBezTo>
                <a:cubicBezTo>
                  <a:pt x="1403" y="941"/>
                  <a:pt x="1398" y="943"/>
                  <a:pt x="1394" y="948"/>
                </a:cubicBezTo>
                <a:cubicBezTo>
                  <a:pt x="1387" y="957"/>
                  <a:pt x="1380" y="967"/>
                  <a:pt x="1374" y="978"/>
                </a:cubicBezTo>
                <a:cubicBezTo>
                  <a:pt x="1371" y="983"/>
                  <a:pt x="1367" y="987"/>
                  <a:pt x="1361" y="990"/>
                </a:cubicBezTo>
                <a:cubicBezTo>
                  <a:pt x="1359" y="990"/>
                  <a:pt x="1360" y="992"/>
                  <a:pt x="1361" y="993"/>
                </a:cubicBezTo>
                <a:cubicBezTo>
                  <a:pt x="1362" y="996"/>
                  <a:pt x="1362" y="997"/>
                  <a:pt x="1360" y="999"/>
                </a:cubicBezTo>
                <a:cubicBezTo>
                  <a:pt x="1358" y="1001"/>
                  <a:pt x="1356" y="1003"/>
                  <a:pt x="1355" y="1005"/>
                </a:cubicBezTo>
                <a:cubicBezTo>
                  <a:pt x="1354" y="1006"/>
                  <a:pt x="1355" y="1009"/>
                  <a:pt x="1356" y="1009"/>
                </a:cubicBezTo>
                <a:cubicBezTo>
                  <a:pt x="1358" y="1010"/>
                  <a:pt x="1359" y="1010"/>
                  <a:pt x="1361" y="1010"/>
                </a:cubicBezTo>
                <a:cubicBezTo>
                  <a:pt x="1366" y="1010"/>
                  <a:pt x="1372" y="1010"/>
                  <a:pt x="1377" y="1011"/>
                </a:cubicBezTo>
                <a:cubicBezTo>
                  <a:pt x="1382" y="1012"/>
                  <a:pt x="1386" y="1012"/>
                  <a:pt x="1390" y="1011"/>
                </a:cubicBezTo>
                <a:cubicBezTo>
                  <a:pt x="1395" y="1010"/>
                  <a:pt x="1398" y="1013"/>
                  <a:pt x="1402" y="1015"/>
                </a:cubicBezTo>
                <a:cubicBezTo>
                  <a:pt x="1403" y="1015"/>
                  <a:pt x="1403" y="1016"/>
                  <a:pt x="1402" y="1016"/>
                </a:cubicBezTo>
                <a:cubicBezTo>
                  <a:pt x="1401" y="1018"/>
                  <a:pt x="1399" y="1019"/>
                  <a:pt x="1398" y="1021"/>
                </a:cubicBezTo>
                <a:cubicBezTo>
                  <a:pt x="1397" y="1021"/>
                  <a:pt x="1397" y="1023"/>
                  <a:pt x="1398" y="1024"/>
                </a:cubicBezTo>
                <a:cubicBezTo>
                  <a:pt x="1398" y="1024"/>
                  <a:pt x="1400" y="1025"/>
                  <a:pt x="1401" y="1025"/>
                </a:cubicBezTo>
                <a:cubicBezTo>
                  <a:pt x="1403" y="1025"/>
                  <a:pt x="1405" y="1024"/>
                  <a:pt x="1406" y="1022"/>
                </a:cubicBezTo>
                <a:cubicBezTo>
                  <a:pt x="1409" y="1018"/>
                  <a:pt x="1414" y="1017"/>
                  <a:pt x="1418" y="1013"/>
                </a:cubicBezTo>
                <a:cubicBezTo>
                  <a:pt x="1418" y="1013"/>
                  <a:pt x="1419" y="1014"/>
                  <a:pt x="1419" y="1014"/>
                </a:cubicBezTo>
                <a:cubicBezTo>
                  <a:pt x="1418" y="1017"/>
                  <a:pt x="1418" y="1020"/>
                  <a:pt x="1418" y="1022"/>
                </a:cubicBezTo>
                <a:cubicBezTo>
                  <a:pt x="1417" y="1023"/>
                  <a:pt x="1418" y="1025"/>
                  <a:pt x="1418" y="1025"/>
                </a:cubicBezTo>
                <a:cubicBezTo>
                  <a:pt x="1422" y="1027"/>
                  <a:pt x="1424" y="1030"/>
                  <a:pt x="1429" y="1030"/>
                </a:cubicBezTo>
                <a:cubicBezTo>
                  <a:pt x="1430" y="1030"/>
                  <a:pt x="1433" y="1029"/>
                  <a:pt x="1434" y="1027"/>
                </a:cubicBezTo>
                <a:cubicBezTo>
                  <a:pt x="1436" y="1024"/>
                  <a:pt x="1437" y="1020"/>
                  <a:pt x="1438" y="1017"/>
                </a:cubicBezTo>
                <a:cubicBezTo>
                  <a:pt x="1439" y="1014"/>
                  <a:pt x="1438" y="1012"/>
                  <a:pt x="1436" y="1010"/>
                </a:cubicBezTo>
                <a:cubicBezTo>
                  <a:pt x="1436" y="1010"/>
                  <a:pt x="1436" y="1010"/>
                  <a:pt x="1435" y="1010"/>
                </a:cubicBezTo>
                <a:cubicBezTo>
                  <a:pt x="1435" y="1010"/>
                  <a:pt x="1435" y="1011"/>
                  <a:pt x="1435" y="1011"/>
                </a:cubicBezTo>
                <a:cubicBezTo>
                  <a:pt x="1435" y="1011"/>
                  <a:pt x="1435" y="1010"/>
                  <a:pt x="1435" y="1010"/>
                </a:cubicBezTo>
                <a:cubicBezTo>
                  <a:pt x="1435" y="1010"/>
                  <a:pt x="1435" y="1010"/>
                  <a:pt x="1435" y="1010"/>
                </a:cubicBezTo>
                <a:cubicBezTo>
                  <a:pt x="1436" y="1010"/>
                  <a:pt x="1436" y="1010"/>
                  <a:pt x="1436" y="1009"/>
                </a:cubicBezTo>
                <a:cubicBezTo>
                  <a:pt x="1434" y="1007"/>
                  <a:pt x="1432" y="1007"/>
                  <a:pt x="1429" y="1007"/>
                </a:cubicBezTo>
                <a:cubicBezTo>
                  <a:pt x="1428" y="1008"/>
                  <a:pt x="1427" y="1006"/>
                  <a:pt x="1428" y="1005"/>
                </a:cubicBezTo>
                <a:cubicBezTo>
                  <a:pt x="1428" y="1004"/>
                  <a:pt x="1429" y="1002"/>
                  <a:pt x="1430" y="1001"/>
                </a:cubicBezTo>
                <a:cubicBezTo>
                  <a:pt x="1431" y="999"/>
                  <a:pt x="1433" y="998"/>
                  <a:pt x="1434" y="996"/>
                </a:cubicBezTo>
                <a:cubicBezTo>
                  <a:pt x="1435" y="996"/>
                  <a:pt x="1435" y="995"/>
                  <a:pt x="1435" y="995"/>
                </a:cubicBezTo>
                <a:cubicBezTo>
                  <a:pt x="1434" y="994"/>
                  <a:pt x="1433" y="993"/>
                  <a:pt x="1432" y="993"/>
                </a:cubicBezTo>
                <a:cubicBezTo>
                  <a:pt x="1431" y="994"/>
                  <a:pt x="1429" y="995"/>
                  <a:pt x="1428" y="993"/>
                </a:cubicBezTo>
                <a:cubicBezTo>
                  <a:pt x="1427" y="991"/>
                  <a:pt x="1428" y="990"/>
                  <a:pt x="1429" y="989"/>
                </a:cubicBezTo>
                <a:cubicBezTo>
                  <a:pt x="1430" y="987"/>
                  <a:pt x="1431" y="986"/>
                  <a:pt x="1431" y="985"/>
                </a:cubicBezTo>
                <a:close/>
                <a:moveTo>
                  <a:pt x="924" y="175"/>
                </a:moveTo>
                <a:cubicBezTo>
                  <a:pt x="929" y="176"/>
                  <a:pt x="932" y="178"/>
                  <a:pt x="935" y="179"/>
                </a:cubicBezTo>
                <a:cubicBezTo>
                  <a:pt x="938" y="181"/>
                  <a:pt x="939" y="183"/>
                  <a:pt x="941" y="185"/>
                </a:cubicBezTo>
                <a:cubicBezTo>
                  <a:pt x="943" y="187"/>
                  <a:pt x="947" y="187"/>
                  <a:pt x="949" y="186"/>
                </a:cubicBezTo>
                <a:cubicBezTo>
                  <a:pt x="951" y="184"/>
                  <a:pt x="954" y="182"/>
                  <a:pt x="956" y="180"/>
                </a:cubicBezTo>
                <a:cubicBezTo>
                  <a:pt x="957" y="179"/>
                  <a:pt x="958" y="179"/>
                  <a:pt x="959" y="180"/>
                </a:cubicBezTo>
                <a:cubicBezTo>
                  <a:pt x="961" y="180"/>
                  <a:pt x="963" y="180"/>
                  <a:pt x="964" y="179"/>
                </a:cubicBezTo>
                <a:cubicBezTo>
                  <a:pt x="966" y="175"/>
                  <a:pt x="968" y="171"/>
                  <a:pt x="971" y="168"/>
                </a:cubicBezTo>
                <a:cubicBezTo>
                  <a:pt x="974" y="165"/>
                  <a:pt x="977" y="162"/>
                  <a:pt x="980" y="159"/>
                </a:cubicBezTo>
                <a:cubicBezTo>
                  <a:pt x="981" y="158"/>
                  <a:pt x="982" y="158"/>
                  <a:pt x="983" y="158"/>
                </a:cubicBezTo>
                <a:cubicBezTo>
                  <a:pt x="984" y="158"/>
                  <a:pt x="985" y="160"/>
                  <a:pt x="983" y="162"/>
                </a:cubicBezTo>
                <a:cubicBezTo>
                  <a:pt x="981" y="166"/>
                  <a:pt x="978" y="170"/>
                  <a:pt x="976" y="173"/>
                </a:cubicBezTo>
                <a:cubicBezTo>
                  <a:pt x="975" y="175"/>
                  <a:pt x="976" y="178"/>
                  <a:pt x="976" y="180"/>
                </a:cubicBezTo>
                <a:cubicBezTo>
                  <a:pt x="977" y="182"/>
                  <a:pt x="980" y="183"/>
                  <a:pt x="982" y="182"/>
                </a:cubicBezTo>
                <a:cubicBezTo>
                  <a:pt x="983" y="181"/>
                  <a:pt x="985" y="180"/>
                  <a:pt x="985" y="179"/>
                </a:cubicBezTo>
                <a:cubicBezTo>
                  <a:pt x="987" y="175"/>
                  <a:pt x="990" y="173"/>
                  <a:pt x="995" y="173"/>
                </a:cubicBezTo>
                <a:cubicBezTo>
                  <a:pt x="996" y="173"/>
                  <a:pt x="998" y="172"/>
                  <a:pt x="999" y="171"/>
                </a:cubicBezTo>
                <a:cubicBezTo>
                  <a:pt x="1001" y="170"/>
                  <a:pt x="1003" y="169"/>
                  <a:pt x="1003" y="168"/>
                </a:cubicBezTo>
                <a:cubicBezTo>
                  <a:pt x="1006" y="162"/>
                  <a:pt x="1013" y="159"/>
                  <a:pt x="1013" y="152"/>
                </a:cubicBezTo>
                <a:cubicBezTo>
                  <a:pt x="1014" y="151"/>
                  <a:pt x="1016" y="149"/>
                  <a:pt x="1017" y="149"/>
                </a:cubicBezTo>
                <a:cubicBezTo>
                  <a:pt x="1018" y="148"/>
                  <a:pt x="1020" y="147"/>
                  <a:pt x="1021" y="147"/>
                </a:cubicBezTo>
                <a:cubicBezTo>
                  <a:pt x="1023" y="146"/>
                  <a:pt x="1024" y="144"/>
                  <a:pt x="1024" y="143"/>
                </a:cubicBezTo>
                <a:cubicBezTo>
                  <a:pt x="1024" y="140"/>
                  <a:pt x="1024" y="138"/>
                  <a:pt x="1024" y="136"/>
                </a:cubicBezTo>
                <a:cubicBezTo>
                  <a:pt x="1024" y="134"/>
                  <a:pt x="1022" y="130"/>
                  <a:pt x="1021" y="131"/>
                </a:cubicBezTo>
                <a:cubicBezTo>
                  <a:pt x="1019" y="131"/>
                  <a:pt x="1017" y="132"/>
                  <a:pt x="1016" y="133"/>
                </a:cubicBezTo>
                <a:cubicBezTo>
                  <a:pt x="1014" y="135"/>
                  <a:pt x="1012" y="136"/>
                  <a:pt x="1011" y="135"/>
                </a:cubicBezTo>
                <a:cubicBezTo>
                  <a:pt x="1006" y="131"/>
                  <a:pt x="1001" y="132"/>
                  <a:pt x="997" y="131"/>
                </a:cubicBezTo>
                <a:cubicBezTo>
                  <a:pt x="994" y="130"/>
                  <a:pt x="990" y="131"/>
                  <a:pt x="988" y="133"/>
                </a:cubicBezTo>
                <a:cubicBezTo>
                  <a:pt x="976" y="141"/>
                  <a:pt x="965" y="148"/>
                  <a:pt x="951" y="152"/>
                </a:cubicBezTo>
                <a:cubicBezTo>
                  <a:pt x="948" y="153"/>
                  <a:pt x="945" y="155"/>
                  <a:pt x="942" y="155"/>
                </a:cubicBezTo>
                <a:cubicBezTo>
                  <a:pt x="937" y="156"/>
                  <a:pt x="932" y="159"/>
                  <a:pt x="927" y="162"/>
                </a:cubicBezTo>
                <a:cubicBezTo>
                  <a:pt x="923" y="164"/>
                  <a:pt x="922" y="169"/>
                  <a:pt x="922" y="173"/>
                </a:cubicBezTo>
                <a:cubicBezTo>
                  <a:pt x="922" y="174"/>
                  <a:pt x="923" y="175"/>
                  <a:pt x="924" y="175"/>
                </a:cubicBezTo>
                <a:close/>
                <a:moveTo>
                  <a:pt x="2249" y="229"/>
                </a:moveTo>
                <a:cubicBezTo>
                  <a:pt x="2251" y="237"/>
                  <a:pt x="2253" y="239"/>
                  <a:pt x="2261" y="240"/>
                </a:cubicBezTo>
                <a:cubicBezTo>
                  <a:pt x="2263" y="240"/>
                  <a:pt x="2266" y="239"/>
                  <a:pt x="2268" y="239"/>
                </a:cubicBezTo>
                <a:cubicBezTo>
                  <a:pt x="2268" y="239"/>
                  <a:pt x="2269" y="239"/>
                  <a:pt x="2269" y="238"/>
                </a:cubicBezTo>
                <a:cubicBezTo>
                  <a:pt x="2269" y="238"/>
                  <a:pt x="2270" y="238"/>
                  <a:pt x="2270" y="238"/>
                </a:cubicBezTo>
                <a:cubicBezTo>
                  <a:pt x="2271" y="238"/>
                  <a:pt x="2272" y="237"/>
                  <a:pt x="2274" y="237"/>
                </a:cubicBezTo>
                <a:cubicBezTo>
                  <a:pt x="2274" y="237"/>
                  <a:pt x="2275" y="237"/>
                  <a:pt x="2275" y="237"/>
                </a:cubicBezTo>
                <a:cubicBezTo>
                  <a:pt x="2276" y="238"/>
                  <a:pt x="2275" y="238"/>
                  <a:pt x="2273" y="238"/>
                </a:cubicBezTo>
                <a:cubicBezTo>
                  <a:pt x="2272" y="238"/>
                  <a:pt x="2271" y="238"/>
                  <a:pt x="2270" y="238"/>
                </a:cubicBezTo>
                <a:cubicBezTo>
                  <a:pt x="2270" y="239"/>
                  <a:pt x="2270" y="239"/>
                  <a:pt x="2269" y="239"/>
                </a:cubicBezTo>
                <a:cubicBezTo>
                  <a:pt x="2269" y="239"/>
                  <a:pt x="2269" y="239"/>
                  <a:pt x="2268" y="239"/>
                </a:cubicBezTo>
                <a:cubicBezTo>
                  <a:pt x="2267" y="240"/>
                  <a:pt x="2266" y="241"/>
                  <a:pt x="2266" y="242"/>
                </a:cubicBezTo>
                <a:cubicBezTo>
                  <a:pt x="2264" y="244"/>
                  <a:pt x="2264" y="246"/>
                  <a:pt x="2266" y="247"/>
                </a:cubicBezTo>
                <a:cubicBezTo>
                  <a:pt x="2268" y="249"/>
                  <a:pt x="2271" y="250"/>
                  <a:pt x="2274" y="252"/>
                </a:cubicBezTo>
                <a:cubicBezTo>
                  <a:pt x="2277" y="254"/>
                  <a:pt x="2280" y="255"/>
                  <a:pt x="2283" y="254"/>
                </a:cubicBezTo>
                <a:cubicBezTo>
                  <a:pt x="2287" y="253"/>
                  <a:pt x="2290" y="253"/>
                  <a:pt x="2293" y="257"/>
                </a:cubicBezTo>
                <a:cubicBezTo>
                  <a:pt x="2297" y="261"/>
                  <a:pt x="2300" y="260"/>
                  <a:pt x="2305" y="256"/>
                </a:cubicBezTo>
                <a:cubicBezTo>
                  <a:pt x="2306" y="255"/>
                  <a:pt x="2308" y="253"/>
                  <a:pt x="2310" y="253"/>
                </a:cubicBezTo>
                <a:cubicBezTo>
                  <a:pt x="2316" y="253"/>
                  <a:pt x="2319" y="251"/>
                  <a:pt x="2320" y="245"/>
                </a:cubicBezTo>
                <a:cubicBezTo>
                  <a:pt x="2321" y="242"/>
                  <a:pt x="2323" y="239"/>
                  <a:pt x="2325" y="236"/>
                </a:cubicBezTo>
                <a:cubicBezTo>
                  <a:pt x="2329" y="231"/>
                  <a:pt x="2329" y="226"/>
                  <a:pt x="2329" y="219"/>
                </a:cubicBezTo>
                <a:cubicBezTo>
                  <a:pt x="2326" y="218"/>
                  <a:pt x="2323" y="216"/>
                  <a:pt x="2320" y="216"/>
                </a:cubicBezTo>
                <a:cubicBezTo>
                  <a:pt x="2314" y="215"/>
                  <a:pt x="2309" y="214"/>
                  <a:pt x="2303" y="211"/>
                </a:cubicBezTo>
                <a:cubicBezTo>
                  <a:pt x="2300" y="210"/>
                  <a:pt x="2298" y="211"/>
                  <a:pt x="2296" y="213"/>
                </a:cubicBezTo>
                <a:cubicBezTo>
                  <a:pt x="2293" y="215"/>
                  <a:pt x="2293" y="215"/>
                  <a:pt x="2291" y="211"/>
                </a:cubicBezTo>
                <a:cubicBezTo>
                  <a:pt x="2291" y="210"/>
                  <a:pt x="2291" y="209"/>
                  <a:pt x="2290" y="208"/>
                </a:cubicBezTo>
                <a:cubicBezTo>
                  <a:pt x="2289" y="207"/>
                  <a:pt x="2287" y="206"/>
                  <a:pt x="2286" y="207"/>
                </a:cubicBezTo>
                <a:cubicBezTo>
                  <a:pt x="2285" y="207"/>
                  <a:pt x="2284" y="208"/>
                  <a:pt x="2284" y="209"/>
                </a:cubicBezTo>
                <a:cubicBezTo>
                  <a:pt x="2283" y="210"/>
                  <a:pt x="2283" y="212"/>
                  <a:pt x="2283" y="214"/>
                </a:cubicBezTo>
                <a:cubicBezTo>
                  <a:pt x="2283" y="215"/>
                  <a:pt x="2283" y="217"/>
                  <a:pt x="2282" y="218"/>
                </a:cubicBezTo>
                <a:cubicBezTo>
                  <a:pt x="2280" y="220"/>
                  <a:pt x="2279" y="217"/>
                  <a:pt x="2278" y="217"/>
                </a:cubicBezTo>
                <a:cubicBezTo>
                  <a:pt x="2278" y="216"/>
                  <a:pt x="2277" y="216"/>
                  <a:pt x="2277" y="216"/>
                </a:cubicBezTo>
                <a:cubicBezTo>
                  <a:pt x="2271" y="216"/>
                  <a:pt x="2267" y="214"/>
                  <a:pt x="2264" y="210"/>
                </a:cubicBezTo>
                <a:cubicBezTo>
                  <a:pt x="2264" y="209"/>
                  <a:pt x="2262" y="208"/>
                  <a:pt x="2262" y="208"/>
                </a:cubicBezTo>
                <a:cubicBezTo>
                  <a:pt x="2260" y="206"/>
                  <a:pt x="2257" y="208"/>
                  <a:pt x="2257" y="210"/>
                </a:cubicBezTo>
                <a:cubicBezTo>
                  <a:pt x="2257" y="211"/>
                  <a:pt x="2257" y="212"/>
                  <a:pt x="2257" y="214"/>
                </a:cubicBezTo>
                <a:cubicBezTo>
                  <a:pt x="2257" y="214"/>
                  <a:pt x="2256" y="216"/>
                  <a:pt x="2256" y="216"/>
                </a:cubicBezTo>
                <a:cubicBezTo>
                  <a:pt x="2255" y="216"/>
                  <a:pt x="2254" y="215"/>
                  <a:pt x="2253" y="215"/>
                </a:cubicBezTo>
                <a:cubicBezTo>
                  <a:pt x="2252" y="215"/>
                  <a:pt x="2250" y="215"/>
                  <a:pt x="2250" y="215"/>
                </a:cubicBezTo>
                <a:cubicBezTo>
                  <a:pt x="2249" y="218"/>
                  <a:pt x="2247" y="220"/>
                  <a:pt x="2248" y="223"/>
                </a:cubicBezTo>
                <a:cubicBezTo>
                  <a:pt x="2248" y="225"/>
                  <a:pt x="2249" y="227"/>
                  <a:pt x="2249" y="229"/>
                </a:cubicBezTo>
                <a:close/>
                <a:moveTo>
                  <a:pt x="1108" y="205"/>
                </a:moveTo>
                <a:cubicBezTo>
                  <a:pt x="1107" y="207"/>
                  <a:pt x="1106" y="209"/>
                  <a:pt x="1106" y="211"/>
                </a:cubicBezTo>
                <a:cubicBezTo>
                  <a:pt x="1105" y="215"/>
                  <a:pt x="1105" y="219"/>
                  <a:pt x="1102" y="222"/>
                </a:cubicBezTo>
                <a:cubicBezTo>
                  <a:pt x="1101" y="222"/>
                  <a:pt x="1101" y="224"/>
                  <a:pt x="1101" y="225"/>
                </a:cubicBezTo>
                <a:cubicBezTo>
                  <a:pt x="1102" y="230"/>
                  <a:pt x="1104" y="235"/>
                  <a:pt x="1102" y="241"/>
                </a:cubicBezTo>
                <a:cubicBezTo>
                  <a:pt x="1102" y="241"/>
                  <a:pt x="1103" y="242"/>
                  <a:pt x="1104" y="243"/>
                </a:cubicBezTo>
                <a:cubicBezTo>
                  <a:pt x="1105" y="243"/>
                  <a:pt x="1106" y="244"/>
                  <a:pt x="1106" y="245"/>
                </a:cubicBezTo>
                <a:cubicBezTo>
                  <a:pt x="1105" y="250"/>
                  <a:pt x="1108" y="251"/>
                  <a:pt x="1112" y="252"/>
                </a:cubicBezTo>
                <a:cubicBezTo>
                  <a:pt x="1117" y="252"/>
                  <a:pt x="1122" y="253"/>
                  <a:pt x="1127" y="253"/>
                </a:cubicBezTo>
                <a:cubicBezTo>
                  <a:pt x="1128" y="253"/>
                  <a:pt x="1128" y="254"/>
                  <a:pt x="1128" y="254"/>
                </a:cubicBezTo>
                <a:cubicBezTo>
                  <a:pt x="1128" y="255"/>
                  <a:pt x="1127" y="257"/>
                  <a:pt x="1127" y="257"/>
                </a:cubicBezTo>
                <a:cubicBezTo>
                  <a:pt x="1125" y="258"/>
                  <a:pt x="1123" y="258"/>
                  <a:pt x="1121" y="259"/>
                </a:cubicBezTo>
                <a:cubicBezTo>
                  <a:pt x="1118" y="260"/>
                  <a:pt x="1116" y="262"/>
                  <a:pt x="1116" y="265"/>
                </a:cubicBezTo>
                <a:cubicBezTo>
                  <a:pt x="1115" y="267"/>
                  <a:pt x="1115" y="269"/>
                  <a:pt x="1115" y="271"/>
                </a:cubicBezTo>
                <a:cubicBezTo>
                  <a:pt x="1115" y="273"/>
                  <a:pt x="1116" y="276"/>
                  <a:pt x="1118" y="276"/>
                </a:cubicBezTo>
                <a:cubicBezTo>
                  <a:pt x="1122" y="278"/>
                  <a:pt x="1127" y="279"/>
                  <a:pt x="1131" y="280"/>
                </a:cubicBezTo>
                <a:cubicBezTo>
                  <a:pt x="1135" y="281"/>
                  <a:pt x="1140" y="278"/>
                  <a:pt x="1142" y="275"/>
                </a:cubicBezTo>
                <a:cubicBezTo>
                  <a:pt x="1142" y="274"/>
                  <a:pt x="1142" y="272"/>
                  <a:pt x="1143" y="271"/>
                </a:cubicBezTo>
                <a:cubicBezTo>
                  <a:pt x="1144" y="267"/>
                  <a:pt x="1147" y="266"/>
                  <a:pt x="1151" y="265"/>
                </a:cubicBezTo>
                <a:cubicBezTo>
                  <a:pt x="1153" y="262"/>
                  <a:pt x="1154" y="259"/>
                  <a:pt x="1155" y="256"/>
                </a:cubicBezTo>
                <a:cubicBezTo>
                  <a:pt x="1157" y="252"/>
                  <a:pt x="1160" y="250"/>
                  <a:pt x="1162" y="247"/>
                </a:cubicBezTo>
                <a:cubicBezTo>
                  <a:pt x="1162" y="246"/>
                  <a:pt x="1163" y="246"/>
                  <a:pt x="1163" y="245"/>
                </a:cubicBezTo>
                <a:cubicBezTo>
                  <a:pt x="1165" y="241"/>
                  <a:pt x="1168" y="236"/>
                  <a:pt x="1170" y="231"/>
                </a:cubicBezTo>
                <a:cubicBezTo>
                  <a:pt x="1171" y="230"/>
                  <a:pt x="1171" y="229"/>
                  <a:pt x="1170" y="228"/>
                </a:cubicBezTo>
                <a:cubicBezTo>
                  <a:pt x="1170" y="226"/>
                  <a:pt x="1169" y="224"/>
                  <a:pt x="1168" y="222"/>
                </a:cubicBezTo>
                <a:cubicBezTo>
                  <a:pt x="1167" y="221"/>
                  <a:pt x="1166" y="220"/>
                  <a:pt x="1164" y="220"/>
                </a:cubicBezTo>
                <a:cubicBezTo>
                  <a:pt x="1160" y="221"/>
                  <a:pt x="1157" y="219"/>
                  <a:pt x="1155" y="216"/>
                </a:cubicBezTo>
                <a:cubicBezTo>
                  <a:pt x="1150" y="215"/>
                  <a:pt x="1146" y="215"/>
                  <a:pt x="1141" y="216"/>
                </a:cubicBezTo>
                <a:cubicBezTo>
                  <a:pt x="1140" y="219"/>
                  <a:pt x="1138" y="221"/>
                  <a:pt x="1138" y="225"/>
                </a:cubicBezTo>
                <a:cubicBezTo>
                  <a:pt x="1138" y="229"/>
                  <a:pt x="1138" y="232"/>
                  <a:pt x="1138" y="236"/>
                </a:cubicBezTo>
                <a:cubicBezTo>
                  <a:pt x="1138" y="237"/>
                  <a:pt x="1138" y="237"/>
                  <a:pt x="1137" y="238"/>
                </a:cubicBezTo>
                <a:cubicBezTo>
                  <a:pt x="1137" y="238"/>
                  <a:pt x="1136" y="238"/>
                  <a:pt x="1136" y="236"/>
                </a:cubicBezTo>
                <a:cubicBezTo>
                  <a:pt x="1134" y="232"/>
                  <a:pt x="1133" y="228"/>
                  <a:pt x="1131" y="224"/>
                </a:cubicBezTo>
                <a:cubicBezTo>
                  <a:pt x="1131" y="224"/>
                  <a:pt x="1129" y="223"/>
                  <a:pt x="1128" y="223"/>
                </a:cubicBezTo>
                <a:cubicBezTo>
                  <a:pt x="1127" y="223"/>
                  <a:pt x="1126" y="224"/>
                  <a:pt x="1125" y="224"/>
                </a:cubicBezTo>
                <a:cubicBezTo>
                  <a:pt x="1123" y="229"/>
                  <a:pt x="1121" y="234"/>
                  <a:pt x="1119" y="239"/>
                </a:cubicBezTo>
                <a:cubicBezTo>
                  <a:pt x="1119" y="239"/>
                  <a:pt x="1119" y="239"/>
                  <a:pt x="1119" y="239"/>
                </a:cubicBezTo>
                <a:cubicBezTo>
                  <a:pt x="1118" y="239"/>
                  <a:pt x="1118" y="239"/>
                  <a:pt x="1118" y="239"/>
                </a:cubicBezTo>
                <a:cubicBezTo>
                  <a:pt x="1119" y="239"/>
                  <a:pt x="1119" y="239"/>
                  <a:pt x="1119" y="239"/>
                </a:cubicBezTo>
                <a:cubicBezTo>
                  <a:pt x="1119" y="239"/>
                  <a:pt x="1119" y="239"/>
                  <a:pt x="1119" y="239"/>
                </a:cubicBezTo>
                <a:cubicBezTo>
                  <a:pt x="1117" y="236"/>
                  <a:pt x="1116" y="234"/>
                  <a:pt x="1117" y="230"/>
                </a:cubicBezTo>
                <a:cubicBezTo>
                  <a:pt x="1118" y="229"/>
                  <a:pt x="1119" y="227"/>
                  <a:pt x="1118" y="226"/>
                </a:cubicBezTo>
                <a:cubicBezTo>
                  <a:pt x="1117" y="221"/>
                  <a:pt x="1116" y="217"/>
                  <a:pt x="1117" y="213"/>
                </a:cubicBezTo>
                <a:cubicBezTo>
                  <a:pt x="1117" y="212"/>
                  <a:pt x="1116" y="211"/>
                  <a:pt x="1116" y="210"/>
                </a:cubicBezTo>
                <a:cubicBezTo>
                  <a:pt x="1115" y="208"/>
                  <a:pt x="1115" y="207"/>
                  <a:pt x="1114" y="205"/>
                </a:cubicBezTo>
                <a:cubicBezTo>
                  <a:pt x="1113" y="204"/>
                  <a:pt x="1109" y="203"/>
                  <a:pt x="1108" y="205"/>
                </a:cubicBezTo>
                <a:close/>
                <a:moveTo>
                  <a:pt x="1996" y="894"/>
                </a:moveTo>
                <a:cubicBezTo>
                  <a:pt x="1995" y="897"/>
                  <a:pt x="1995" y="899"/>
                  <a:pt x="1993" y="902"/>
                </a:cubicBezTo>
                <a:cubicBezTo>
                  <a:pt x="1993" y="902"/>
                  <a:pt x="1992" y="903"/>
                  <a:pt x="1991" y="903"/>
                </a:cubicBezTo>
                <a:cubicBezTo>
                  <a:pt x="1988" y="904"/>
                  <a:pt x="1984" y="904"/>
                  <a:pt x="1981" y="904"/>
                </a:cubicBezTo>
                <a:cubicBezTo>
                  <a:pt x="1979" y="904"/>
                  <a:pt x="1978" y="905"/>
                  <a:pt x="1978" y="907"/>
                </a:cubicBezTo>
                <a:cubicBezTo>
                  <a:pt x="1977" y="910"/>
                  <a:pt x="1978" y="913"/>
                  <a:pt x="1977" y="917"/>
                </a:cubicBezTo>
                <a:cubicBezTo>
                  <a:pt x="1976" y="920"/>
                  <a:pt x="1978" y="922"/>
                  <a:pt x="1980" y="924"/>
                </a:cubicBezTo>
                <a:cubicBezTo>
                  <a:pt x="1982" y="927"/>
                  <a:pt x="1982" y="930"/>
                  <a:pt x="1981" y="933"/>
                </a:cubicBezTo>
                <a:cubicBezTo>
                  <a:pt x="1979" y="936"/>
                  <a:pt x="1977" y="938"/>
                  <a:pt x="1975" y="941"/>
                </a:cubicBezTo>
                <a:cubicBezTo>
                  <a:pt x="1975" y="942"/>
                  <a:pt x="1974" y="943"/>
                  <a:pt x="1973" y="943"/>
                </a:cubicBezTo>
                <a:cubicBezTo>
                  <a:pt x="1970" y="946"/>
                  <a:pt x="1971" y="952"/>
                  <a:pt x="1975" y="955"/>
                </a:cubicBezTo>
                <a:cubicBezTo>
                  <a:pt x="1980" y="958"/>
                  <a:pt x="1985" y="959"/>
                  <a:pt x="1991" y="957"/>
                </a:cubicBezTo>
                <a:cubicBezTo>
                  <a:pt x="1994" y="956"/>
                  <a:pt x="1997" y="954"/>
                  <a:pt x="2000" y="953"/>
                </a:cubicBezTo>
                <a:cubicBezTo>
                  <a:pt x="2004" y="950"/>
                  <a:pt x="2009" y="948"/>
                  <a:pt x="2015" y="947"/>
                </a:cubicBezTo>
                <a:cubicBezTo>
                  <a:pt x="2017" y="947"/>
                  <a:pt x="2019" y="945"/>
                  <a:pt x="2020" y="943"/>
                </a:cubicBezTo>
                <a:cubicBezTo>
                  <a:pt x="2024" y="937"/>
                  <a:pt x="2026" y="930"/>
                  <a:pt x="2024" y="923"/>
                </a:cubicBezTo>
                <a:cubicBezTo>
                  <a:pt x="2024" y="921"/>
                  <a:pt x="2023" y="920"/>
                  <a:pt x="2023" y="918"/>
                </a:cubicBezTo>
                <a:cubicBezTo>
                  <a:pt x="2023" y="916"/>
                  <a:pt x="2024" y="914"/>
                  <a:pt x="2025" y="912"/>
                </a:cubicBezTo>
                <a:cubicBezTo>
                  <a:pt x="2026" y="911"/>
                  <a:pt x="2026" y="910"/>
                  <a:pt x="2027" y="910"/>
                </a:cubicBezTo>
                <a:cubicBezTo>
                  <a:pt x="2031" y="906"/>
                  <a:pt x="2031" y="902"/>
                  <a:pt x="2029" y="898"/>
                </a:cubicBezTo>
                <a:cubicBezTo>
                  <a:pt x="2028" y="896"/>
                  <a:pt x="2027" y="894"/>
                  <a:pt x="2025" y="892"/>
                </a:cubicBezTo>
                <a:cubicBezTo>
                  <a:pt x="2024" y="891"/>
                  <a:pt x="2023" y="889"/>
                  <a:pt x="2021" y="889"/>
                </a:cubicBezTo>
                <a:cubicBezTo>
                  <a:pt x="2017" y="888"/>
                  <a:pt x="2013" y="888"/>
                  <a:pt x="2009" y="887"/>
                </a:cubicBezTo>
                <a:cubicBezTo>
                  <a:pt x="2007" y="887"/>
                  <a:pt x="2006" y="887"/>
                  <a:pt x="2005" y="888"/>
                </a:cubicBezTo>
                <a:cubicBezTo>
                  <a:pt x="2001" y="888"/>
                  <a:pt x="1998" y="890"/>
                  <a:pt x="1996" y="894"/>
                </a:cubicBezTo>
                <a:close/>
                <a:moveTo>
                  <a:pt x="3910" y="1031"/>
                </a:moveTo>
                <a:cubicBezTo>
                  <a:pt x="3910" y="1036"/>
                  <a:pt x="3915" y="1038"/>
                  <a:pt x="3916" y="1042"/>
                </a:cubicBezTo>
                <a:cubicBezTo>
                  <a:pt x="3918" y="1045"/>
                  <a:pt x="3919" y="1048"/>
                  <a:pt x="3920" y="1051"/>
                </a:cubicBezTo>
                <a:cubicBezTo>
                  <a:pt x="3921" y="1051"/>
                  <a:pt x="3922" y="1052"/>
                  <a:pt x="3923" y="1052"/>
                </a:cubicBezTo>
                <a:cubicBezTo>
                  <a:pt x="3927" y="1049"/>
                  <a:pt x="3930" y="1047"/>
                  <a:pt x="3934" y="1044"/>
                </a:cubicBezTo>
                <a:cubicBezTo>
                  <a:pt x="3935" y="1043"/>
                  <a:pt x="3935" y="1041"/>
                  <a:pt x="3934" y="1040"/>
                </a:cubicBezTo>
                <a:cubicBezTo>
                  <a:pt x="3930" y="1038"/>
                  <a:pt x="3926" y="1036"/>
                  <a:pt x="3922" y="1033"/>
                </a:cubicBezTo>
                <a:cubicBezTo>
                  <a:pt x="3922" y="1033"/>
                  <a:pt x="3922" y="1032"/>
                  <a:pt x="3922" y="1032"/>
                </a:cubicBezTo>
                <a:cubicBezTo>
                  <a:pt x="3924" y="1031"/>
                  <a:pt x="3926" y="1031"/>
                  <a:pt x="3928" y="1030"/>
                </a:cubicBezTo>
                <a:cubicBezTo>
                  <a:pt x="3935" y="1025"/>
                  <a:pt x="3940" y="1026"/>
                  <a:pt x="3946" y="1031"/>
                </a:cubicBezTo>
                <a:cubicBezTo>
                  <a:pt x="3949" y="1034"/>
                  <a:pt x="3953" y="1035"/>
                  <a:pt x="3957" y="1036"/>
                </a:cubicBezTo>
                <a:cubicBezTo>
                  <a:pt x="3958" y="1036"/>
                  <a:pt x="3959" y="1035"/>
                  <a:pt x="3959" y="1034"/>
                </a:cubicBezTo>
                <a:cubicBezTo>
                  <a:pt x="3960" y="1031"/>
                  <a:pt x="3960" y="1028"/>
                  <a:pt x="3961" y="1024"/>
                </a:cubicBezTo>
                <a:cubicBezTo>
                  <a:pt x="3962" y="1021"/>
                  <a:pt x="3964" y="1018"/>
                  <a:pt x="3969" y="1016"/>
                </a:cubicBezTo>
                <a:cubicBezTo>
                  <a:pt x="3972" y="1015"/>
                  <a:pt x="3976" y="1013"/>
                  <a:pt x="3979" y="1012"/>
                </a:cubicBezTo>
                <a:cubicBezTo>
                  <a:pt x="3982" y="1010"/>
                  <a:pt x="3983" y="1006"/>
                  <a:pt x="3981" y="1003"/>
                </a:cubicBezTo>
                <a:cubicBezTo>
                  <a:pt x="3979" y="1001"/>
                  <a:pt x="3978" y="999"/>
                  <a:pt x="3976" y="997"/>
                </a:cubicBezTo>
                <a:cubicBezTo>
                  <a:pt x="3974" y="995"/>
                  <a:pt x="3974" y="993"/>
                  <a:pt x="3973" y="992"/>
                </a:cubicBezTo>
                <a:cubicBezTo>
                  <a:pt x="3972" y="989"/>
                  <a:pt x="3971" y="988"/>
                  <a:pt x="3970" y="990"/>
                </a:cubicBezTo>
                <a:cubicBezTo>
                  <a:pt x="3964" y="993"/>
                  <a:pt x="3960" y="993"/>
                  <a:pt x="3954" y="991"/>
                </a:cubicBezTo>
                <a:cubicBezTo>
                  <a:pt x="3947" y="987"/>
                  <a:pt x="3941" y="983"/>
                  <a:pt x="3936" y="977"/>
                </a:cubicBezTo>
                <a:cubicBezTo>
                  <a:pt x="3932" y="973"/>
                  <a:pt x="3928" y="970"/>
                  <a:pt x="3923" y="967"/>
                </a:cubicBezTo>
                <a:cubicBezTo>
                  <a:pt x="3921" y="966"/>
                  <a:pt x="3919" y="967"/>
                  <a:pt x="3918" y="968"/>
                </a:cubicBezTo>
                <a:cubicBezTo>
                  <a:pt x="3917" y="969"/>
                  <a:pt x="3916" y="971"/>
                  <a:pt x="3917" y="973"/>
                </a:cubicBezTo>
                <a:cubicBezTo>
                  <a:pt x="3918" y="975"/>
                  <a:pt x="3919" y="978"/>
                  <a:pt x="3920" y="980"/>
                </a:cubicBezTo>
                <a:cubicBezTo>
                  <a:pt x="3921" y="983"/>
                  <a:pt x="3922" y="985"/>
                  <a:pt x="3922" y="988"/>
                </a:cubicBezTo>
                <a:cubicBezTo>
                  <a:pt x="3923" y="995"/>
                  <a:pt x="3923" y="1003"/>
                  <a:pt x="3924" y="1011"/>
                </a:cubicBezTo>
                <a:cubicBezTo>
                  <a:pt x="3924" y="1011"/>
                  <a:pt x="3922" y="1012"/>
                  <a:pt x="3921" y="1013"/>
                </a:cubicBezTo>
                <a:cubicBezTo>
                  <a:pt x="3920" y="1013"/>
                  <a:pt x="3919" y="1013"/>
                  <a:pt x="3918" y="1013"/>
                </a:cubicBezTo>
                <a:cubicBezTo>
                  <a:pt x="3915" y="1013"/>
                  <a:pt x="3915" y="1013"/>
                  <a:pt x="3915" y="1017"/>
                </a:cubicBezTo>
                <a:cubicBezTo>
                  <a:pt x="3915" y="1018"/>
                  <a:pt x="3915" y="1019"/>
                  <a:pt x="3915" y="1020"/>
                </a:cubicBezTo>
                <a:cubicBezTo>
                  <a:pt x="3913" y="1024"/>
                  <a:pt x="3910" y="1026"/>
                  <a:pt x="3910" y="1031"/>
                </a:cubicBezTo>
                <a:close/>
                <a:moveTo>
                  <a:pt x="1156" y="144"/>
                </a:moveTo>
                <a:cubicBezTo>
                  <a:pt x="1159" y="144"/>
                  <a:pt x="1162" y="144"/>
                  <a:pt x="1165" y="146"/>
                </a:cubicBezTo>
                <a:cubicBezTo>
                  <a:pt x="1165" y="146"/>
                  <a:pt x="1165" y="146"/>
                  <a:pt x="1165" y="147"/>
                </a:cubicBezTo>
                <a:cubicBezTo>
                  <a:pt x="1165" y="147"/>
                  <a:pt x="1165" y="146"/>
                  <a:pt x="1165" y="146"/>
                </a:cubicBezTo>
                <a:cubicBezTo>
                  <a:pt x="1166" y="148"/>
                  <a:pt x="1168" y="149"/>
                  <a:pt x="1169" y="150"/>
                </a:cubicBezTo>
                <a:cubicBezTo>
                  <a:pt x="1176" y="155"/>
                  <a:pt x="1180" y="161"/>
                  <a:pt x="1175" y="170"/>
                </a:cubicBezTo>
                <a:cubicBezTo>
                  <a:pt x="1174" y="172"/>
                  <a:pt x="1175" y="175"/>
                  <a:pt x="1178" y="177"/>
                </a:cubicBezTo>
                <a:cubicBezTo>
                  <a:pt x="1180" y="179"/>
                  <a:pt x="1184" y="180"/>
                  <a:pt x="1187" y="178"/>
                </a:cubicBezTo>
                <a:cubicBezTo>
                  <a:pt x="1191" y="175"/>
                  <a:pt x="1194" y="171"/>
                  <a:pt x="1195" y="166"/>
                </a:cubicBezTo>
                <a:cubicBezTo>
                  <a:pt x="1196" y="160"/>
                  <a:pt x="1198" y="154"/>
                  <a:pt x="1204" y="149"/>
                </a:cubicBezTo>
                <a:cubicBezTo>
                  <a:pt x="1205" y="148"/>
                  <a:pt x="1206" y="146"/>
                  <a:pt x="1207" y="144"/>
                </a:cubicBezTo>
                <a:cubicBezTo>
                  <a:pt x="1209" y="139"/>
                  <a:pt x="1209" y="135"/>
                  <a:pt x="1205" y="131"/>
                </a:cubicBezTo>
                <a:cubicBezTo>
                  <a:pt x="1204" y="130"/>
                  <a:pt x="1203" y="128"/>
                  <a:pt x="1204" y="126"/>
                </a:cubicBezTo>
                <a:cubicBezTo>
                  <a:pt x="1204" y="125"/>
                  <a:pt x="1204" y="124"/>
                  <a:pt x="1204" y="122"/>
                </a:cubicBezTo>
                <a:cubicBezTo>
                  <a:pt x="1204" y="115"/>
                  <a:pt x="1201" y="112"/>
                  <a:pt x="1194" y="115"/>
                </a:cubicBezTo>
                <a:cubicBezTo>
                  <a:pt x="1193" y="115"/>
                  <a:pt x="1192" y="116"/>
                  <a:pt x="1191" y="116"/>
                </a:cubicBezTo>
                <a:cubicBezTo>
                  <a:pt x="1191" y="116"/>
                  <a:pt x="1191" y="116"/>
                  <a:pt x="1191" y="116"/>
                </a:cubicBezTo>
                <a:cubicBezTo>
                  <a:pt x="1191" y="118"/>
                  <a:pt x="1191" y="118"/>
                  <a:pt x="1190" y="117"/>
                </a:cubicBezTo>
                <a:cubicBezTo>
                  <a:pt x="1191" y="117"/>
                  <a:pt x="1191" y="116"/>
                  <a:pt x="1191" y="116"/>
                </a:cubicBezTo>
                <a:cubicBezTo>
                  <a:pt x="1192" y="113"/>
                  <a:pt x="1192" y="110"/>
                  <a:pt x="1192" y="107"/>
                </a:cubicBezTo>
                <a:cubicBezTo>
                  <a:pt x="1192" y="101"/>
                  <a:pt x="1188" y="97"/>
                  <a:pt x="1183" y="97"/>
                </a:cubicBezTo>
                <a:cubicBezTo>
                  <a:pt x="1179" y="97"/>
                  <a:pt x="1176" y="98"/>
                  <a:pt x="1173" y="97"/>
                </a:cubicBezTo>
                <a:cubicBezTo>
                  <a:pt x="1172" y="97"/>
                  <a:pt x="1171" y="98"/>
                  <a:pt x="1170" y="99"/>
                </a:cubicBezTo>
                <a:cubicBezTo>
                  <a:pt x="1167" y="102"/>
                  <a:pt x="1164" y="105"/>
                  <a:pt x="1165" y="110"/>
                </a:cubicBezTo>
                <a:cubicBezTo>
                  <a:pt x="1166" y="111"/>
                  <a:pt x="1165" y="113"/>
                  <a:pt x="1165" y="115"/>
                </a:cubicBezTo>
                <a:cubicBezTo>
                  <a:pt x="1164" y="118"/>
                  <a:pt x="1164" y="118"/>
                  <a:pt x="1168" y="120"/>
                </a:cubicBezTo>
                <a:cubicBezTo>
                  <a:pt x="1168" y="120"/>
                  <a:pt x="1168" y="120"/>
                  <a:pt x="1168" y="120"/>
                </a:cubicBezTo>
                <a:cubicBezTo>
                  <a:pt x="1168" y="120"/>
                  <a:pt x="1168" y="120"/>
                  <a:pt x="1168" y="120"/>
                </a:cubicBezTo>
                <a:cubicBezTo>
                  <a:pt x="1169" y="119"/>
                  <a:pt x="1169" y="119"/>
                  <a:pt x="1169" y="119"/>
                </a:cubicBezTo>
                <a:cubicBezTo>
                  <a:pt x="1170" y="119"/>
                  <a:pt x="1169" y="119"/>
                  <a:pt x="1168" y="120"/>
                </a:cubicBezTo>
                <a:cubicBezTo>
                  <a:pt x="1168" y="120"/>
                  <a:pt x="1168" y="120"/>
                  <a:pt x="1168" y="120"/>
                </a:cubicBezTo>
                <a:cubicBezTo>
                  <a:pt x="1168" y="120"/>
                  <a:pt x="1168" y="120"/>
                  <a:pt x="1168" y="120"/>
                </a:cubicBezTo>
                <a:cubicBezTo>
                  <a:pt x="1168" y="122"/>
                  <a:pt x="1169" y="124"/>
                  <a:pt x="1169" y="126"/>
                </a:cubicBezTo>
                <a:cubicBezTo>
                  <a:pt x="1169" y="128"/>
                  <a:pt x="1168" y="129"/>
                  <a:pt x="1168" y="131"/>
                </a:cubicBezTo>
                <a:cubicBezTo>
                  <a:pt x="1167" y="133"/>
                  <a:pt x="1165" y="134"/>
                  <a:pt x="1164" y="133"/>
                </a:cubicBezTo>
                <a:cubicBezTo>
                  <a:pt x="1162" y="132"/>
                  <a:pt x="1160" y="131"/>
                  <a:pt x="1158" y="130"/>
                </a:cubicBezTo>
                <a:cubicBezTo>
                  <a:pt x="1157" y="129"/>
                  <a:pt x="1155" y="130"/>
                  <a:pt x="1154" y="131"/>
                </a:cubicBezTo>
                <a:cubicBezTo>
                  <a:pt x="1153" y="132"/>
                  <a:pt x="1152" y="134"/>
                  <a:pt x="1151" y="135"/>
                </a:cubicBezTo>
                <a:cubicBezTo>
                  <a:pt x="1149" y="139"/>
                  <a:pt x="1151" y="143"/>
                  <a:pt x="1156" y="144"/>
                </a:cubicBezTo>
                <a:close/>
                <a:moveTo>
                  <a:pt x="3637" y="1857"/>
                </a:moveTo>
                <a:cubicBezTo>
                  <a:pt x="3643" y="1857"/>
                  <a:pt x="3650" y="1858"/>
                  <a:pt x="3656" y="1861"/>
                </a:cubicBezTo>
                <a:cubicBezTo>
                  <a:pt x="3658" y="1862"/>
                  <a:pt x="3661" y="1862"/>
                  <a:pt x="3663" y="1860"/>
                </a:cubicBezTo>
                <a:cubicBezTo>
                  <a:pt x="3664" y="1858"/>
                  <a:pt x="3666" y="1859"/>
                  <a:pt x="3668" y="1859"/>
                </a:cubicBezTo>
                <a:cubicBezTo>
                  <a:pt x="3670" y="1860"/>
                  <a:pt x="3672" y="1860"/>
                  <a:pt x="3674" y="1860"/>
                </a:cubicBezTo>
                <a:cubicBezTo>
                  <a:pt x="3676" y="1860"/>
                  <a:pt x="3678" y="1858"/>
                  <a:pt x="3678" y="1856"/>
                </a:cubicBezTo>
                <a:cubicBezTo>
                  <a:pt x="3678" y="1854"/>
                  <a:pt x="3677" y="1852"/>
                  <a:pt x="3675" y="1852"/>
                </a:cubicBezTo>
                <a:cubicBezTo>
                  <a:pt x="3669" y="1852"/>
                  <a:pt x="3664" y="1851"/>
                  <a:pt x="3659" y="1847"/>
                </a:cubicBezTo>
                <a:cubicBezTo>
                  <a:pt x="3658" y="1846"/>
                  <a:pt x="3657" y="1846"/>
                  <a:pt x="3656" y="1846"/>
                </a:cubicBezTo>
                <a:cubicBezTo>
                  <a:pt x="3653" y="1846"/>
                  <a:pt x="3651" y="1846"/>
                  <a:pt x="3649" y="1846"/>
                </a:cubicBezTo>
                <a:cubicBezTo>
                  <a:pt x="3647" y="1846"/>
                  <a:pt x="3646" y="1845"/>
                  <a:pt x="3645" y="1844"/>
                </a:cubicBezTo>
                <a:cubicBezTo>
                  <a:pt x="3644" y="1843"/>
                  <a:pt x="3646" y="1841"/>
                  <a:pt x="3648" y="1841"/>
                </a:cubicBezTo>
                <a:cubicBezTo>
                  <a:pt x="3649" y="1841"/>
                  <a:pt x="3650" y="1841"/>
                  <a:pt x="3651" y="1840"/>
                </a:cubicBezTo>
                <a:cubicBezTo>
                  <a:pt x="3653" y="1840"/>
                  <a:pt x="3655" y="1840"/>
                  <a:pt x="3655" y="1838"/>
                </a:cubicBezTo>
                <a:cubicBezTo>
                  <a:pt x="3655" y="1837"/>
                  <a:pt x="3652" y="1836"/>
                  <a:pt x="3651" y="1836"/>
                </a:cubicBezTo>
                <a:cubicBezTo>
                  <a:pt x="3644" y="1835"/>
                  <a:pt x="3638" y="1835"/>
                  <a:pt x="3631" y="1833"/>
                </a:cubicBezTo>
                <a:cubicBezTo>
                  <a:pt x="3628" y="1832"/>
                  <a:pt x="3625" y="1831"/>
                  <a:pt x="3622" y="1829"/>
                </a:cubicBezTo>
                <a:cubicBezTo>
                  <a:pt x="3618" y="1827"/>
                  <a:pt x="3614" y="1827"/>
                  <a:pt x="3611" y="1832"/>
                </a:cubicBezTo>
                <a:cubicBezTo>
                  <a:pt x="3610" y="1834"/>
                  <a:pt x="3607" y="1834"/>
                  <a:pt x="3605" y="1834"/>
                </a:cubicBezTo>
                <a:cubicBezTo>
                  <a:pt x="3602" y="1834"/>
                  <a:pt x="3600" y="1834"/>
                  <a:pt x="3597" y="1834"/>
                </a:cubicBezTo>
                <a:cubicBezTo>
                  <a:pt x="3592" y="1833"/>
                  <a:pt x="3588" y="1832"/>
                  <a:pt x="3584" y="1828"/>
                </a:cubicBezTo>
                <a:cubicBezTo>
                  <a:pt x="3580" y="1823"/>
                  <a:pt x="3573" y="1822"/>
                  <a:pt x="3567" y="1822"/>
                </a:cubicBezTo>
                <a:cubicBezTo>
                  <a:pt x="3561" y="1822"/>
                  <a:pt x="3556" y="1820"/>
                  <a:pt x="3550" y="1820"/>
                </a:cubicBezTo>
                <a:cubicBezTo>
                  <a:pt x="3549" y="1825"/>
                  <a:pt x="3547" y="1828"/>
                  <a:pt x="3545" y="1832"/>
                </a:cubicBezTo>
                <a:cubicBezTo>
                  <a:pt x="3544" y="1833"/>
                  <a:pt x="3545" y="1835"/>
                  <a:pt x="3546" y="1836"/>
                </a:cubicBezTo>
                <a:cubicBezTo>
                  <a:pt x="3550" y="1837"/>
                  <a:pt x="3554" y="1837"/>
                  <a:pt x="3556" y="1841"/>
                </a:cubicBezTo>
                <a:cubicBezTo>
                  <a:pt x="3557" y="1843"/>
                  <a:pt x="3560" y="1844"/>
                  <a:pt x="3562" y="1844"/>
                </a:cubicBezTo>
                <a:cubicBezTo>
                  <a:pt x="3566" y="1844"/>
                  <a:pt x="3570" y="1845"/>
                  <a:pt x="3574" y="1847"/>
                </a:cubicBezTo>
                <a:cubicBezTo>
                  <a:pt x="3577" y="1849"/>
                  <a:pt x="3580" y="1849"/>
                  <a:pt x="3584" y="1848"/>
                </a:cubicBezTo>
                <a:cubicBezTo>
                  <a:pt x="3591" y="1848"/>
                  <a:pt x="3598" y="1848"/>
                  <a:pt x="3605" y="1852"/>
                </a:cubicBezTo>
                <a:cubicBezTo>
                  <a:pt x="3611" y="1855"/>
                  <a:pt x="3618" y="1856"/>
                  <a:pt x="3625" y="1856"/>
                </a:cubicBezTo>
                <a:cubicBezTo>
                  <a:pt x="3629" y="1857"/>
                  <a:pt x="3633" y="1857"/>
                  <a:pt x="3637" y="1857"/>
                </a:cubicBezTo>
                <a:close/>
                <a:moveTo>
                  <a:pt x="3757" y="1469"/>
                </a:moveTo>
                <a:cubicBezTo>
                  <a:pt x="3754" y="1469"/>
                  <a:pt x="3750" y="1469"/>
                  <a:pt x="3746" y="1467"/>
                </a:cubicBezTo>
                <a:cubicBezTo>
                  <a:pt x="3741" y="1465"/>
                  <a:pt x="3738" y="1469"/>
                  <a:pt x="3736" y="1473"/>
                </a:cubicBezTo>
                <a:cubicBezTo>
                  <a:pt x="3735" y="1475"/>
                  <a:pt x="3735" y="1477"/>
                  <a:pt x="3735" y="1479"/>
                </a:cubicBezTo>
                <a:cubicBezTo>
                  <a:pt x="3734" y="1485"/>
                  <a:pt x="3733" y="1491"/>
                  <a:pt x="3733" y="1497"/>
                </a:cubicBezTo>
                <a:cubicBezTo>
                  <a:pt x="3733" y="1500"/>
                  <a:pt x="3732" y="1501"/>
                  <a:pt x="3730" y="1503"/>
                </a:cubicBezTo>
                <a:cubicBezTo>
                  <a:pt x="3729" y="1503"/>
                  <a:pt x="3729" y="1505"/>
                  <a:pt x="3729" y="1506"/>
                </a:cubicBezTo>
                <a:cubicBezTo>
                  <a:pt x="3730" y="1511"/>
                  <a:pt x="3731" y="1517"/>
                  <a:pt x="3733" y="1522"/>
                </a:cubicBezTo>
                <a:cubicBezTo>
                  <a:pt x="3735" y="1525"/>
                  <a:pt x="3737" y="1528"/>
                  <a:pt x="3741" y="1529"/>
                </a:cubicBezTo>
                <a:cubicBezTo>
                  <a:pt x="3741" y="1529"/>
                  <a:pt x="3741" y="1529"/>
                  <a:pt x="3741" y="1529"/>
                </a:cubicBezTo>
                <a:cubicBezTo>
                  <a:pt x="3741" y="1528"/>
                  <a:pt x="3742" y="1528"/>
                  <a:pt x="3742" y="1529"/>
                </a:cubicBezTo>
                <a:cubicBezTo>
                  <a:pt x="3742" y="1529"/>
                  <a:pt x="3742" y="1529"/>
                  <a:pt x="3741" y="1529"/>
                </a:cubicBezTo>
                <a:cubicBezTo>
                  <a:pt x="3741" y="1529"/>
                  <a:pt x="3741" y="1529"/>
                  <a:pt x="3741" y="1529"/>
                </a:cubicBezTo>
                <a:cubicBezTo>
                  <a:pt x="3741" y="1534"/>
                  <a:pt x="3742" y="1538"/>
                  <a:pt x="3748" y="1540"/>
                </a:cubicBezTo>
                <a:cubicBezTo>
                  <a:pt x="3749" y="1540"/>
                  <a:pt x="3750" y="1541"/>
                  <a:pt x="3751" y="1542"/>
                </a:cubicBezTo>
                <a:cubicBezTo>
                  <a:pt x="3751" y="1542"/>
                  <a:pt x="3751" y="1542"/>
                  <a:pt x="3751" y="1542"/>
                </a:cubicBezTo>
                <a:cubicBezTo>
                  <a:pt x="3751" y="1542"/>
                  <a:pt x="3751" y="1542"/>
                  <a:pt x="3752" y="1542"/>
                </a:cubicBezTo>
                <a:cubicBezTo>
                  <a:pt x="3751" y="1542"/>
                  <a:pt x="3751" y="1542"/>
                  <a:pt x="3751" y="1542"/>
                </a:cubicBezTo>
                <a:cubicBezTo>
                  <a:pt x="3753" y="1541"/>
                  <a:pt x="3755" y="1540"/>
                  <a:pt x="3758" y="1539"/>
                </a:cubicBezTo>
                <a:cubicBezTo>
                  <a:pt x="3759" y="1538"/>
                  <a:pt x="3761" y="1538"/>
                  <a:pt x="3762" y="1539"/>
                </a:cubicBezTo>
                <a:cubicBezTo>
                  <a:pt x="3763" y="1540"/>
                  <a:pt x="3764" y="1541"/>
                  <a:pt x="3765" y="1542"/>
                </a:cubicBezTo>
                <a:cubicBezTo>
                  <a:pt x="3768" y="1544"/>
                  <a:pt x="3771" y="1545"/>
                  <a:pt x="3775" y="1542"/>
                </a:cubicBezTo>
                <a:cubicBezTo>
                  <a:pt x="3774" y="1542"/>
                  <a:pt x="3774" y="1542"/>
                  <a:pt x="3774" y="1542"/>
                </a:cubicBezTo>
                <a:cubicBezTo>
                  <a:pt x="3775" y="1542"/>
                  <a:pt x="3775" y="1542"/>
                  <a:pt x="3775" y="1542"/>
                </a:cubicBezTo>
                <a:cubicBezTo>
                  <a:pt x="3775" y="1542"/>
                  <a:pt x="3775" y="1542"/>
                  <a:pt x="3775" y="1542"/>
                </a:cubicBezTo>
                <a:cubicBezTo>
                  <a:pt x="3775" y="1542"/>
                  <a:pt x="3775" y="1542"/>
                  <a:pt x="3775" y="1542"/>
                </a:cubicBezTo>
                <a:cubicBezTo>
                  <a:pt x="3776" y="1543"/>
                  <a:pt x="3778" y="1544"/>
                  <a:pt x="3778" y="1545"/>
                </a:cubicBezTo>
                <a:cubicBezTo>
                  <a:pt x="3779" y="1549"/>
                  <a:pt x="3781" y="1552"/>
                  <a:pt x="3785" y="1553"/>
                </a:cubicBezTo>
                <a:cubicBezTo>
                  <a:pt x="3787" y="1554"/>
                  <a:pt x="3786" y="1555"/>
                  <a:pt x="3785" y="1557"/>
                </a:cubicBezTo>
                <a:cubicBezTo>
                  <a:pt x="3780" y="1561"/>
                  <a:pt x="3780" y="1562"/>
                  <a:pt x="3786" y="1564"/>
                </a:cubicBezTo>
                <a:cubicBezTo>
                  <a:pt x="3787" y="1565"/>
                  <a:pt x="3789" y="1566"/>
                  <a:pt x="3790" y="1566"/>
                </a:cubicBezTo>
                <a:cubicBezTo>
                  <a:pt x="3791" y="1566"/>
                  <a:pt x="3793" y="1565"/>
                  <a:pt x="3793" y="1565"/>
                </a:cubicBezTo>
                <a:cubicBezTo>
                  <a:pt x="3792" y="1561"/>
                  <a:pt x="3794" y="1558"/>
                  <a:pt x="3794" y="1554"/>
                </a:cubicBezTo>
                <a:cubicBezTo>
                  <a:pt x="3794" y="1553"/>
                  <a:pt x="3793" y="1551"/>
                  <a:pt x="3792" y="1550"/>
                </a:cubicBezTo>
                <a:cubicBezTo>
                  <a:pt x="3790" y="1548"/>
                  <a:pt x="3788" y="1546"/>
                  <a:pt x="3788" y="1543"/>
                </a:cubicBezTo>
                <a:cubicBezTo>
                  <a:pt x="3787" y="1538"/>
                  <a:pt x="3784" y="1536"/>
                  <a:pt x="3780" y="1534"/>
                </a:cubicBezTo>
                <a:cubicBezTo>
                  <a:pt x="3778" y="1533"/>
                  <a:pt x="3776" y="1531"/>
                  <a:pt x="3774" y="1530"/>
                </a:cubicBezTo>
                <a:cubicBezTo>
                  <a:pt x="3772" y="1529"/>
                  <a:pt x="3770" y="1529"/>
                  <a:pt x="3768" y="1529"/>
                </a:cubicBezTo>
                <a:cubicBezTo>
                  <a:pt x="3767" y="1530"/>
                  <a:pt x="3766" y="1530"/>
                  <a:pt x="3765" y="1530"/>
                </a:cubicBezTo>
                <a:cubicBezTo>
                  <a:pt x="3764" y="1531"/>
                  <a:pt x="3764" y="1531"/>
                  <a:pt x="3763" y="1531"/>
                </a:cubicBezTo>
                <a:cubicBezTo>
                  <a:pt x="3762" y="1531"/>
                  <a:pt x="3761" y="1530"/>
                  <a:pt x="3760" y="1530"/>
                </a:cubicBezTo>
                <a:cubicBezTo>
                  <a:pt x="3759" y="1529"/>
                  <a:pt x="3759" y="1528"/>
                  <a:pt x="3760" y="1526"/>
                </a:cubicBezTo>
                <a:cubicBezTo>
                  <a:pt x="3763" y="1521"/>
                  <a:pt x="3763" y="1521"/>
                  <a:pt x="3758" y="1520"/>
                </a:cubicBezTo>
                <a:cubicBezTo>
                  <a:pt x="3756" y="1520"/>
                  <a:pt x="3755" y="1519"/>
                  <a:pt x="3755" y="1517"/>
                </a:cubicBezTo>
                <a:cubicBezTo>
                  <a:pt x="3755" y="1514"/>
                  <a:pt x="3755" y="1510"/>
                  <a:pt x="3758" y="1508"/>
                </a:cubicBezTo>
                <a:cubicBezTo>
                  <a:pt x="3758" y="1506"/>
                  <a:pt x="3760" y="1505"/>
                  <a:pt x="3761" y="1504"/>
                </a:cubicBezTo>
                <a:cubicBezTo>
                  <a:pt x="3765" y="1498"/>
                  <a:pt x="3767" y="1491"/>
                  <a:pt x="3763" y="1484"/>
                </a:cubicBezTo>
                <a:cubicBezTo>
                  <a:pt x="3761" y="1480"/>
                  <a:pt x="3760" y="1476"/>
                  <a:pt x="3761" y="1471"/>
                </a:cubicBezTo>
                <a:cubicBezTo>
                  <a:pt x="3761" y="1470"/>
                  <a:pt x="3760" y="1468"/>
                  <a:pt x="3757" y="1469"/>
                </a:cubicBezTo>
                <a:close/>
                <a:moveTo>
                  <a:pt x="4029" y="2417"/>
                </a:moveTo>
                <a:cubicBezTo>
                  <a:pt x="4024" y="2418"/>
                  <a:pt x="4019" y="2418"/>
                  <a:pt x="4013" y="2420"/>
                </a:cubicBezTo>
                <a:cubicBezTo>
                  <a:pt x="4009" y="2421"/>
                  <a:pt x="4005" y="2420"/>
                  <a:pt x="4001" y="2417"/>
                </a:cubicBezTo>
                <a:cubicBezTo>
                  <a:pt x="3999" y="2415"/>
                  <a:pt x="3996" y="2413"/>
                  <a:pt x="3994" y="2411"/>
                </a:cubicBezTo>
                <a:cubicBezTo>
                  <a:pt x="3992" y="2410"/>
                  <a:pt x="3990" y="2410"/>
                  <a:pt x="3989" y="2410"/>
                </a:cubicBezTo>
                <a:cubicBezTo>
                  <a:pt x="3987" y="2410"/>
                  <a:pt x="3985" y="2413"/>
                  <a:pt x="3985" y="2415"/>
                </a:cubicBezTo>
                <a:cubicBezTo>
                  <a:pt x="3985" y="2416"/>
                  <a:pt x="3985" y="2417"/>
                  <a:pt x="3985" y="2418"/>
                </a:cubicBezTo>
                <a:cubicBezTo>
                  <a:pt x="3984" y="2428"/>
                  <a:pt x="3986" y="2438"/>
                  <a:pt x="3983" y="2447"/>
                </a:cubicBezTo>
                <a:cubicBezTo>
                  <a:pt x="3983" y="2448"/>
                  <a:pt x="3983" y="2449"/>
                  <a:pt x="3983" y="2452"/>
                </a:cubicBezTo>
                <a:cubicBezTo>
                  <a:pt x="3983" y="2455"/>
                  <a:pt x="3984" y="2460"/>
                  <a:pt x="3985" y="2465"/>
                </a:cubicBezTo>
                <a:cubicBezTo>
                  <a:pt x="3986" y="2471"/>
                  <a:pt x="3990" y="2473"/>
                  <a:pt x="3995" y="2474"/>
                </a:cubicBezTo>
                <a:cubicBezTo>
                  <a:pt x="3996" y="2475"/>
                  <a:pt x="3998" y="2475"/>
                  <a:pt x="3999" y="2474"/>
                </a:cubicBezTo>
                <a:cubicBezTo>
                  <a:pt x="4001" y="2473"/>
                  <a:pt x="4003" y="2471"/>
                  <a:pt x="4005" y="2469"/>
                </a:cubicBezTo>
                <a:cubicBezTo>
                  <a:pt x="4007" y="2466"/>
                  <a:pt x="4010" y="2465"/>
                  <a:pt x="4014" y="2466"/>
                </a:cubicBezTo>
                <a:cubicBezTo>
                  <a:pt x="4016" y="2466"/>
                  <a:pt x="4018" y="2465"/>
                  <a:pt x="4019" y="2463"/>
                </a:cubicBezTo>
                <a:cubicBezTo>
                  <a:pt x="4021" y="2456"/>
                  <a:pt x="4022" y="2449"/>
                  <a:pt x="4028" y="2444"/>
                </a:cubicBezTo>
                <a:cubicBezTo>
                  <a:pt x="4029" y="2443"/>
                  <a:pt x="4029" y="2442"/>
                  <a:pt x="4029" y="2441"/>
                </a:cubicBezTo>
                <a:cubicBezTo>
                  <a:pt x="4031" y="2436"/>
                  <a:pt x="4032" y="2430"/>
                  <a:pt x="4034" y="2425"/>
                </a:cubicBezTo>
                <a:cubicBezTo>
                  <a:pt x="4034" y="2424"/>
                  <a:pt x="4034" y="2423"/>
                  <a:pt x="4034" y="2422"/>
                </a:cubicBezTo>
                <a:cubicBezTo>
                  <a:pt x="4035" y="2419"/>
                  <a:pt x="4032" y="2416"/>
                  <a:pt x="4029" y="2417"/>
                </a:cubicBezTo>
                <a:close/>
                <a:moveTo>
                  <a:pt x="1102" y="1453"/>
                </a:moveTo>
                <a:cubicBezTo>
                  <a:pt x="1104" y="1452"/>
                  <a:pt x="1105" y="1449"/>
                  <a:pt x="1103" y="1447"/>
                </a:cubicBezTo>
                <a:cubicBezTo>
                  <a:pt x="1102" y="1446"/>
                  <a:pt x="1100" y="1444"/>
                  <a:pt x="1098" y="1443"/>
                </a:cubicBezTo>
                <a:cubicBezTo>
                  <a:pt x="1087" y="1438"/>
                  <a:pt x="1077" y="1432"/>
                  <a:pt x="1066" y="1428"/>
                </a:cubicBezTo>
                <a:cubicBezTo>
                  <a:pt x="1062" y="1427"/>
                  <a:pt x="1058" y="1425"/>
                  <a:pt x="1055" y="1423"/>
                </a:cubicBezTo>
                <a:cubicBezTo>
                  <a:pt x="1051" y="1421"/>
                  <a:pt x="1048" y="1419"/>
                  <a:pt x="1043" y="1417"/>
                </a:cubicBezTo>
                <a:cubicBezTo>
                  <a:pt x="1041" y="1417"/>
                  <a:pt x="1039" y="1416"/>
                  <a:pt x="1038" y="1414"/>
                </a:cubicBezTo>
                <a:cubicBezTo>
                  <a:pt x="1033" y="1410"/>
                  <a:pt x="1027" y="1408"/>
                  <a:pt x="1021" y="1408"/>
                </a:cubicBezTo>
                <a:cubicBezTo>
                  <a:pt x="1016" y="1408"/>
                  <a:pt x="1012" y="1407"/>
                  <a:pt x="1008" y="1406"/>
                </a:cubicBezTo>
                <a:cubicBezTo>
                  <a:pt x="1006" y="1405"/>
                  <a:pt x="1003" y="1404"/>
                  <a:pt x="1000" y="1404"/>
                </a:cubicBezTo>
                <a:cubicBezTo>
                  <a:pt x="993" y="1406"/>
                  <a:pt x="985" y="1407"/>
                  <a:pt x="978" y="1410"/>
                </a:cubicBezTo>
                <a:cubicBezTo>
                  <a:pt x="971" y="1413"/>
                  <a:pt x="968" y="1419"/>
                  <a:pt x="963" y="1425"/>
                </a:cubicBezTo>
                <a:cubicBezTo>
                  <a:pt x="963" y="1425"/>
                  <a:pt x="964" y="1426"/>
                  <a:pt x="965" y="1426"/>
                </a:cubicBezTo>
                <a:cubicBezTo>
                  <a:pt x="967" y="1426"/>
                  <a:pt x="969" y="1426"/>
                  <a:pt x="971" y="1425"/>
                </a:cubicBezTo>
                <a:cubicBezTo>
                  <a:pt x="979" y="1421"/>
                  <a:pt x="988" y="1420"/>
                  <a:pt x="995" y="1415"/>
                </a:cubicBezTo>
                <a:cubicBezTo>
                  <a:pt x="996" y="1414"/>
                  <a:pt x="1000" y="1415"/>
                  <a:pt x="1001" y="1416"/>
                </a:cubicBezTo>
                <a:cubicBezTo>
                  <a:pt x="1002" y="1419"/>
                  <a:pt x="1004" y="1421"/>
                  <a:pt x="1007" y="1421"/>
                </a:cubicBezTo>
                <a:cubicBezTo>
                  <a:pt x="1010" y="1422"/>
                  <a:pt x="1014" y="1423"/>
                  <a:pt x="1018" y="1424"/>
                </a:cubicBezTo>
                <a:cubicBezTo>
                  <a:pt x="1021" y="1424"/>
                  <a:pt x="1023" y="1425"/>
                  <a:pt x="1026" y="1426"/>
                </a:cubicBezTo>
                <a:cubicBezTo>
                  <a:pt x="1031" y="1429"/>
                  <a:pt x="1036" y="1430"/>
                  <a:pt x="1041" y="1430"/>
                </a:cubicBezTo>
                <a:cubicBezTo>
                  <a:pt x="1044" y="1431"/>
                  <a:pt x="1047" y="1432"/>
                  <a:pt x="1048" y="1435"/>
                </a:cubicBezTo>
                <a:cubicBezTo>
                  <a:pt x="1050" y="1441"/>
                  <a:pt x="1054" y="1443"/>
                  <a:pt x="1060" y="1444"/>
                </a:cubicBezTo>
                <a:cubicBezTo>
                  <a:pt x="1061" y="1444"/>
                  <a:pt x="1061" y="1445"/>
                  <a:pt x="1062" y="1445"/>
                </a:cubicBezTo>
                <a:cubicBezTo>
                  <a:pt x="1063" y="1445"/>
                  <a:pt x="1064" y="1447"/>
                  <a:pt x="1063" y="1449"/>
                </a:cubicBezTo>
                <a:cubicBezTo>
                  <a:pt x="1062" y="1450"/>
                  <a:pt x="1062" y="1451"/>
                  <a:pt x="1061" y="1452"/>
                </a:cubicBezTo>
                <a:cubicBezTo>
                  <a:pt x="1060" y="1454"/>
                  <a:pt x="1061" y="1456"/>
                  <a:pt x="1063" y="1456"/>
                </a:cubicBezTo>
                <a:cubicBezTo>
                  <a:pt x="1067" y="1457"/>
                  <a:pt x="1071" y="1456"/>
                  <a:pt x="1078" y="1456"/>
                </a:cubicBezTo>
                <a:cubicBezTo>
                  <a:pt x="1085" y="1459"/>
                  <a:pt x="1093" y="1455"/>
                  <a:pt x="1102" y="1453"/>
                </a:cubicBezTo>
                <a:close/>
                <a:moveTo>
                  <a:pt x="2988" y="136"/>
                </a:moveTo>
                <a:cubicBezTo>
                  <a:pt x="2988" y="137"/>
                  <a:pt x="2988" y="139"/>
                  <a:pt x="2988" y="138"/>
                </a:cubicBezTo>
                <a:cubicBezTo>
                  <a:pt x="2988" y="142"/>
                  <a:pt x="2987" y="144"/>
                  <a:pt x="2988" y="145"/>
                </a:cubicBezTo>
                <a:cubicBezTo>
                  <a:pt x="2989" y="151"/>
                  <a:pt x="2990" y="157"/>
                  <a:pt x="2992" y="163"/>
                </a:cubicBezTo>
                <a:cubicBezTo>
                  <a:pt x="2993" y="167"/>
                  <a:pt x="2995" y="171"/>
                  <a:pt x="2998" y="174"/>
                </a:cubicBezTo>
                <a:cubicBezTo>
                  <a:pt x="2999" y="175"/>
                  <a:pt x="3000" y="175"/>
                  <a:pt x="3001" y="175"/>
                </a:cubicBezTo>
                <a:cubicBezTo>
                  <a:pt x="3002" y="174"/>
                  <a:pt x="3003" y="174"/>
                  <a:pt x="3004" y="173"/>
                </a:cubicBezTo>
                <a:cubicBezTo>
                  <a:pt x="3010" y="164"/>
                  <a:pt x="3010" y="164"/>
                  <a:pt x="3022" y="157"/>
                </a:cubicBezTo>
                <a:cubicBezTo>
                  <a:pt x="3025" y="155"/>
                  <a:pt x="3028" y="152"/>
                  <a:pt x="3031" y="150"/>
                </a:cubicBezTo>
                <a:cubicBezTo>
                  <a:pt x="3032" y="148"/>
                  <a:pt x="3034" y="145"/>
                  <a:pt x="3035" y="143"/>
                </a:cubicBezTo>
                <a:cubicBezTo>
                  <a:pt x="3036" y="141"/>
                  <a:pt x="3036" y="139"/>
                  <a:pt x="3035" y="138"/>
                </a:cubicBezTo>
                <a:cubicBezTo>
                  <a:pt x="3034" y="135"/>
                  <a:pt x="3033" y="133"/>
                  <a:pt x="3031" y="131"/>
                </a:cubicBezTo>
                <a:cubicBezTo>
                  <a:pt x="3030" y="127"/>
                  <a:pt x="3027" y="124"/>
                  <a:pt x="3023" y="123"/>
                </a:cubicBezTo>
                <a:cubicBezTo>
                  <a:pt x="3018" y="122"/>
                  <a:pt x="3013" y="119"/>
                  <a:pt x="3008" y="117"/>
                </a:cubicBezTo>
                <a:cubicBezTo>
                  <a:pt x="3003" y="115"/>
                  <a:pt x="2998" y="114"/>
                  <a:pt x="2993" y="110"/>
                </a:cubicBezTo>
                <a:cubicBezTo>
                  <a:pt x="2992" y="109"/>
                  <a:pt x="2989" y="109"/>
                  <a:pt x="2987" y="108"/>
                </a:cubicBezTo>
                <a:cubicBezTo>
                  <a:pt x="2986" y="108"/>
                  <a:pt x="2985" y="109"/>
                  <a:pt x="2984" y="109"/>
                </a:cubicBezTo>
                <a:cubicBezTo>
                  <a:pt x="2982" y="114"/>
                  <a:pt x="2979" y="119"/>
                  <a:pt x="2983" y="125"/>
                </a:cubicBezTo>
                <a:cubicBezTo>
                  <a:pt x="2985" y="128"/>
                  <a:pt x="2986" y="132"/>
                  <a:pt x="2988" y="136"/>
                </a:cubicBezTo>
                <a:close/>
                <a:moveTo>
                  <a:pt x="3815" y="1593"/>
                </a:moveTo>
                <a:cubicBezTo>
                  <a:pt x="3815" y="1594"/>
                  <a:pt x="3815" y="1594"/>
                  <a:pt x="3815" y="1595"/>
                </a:cubicBezTo>
                <a:cubicBezTo>
                  <a:pt x="3814" y="1598"/>
                  <a:pt x="3814" y="1602"/>
                  <a:pt x="3812" y="1604"/>
                </a:cubicBezTo>
                <a:cubicBezTo>
                  <a:pt x="3810" y="1607"/>
                  <a:pt x="3807" y="1608"/>
                  <a:pt x="3805" y="1611"/>
                </a:cubicBezTo>
                <a:cubicBezTo>
                  <a:pt x="3803" y="1612"/>
                  <a:pt x="3803" y="1613"/>
                  <a:pt x="3801" y="1614"/>
                </a:cubicBezTo>
                <a:cubicBezTo>
                  <a:pt x="3800" y="1615"/>
                  <a:pt x="3799" y="1616"/>
                  <a:pt x="3798" y="1617"/>
                </a:cubicBezTo>
                <a:cubicBezTo>
                  <a:pt x="3796" y="1619"/>
                  <a:pt x="3795" y="1618"/>
                  <a:pt x="3794" y="1616"/>
                </a:cubicBezTo>
                <a:cubicBezTo>
                  <a:pt x="3790" y="1613"/>
                  <a:pt x="3788" y="1611"/>
                  <a:pt x="3783" y="1616"/>
                </a:cubicBezTo>
                <a:cubicBezTo>
                  <a:pt x="3780" y="1619"/>
                  <a:pt x="3777" y="1621"/>
                  <a:pt x="3773" y="1622"/>
                </a:cubicBezTo>
                <a:cubicBezTo>
                  <a:pt x="3769" y="1624"/>
                  <a:pt x="3768" y="1628"/>
                  <a:pt x="3768" y="1632"/>
                </a:cubicBezTo>
                <a:cubicBezTo>
                  <a:pt x="3768" y="1632"/>
                  <a:pt x="3768" y="1633"/>
                  <a:pt x="3768" y="1633"/>
                </a:cubicBezTo>
                <a:cubicBezTo>
                  <a:pt x="3768" y="1635"/>
                  <a:pt x="3768" y="1636"/>
                  <a:pt x="3769" y="1636"/>
                </a:cubicBezTo>
                <a:cubicBezTo>
                  <a:pt x="3769" y="1637"/>
                  <a:pt x="3771" y="1636"/>
                  <a:pt x="3772" y="1636"/>
                </a:cubicBezTo>
                <a:cubicBezTo>
                  <a:pt x="3773" y="1634"/>
                  <a:pt x="3775" y="1633"/>
                  <a:pt x="3776" y="1631"/>
                </a:cubicBezTo>
                <a:cubicBezTo>
                  <a:pt x="3781" y="1632"/>
                  <a:pt x="3786" y="1632"/>
                  <a:pt x="3791" y="1630"/>
                </a:cubicBezTo>
                <a:cubicBezTo>
                  <a:pt x="3792" y="1630"/>
                  <a:pt x="3796" y="1632"/>
                  <a:pt x="3796" y="1634"/>
                </a:cubicBezTo>
                <a:cubicBezTo>
                  <a:pt x="3796" y="1636"/>
                  <a:pt x="3796" y="1638"/>
                  <a:pt x="3796" y="1640"/>
                </a:cubicBezTo>
                <a:cubicBezTo>
                  <a:pt x="3796" y="1648"/>
                  <a:pt x="3800" y="1653"/>
                  <a:pt x="3807" y="1655"/>
                </a:cubicBezTo>
                <a:cubicBezTo>
                  <a:pt x="3810" y="1656"/>
                  <a:pt x="3813" y="1656"/>
                  <a:pt x="3815" y="1656"/>
                </a:cubicBezTo>
                <a:cubicBezTo>
                  <a:pt x="3817" y="1656"/>
                  <a:pt x="3818" y="1655"/>
                  <a:pt x="3819" y="1654"/>
                </a:cubicBezTo>
                <a:cubicBezTo>
                  <a:pt x="3821" y="1653"/>
                  <a:pt x="3821" y="1650"/>
                  <a:pt x="3821" y="1648"/>
                </a:cubicBezTo>
                <a:cubicBezTo>
                  <a:pt x="3820" y="1645"/>
                  <a:pt x="3818" y="1642"/>
                  <a:pt x="3819" y="1639"/>
                </a:cubicBezTo>
                <a:cubicBezTo>
                  <a:pt x="3819" y="1638"/>
                  <a:pt x="3821" y="1637"/>
                  <a:pt x="3821" y="1637"/>
                </a:cubicBezTo>
                <a:cubicBezTo>
                  <a:pt x="3822" y="1637"/>
                  <a:pt x="3823" y="1639"/>
                  <a:pt x="3824" y="1639"/>
                </a:cubicBezTo>
                <a:cubicBezTo>
                  <a:pt x="3826" y="1642"/>
                  <a:pt x="3826" y="1642"/>
                  <a:pt x="3828" y="1640"/>
                </a:cubicBezTo>
                <a:cubicBezTo>
                  <a:pt x="3832" y="1637"/>
                  <a:pt x="3833" y="1633"/>
                  <a:pt x="3832" y="1629"/>
                </a:cubicBezTo>
                <a:cubicBezTo>
                  <a:pt x="3830" y="1623"/>
                  <a:pt x="3829" y="1618"/>
                  <a:pt x="3828" y="1613"/>
                </a:cubicBezTo>
                <a:cubicBezTo>
                  <a:pt x="3827" y="1609"/>
                  <a:pt x="3826" y="1606"/>
                  <a:pt x="3824" y="1604"/>
                </a:cubicBezTo>
                <a:cubicBezTo>
                  <a:pt x="3821" y="1601"/>
                  <a:pt x="3818" y="1599"/>
                  <a:pt x="3817" y="1595"/>
                </a:cubicBezTo>
                <a:cubicBezTo>
                  <a:pt x="3817" y="1593"/>
                  <a:pt x="3816" y="1593"/>
                  <a:pt x="3815" y="1593"/>
                </a:cubicBezTo>
                <a:close/>
                <a:moveTo>
                  <a:pt x="1109" y="1481"/>
                </a:moveTo>
                <a:cubicBezTo>
                  <a:pt x="1112" y="1481"/>
                  <a:pt x="1115" y="1480"/>
                  <a:pt x="1118" y="1480"/>
                </a:cubicBezTo>
                <a:cubicBezTo>
                  <a:pt x="1122" y="1481"/>
                  <a:pt x="1126" y="1481"/>
                  <a:pt x="1130" y="1482"/>
                </a:cubicBezTo>
                <a:cubicBezTo>
                  <a:pt x="1133" y="1482"/>
                  <a:pt x="1135" y="1486"/>
                  <a:pt x="1138" y="1487"/>
                </a:cubicBezTo>
                <a:cubicBezTo>
                  <a:pt x="1138" y="1488"/>
                  <a:pt x="1140" y="1488"/>
                  <a:pt x="1141" y="1487"/>
                </a:cubicBezTo>
                <a:cubicBezTo>
                  <a:pt x="1142" y="1487"/>
                  <a:pt x="1142" y="1486"/>
                  <a:pt x="1143" y="1485"/>
                </a:cubicBezTo>
                <a:cubicBezTo>
                  <a:pt x="1146" y="1481"/>
                  <a:pt x="1149" y="1479"/>
                  <a:pt x="1154" y="1480"/>
                </a:cubicBezTo>
                <a:cubicBezTo>
                  <a:pt x="1156" y="1480"/>
                  <a:pt x="1158" y="1480"/>
                  <a:pt x="1159" y="1480"/>
                </a:cubicBezTo>
                <a:cubicBezTo>
                  <a:pt x="1165" y="1476"/>
                  <a:pt x="1172" y="1477"/>
                  <a:pt x="1178" y="1478"/>
                </a:cubicBezTo>
                <a:cubicBezTo>
                  <a:pt x="1179" y="1478"/>
                  <a:pt x="1180" y="1478"/>
                  <a:pt x="1181" y="1478"/>
                </a:cubicBezTo>
                <a:cubicBezTo>
                  <a:pt x="1182" y="1477"/>
                  <a:pt x="1184" y="1475"/>
                  <a:pt x="1184" y="1474"/>
                </a:cubicBezTo>
                <a:cubicBezTo>
                  <a:pt x="1184" y="1473"/>
                  <a:pt x="1184" y="1472"/>
                  <a:pt x="1183" y="1471"/>
                </a:cubicBezTo>
                <a:cubicBezTo>
                  <a:pt x="1177" y="1467"/>
                  <a:pt x="1171" y="1463"/>
                  <a:pt x="1166" y="1459"/>
                </a:cubicBezTo>
                <a:cubicBezTo>
                  <a:pt x="1164" y="1457"/>
                  <a:pt x="1162" y="1457"/>
                  <a:pt x="1160" y="1456"/>
                </a:cubicBezTo>
                <a:cubicBezTo>
                  <a:pt x="1152" y="1454"/>
                  <a:pt x="1145" y="1453"/>
                  <a:pt x="1137" y="1455"/>
                </a:cubicBezTo>
                <a:cubicBezTo>
                  <a:pt x="1135" y="1456"/>
                  <a:pt x="1132" y="1455"/>
                  <a:pt x="1129" y="1454"/>
                </a:cubicBezTo>
                <a:cubicBezTo>
                  <a:pt x="1129" y="1453"/>
                  <a:pt x="1128" y="1452"/>
                  <a:pt x="1127" y="1452"/>
                </a:cubicBezTo>
                <a:cubicBezTo>
                  <a:pt x="1125" y="1451"/>
                  <a:pt x="1122" y="1452"/>
                  <a:pt x="1120" y="1455"/>
                </a:cubicBezTo>
                <a:cubicBezTo>
                  <a:pt x="1119" y="1457"/>
                  <a:pt x="1119" y="1458"/>
                  <a:pt x="1121" y="1459"/>
                </a:cubicBezTo>
                <a:cubicBezTo>
                  <a:pt x="1124" y="1462"/>
                  <a:pt x="1124" y="1466"/>
                  <a:pt x="1125" y="1469"/>
                </a:cubicBezTo>
                <a:cubicBezTo>
                  <a:pt x="1126" y="1471"/>
                  <a:pt x="1125" y="1472"/>
                  <a:pt x="1122" y="1471"/>
                </a:cubicBezTo>
                <a:cubicBezTo>
                  <a:pt x="1119" y="1469"/>
                  <a:pt x="1118" y="1472"/>
                  <a:pt x="1117" y="1472"/>
                </a:cubicBezTo>
                <a:cubicBezTo>
                  <a:pt x="1112" y="1473"/>
                  <a:pt x="1108" y="1473"/>
                  <a:pt x="1104" y="1474"/>
                </a:cubicBezTo>
                <a:cubicBezTo>
                  <a:pt x="1103" y="1474"/>
                  <a:pt x="1102" y="1476"/>
                  <a:pt x="1103" y="1476"/>
                </a:cubicBezTo>
                <a:cubicBezTo>
                  <a:pt x="1104" y="1479"/>
                  <a:pt x="1106" y="1481"/>
                  <a:pt x="1109" y="1481"/>
                </a:cubicBezTo>
                <a:close/>
                <a:moveTo>
                  <a:pt x="1280" y="381"/>
                </a:moveTo>
                <a:cubicBezTo>
                  <a:pt x="1282" y="384"/>
                  <a:pt x="1281" y="388"/>
                  <a:pt x="1280" y="391"/>
                </a:cubicBezTo>
                <a:cubicBezTo>
                  <a:pt x="1279" y="398"/>
                  <a:pt x="1286" y="403"/>
                  <a:pt x="1291" y="403"/>
                </a:cubicBezTo>
                <a:cubicBezTo>
                  <a:pt x="1294" y="403"/>
                  <a:pt x="1297" y="402"/>
                  <a:pt x="1300" y="402"/>
                </a:cubicBezTo>
                <a:cubicBezTo>
                  <a:pt x="1303" y="401"/>
                  <a:pt x="1305" y="402"/>
                  <a:pt x="1307" y="404"/>
                </a:cubicBezTo>
                <a:cubicBezTo>
                  <a:pt x="1311" y="404"/>
                  <a:pt x="1315" y="405"/>
                  <a:pt x="1318" y="405"/>
                </a:cubicBezTo>
                <a:cubicBezTo>
                  <a:pt x="1320" y="405"/>
                  <a:pt x="1322" y="403"/>
                  <a:pt x="1322" y="402"/>
                </a:cubicBezTo>
                <a:cubicBezTo>
                  <a:pt x="1321" y="396"/>
                  <a:pt x="1321" y="390"/>
                  <a:pt x="1319" y="384"/>
                </a:cubicBezTo>
                <a:cubicBezTo>
                  <a:pt x="1317" y="378"/>
                  <a:pt x="1313" y="373"/>
                  <a:pt x="1307" y="372"/>
                </a:cubicBezTo>
                <a:cubicBezTo>
                  <a:pt x="1301" y="371"/>
                  <a:pt x="1295" y="369"/>
                  <a:pt x="1290" y="366"/>
                </a:cubicBezTo>
                <a:cubicBezTo>
                  <a:pt x="1288" y="365"/>
                  <a:pt x="1286" y="366"/>
                  <a:pt x="1285" y="368"/>
                </a:cubicBezTo>
                <a:cubicBezTo>
                  <a:pt x="1283" y="370"/>
                  <a:pt x="1282" y="372"/>
                  <a:pt x="1281" y="374"/>
                </a:cubicBezTo>
                <a:cubicBezTo>
                  <a:pt x="1281" y="376"/>
                  <a:pt x="1280" y="379"/>
                  <a:pt x="1280" y="381"/>
                </a:cubicBezTo>
                <a:close/>
                <a:moveTo>
                  <a:pt x="1281" y="374"/>
                </a:moveTo>
                <a:cubicBezTo>
                  <a:pt x="1281" y="374"/>
                  <a:pt x="1281" y="374"/>
                  <a:pt x="1281" y="374"/>
                </a:cubicBezTo>
                <a:cubicBezTo>
                  <a:pt x="1281" y="374"/>
                  <a:pt x="1281" y="375"/>
                  <a:pt x="1280" y="375"/>
                </a:cubicBezTo>
                <a:cubicBezTo>
                  <a:pt x="1280" y="375"/>
                  <a:pt x="1280" y="375"/>
                  <a:pt x="1280" y="375"/>
                </a:cubicBezTo>
                <a:cubicBezTo>
                  <a:pt x="1281" y="375"/>
                  <a:pt x="1281" y="375"/>
                  <a:pt x="1281" y="374"/>
                </a:cubicBezTo>
                <a:close/>
                <a:moveTo>
                  <a:pt x="3199" y="1601"/>
                </a:moveTo>
                <a:cubicBezTo>
                  <a:pt x="3198" y="1600"/>
                  <a:pt x="3196" y="1599"/>
                  <a:pt x="3194" y="1599"/>
                </a:cubicBezTo>
                <a:cubicBezTo>
                  <a:pt x="3193" y="1599"/>
                  <a:pt x="3192" y="1599"/>
                  <a:pt x="3192" y="1600"/>
                </a:cubicBezTo>
                <a:cubicBezTo>
                  <a:pt x="3192" y="1602"/>
                  <a:pt x="3194" y="1604"/>
                  <a:pt x="3193" y="1605"/>
                </a:cubicBezTo>
                <a:cubicBezTo>
                  <a:pt x="3189" y="1611"/>
                  <a:pt x="3190" y="1619"/>
                  <a:pt x="3189" y="1624"/>
                </a:cubicBezTo>
                <a:cubicBezTo>
                  <a:pt x="3188" y="1634"/>
                  <a:pt x="3190" y="1642"/>
                  <a:pt x="3194" y="1649"/>
                </a:cubicBezTo>
                <a:cubicBezTo>
                  <a:pt x="3195" y="1653"/>
                  <a:pt x="3199" y="1655"/>
                  <a:pt x="3203" y="1655"/>
                </a:cubicBezTo>
                <a:cubicBezTo>
                  <a:pt x="3214" y="1654"/>
                  <a:pt x="3222" y="1642"/>
                  <a:pt x="3218" y="1631"/>
                </a:cubicBezTo>
                <a:cubicBezTo>
                  <a:pt x="3214" y="1619"/>
                  <a:pt x="3207" y="1609"/>
                  <a:pt x="3199" y="1601"/>
                </a:cubicBezTo>
                <a:close/>
                <a:moveTo>
                  <a:pt x="1208" y="179"/>
                </a:moveTo>
                <a:cubicBezTo>
                  <a:pt x="1208" y="182"/>
                  <a:pt x="1210" y="183"/>
                  <a:pt x="1212" y="183"/>
                </a:cubicBezTo>
                <a:cubicBezTo>
                  <a:pt x="1218" y="185"/>
                  <a:pt x="1224" y="185"/>
                  <a:pt x="1230" y="184"/>
                </a:cubicBezTo>
                <a:cubicBezTo>
                  <a:pt x="1231" y="184"/>
                  <a:pt x="1233" y="182"/>
                  <a:pt x="1234" y="181"/>
                </a:cubicBezTo>
                <a:cubicBezTo>
                  <a:pt x="1236" y="179"/>
                  <a:pt x="1235" y="175"/>
                  <a:pt x="1238" y="173"/>
                </a:cubicBezTo>
                <a:cubicBezTo>
                  <a:pt x="1238" y="173"/>
                  <a:pt x="1238" y="173"/>
                  <a:pt x="1238" y="173"/>
                </a:cubicBezTo>
                <a:cubicBezTo>
                  <a:pt x="1238" y="173"/>
                  <a:pt x="1238" y="173"/>
                  <a:pt x="1238" y="172"/>
                </a:cubicBezTo>
                <a:cubicBezTo>
                  <a:pt x="1237" y="173"/>
                  <a:pt x="1237" y="173"/>
                  <a:pt x="1237" y="173"/>
                </a:cubicBezTo>
                <a:cubicBezTo>
                  <a:pt x="1240" y="169"/>
                  <a:pt x="1241" y="165"/>
                  <a:pt x="1238" y="161"/>
                </a:cubicBezTo>
                <a:cubicBezTo>
                  <a:pt x="1234" y="156"/>
                  <a:pt x="1232" y="151"/>
                  <a:pt x="1230" y="146"/>
                </a:cubicBezTo>
                <a:cubicBezTo>
                  <a:pt x="1229" y="145"/>
                  <a:pt x="1228" y="143"/>
                  <a:pt x="1227" y="142"/>
                </a:cubicBezTo>
                <a:cubicBezTo>
                  <a:pt x="1226" y="140"/>
                  <a:pt x="1222" y="139"/>
                  <a:pt x="1220" y="141"/>
                </a:cubicBezTo>
                <a:cubicBezTo>
                  <a:pt x="1214" y="147"/>
                  <a:pt x="1209" y="153"/>
                  <a:pt x="1210" y="162"/>
                </a:cubicBezTo>
                <a:cubicBezTo>
                  <a:pt x="1210" y="166"/>
                  <a:pt x="1208" y="168"/>
                  <a:pt x="1207" y="171"/>
                </a:cubicBezTo>
                <a:cubicBezTo>
                  <a:pt x="1206" y="174"/>
                  <a:pt x="1207" y="177"/>
                  <a:pt x="1208" y="179"/>
                </a:cubicBezTo>
                <a:close/>
                <a:moveTo>
                  <a:pt x="2494" y="176"/>
                </a:moveTo>
                <a:cubicBezTo>
                  <a:pt x="2489" y="176"/>
                  <a:pt x="2488" y="179"/>
                  <a:pt x="2488" y="183"/>
                </a:cubicBezTo>
                <a:cubicBezTo>
                  <a:pt x="2492" y="184"/>
                  <a:pt x="2492" y="184"/>
                  <a:pt x="2492" y="187"/>
                </a:cubicBezTo>
                <a:cubicBezTo>
                  <a:pt x="2492" y="189"/>
                  <a:pt x="2491" y="190"/>
                  <a:pt x="2491" y="192"/>
                </a:cubicBezTo>
                <a:cubicBezTo>
                  <a:pt x="2491" y="196"/>
                  <a:pt x="2494" y="199"/>
                  <a:pt x="2498" y="200"/>
                </a:cubicBezTo>
                <a:cubicBezTo>
                  <a:pt x="2500" y="200"/>
                  <a:pt x="2501" y="201"/>
                  <a:pt x="2503" y="201"/>
                </a:cubicBezTo>
                <a:cubicBezTo>
                  <a:pt x="2505" y="201"/>
                  <a:pt x="2507" y="200"/>
                  <a:pt x="2508" y="198"/>
                </a:cubicBezTo>
                <a:cubicBezTo>
                  <a:pt x="2510" y="196"/>
                  <a:pt x="2512" y="194"/>
                  <a:pt x="2512" y="191"/>
                </a:cubicBezTo>
                <a:cubicBezTo>
                  <a:pt x="2512" y="189"/>
                  <a:pt x="2512" y="186"/>
                  <a:pt x="2514" y="185"/>
                </a:cubicBezTo>
                <a:cubicBezTo>
                  <a:pt x="2518" y="182"/>
                  <a:pt x="2519" y="176"/>
                  <a:pt x="2523" y="173"/>
                </a:cubicBezTo>
                <a:cubicBezTo>
                  <a:pt x="2525" y="171"/>
                  <a:pt x="2525" y="168"/>
                  <a:pt x="2523" y="166"/>
                </a:cubicBezTo>
                <a:cubicBezTo>
                  <a:pt x="2521" y="163"/>
                  <a:pt x="2519" y="160"/>
                  <a:pt x="2516" y="157"/>
                </a:cubicBezTo>
                <a:cubicBezTo>
                  <a:pt x="2516" y="156"/>
                  <a:pt x="2514" y="156"/>
                  <a:pt x="2513" y="156"/>
                </a:cubicBezTo>
                <a:cubicBezTo>
                  <a:pt x="2508" y="157"/>
                  <a:pt x="2507" y="158"/>
                  <a:pt x="2507" y="164"/>
                </a:cubicBezTo>
                <a:cubicBezTo>
                  <a:pt x="2507" y="168"/>
                  <a:pt x="2505" y="171"/>
                  <a:pt x="2501" y="173"/>
                </a:cubicBezTo>
                <a:cubicBezTo>
                  <a:pt x="2501" y="173"/>
                  <a:pt x="2501" y="173"/>
                  <a:pt x="2501" y="173"/>
                </a:cubicBezTo>
                <a:cubicBezTo>
                  <a:pt x="2501" y="173"/>
                  <a:pt x="2501" y="173"/>
                  <a:pt x="2501" y="173"/>
                </a:cubicBezTo>
                <a:cubicBezTo>
                  <a:pt x="2501" y="173"/>
                  <a:pt x="2501" y="173"/>
                  <a:pt x="2501" y="173"/>
                </a:cubicBezTo>
                <a:cubicBezTo>
                  <a:pt x="2499" y="175"/>
                  <a:pt x="2497" y="175"/>
                  <a:pt x="2494" y="176"/>
                </a:cubicBezTo>
                <a:close/>
                <a:moveTo>
                  <a:pt x="3738" y="1360"/>
                </a:moveTo>
                <a:cubicBezTo>
                  <a:pt x="3737" y="1359"/>
                  <a:pt x="3735" y="1359"/>
                  <a:pt x="3735" y="1360"/>
                </a:cubicBezTo>
                <a:cubicBezTo>
                  <a:pt x="3732" y="1362"/>
                  <a:pt x="3730" y="1364"/>
                  <a:pt x="3728" y="1367"/>
                </a:cubicBezTo>
                <a:cubicBezTo>
                  <a:pt x="3726" y="1370"/>
                  <a:pt x="3724" y="1374"/>
                  <a:pt x="3723" y="1377"/>
                </a:cubicBezTo>
                <a:cubicBezTo>
                  <a:pt x="3721" y="1381"/>
                  <a:pt x="3720" y="1386"/>
                  <a:pt x="3720" y="1390"/>
                </a:cubicBezTo>
                <a:cubicBezTo>
                  <a:pt x="3720" y="1398"/>
                  <a:pt x="3721" y="1404"/>
                  <a:pt x="3728" y="1409"/>
                </a:cubicBezTo>
                <a:cubicBezTo>
                  <a:pt x="3730" y="1411"/>
                  <a:pt x="3731" y="1413"/>
                  <a:pt x="3732" y="1414"/>
                </a:cubicBezTo>
                <a:cubicBezTo>
                  <a:pt x="3733" y="1415"/>
                  <a:pt x="3734" y="1415"/>
                  <a:pt x="3735" y="1413"/>
                </a:cubicBezTo>
                <a:cubicBezTo>
                  <a:pt x="3736" y="1411"/>
                  <a:pt x="3736" y="1407"/>
                  <a:pt x="3737" y="1405"/>
                </a:cubicBezTo>
                <a:cubicBezTo>
                  <a:pt x="3741" y="1399"/>
                  <a:pt x="3741" y="1392"/>
                  <a:pt x="3742" y="1385"/>
                </a:cubicBezTo>
                <a:cubicBezTo>
                  <a:pt x="3742" y="1379"/>
                  <a:pt x="3743" y="1374"/>
                  <a:pt x="3744" y="1368"/>
                </a:cubicBezTo>
                <a:cubicBezTo>
                  <a:pt x="3744" y="1365"/>
                  <a:pt x="3742" y="1361"/>
                  <a:pt x="3738" y="1360"/>
                </a:cubicBezTo>
                <a:close/>
                <a:moveTo>
                  <a:pt x="2551" y="151"/>
                </a:moveTo>
                <a:cubicBezTo>
                  <a:pt x="2552" y="151"/>
                  <a:pt x="2553" y="152"/>
                  <a:pt x="2554" y="153"/>
                </a:cubicBezTo>
                <a:cubicBezTo>
                  <a:pt x="2554" y="153"/>
                  <a:pt x="2554" y="153"/>
                  <a:pt x="2554" y="152"/>
                </a:cubicBezTo>
                <a:cubicBezTo>
                  <a:pt x="2554" y="153"/>
                  <a:pt x="2554" y="153"/>
                  <a:pt x="2554" y="153"/>
                </a:cubicBezTo>
                <a:cubicBezTo>
                  <a:pt x="2554" y="153"/>
                  <a:pt x="2554" y="153"/>
                  <a:pt x="2554" y="153"/>
                </a:cubicBezTo>
                <a:cubicBezTo>
                  <a:pt x="2554" y="153"/>
                  <a:pt x="2554" y="153"/>
                  <a:pt x="2554" y="153"/>
                </a:cubicBezTo>
                <a:cubicBezTo>
                  <a:pt x="2552" y="153"/>
                  <a:pt x="2550" y="154"/>
                  <a:pt x="2548" y="155"/>
                </a:cubicBezTo>
                <a:cubicBezTo>
                  <a:pt x="2547" y="155"/>
                  <a:pt x="2546" y="156"/>
                  <a:pt x="2546" y="157"/>
                </a:cubicBezTo>
                <a:cubicBezTo>
                  <a:pt x="2546" y="158"/>
                  <a:pt x="2547" y="159"/>
                  <a:pt x="2548" y="160"/>
                </a:cubicBezTo>
                <a:cubicBezTo>
                  <a:pt x="2552" y="162"/>
                  <a:pt x="2557" y="161"/>
                  <a:pt x="2562" y="164"/>
                </a:cubicBezTo>
                <a:cubicBezTo>
                  <a:pt x="2563" y="165"/>
                  <a:pt x="2565" y="164"/>
                  <a:pt x="2566" y="164"/>
                </a:cubicBezTo>
                <a:cubicBezTo>
                  <a:pt x="2567" y="163"/>
                  <a:pt x="2569" y="163"/>
                  <a:pt x="2569" y="162"/>
                </a:cubicBezTo>
                <a:cubicBezTo>
                  <a:pt x="2571" y="157"/>
                  <a:pt x="2575" y="154"/>
                  <a:pt x="2579" y="151"/>
                </a:cubicBezTo>
                <a:cubicBezTo>
                  <a:pt x="2581" y="150"/>
                  <a:pt x="2581" y="148"/>
                  <a:pt x="2578" y="144"/>
                </a:cubicBezTo>
                <a:cubicBezTo>
                  <a:pt x="2578" y="144"/>
                  <a:pt x="2578" y="144"/>
                  <a:pt x="2577" y="143"/>
                </a:cubicBezTo>
                <a:cubicBezTo>
                  <a:pt x="2578" y="143"/>
                  <a:pt x="2578" y="143"/>
                  <a:pt x="2578" y="143"/>
                </a:cubicBezTo>
                <a:cubicBezTo>
                  <a:pt x="2577" y="143"/>
                  <a:pt x="2577" y="143"/>
                  <a:pt x="2577" y="143"/>
                </a:cubicBezTo>
                <a:cubicBezTo>
                  <a:pt x="2577" y="143"/>
                  <a:pt x="2577" y="143"/>
                  <a:pt x="2577" y="143"/>
                </a:cubicBezTo>
                <a:cubicBezTo>
                  <a:pt x="2576" y="144"/>
                  <a:pt x="2575" y="144"/>
                  <a:pt x="2574" y="143"/>
                </a:cubicBezTo>
                <a:cubicBezTo>
                  <a:pt x="2574" y="143"/>
                  <a:pt x="2574" y="143"/>
                  <a:pt x="2574" y="143"/>
                </a:cubicBezTo>
                <a:cubicBezTo>
                  <a:pt x="2574" y="143"/>
                  <a:pt x="2574" y="143"/>
                  <a:pt x="2574" y="143"/>
                </a:cubicBezTo>
                <a:cubicBezTo>
                  <a:pt x="2574" y="143"/>
                  <a:pt x="2574" y="143"/>
                  <a:pt x="2574" y="143"/>
                </a:cubicBezTo>
                <a:cubicBezTo>
                  <a:pt x="2572" y="142"/>
                  <a:pt x="2570" y="142"/>
                  <a:pt x="2568" y="141"/>
                </a:cubicBezTo>
                <a:cubicBezTo>
                  <a:pt x="2567" y="140"/>
                  <a:pt x="2566" y="139"/>
                  <a:pt x="2566" y="138"/>
                </a:cubicBezTo>
                <a:cubicBezTo>
                  <a:pt x="2568" y="131"/>
                  <a:pt x="2563" y="125"/>
                  <a:pt x="2565" y="119"/>
                </a:cubicBezTo>
                <a:cubicBezTo>
                  <a:pt x="2566" y="118"/>
                  <a:pt x="2565" y="117"/>
                  <a:pt x="2564" y="116"/>
                </a:cubicBezTo>
                <a:cubicBezTo>
                  <a:pt x="2559" y="113"/>
                  <a:pt x="2554" y="115"/>
                  <a:pt x="2554" y="120"/>
                </a:cubicBezTo>
                <a:cubicBezTo>
                  <a:pt x="2554" y="126"/>
                  <a:pt x="2554" y="131"/>
                  <a:pt x="2550" y="136"/>
                </a:cubicBezTo>
                <a:cubicBezTo>
                  <a:pt x="2549" y="138"/>
                  <a:pt x="2550" y="139"/>
                  <a:pt x="2552" y="140"/>
                </a:cubicBezTo>
                <a:cubicBezTo>
                  <a:pt x="2553" y="140"/>
                  <a:pt x="2553" y="140"/>
                  <a:pt x="2553" y="141"/>
                </a:cubicBezTo>
                <a:cubicBezTo>
                  <a:pt x="2554" y="142"/>
                  <a:pt x="2553" y="142"/>
                  <a:pt x="2551" y="143"/>
                </a:cubicBezTo>
                <a:cubicBezTo>
                  <a:pt x="2549" y="143"/>
                  <a:pt x="2545" y="142"/>
                  <a:pt x="2545" y="146"/>
                </a:cubicBezTo>
                <a:cubicBezTo>
                  <a:pt x="2544" y="150"/>
                  <a:pt x="2549" y="150"/>
                  <a:pt x="2551" y="151"/>
                </a:cubicBezTo>
                <a:close/>
                <a:moveTo>
                  <a:pt x="2564" y="147"/>
                </a:moveTo>
                <a:cubicBezTo>
                  <a:pt x="2564" y="147"/>
                  <a:pt x="2564" y="147"/>
                  <a:pt x="2564" y="147"/>
                </a:cubicBezTo>
                <a:cubicBezTo>
                  <a:pt x="2563" y="147"/>
                  <a:pt x="2563" y="147"/>
                  <a:pt x="2563" y="147"/>
                </a:cubicBezTo>
                <a:cubicBezTo>
                  <a:pt x="2563" y="146"/>
                  <a:pt x="2563" y="146"/>
                  <a:pt x="2563" y="146"/>
                </a:cubicBezTo>
                <a:lnTo>
                  <a:pt x="2564" y="147"/>
                </a:lnTo>
                <a:close/>
                <a:moveTo>
                  <a:pt x="1154" y="282"/>
                </a:moveTo>
                <a:cubicBezTo>
                  <a:pt x="1151" y="284"/>
                  <a:pt x="1151" y="289"/>
                  <a:pt x="1154" y="292"/>
                </a:cubicBezTo>
                <a:cubicBezTo>
                  <a:pt x="1158" y="295"/>
                  <a:pt x="1162" y="299"/>
                  <a:pt x="1166" y="302"/>
                </a:cubicBezTo>
                <a:cubicBezTo>
                  <a:pt x="1167" y="303"/>
                  <a:pt x="1168" y="303"/>
                  <a:pt x="1169" y="304"/>
                </a:cubicBezTo>
                <a:cubicBezTo>
                  <a:pt x="1172" y="305"/>
                  <a:pt x="1176" y="304"/>
                  <a:pt x="1177" y="301"/>
                </a:cubicBezTo>
                <a:cubicBezTo>
                  <a:pt x="1179" y="297"/>
                  <a:pt x="1180" y="292"/>
                  <a:pt x="1182" y="288"/>
                </a:cubicBezTo>
                <a:cubicBezTo>
                  <a:pt x="1182" y="286"/>
                  <a:pt x="1183" y="284"/>
                  <a:pt x="1183" y="282"/>
                </a:cubicBezTo>
                <a:cubicBezTo>
                  <a:pt x="1183" y="277"/>
                  <a:pt x="1181" y="273"/>
                  <a:pt x="1178" y="270"/>
                </a:cubicBezTo>
                <a:cubicBezTo>
                  <a:pt x="1176" y="268"/>
                  <a:pt x="1173" y="268"/>
                  <a:pt x="1170" y="268"/>
                </a:cubicBezTo>
                <a:cubicBezTo>
                  <a:pt x="1168" y="269"/>
                  <a:pt x="1167" y="269"/>
                  <a:pt x="1165" y="269"/>
                </a:cubicBezTo>
                <a:cubicBezTo>
                  <a:pt x="1162" y="274"/>
                  <a:pt x="1158" y="278"/>
                  <a:pt x="1154" y="282"/>
                </a:cubicBezTo>
                <a:close/>
                <a:moveTo>
                  <a:pt x="1165" y="269"/>
                </a:moveTo>
                <a:cubicBezTo>
                  <a:pt x="1165" y="269"/>
                  <a:pt x="1165" y="268"/>
                  <a:pt x="1165" y="268"/>
                </a:cubicBezTo>
                <a:cubicBezTo>
                  <a:pt x="1165" y="268"/>
                  <a:pt x="1165" y="268"/>
                  <a:pt x="1165" y="268"/>
                </a:cubicBezTo>
                <a:cubicBezTo>
                  <a:pt x="1165" y="269"/>
                  <a:pt x="1165" y="269"/>
                  <a:pt x="1165" y="269"/>
                </a:cubicBezTo>
                <a:cubicBezTo>
                  <a:pt x="1165" y="269"/>
                  <a:pt x="1165" y="269"/>
                  <a:pt x="1165" y="269"/>
                </a:cubicBezTo>
                <a:close/>
                <a:moveTo>
                  <a:pt x="3512" y="120"/>
                </a:moveTo>
                <a:cubicBezTo>
                  <a:pt x="3520" y="124"/>
                  <a:pt x="3529" y="125"/>
                  <a:pt x="3537" y="126"/>
                </a:cubicBezTo>
                <a:cubicBezTo>
                  <a:pt x="3539" y="126"/>
                  <a:pt x="3542" y="126"/>
                  <a:pt x="3544" y="125"/>
                </a:cubicBezTo>
                <a:cubicBezTo>
                  <a:pt x="3548" y="124"/>
                  <a:pt x="3552" y="122"/>
                  <a:pt x="3553" y="117"/>
                </a:cubicBezTo>
                <a:cubicBezTo>
                  <a:pt x="3553" y="116"/>
                  <a:pt x="3553" y="113"/>
                  <a:pt x="3553" y="112"/>
                </a:cubicBezTo>
                <a:cubicBezTo>
                  <a:pt x="3550" y="108"/>
                  <a:pt x="3546" y="105"/>
                  <a:pt x="3541" y="105"/>
                </a:cubicBezTo>
                <a:cubicBezTo>
                  <a:pt x="3537" y="105"/>
                  <a:pt x="3534" y="107"/>
                  <a:pt x="3530" y="107"/>
                </a:cubicBezTo>
                <a:cubicBezTo>
                  <a:pt x="3526" y="107"/>
                  <a:pt x="3521" y="107"/>
                  <a:pt x="3517" y="106"/>
                </a:cubicBezTo>
                <a:cubicBezTo>
                  <a:pt x="3516" y="106"/>
                  <a:pt x="3515" y="107"/>
                  <a:pt x="3514" y="107"/>
                </a:cubicBezTo>
                <a:cubicBezTo>
                  <a:pt x="3511" y="109"/>
                  <a:pt x="3509" y="109"/>
                  <a:pt x="3506" y="108"/>
                </a:cubicBezTo>
                <a:cubicBezTo>
                  <a:pt x="3505" y="108"/>
                  <a:pt x="3504" y="111"/>
                  <a:pt x="3504" y="112"/>
                </a:cubicBezTo>
                <a:cubicBezTo>
                  <a:pt x="3506" y="115"/>
                  <a:pt x="3508" y="119"/>
                  <a:pt x="3512" y="120"/>
                </a:cubicBezTo>
                <a:close/>
                <a:moveTo>
                  <a:pt x="4183" y="1797"/>
                </a:moveTo>
                <a:cubicBezTo>
                  <a:pt x="4179" y="1796"/>
                  <a:pt x="4176" y="1797"/>
                  <a:pt x="4175" y="1802"/>
                </a:cubicBezTo>
                <a:cubicBezTo>
                  <a:pt x="4173" y="1808"/>
                  <a:pt x="4169" y="1811"/>
                  <a:pt x="4164" y="1813"/>
                </a:cubicBezTo>
                <a:cubicBezTo>
                  <a:pt x="4161" y="1814"/>
                  <a:pt x="4157" y="1813"/>
                  <a:pt x="4155" y="1811"/>
                </a:cubicBezTo>
                <a:cubicBezTo>
                  <a:pt x="4155" y="1810"/>
                  <a:pt x="4155" y="1810"/>
                  <a:pt x="4155" y="1810"/>
                </a:cubicBezTo>
                <a:cubicBezTo>
                  <a:pt x="4155" y="1810"/>
                  <a:pt x="4155" y="1810"/>
                  <a:pt x="4155" y="1810"/>
                </a:cubicBezTo>
                <a:cubicBezTo>
                  <a:pt x="4155" y="1811"/>
                  <a:pt x="4155" y="1811"/>
                  <a:pt x="4155" y="1811"/>
                </a:cubicBezTo>
                <a:cubicBezTo>
                  <a:pt x="4150" y="1812"/>
                  <a:pt x="4145" y="1814"/>
                  <a:pt x="4139" y="1813"/>
                </a:cubicBezTo>
                <a:cubicBezTo>
                  <a:pt x="4138" y="1813"/>
                  <a:pt x="4137" y="1813"/>
                  <a:pt x="4136" y="1813"/>
                </a:cubicBezTo>
                <a:cubicBezTo>
                  <a:pt x="4135" y="1813"/>
                  <a:pt x="4134" y="1813"/>
                  <a:pt x="4133" y="1814"/>
                </a:cubicBezTo>
                <a:cubicBezTo>
                  <a:pt x="4132" y="1814"/>
                  <a:pt x="4131" y="1815"/>
                  <a:pt x="4130" y="1816"/>
                </a:cubicBezTo>
                <a:cubicBezTo>
                  <a:pt x="4130" y="1817"/>
                  <a:pt x="4130" y="1818"/>
                  <a:pt x="4131" y="1819"/>
                </a:cubicBezTo>
                <a:cubicBezTo>
                  <a:pt x="4141" y="1827"/>
                  <a:pt x="4153" y="1828"/>
                  <a:pt x="4165" y="1826"/>
                </a:cubicBezTo>
                <a:cubicBezTo>
                  <a:pt x="4166" y="1826"/>
                  <a:pt x="4167" y="1825"/>
                  <a:pt x="4168" y="1825"/>
                </a:cubicBezTo>
                <a:cubicBezTo>
                  <a:pt x="4173" y="1822"/>
                  <a:pt x="4176" y="1817"/>
                  <a:pt x="4181" y="1815"/>
                </a:cubicBezTo>
                <a:cubicBezTo>
                  <a:pt x="4182" y="1815"/>
                  <a:pt x="4183" y="1813"/>
                  <a:pt x="4183" y="1813"/>
                </a:cubicBezTo>
                <a:cubicBezTo>
                  <a:pt x="4183" y="1809"/>
                  <a:pt x="4186" y="1807"/>
                  <a:pt x="4187" y="1804"/>
                </a:cubicBezTo>
                <a:cubicBezTo>
                  <a:pt x="4189" y="1801"/>
                  <a:pt x="4187" y="1797"/>
                  <a:pt x="4183" y="1797"/>
                </a:cubicBezTo>
                <a:close/>
                <a:moveTo>
                  <a:pt x="1076" y="115"/>
                </a:moveTo>
                <a:cubicBezTo>
                  <a:pt x="1080" y="116"/>
                  <a:pt x="1084" y="118"/>
                  <a:pt x="1087" y="122"/>
                </a:cubicBezTo>
                <a:cubicBezTo>
                  <a:pt x="1091" y="122"/>
                  <a:pt x="1093" y="126"/>
                  <a:pt x="1096" y="128"/>
                </a:cubicBezTo>
                <a:cubicBezTo>
                  <a:pt x="1103" y="132"/>
                  <a:pt x="1111" y="128"/>
                  <a:pt x="1112" y="121"/>
                </a:cubicBezTo>
                <a:cubicBezTo>
                  <a:pt x="1113" y="119"/>
                  <a:pt x="1113" y="116"/>
                  <a:pt x="1113" y="114"/>
                </a:cubicBezTo>
                <a:cubicBezTo>
                  <a:pt x="1113" y="114"/>
                  <a:pt x="1113" y="113"/>
                  <a:pt x="1113" y="113"/>
                </a:cubicBezTo>
                <a:cubicBezTo>
                  <a:pt x="1114" y="107"/>
                  <a:pt x="1111" y="104"/>
                  <a:pt x="1106" y="105"/>
                </a:cubicBezTo>
                <a:cubicBezTo>
                  <a:pt x="1101" y="106"/>
                  <a:pt x="1096" y="107"/>
                  <a:pt x="1091" y="106"/>
                </a:cubicBezTo>
                <a:cubicBezTo>
                  <a:pt x="1087" y="106"/>
                  <a:pt x="1084" y="107"/>
                  <a:pt x="1080" y="108"/>
                </a:cubicBezTo>
                <a:cubicBezTo>
                  <a:pt x="1078" y="108"/>
                  <a:pt x="1077" y="109"/>
                  <a:pt x="1076" y="110"/>
                </a:cubicBezTo>
                <a:cubicBezTo>
                  <a:pt x="1075" y="111"/>
                  <a:pt x="1074" y="112"/>
                  <a:pt x="1074" y="113"/>
                </a:cubicBezTo>
                <a:cubicBezTo>
                  <a:pt x="1075" y="114"/>
                  <a:pt x="1075" y="115"/>
                  <a:pt x="1076" y="115"/>
                </a:cubicBezTo>
                <a:close/>
                <a:moveTo>
                  <a:pt x="3493" y="211"/>
                </a:moveTo>
                <a:cubicBezTo>
                  <a:pt x="3493" y="211"/>
                  <a:pt x="3494" y="211"/>
                  <a:pt x="3495" y="211"/>
                </a:cubicBezTo>
                <a:cubicBezTo>
                  <a:pt x="3499" y="208"/>
                  <a:pt x="3504" y="207"/>
                  <a:pt x="3510" y="207"/>
                </a:cubicBezTo>
                <a:cubicBezTo>
                  <a:pt x="3516" y="207"/>
                  <a:pt x="3522" y="206"/>
                  <a:pt x="3528" y="205"/>
                </a:cubicBezTo>
                <a:cubicBezTo>
                  <a:pt x="3531" y="205"/>
                  <a:pt x="3532" y="201"/>
                  <a:pt x="3530" y="199"/>
                </a:cubicBezTo>
                <a:cubicBezTo>
                  <a:pt x="3527" y="194"/>
                  <a:pt x="3524" y="190"/>
                  <a:pt x="3518" y="189"/>
                </a:cubicBezTo>
                <a:cubicBezTo>
                  <a:pt x="3515" y="188"/>
                  <a:pt x="3513" y="186"/>
                  <a:pt x="3510" y="186"/>
                </a:cubicBezTo>
                <a:cubicBezTo>
                  <a:pt x="3508" y="185"/>
                  <a:pt x="3505" y="185"/>
                  <a:pt x="3502" y="185"/>
                </a:cubicBezTo>
                <a:cubicBezTo>
                  <a:pt x="3500" y="186"/>
                  <a:pt x="3496" y="188"/>
                  <a:pt x="3496" y="190"/>
                </a:cubicBezTo>
                <a:cubicBezTo>
                  <a:pt x="3495" y="194"/>
                  <a:pt x="3495" y="197"/>
                  <a:pt x="3494" y="203"/>
                </a:cubicBezTo>
                <a:cubicBezTo>
                  <a:pt x="3494" y="203"/>
                  <a:pt x="3493" y="206"/>
                  <a:pt x="3492" y="210"/>
                </a:cubicBezTo>
                <a:cubicBezTo>
                  <a:pt x="3492" y="210"/>
                  <a:pt x="3493" y="211"/>
                  <a:pt x="3493" y="211"/>
                </a:cubicBezTo>
                <a:close/>
                <a:moveTo>
                  <a:pt x="3598" y="1466"/>
                </a:moveTo>
                <a:cubicBezTo>
                  <a:pt x="3601" y="1462"/>
                  <a:pt x="3604" y="1457"/>
                  <a:pt x="3604" y="1451"/>
                </a:cubicBezTo>
                <a:cubicBezTo>
                  <a:pt x="3605" y="1450"/>
                  <a:pt x="3603" y="1448"/>
                  <a:pt x="3602" y="1447"/>
                </a:cubicBezTo>
                <a:cubicBezTo>
                  <a:pt x="3600" y="1446"/>
                  <a:pt x="3598" y="1446"/>
                  <a:pt x="3597" y="1445"/>
                </a:cubicBezTo>
                <a:cubicBezTo>
                  <a:pt x="3595" y="1445"/>
                  <a:pt x="3595" y="1445"/>
                  <a:pt x="3594" y="1445"/>
                </a:cubicBezTo>
                <a:cubicBezTo>
                  <a:pt x="3586" y="1445"/>
                  <a:pt x="3580" y="1448"/>
                  <a:pt x="3574" y="1455"/>
                </a:cubicBezTo>
                <a:cubicBezTo>
                  <a:pt x="3574" y="1456"/>
                  <a:pt x="3573" y="1457"/>
                  <a:pt x="3573" y="1458"/>
                </a:cubicBezTo>
                <a:cubicBezTo>
                  <a:pt x="3572" y="1464"/>
                  <a:pt x="3575" y="1470"/>
                  <a:pt x="3581" y="1472"/>
                </a:cubicBezTo>
                <a:cubicBezTo>
                  <a:pt x="3586" y="1474"/>
                  <a:pt x="3595" y="1472"/>
                  <a:pt x="3598" y="1466"/>
                </a:cubicBezTo>
                <a:close/>
                <a:moveTo>
                  <a:pt x="2200" y="1145"/>
                </a:moveTo>
                <a:cubicBezTo>
                  <a:pt x="2203" y="1151"/>
                  <a:pt x="2203" y="1158"/>
                  <a:pt x="2203" y="1164"/>
                </a:cubicBezTo>
                <a:cubicBezTo>
                  <a:pt x="2203" y="1174"/>
                  <a:pt x="2208" y="1176"/>
                  <a:pt x="2217" y="1171"/>
                </a:cubicBezTo>
                <a:cubicBezTo>
                  <a:pt x="2219" y="1169"/>
                  <a:pt x="2220" y="1168"/>
                  <a:pt x="2220" y="1165"/>
                </a:cubicBezTo>
                <a:cubicBezTo>
                  <a:pt x="2220" y="1162"/>
                  <a:pt x="2220" y="1159"/>
                  <a:pt x="2220" y="1156"/>
                </a:cubicBezTo>
                <a:cubicBezTo>
                  <a:pt x="2221" y="1156"/>
                  <a:pt x="2221" y="1156"/>
                  <a:pt x="2221" y="1156"/>
                </a:cubicBezTo>
                <a:cubicBezTo>
                  <a:pt x="2220" y="1153"/>
                  <a:pt x="2220" y="1151"/>
                  <a:pt x="2220" y="1149"/>
                </a:cubicBezTo>
                <a:cubicBezTo>
                  <a:pt x="2220" y="1147"/>
                  <a:pt x="2220" y="1146"/>
                  <a:pt x="2220" y="1144"/>
                </a:cubicBezTo>
                <a:cubicBezTo>
                  <a:pt x="2220" y="1139"/>
                  <a:pt x="2214" y="1132"/>
                  <a:pt x="2207" y="1137"/>
                </a:cubicBezTo>
                <a:cubicBezTo>
                  <a:pt x="2206" y="1138"/>
                  <a:pt x="2204" y="1139"/>
                  <a:pt x="2202" y="1141"/>
                </a:cubicBezTo>
                <a:cubicBezTo>
                  <a:pt x="2200" y="1142"/>
                  <a:pt x="2200" y="1143"/>
                  <a:pt x="2200" y="1145"/>
                </a:cubicBezTo>
                <a:close/>
                <a:moveTo>
                  <a:pt x="1251" y="555"/>
                </a:moveTo>
                <a:cubicBezTo>
                  <a:pt x="1250" y="560"/>
                  <a:pt x="1253" y="564"/>
                  <a:pt x="1258" y="564"/>
                </a:cubicBezTo>
                <a:cubicBezTo>
                  <a:pt x="1267" y="565"/>
                  <a:pt x="1274" y="561"/>
                  <a:pt x="1277" y="552"/>
                </a:cubicBezTo>
                <a:cubicBezTo>
                  <a:pt x="1278" y="550"/>
                  <a:pt x="1279" y="547"/>
                  <a:pt x="1280" y="545"/>
                </a:cubicBezTo>
                <a:cubicBezTo>
                  <a:pt x="1281" y="543"/>
                  <a:pt x="1279" y="539"/>
                  <a:pt x="1277" y="538"/>
                </a:cubicBezTo>
                <a:cubicBezTo>
                  <a:pt x="1273" y="535"/>
                  <a:pt x="1268" y="535"/>
                  <a:pt x="1265" y="537"/>
                </a:cubicBezTo>
                <a:cubicBezTo>
                  <a:pt x="1259" y="541"/>
                  <a:pt x="1254" y="547"/>
                  <a:pt x="1251" y="554"/>
                </a:cubicBezTo>
                <a:cubicBezTo>
                  <a:pt x="1251" y="554"/>
                  <a:pt x="1251" y="555"/>
                  <a:pt x="1251" y="555"/>
                </a:cubicBezTo>
                <a:close/>
                <a:moveTo>
                  <a:pt x="466" y="788"/>
                </a:moveTo>
                <a:cubicBezTo>
                  <a:pt x="464" y="788"/>
                  <a:pt x="461" y="789"/>
                  <a:pt x="460" y="790"/>
                </a:cubicBezTo>
                <a:cubicBezTo>
                  <a:pt x="458" y="793"/>
                  <a:pt x="457" y="795"/>
                  <a:pt x="457" y="798"/>
                </a:cubicBezTo>
                <a:cubicBezTo>
                  <a:pt x="457" y="801"/>
                  <a:pt x="458" y="804"/>
                  <a:pt x="458" y="808"/>
                </a:cubicBezTo>
                <a:cubicBezTo>
                  <a:pt x="458" y="808"/>
                  <a:pt x="458" y="808"/>
                  <a:pt x="458" y="808"/>
                </a:cubicBezTo>
                <a:cubicBezTo>
                  <a:pt x="458" y="810"/>
                  <a:pt x="459" y="813"/>
                  <a:pt x="459" y="816"/>
                </a:cubicBezTo>
                <a:cubicBezTo>
                  <a:pt x="458" y="823"/>
                  <a:pt x="461" y="829"/>
                  <a:pt x="464" y="834"/>
                </a:cubicBezTo>
                <a:cubicBezTo>
                  <a:pt x="464" y="835"/>
                  <a:pt x="465" y="836"/>
                  <a:pt x="466" y="836"/>
                </a:cubicBezTo>
                <a:cubicBezTo>
                  <a:pt x="467" y="837"/>
                  <a:pt x="467" y="837"/>
                  <a:pt x="468" y="836"/>
                </a:cubicBezTo>
                <a:cubicBezTo>
                  <a:pt x="468" y="836"/>
                  <a:pt x="469" y="835"/>
                  <a:pt x="469" y="835"/>
                </a:cubicBezTo>
                <a:cubicBezTo>
                  <a:pt x="466" y="826"/>
                  <a:pt x="468" y="818"/>
                  <a:pt x="471" y="810"/>
                </a:cubicBezTo>
                <a:cubicBezTo>
                  <a:pt x="472" y="805"/>
                  <a:pt x="474" y="800"/>
                  <a:pt x="476" y="796"/>
                </a:cubicBezTo>
                <a:cubicBezTo>
                  <a:pt x="476" y="795"/>
                  <a:pt x="475" y="793"/>
                  <a:pt x="475" y="793"/>
                </a:cubicBezTo>
                <a:cubicBezTo>
                  <a:pt x="472" y="791"/>
                  <a:pt x="469" y="790"/>
                  <a:pt x="466" y="788"/>
                </a:cubicBezTo>
                <a:close/>
                <a:moveTo>
                  <a:pt x="3789" y="1886"/>
                </a:moveTo>
                <a:cubicBezTo>
                  <a:pt x="3795" y="1884"/>
                  <a:pt x="3801" y="1883"/>
                  <a:pt x="3805" y="1878"/>
                </a:cubicBezTo>
                <a:cubicBezTo>
                  <a:pt x="3810" y="1873"/>
                  <a:pt x="3816" y="1870"/>
                  <a:pt x="3822" y="1869"/>
                </a:cubicBezTo>
                <a:cubicBezTo>
                  <a:pt x="3825" y="1869"/>
                  <a:pt x="3828" y="1867"/>
                  <a:pt x="3830" y="1866"/>
                </a:cubicBezTo>
                <a:cubicBezTo>
                  <a:pt x="3832" y="1865"/>
                  <a:pt x="3834" y="1864"/>
                  <a:pt x="3834" y="1861"/>
                </a:cubicBezTo>
                <a:cubicBezTo>
                  <a:pt x="3835" y="1860"/>
                  <a:pt x="3832" y="1859"/>
                  <a:pt x="3829" y="1859"/>
                </a:cubicBezTo>
                <a:cubicBezTo>
                  <a:pt x="3820" y="1859"/>
                  <a:pt x="3812" y="1859"/>
                  <a:pt x="3804" y="1865"/>
                </a:cubicBezTo>
                <a:cubicBezTo>
                  <a:pt x="3802" y="1866"/>
                  <a:pt x="3799" y="1866"/>
                  <a:pt x="3796" y="1868"/>
                </a:cubicBezTo>
                <a:cubicBezTo>
                  <a:pt x="3794" y="1869"/>
                  <a:pt x="3792" y="1871"/>
                  <a:pt x="3790" y="1873"/>
                </a:cubicBezTo>
                <a:cubicBezTo>
                  <a:pt x="3787" y="1877"/>
                  <a:pt x="3785" y="1881"/>
                  <a:pt x="3785" y="1886"/>
                </a:cubicBezTo>
                <a:cubicBezTo>
                  <a:pt x="3786" y="1886"/>
                  <a:pt x="3788" y="1887"/>
                  <a:pt x="3789" y="1886"/>
                </a:cubicBezTo>
                <a:close/>
                <a:moveTo>
                  <a:pt x="122" y="429"/>
                </a:moveTo>
                <a:cubicBezTo>
                  <a:pt x="123" y="430"/>
                  <a:pt x="125" y="431"/>
                  <a:pt x="126" y="431"/>
                </a:cubicBezTo>
                <a:cubicBezTo>
                  <a:pt x="130" y="431"/>
                  <a:pt x="132" y="432"/>
                  <a:pt x="134" y="436"/>
                </a:cubicBezTo>
                <a:cubicBezTo>
                  <a:pt x="135" y="439"/>
                  <a:pt x="136" y="442"/>
                  <a:pt x="137" y="445"/>
                </a:cubicBezTo>
                <a:cubicBezTo>
                  <a:pt x="138" y="446"/>
                  <a:pt x="140" y="447"/>
                  <a:pt x="141" y="446"/>
                </a:cubicBezTo>
                <a:cubicBezTo>
                  <a:pt x="144" y="446"/>
                  <a:pt x="147" y="445"/>
                  <a:pt x="151" y="444"/>
                </a:cubicBezTo>
                <a:cubicBezTo>
                  <a:pt x="151" y="444"/>
                  <a:pt x="151" y="443"/>
                  <a:pt x="152" y="443"/>
                </a:cubicBezTo>
                <a:cubicBezTo>
                  <a:pt x="152" y="442"/>
                  <a:pt x="152" y="441"/>
                  <a:pt x="152" y="441"/>
                </a:cubicBezTo>
                <a:cubicBezTo>
                  <a:pt x="150" y="437"/>
                  <a:pt x="147" y="434"/>
                  <a:pt x="146" y="429"/>
                </a:cubicBezTo>
                <a:cubicBezTo>
                  <a:pt x="144" y="424"/>
                  <a:pt x="141" y="422"/>
                  <a:pt x="136" y="421"/>
                </a:cubicBezTo>
                <a:cubicBezTo>
                  <a:pt x="133" y="420"/>
                  <a:pt x="131" y="418"/>
                  <a:pt x="129" y="417"/>
                </a:cubicBezTo>
                <a:cubicBezTo>
                  <a:pt x="128" y="416"/>
                  <a:pt x="127" y="417"/>
                  <a:pt x="126" y="417"/>
                </a:cubicBezTo>
                <a:cubicBezTo>
                  <a:pt x="124" y="419"/>
                  <a:pt x="121" y="421"/>
                  <a:pt x="120" y="425"/>
                </a:cubicBezTo>
                <a:cubicBezTo>
                  <a:pt x="120" y="426"/>
                  <a:pt x="120" y="428"/>
                  <a:pt x="122" y="429"/>
                </a:cubicBezTo>
                <a:close/>
                <a:moveTo>
                  <a:pt x="1230" y="209"/>
                </a:moveTo>
                <a:cubicBezTo>
                  <a:pt x="1232" y="209"/>
                  <a:pt x="1235" y="208"/>
                  <a:pt x="1237" y="206"/>
                </a:cubicBezTo>
                <a:cubicBezTo>
                  <a:pt x="1238" y="205"/>
                  <a:pt x="1238" y="202"/>
                  <a:pt x="1237" y="201"/>
                </a:cubicBezTo>
                <a:cubicBezTo>
                  <a:pt x="1230" y="195"/>
                  <a:pt x="1224" y="190"/>
                  <a:pt x="1214" y="189"/>
                </a:cubicBezTo>
                <a:cubicBezTo>
                  <a:pt x="1211" y="189"/>
                  <a:pt x="1207" y="191"/>
                  <a:pt x="1206" y="195"/>
                </a:cubicBezTo>
                <a:cubicBezTo>
                  <a:pt x="1205" y="197"/>
                  <a:pt x="1206" y="200"/>
                  <a:pt x="1207" y="201"/>
                </a:cubicBezTo>
                <a:cubicBezTo>
                  <a:pt x="1213" y="206"/>
                  <a:pt x="1221" y="208"/>
                  <a:pt x="1228" y="209"/>
                </a:cubicBezTo>
                <a:cubicBezTo>
                  <a:pt x="1229" y="209"/>
                  <a:pt x="1229" y="209"/>
                  <a:pt x="1230" y="209"/>
                </a:cubicBezTo>
                <a:close/>
                <a:moveTo>
                  <a:pt x="3801" y="1556"/>
                </a:moveTo>
                <a:cubicBezTo>
                  <a:pt x="3799" y="1557"/>
                  <a:pt x="3797" y="1559"/>
                  <a:pt x="3798" y="1561"/>
                </a:cubicBezTo>
                <a:cubicBezTo>
                  <a:pt x="3799" y="1564"/>
                  <a:pt x="3800" y="1566"/>
                  <a:pt x="3801" y="1569"/>
                </a:cubicBezTo>
                <a:cubicBezTo>
                  <a:pt x="3801" y="1569"/>
                  <a:pt x="3801" y="1569"/>
                  <a:pt x="3801" y="1569"/>
                </a:cubicBezTo>
                <a:cubicBezTo>
                  <a:pt x="3801" y="1569"/>
                  <a:pt x="3801" y="1568"/>
                  <a:pt x="3801" y="1568"/>
                </a:cubicBezTo>
                <a:cubicBezTo>
                  <a:pt x="3801" y="1568"/>
                  <a:pt x="3801" y="1569"/>
                  <a:pt x="3801" y="1569"/>
                </a:cubicBezTo>
                <a:cubicBezTo>
                  <a:pt x="3802" y="1569"/>
                  <a:pt x="3803" y="1570"/>
                  <a:pt x="3803" y="1570"/>
                </a:cubicBezTo>
                <a:cubicBezTo>
                  <a:pt x="3803" y="1571"/>
                  <a:pt x="3803" y="1571"/>
                  <a:pt x="3803" y="1572"/>
                </a:cubicBezTo>
                <a:cubicBezTo>
                  <a:pt x="3802" y="1573"/>
                  <a:pt x="3801" y="1572"/>
                  <a:pt x="3801" y="1571"/>
                </a:cubicBezTo>
                <a:cubicBezTo>
                  <a:pt x="3801" y="1570"/>
                  <a:pt x="3801" y="1570"/>
                  <a:pt x="3801" y="1569"/>
                </a:cubicBezTo>
                <a:cubicBezTo>
                  <a:pt x="3801" y="1569"/>
                  <a:pt x="3801" y="1569"/>
                  <a:pt x="3801" y="1569"/>
                </a:cubicBezTo>
                <a:cubicBezTo>
                  <a:pt x="3801" y="1569"/>
                  <a:pt x="3800" y="1569"/>
                  <a:pt x="3800" y="1570"/>
                </a:cubicBezTo>
                <a:cubicBezTo>
                  <a:pt x="3798" y="1574"/>
                  <a:pt x="3797" y="1578"/>
                  <a:pt x="3800" y="1582"/>
                </a:cubicBezTo>
                <a:cubicBezTo>
                  <a:pt x="3802" y="1584"/>
                  <a:pt x="3803" y="1587"/>
                  <a:pt x="3805" y="1590"/>
                </a:cubicBezTo>
                <a:cubicBezTo>
                  <a:pt x="3806" y="1591"/>
                  <a:pt x="3807" y="1591"/>
                  <a:pt x="3808" y="1591"/>
                </a:cubicBezTo>
                <a:cubicBezTo>
                  <a:pt x="3809" y="1591"/>
                  <a:pt x="3811" y="1589"/>
                  <a:pt x="3811" y="1588"/>
                </a:cubicBezTo>
                <a:cubicBezTo>
                  <a:pt x="3810" y="1586"/>
                  <a:pt x="3809" y="1584"/>
                  <a:pt x="3809" y="1583"/>
                </a:cubicBezTo>
                <a:cubicBezTo>
                  <a:pt x="3809" y="1582"/>
                  <a:pt x="3810" y="1580"/>
                  <a:pt x="3810" y="1580"/>
                </a:cubicBezTo>
                <a:cubicBezTo>
                  <a:pt x="3816" y="1578"/>
                  <a:pt x="3815" y="1574"/>
                  <a:pt x="3815" y="1569"/>
                </a:cubicBezTo>
                <a:cubicBezTo>
                  <a:pt x="3814" y="1566"/>
                  <a:pt x="3814" y="1563"/>
                  <a:pt x="3812" y="1560"/>
                </a:cubicBezTo>
                <a:cubicBezTo>
                  <a:pt x="3809" y="1556"/>
                  <a:pt x="3805" y="1554"/>
                  <a:pt x="3801" y="1556"/>
                </a:cubicBezTo>
                <a:close/>
                <a:moveTo>
                  <a:pt x="2595" y="146"/>
                </a:moveTo>
                <a:cubicBezTo>
                  <a:pt x="2594" y="147"/>
                  <a:pt x="2593" y="148"/>
                  <a:pt x="2593" y="148"/>
                </a:cubicBezTo>
                <a:cubicBezTo>
                  <a:pt x="2592" y="153"/>
                  <a:pt x="2592" y="158"/>
                  <a:pt x="2594" y="163"/>
                </a:cubicBezTo>
                <a:cubicBezTo>
                  <a:pt x="2595" y="165"/>
                  <a:pt x="2597" y="167"/>
                  <a:pt x="2599" y="167"/>
                </a:cubicBezTo>
                <a:cubicBezTo>
                  <a:pt x="2604" y="168"/>
                  <a:pt x="2608" y="167"/>
                  <a:pt x="2612" y="163"/>
                </a:cubicBezTo>
                <a:cubicBezTo>
                  <a:pt x="2613" y="163"/>
                  <a:pt x="2614" y="160"/>
                  <a:pt x="2613" y="159"/>
                </a:cubicBezTo>
                <a:cubicBezTo>
                  <a:pt x="2613" y="158"/>
                  <a:pt x="2612" y="158"/>
                  <a:pt x="2612" y="158"/>
                </a:cubicBezTo>
                <a:cubicBezTo>
                  <a:pt x="2612" y="157"/>
                  <a:pt x="2611" y="156"/>
                  <a:pt x="2610" y="155"/>
                </a:cubicBezTo>
                <a:cubicBezTo>
                  <a:pt x="2609" y="152"/>
                  <a:pt x="2609" y="152"/>
                  <a:pt x="2611" y="149"/>
                </a:cubicBezTo>
                <a:cubicBezTo>
                  <a:pt x="2614" y="146"/>
                  <a:pt x="2614" y="144"/>
                  <a:pt x="2612" y="142"/>
                </a:cubicBezTo>
                <a:cubicBezTo>
                  <a:pt x="2610" y="140"/>
                  <a:pt x="2608" y="140"/>
                  <a:pt x="2605" y="141"/>
                </a:cubicBezTo>
                <a:cubicBezTo>
                  <a:pt x="2603" y="142"/>
                  <a:pt x="2602" y="143"/>
                  <a:pt x="2600" y="143"/>
                </a:cubicBezTo>
                <a:cubicBezTo>
                  <a:pt x="2600" y="143"/>
                  <a:pt x="2600" y="143"/>
                  <a:pt x="2600" y="143"/>
                </a:cubicBezTo>
                <a:cubicBezTo>
                  <a:pt x="2600" y="143"/>
                  <a:pt x="2600" y="143"/>
                  <a:pt x="2600" y="143"/>
                </a:cubicBezTo>
                <a:cubicBezTo>
                  <a:pt x="2600" y="143"/>
                  <a:pt x="2600" y="143"/>
                  <a:pt x="2600" y="143"/>
                </a:cubicBezTo>
                <a:cubicBezTo>
                  <a:pt x="2598" y="144"/>
                  <a:pt x="2596" y="145"/>
                  <a:pt x="2595" y="146"/>
                </a:cubicBezTo>
                <a:close/>
                <a:moveTo>
                  <a:pt x="2471" y="184"/>
                </a:moveTo>
                <a:cubicBezTo>
                  <a:pt x="2476" y="185"/>
                  <a:pt x="2480" y="186"/>
                  <a:pt x="2484" y="187"/>
                </a:cubicBezTo>
                <a:cubicBezTo>
                  <a:pt x="2487" y="187"/>
                  <a:pt x="2487" y="185"/>
                  <a:pt x="2488" y="183"/>
                </a:cubicBezTo>
                <a:cubicBezTo>
                  <a:pt x="2487" y="182"/>
                  <a:pt x="2486" y="181"/>
                  <a:pt x="2486" y="181"/>
                </a:cubicBezTo>
                <a:cubicBezTo>
                  <a:pt x="2485" y="178"/>
                  <a:pt x="2485" y="175"/>
                  <a:pt x="2486" y="173"/>
                </a:cubicBezTo>
                <a:cubicBezTo>
                  <a:pt x="2488" y="172"/>
                  <a:pt x="2491" y="170"/>
                  <a:pt x="2494" y="172"/>
                </a:cubicBezTo>
                <a:cubicBezTo>
                  <a:pt x="2496" y="173"/>
                  <a:pt x="2498" y="174"/>
                  <a:pt x="2501" y="173"/>
                </a:cubicBezTo>
                <a:cubicBezTo>
                  <a:pt x="2501" y="172"/>
                  <a:pt x="2501" y="171"/>
                  <a:pt x="2500" y="170"/>
                </a:cubicBezTo>
                <a:cubicBezTo>
                  <a:pt x="2497" y="166"/>
                  <a:pt x="2492" y="164"/>
                  <a:pt x="2487" y="163"/>
                </a:cubicBezTo>
                <a:cubicBezTo>
                  <a:pt x="2485" y="163"/>
                  <a:pt x="2483" y="163"/>
                  <a:pt x="2481" y="164"/>
                </a:cubicBezTo>
                <a:cubicBezTo>
                  <a:pt x="2476" y="167"/>
                  <a:pt x="2472" y="172"/>
                  <a:pt x="2468" y="177"/>
                </a:cubicBezTo>
                <a:cubicBezTo>
                  <a:pt x="2466" y="179"/>
                  <a:pt x="2468" y="184"/>
                  <a:pt x="2471" y="184"/>
                </a:cubicBezTo>
                <a:close/>
                <a:moveTo>
                  <a:pt x="2488" y="183"/>
                </a:moveTo>
                <a:cubicBezTo>
                  <a:pt x="2488" y="183"/>
                  <a:pt x="2488" y="183"/>
                  <a:pt x="2488" y="183"/>
                </a:cubicBezTo>
                <a:cubicBezTo>
                  <a:pt x="2488" y="183"/>
                  <a:pt x="2488" y="183"/>
                  <a:pt x="2488" y="183"/>
                </a:cubicBezTo>
                <a:cubicBezTo>
                  <a:pt x="2488" y="183"/>
                  <a:pt x="2488" y="183"/>
                  <a:pt x="2488" y="183"/>
                </a:cubicBezTo>
                <a:cubicBezTo>
                  <a:pt x="2488" y="183"/>
                  <a:pt x="2488" y="183"/>
                  <a:pt x="2488" y="183"/>
                </a:cubicBezTo>
                <a:close/>
                <a:moveTo>
                  <a:pt x="2568" y="174"/>
                </a:moveTo>
                <a:cubicBezTo>
                  <a:pt x="2567" y="174"/>
                  <a:pt x="2566" y="176"/>
                  <a:pt x="2566" y="177"/>
                </a:cubicBezTo>
                <a:cubicBezTo>
                  <a:pt x="2566" y="181"/>
                  <a:pt x="2568" y="184"/>
                  <a:pt x="2571" y="187"/>
                </a:cubicBezTo>
                <a:cubicBezTo>
                  <a:pt x="2572" y="188"/>
                  <a:pt x="2575" y="189"/>
                  <a:pt x="2577" y="188"/>
                </a:cubicBezTo>
                <a:cubicBezTo>
                  <a:pt x="2579" y="188"/>
                  <a:pt x="2580" y="186"/>
                  <a:pt x="2582" y="185"/>
                </a:cubicBezTo>
                <a:cubicBezTo>
                  <a:pt x="2586" y="185"/>
                  <a:pt x="2587" y="183"/>
                  <a:pt x="2588" y="181"/>
                </a:cubicBezTo>
                <a:cubicBezTo>
                  <a:pt x="2589" y="179"/>
                  <a:pt x="2590" y="177"/>
                  <a:pt x="2591" y="176"/>
                </a:cubicBezTo>
                <a:cubicBezTo>
                  <a:pt x="2592" y="172"/>
                  <a:pt x="2592" y="171"/>
                  <a:pt x="2589" y="169"/>
                </a:cubicBezTo>
                <a:cubicBezTo>
                  <a:pt x="2587" y="168"/>
                  <a:pt x="2585" y="167"/>
                  <a:pt x="2583" y="167"/>
                </a:cubicBezTo>
                <a:cubicBezTo>
                  <a:pt x="2582" y="166"/>
                  <a:pt x="2581" y="166"/>
                  <a:pt x="2580" y="167"/>
                </a:cubicBezTo>
                <a:cubicBezTo>
                  <a:pt x="2577" y="171"/>
                  <a:pt x="2573" y="173"/>
                  <a:pt x="2568" y="174"/>
                </a:cubicBezTo>
                <a:close/>
                <a:moveTo>
                  <a:pt x="2619" y="141"/>
                </a:moveTo>
                <a:cubicBezTo>
                  <a:pt x="2620" y="141"/>
                  <a:pt x="2621" y="141"/>
                  <a:pt x="2622" y="140"/>
                </a:cubicBezTo>
                <a:cubicBezTo>
                  <a:pt x="2624" y="137"/>
                  <a:pt x="2625" y="132"/>
                  <a:pt x="2629" y="130"/>
                </a:cubicBezTo>
                <a:cubicBezTo>
                  <a:pt x="2629" y="129"/>
                  <a:pt x="2630" y="127"/>
                  <a:pt x="2630" y="127"/>
                </a:cubicBezTo>
                <a:cubicBezTo>
                  <a:pt x="2627" y="122"/>
                  <a:pt x="2625" y="117"/>
                  <a:pt x="2621" y="113"/>
                </a:cubicBezTo>
                <a:cubicBezTo>
                  <a:pt x="2621" y="112"/>
                  <a:pt x="2618" y="112"/>
                  <a:pt x="2617" y="113"/>
                </a:cubicBezTo>
                <a:cubicBezTo>
                  <a:pt x="2615" y="116"/>
                  <a:pt x="2613" y="118"/>
                  <a:pt x="2611" y="121"/>
                </a:cubicBezTo>
                <a:cubicBezTo>
                  <a:pt x="2610" y="122"/>
                  <a:pt x="2610" y="124"/>
                  <a:pt x="2610" y="125"/>
                </a:cubicBezTo>
                <a:cubicBezTo>
                  <a:pt x="2610" y="133"/>
                  <a:pt x="2612" y="138"/>
                  <a:pt x="2619" y="141"/>
                </a:cubicBezTo>
                <a:close/>
                <a:moveTo>
                  <a:pt x="3855" y="1789"/>
                </a:moveTo>
                <a:cubicBezTo>
                  <a:pt x="3865" y="1786"/>
                  <a:pt x="3875" y="1786"/>
                  <a:pt x="3885" y="1792"/>
                </a:cubicBezTo>
                <a:cubicBezTo>
                  <a:pt x="3885" y="1792"/>
                  <a:pt x="3886" y="1792"/>
                  <a:pt x="3886" y="1792"/>
                </a:cubicBezTo>
                <a:cubicBezTo>
                  <a:pt x="3888" y="1793"/>
                  <a:pt x="3890" y="1791"/>
                  <a:pt x="3890" y="1789"/>
                </a:cubicBezTo>
                <a:cubicBezTo>
                  <a:pt x="3890" y="1788"/>
                  <a:pt x="3890" y="1786"/>
                  <a:pt x="3889" y="1785"/>
                </a:cubicBezTo>
                <a:cubicBezTo>
                  <a:pt x="3888" y="1784"/>
                  <a:pt x="3886" y="1783"/>
                  <a:pt x="3885" y="1782"/>
                </a:cubicBezTo>
                <a:cubicBezTo>
                  <a:pt x="3876" y="1777"/>
                  <a:pt x="3866" y="1777"/>
                  <a:pt x="3856" y="1778"/>
                </a:cubicBezTo>
                <a:cubicBezTo>
                  <a:pt x="3854" y="1779"/>
                  <a:pt x="3852" y="1781"/>
                  <a:pt x="3851" y="1784"/>
                </a:cubicBezTo>
                <a:cubicBezTo>
                  <a:pt x="3850" y="1787"/>
                  <a:pt x="3852" y="1790"/>
                  <a:pt x="3855" y="1789"/>
                </a:cubicBezTo>
                <a:close/>
                <a:moveTo>
                  <a:pt x="4340" y="2063"/>
                </a:moveTo>
                <a:cubicBezTo>
                  <a:pt x="4345" y="2069"/>
                  <a:pt x="4349" y="2074"/>
                  <a:pt x="4356" y="2077"/>
                </a:cubicBezTo>
                <a:cubicBezTo>
                  <a:pt x="4357" y="2077"/>
                  <a:pt x="4359" y="2077"/>
                  <a:pt x="4361" y="2077"/>
                </a:cubicBezTo>
                <a:cubicBezTo>
                  <a:pt x="4361" y="2077"/>
                  <a:pt x="4361" y="2076"/>
                  <a:pt x="4361" y="2075"/>
                </a:cubicBezTo>
                <a:cubicBezTo>
                  <a:pt x="4361" y="2074"/>
                  <a:pt x="4361" y="2073"/>
                  <a:pt x="4360" y="2072"/>
                </a:cubicBezTo>
                <a:cubicBezTo>
                  <a:pt x="4354" y="2065"/>
                  <a:pt x="4348" y="2058"/>
                  <a:pt x="4342" y="2052"/>
                </a:cubicBezTo>
                <a:cubicBezTo>
                  <a:pt x="4340" y="2049"/>
                  <a:pt x="4337" y="2047"/>
                  <a:pt x="4335" y="2045"/>
                </a:cubicBezTo>
                <a:cubicBezTo>
                  <a:pt x="4334" y="2044"/>
                  <a:pt x="4333" y="2043"/>
                  <a:pt x="4332" y="2043"/>
                </a:cubicBezTo>
                <a:cubicBezTo>
                  <a:pt x="4331" y="2043"/>
                  <a:pt x="4330" y="2043"/>
                  <a:pt x="4329" y="2043"/>
                </a:cubicBezTo>
                <a:cubicBezTo>
                  <a:pt x="4329" y="2044"/>
                  <a:pt x="4328" y="2045"/>
                  <a:pt x="4328" y="2046"/>
                </a:cubicBezTo>
                <a:cubicBezTo>
                  <a:pt x="4330" y="2053"/>
                  <a:pt x="4335" y="2058"/>
                  <a:pt x="4340" y="2063"/>
                </a:cubicBezTo>
                <a:close/>
                <a:moveTo>
                  <a:pt x="3685" y="1863"/>
                </a:moveTo>
                <a:cubicBezTo>
                  <a:pt x="3688" y="1864"/>
                  <a:pt x="3691" y="1865"/>
                  <a:pt x="3694" y="1866"/>
                </a:cubicBezTo>
                <a:cubicBezTo>
                  <a:pt x="3697" y="1867"/>
                  <a:pt x="3699" y="1867"/>
                  <a:pt x="3701" y="1867"/>
                </a:cubicBezTo>
                <a:cubicBezTo>
                  <a:pt x="3710" y="1866"/>
                  <a:pt x="3718" y="1865"/>
                  <a:pt x="3727" y="1862"/>
                </a:cubicBezTo>
                <a:cubicBezTo>
                  <a:pt x="3728" y="1862"/>
                  <a:pt x="3728" y="1861"/>
                  <a:pt x="3727" y="1860"/>
                </a:cubicBezTo>
                <a:cubicBezTo>
                  <a:pt x="3723" y="1854"/>
                  <a:pt x="3717" y="1853"/>
                  <a:pt x="3711" y="1853"/>
                </a:cubicBezTo>
                <a:cubicBezTo>
                  <a:pt x="3710" y="1853"/>
                  <a:pt x="3710" y="1854"/>
                  <a:pt x="3709" y="1855"/>
                </a:cubicBezTo>
                <a:cubicBezTo>
                  <a:pt x="3708" y="1856"/>
                  <a:pt x="3708" y="1857"/>
                  <a:pt x="3707" y="1858"/>
                </a:cubicBezTo>
                <a:cubicBezTo>
                  <a:pt x="3702" y="1855"/>
                  <a:pt x="3696" y="1858"/>
                  <a:pt x="3690" y="1856"/>
                </a:cubicBezTo>
                <a:cubicBezTo>
                  <a:pt x="3688" y="1855"/>
                  <a:pt x="3686" y="1857"/>
                  <a:pt x="3684" y="1859"/>
                </a:cubicBezTo>
                <a:cubicBezTo>
                  <a:pt x="3683" y="1861"/>
                  <a:pt x="3684" y="1863"/>
                  <a:pt x="3685" y="1863"/>
                </a:cubicBezTo>
                <a:close/>
                <a:moveTo>
                  <a:pt x="3773" y="1862"/>
                </a:moveTo>
                <a:cubicBezTo>
                  <a:pt x="3775" y="1862"/>
                  <a:pt x="3776" y="1861"/>
                  <a:pt x="3778" y="1860"/>
                </a:cubicBezTo>
                <a:cubicBezTo>
                  <a:pt x="3779" y="1859"/>
                  <a:pt x="3779" y="1858"/>
                  <a:pt x="3780" y="1857"/>
                </a:cubicBezTo>
                <a:cubicBezTo>
                  <a:pt x="3780" y="1856"/>
                  <a:pt x="3780" y="1855"/>
                  <a:pt x="3779" y="1854"/>
                </a:cubicBezTo>
                <a:cubicBezTo>
                  <a:pt x="3779" y="1854"/>
                  <a:pt x="3778" y="1854"/>
                  <a:pt x="3778" y="1854"/>
                </a:cubicBezTo>
                <a:cubicBezTo>
                  <a:pt x="3773" y="1855"/>
                  <a:pt x="3769" y="1857"/>
                  <a:pt x="3764" y="1856"/>
                </a:cubicBezTo>
                <a:cubicBezTo>
                  <a:pt x="3759" y="1855"/>
                  <a:pt x="3754" y="1855"/>
                  <a:pt x="3749" y="1854"/>
                </a:cubicBezTo>
                <a:cubicBezTo>
                  <a:pt x="3748" y="1854"/>
                  <a:pt x="3748" y="1854"/>
                  <a:pt x="3747" y="1854"/>
                </a:cubicBezTo>
                <a:cubicBezTo>
                  <a:pt x="3743" y="1854"/>
                  <a:pt x="3740" y="1855"/>
                  <a:pt x="3737" y="1858"/>
                </a:cubicBezTo>
                <a:cubicBezTo>
                  <a:pt x="3736" y="1858"/>
                  <a:pt x="3736" y="1860"/>
                  <a:pt x="3736" y="1861"/>
                </a:cubicBezTo>
                <a:cubicBezTo>
                  <a:pt x="3736" y="1861"/>
                  <a:pt x="3737" y="1863"/>
                  <a:pt x="3738" y="1863"/>
                </a:cubicBezTo>
                <a:cubicBezTo>
                  <a:pt x="3742" y="1864"/>
                  <a:pt x="3746" y="1865"/>
                  <a:pt x="3751" y="1865"/>
                </a:cubicBezTo>
                <a:cubicBezTo>
                  <a:pt x="3758" y="1864"/>
                  <a:pt x="3766" y="1863"/>
                  <a:pt x="3773" y="1862"/>
                </a:cubicBezTo>
                <a:close/>
                <a:moveTo>
                  <a:pt x="2610" y="551"/>
                </a:moveTo>
                <a:cubicBezTo>
                  <a:pt x="2610" y="553"/>
                  <a:pt x="2610" y="554"/>
                  <a:pt x="2609" y="557"/>
                </a:cubicBezTo>
                <a:cubicBezTo>
                  <a:pt x="2610" y="559"/>
                  <a:pt x="2610" y="561"/>
                  <a:pt x="2611" y="564"/>
                </a:cubicBezTo>
                <a:cubicBezTo>
                  <a:pt x="2612" y="567"/>
                  <a:pt x="2616" y="568"/>
                  <a:pt x="2619" y="567"/>
                </a:cubicBezTo>
                <a:cubicBezTo>
                  <a:pt x="2626" y="565"/>
                  <a:pt x="2629" y="560"/>
                  <a:pt x="2630" y="554"/>
                </a:cubicBezTo>
                <a:cubicBezTo>
                  <a:pt x="2630" y="553"/>
                  <a:pt x="2630" y="552"/>
                  <a:pt x="2629" y="551"/>
                </a:cubicBezTo>
                <a:cubicBezTo>
                  <a:pt x="2626" y="547"/>
                  <a:pt x="2621" y="546"/>
                  <a:pt x="2616" y="546"/>
                </a:cubicBezTo>
                <a:cubicBezTo>
                  <a:pt x="2614" y="546"/>
                  <a:pt x="2611" y="549"/>
                  <a:pt x="2610" y="551"/>
                </a:cubicBezTo>
                <a:close/>
                <a:moveTo>
                  <a:pt x="1156" y="672"/>
                </a:moveTo>
                <a:cubicBezTo>
                  <a:pt x="1156" y="671"/>
                  <a:pt x="1156" y="669"/>
                  <a:pt x="1156" y="669"/>
                </a:cubicBezTo>
                <a:cubicBezTo>
                  <a:pt x="1155" y="668"/>
                  <a:pt x="1154" y="667"/>
                  <a:pt x="1154" y="666"/>
                </a:cubicBezTo>
                <a:cubicBezTo>
                  <a:pt x="1152" y="666"/>
                  <a:pt x="1150" y="666"/>
                  <a:pt x="1150" y="666"/>
                </a:cubicBezTo>
                <a:cubicBezTo>
                  <a:pt x="1147" y="666"/>
                  <a:pt x="1144" y="666"/>
                  <a:pt x="1142" y="666"/>
                </a:cubicBezTo>
                <a:cubicBezTo>
                  <a:pt x="1141" y="667"/>
                  <a:pt x="1139" y="667"/>
                  <a:pt x="1138" y="668"/>
                </a:cubicBezTo>
                <a:cubicBezTo>
                  <a:pt x="1135" y="670"/>
                  <a:pt x="1133" y="672"/>
                  <a:pt x="1131" y="675"/>
                </a:cubicBezTo>
                <a:cubicBezTo>
                  <a:pt x="1130" y="676"/>
                  <a:pt x="1129" y="678"/>
                  <a:pt x="1130" y="679"/>
                </a:cubicBezTo>
                <a:cubicBezTo>
                  <a:pt x="1131" y="681"/>
                  <a:pt x="1131" y="682"/>
                  <a:pt x="1133" y="683"/>
                </a:cubicBezTo>
                <a:cubicBezTo>
                  <a:pt x="1136" y="683"/>
                  <a:pt x="1138" y="683"/>
                  <a:pt x="1140" y="683"/>
                </a:cubicBezTo>
                <a:cubicBezTo>
                  <a:pt x="1146" y="681"/>
                  <a:pt x="1151" y="677"/>
                  <a:pt x="1156" y="672"/>
                </a:cubicBezTo>
                <a:close/>
                <a:moveTo>
                  <a:pt x="3197" y="268"/>
                </a:moveTo>
                <a:cubicBezTo>
                  <a:pt x="3197" y="272"/>
                  <a:pt x="3199" y="274"/>
                  <a:pt x="3203" y="275"/>
                </a:cubicBezTo>
                <a:cubicBezTo>
                  <a:pt x="3204" y="275"/>
                  <a:pt x="3206" y="275"/>
                  <a:pt x="3208" y="276"/>
                </a:cubicBezTo>
                <a:cubicBezTo>
                  <a:pt x="3208" y="276"/>
                  <a:pt x="3209" y="276"/>
                  <a:pt x="3209" y="276"/>
                </a:cubicBezTo>
                <a:cubicBezTo>
                  <a:pt x="3214" y="276"/>
                  <a:pt x="3216" y="273"/>
                  <a:pt x="3216" y="269"/>
                </a:cubicBezTo>
                <a:cubicBezTo>
                  <a:pt x="3215" y="265"/>
                  <a:pt x="3214" y="262"/>
                  <a:pt x="3212" y="260"/>
                </a:cubicBezTo>
                <a:cubicBezTo>
                  <a:pt x="3211" y="258"/>
                  <a:pt x="3209" y="257"/>
                  <a:pt x="3207" y="258"/>
                </a:cubicBezTo>
                <a:cubicBezTo>
                  <a:pt x="3204" y="259"/>
                  <a:pt x="3202" y="260"/>
                  <a:pt x="3199" y="261"/>
                </a:cubicBezTo>
                <a:cubicBezTo>
                  <a:pt x="3197" y="262"/>
                  <a:pt x="3196" y="264"/>
                  <a:pt x="3197" y="266"/>
                </a:cubicBezTo>
                <a:cubicBezTo>
                  <a:pt x="3197" y="267"/>
                  <a:pt x="3197" y="267"/>
                  <a:pt x="3197" y="268"/>
                </a:cubicBezTo>
                <a:close/>
                <a:moveTo>
                  <a:pt x="1302" y="964"/>
                </a:moveTo>
                <a:cubicBezTo>
                  <a:pt x="1301" y="965"/>
                  <a:pt x="1300" y="965"/>
                  <a:pt x="1299" y="965"/>
                </a:cubicBezTo>
                <a:cubicBezTo>
                  <a:pt x="1298" y="966"/>
                  <a:pt x="1298" y="968"/>
                  <a:pt x="1300" y="969"/>
                </a:cubicBezTo>
                <a:cubicBezTo>
                  <a:pt x="1301" y="970"/>
                  <a:pt x="1301" y="971"/>
                  <a:pt x="1302" y="972"/>
                </a:cubicBezTo>
                <a:cubicBezTo>
                  <a:pt x="1305" y="975"/>
                  <a:pt x="1308" y="978"/>
                  <a:pt x="1312" y="980"/>
                </a:cubicBezTo>
                <a:cubicBezTo>
                  <a:pt x="1316" y="981"/>
                  <a:pt x="1320" y="982"/>
                  <a:pt x="1324" y="983"/>
                </a:cubicBezTo>
                <a:cubicBezTo>
                  <a:pt x="1325" y="983"/>
                  <a:pt x="1326" y="983"/>
                  <a:pt x="1326" y="983"/>
                </a:cubicBezTo>
                <a:cubicBezTo>
                  <a:pt x="1327" y="983"/>
                  <a:pt x="1328" y="982"/>
                  <a:pt x="1328" y="981"/>
                </a:cubicBezTo>
                <a:cubicBezTo>
                  <a:pt x="1328" y="981"/>
                  <a:pt x="1328" y="980"/>
                  <a:pt x="1328" y="980"/>
                </a:cubicBezTo>
                <a:cubicBezTo>
                  <a:pt x="1322" y="971"/>
                  <a:pt x="1313" y="966"/>
                  <a:pt x="1302" y="964"/>
                </a:cubicBezTo>
                <a:close/>
                <a:moveTo>
                  <a:pt x="2531" y="1241"/>
                </a:moveTo>
                <a:cubicBezTo>
                  <a:pt x="2535" y="1240"/>
                  <a:pt x="2538" y="1239"/>
                  <a:pt x="2541" y="1237"/>
                </a:cubicBezTo>
                <a:cubicBezTo>
                  <a:pt x="2545" y="1235"/>
                  <a:pt x="2546" y="1231"/>
                  <a:pt x="2548" y="1227"/>
                </a:cubicBezTo>
                <a:cubicBezTo>
                  <a:pt x="2547" y="1227"/>
                  <a:pt x="2547" y="1226"/>
                  <a:pt x="2546" y="1226"/>
                </a:cubicBezTo>
                <a:cubicBezTo>
                  <a:pt x="2542" y="1226"/>
                  <a:pt x="2538" y="1227"/>
                  <a:pt x="2533" y="1228"/>
                </a:cubicBezTo>
                <a:cubicBezTo>
                  <a:pt x="2530" y="1228"/>
                  <a:pt x="2526" y="1230"/>
                  <a:pt x="2523" y="1232"/>
                </a:cubicBezTo>
                <a:cubicBezTo>
                  <a:pt x="2521" y="1233"/>
                  <a:pt x="2521" y="1236"/>
                  <a:pt x="2523" y="1238"/>
                </a:cubicBezTo>
                <a:cubicBezTo>
                  <a:pt x="2525" y="1241"/>
                  <a:pt x="2528" y="1242"/>
                  <a:pt x="2531" y="1241"/>
                </a:cubicBezTo>
                <a:close/>
                <a:moveTo>
                  <a:pt x="971" y="188"/>
                </a:moveTo>
                <a:cubicBezTo>
                  <a:pt x="970" y="188"/>
                  <a:pt x="970" y="187"/>
                  <a:pt x="970" y="187"/>
                </a:cubicBezTo>
                <a:cubicBezTo>
                  <a:pt x="969" y="187"/>
                  <a:pt x="968" y="186"/>
                  <a:pt x="967" y="186"/>
                </a:cubicBezTo>
                <a:cubicBezTo>
                  <a:pt x="958" y="188"/>
                  <a:pt x="951" y="192"/>
                  <a:pt x="944" y="197"/>
                </a:cubicBezTo>
                <a:cubicBezTo>
                  <a:pt x="942" y="199"/>
                  <a:pt x="942" y="202"/>
                  <a:pt x="945" y="204"/>
                </a:cubicBezTo>
                <a:cubicBezTo>
                  <a:pt x="947" y="205"/>
                  <a:pt x="949" y="206"/>
                  <a:pt x="951" y="205"/>
                </a:cubicBezTo>
                <a:cubicBezTo>
                  <a:pt x="958" y="200"/>
                  <a:pt x="964" y="195"/>
                  <a:pt x="970" y="190"/>
                </a:cubicBezTo>
                <a:cubicBezTo>
                  <a:pt x="971" y="189"/>
                  <a:pt x="970" y="189"/>
                  <a:pt x="971" y="188"/>
                </a:cubicBezTo>
                <a:close/>
                <a:moveTo>
                  <a:pt x="2214" y="1130"/>
                </a:moveTo>
                <a:cubicBezTo>
                  <a:pt x="2215" y="1129"/>
                  <a:pt x="2216" y="1127"/>
                  <a:pt x="2216" y="1126"/>
                </a:cubicBezTo>
                <a:cubicBezTo>
                  <a:pt x="2217" y="1123"/>
                  <a:pt x="2217" y="1119"/>
                  <a:pt x="2217" y="1117"/>
                </a:cubicBezTo>
                <a:cubicBezTo>
                  <a:pt x="2217" y="1115"/>
                  <a:pt x="2217" y="1114"/>
                  <a:pt x="2217" y="1113"/>
                </a:cubicBezTo>
                <a:cubicBezTo>
                  <a:pt x="2217" y="1112"/>
                  <a:pt x="2217" y="1112"/>
                  <a:pt x="2217" y="1111"/>
                </a:cubicBezTo>
                <a:cubicBezTo>
                  <a:pt x="2216" y="1109"/>
                  <a:pt x="2214" y="1107"/>
                  <a:pt x="2212" y="1108"/>
                </a:cubicBezTo>
                <a:cubicBezTo>
                  <a:pt x="2210" y="1109"/>
                  <a:pt x="2208" y="1110"/>
                  <a:pt x="2206" y="1111"/>
                </a:cubicBezTo>
                <a:cubicBezTo>
                  <a:pt x="2204" y="1113"/>
                  <a:pt x="2203" y="1115"/>
                  <a:pt x="2203" y="1118"/>
                </a:cubicBezTo>
                <a:cubicBezTo>
                  <a:pt x="2204" y="1123"/>
                  <a:pt x="2205" y="1127"/>
                  <a:pt x="2208" y="1130"/>
                </a:cubicBezTo>
                <a:cubicBezTo>
                  <a:pt x="2209" y="1132"/>
                  <a:pt x="2213" y="1132"/>
                  <a:pt x="2214" y="1130"/>
                </a:cubicBezTo>
                <a:close/>
                <a:moveTo>
                  <a:pt x="3704" y="1612"/>
                </a:moveTo>
                <a:cubicBezTo>
                  <a:pt x="3704" y="1612"/>
                  <a:pt x="3704" y="1613"/>
                  <a:pt x="3704" y="1613"/>
                </a:cubicBezTo>
                <a:cubicBezTo>
                  <a:pt x="3704" y="1613"/>
                  <a:pt x="3705" y="1614"/>
                  <a:pt x="3705" y="1614"/>
                </a:cubicBezTo>
                <a:cubicBezTo>
                  <a:pt x="3706" y="1614"/>
                  <a:pt x="3706" y="1614"/>
                  <a:pt x="3707" y="1614"/>
                </a:cubicBezTo>
                <a:cubicBezTo>
                  <a:pt x="3712" y="1611"/>
                  <a:pt x="3717" y="1607"/>
                  <a:pt x="3720" y="1602"/>
                </a:cubicBezTo>
                <a:cubicBezTo>
                  <a:pt x="3724" y="1596"/>
                  <a:pt x="3728" y="1592"/>
                  <a:pt x="3734" y="1588"/>
                </a:cubicBezTo>
                <a:cubicBezTo>
                  <a:pt x="3735" y="1587"/>
                  <a:pt x="3735" y="1587"/>
                  <a:pt x="3733" y="1584"/>
                </a:cubicBezTo>
                <a:cubicBezTo>
                  <a:pt x="3730" y="1580"/>
                  <a:pt x="3728" y="1581"/>
                  <a:pt x="3726" y="1584"/>
                </a:cubicBezTo>
                <a:cubicBezTo>
                  <a:pt x="3720" y="1592"/>
                  <a:pt x="3713" y="1601"/>
                  <a:pt x="3705" y="1609"/>
                </a:cubicBezTo>
                <a:cubicBezTo>
                  <a:pt x="3705" y="1610"/>
                  <a:pt x="3704" y="1611"/>
                  <a:pt x="3704" y="1612"/>
                </a:cubicBezTo>
                <a:close/>
                <a:moveTo>
                  <a:pt x="3788" y="1585"/>
                </a:moveTo>
                <a:cubicBezTo>
                  <a:pt x="3787" y="1581"/>
                  <a:pt x="3784" y="1580"/>
                  <a:pt x="3781" y="1579"/>
                </a:cubicBezTo>
                <a:cubicBezTo>
                  <a:pt x="3781" y="1578"/>
                  <a:pt x="3781" y="1578"/>
                  <a:pt x="3781" y="1578"/>
                </a:cubicBezTo>
                <a:cubicBezTo>
                  <a:pt x="3781" y="1578"/>
                  <a:pt x="3781" y="1579"/>
                  <a:pt x="3781" y="1579"/>
                </a:cubicBezTo>
                <a:cubicBezTo>
                  <a:pt x="3781" y="1578"/>
                  <a:pt x="3781" y="1577"/>
                  <a:pt x="3781" y="1575"/>
                </a:cubicBezTo>
                <a:cubicBezTo>
                  <a:pt x="3781" y="1574"/>
                  <a:pt x="3781" y="1573"/>
                  <a:pt x="3780" y="1573"/>
                </a:cubicBezTo>
                <a:cubicBezTo>
                  <a:pt x="3776" y="1569"/>
                  <a:pt x="3771" y="1568"/>
                  <a:pt x="3766" y="1566"/>
                </a:cubicBezTo>
                <a:cubicBezTo>
                  <a:pt x="3765" y="1566"/>
                  <a:pt x="3764" y="1567"/>
                  <a:pt x="3764" y="1567"/>
                </a:cubicBezTo>
                <a:cubicBezTo>
                  <a:pt x="3765" y="1573"/>
                  <a:pt x="3765" y="1578"/>
                  <a:pt x="3765" y="1583"/>
                </a:cubicBezTo>
                <a:cubicBezTo>
                  <a:pt x="3765" y="1585"/>
                  <a:pt x="3767" y="1585"/>
                  <a:pt x="3769" y="1586"/>
                </a:cubicBezTo>
                <a:cubicBezTo>
                  <a:pt x="3771" y="1587"/>
                  <a:pt x="3773" y="1587"/>
                  <a:pt x="3775" y="1585"/>
                </a:cubicBezTo>
                <a:cubicBezTo>
                  <a:pt x="3776" y="1584"/>
                  <a:pt x="3777" y="1583"/>
                  <a:pt x="3778" y="1582"/>
                </a:cubicBezTo>
                <a:cubicBezTo>
                  <a:pt x="3778" y="1582"/>
                  <a:pt x="3778" y="1582"/>
                  <a:pt x="3778" y="1582"/>
                </a:cubicBezTo>
                <a:cubicBezTo>
                  <a:pt x="3778" y="1582"/>
                  <a:pt x="3778" y="1582"/>
                  <a:pt x="3778" y="1582"/>
                </a:cubicBezTo>
                <a:cubicBezTo>
                  <a:pt x="3777" y="1586"/>
                  <a:pt x="3777" y="1590"/>
                  <a:pt x="3774" y="1594"/>
                </a:cubicBezTo>
                <a:cubicBezTo>
                  <a:pt x="3771" y="1598"/>
                  <a:pt x="3771" y="1600"/>
                  <a:pt x="3776" y="1603"/>
                </a:cubicBezTo>
                <a:cubicBezTo>
                  <a:pt x="3777" y="1604"/>
                  <a:pt x="3779" y="1605"/>
                  <a:pt x="3781" y="1606"/>
                </a:cubicBezTo>
                <a:cubicBezTo>
                  <a:pt x="3782" y="1607"/>
                  <a:pt x="3784" y="1606"/>
                  <a:pt x="3785" y="1604"/>
                </a:cubicBezTo>
                <a:cubicBezTo>
                  <a:pt x="3786" y="1601"/>
                  <a:pt x="3788" y="1598"/>
                  <a:pt x="3787" y="1595"/>
                </a:cubicBezTo>
                <a:cubicBezTo>
                  <a:pt x="3788" y="1595"/>
                  <a:pt x="3788" y="1595"/>
                  <a:pt x="3788" y="1595"/>
                </a:cubicBezTo>
                <a:cubicBezTo>
                  <a:pt x="3788" y="1595"/>
                  <a:pt x="3788" y="1595"/>
                  <a:pt x="3788" y="1595"/>
                </a:cubicBezTo>
                <a:cubicBezTo>
                  <a:pt x="3788" y="1595"/>
                  <a:pt x="3788" y="1595"/>
                  <a:pt x="3788" y="1595"/>
                </a:cubicBezTo>
                <a:cubicBezTo>
                  <a:pt x="3785" y="1592"/>
                  <a:pt x="3785" y="1589"/>
                  <a:pt x="3788" y="1585"/>
                </a:cubicBezTo>
                <a:close/>
                <a:moveTo>
                  <a:pt x="1058" y="1475"/>
                </a:moveTo>
                <a:cubicBezTo>
                  <a:pt x="1056" y="1475"/>
                  <a:pt x="1053" y="1475"/>
                  <a:pt x="1050" y="1476"/>
                </a:cubicBezTo>
                <a:cubicBezTo>
                  <a:pt x="1049" y="1476"/>
                  <a:pt x="1048" y="1478"/>
                  <a:pt x="1049" y="1479"/>
                </a:cubicBezTo>
                <a:cubicBezTo>
                  <a:pt x="1054" y="1486"/>
                  <a:pt x="1060" y="1489"/>
                  <a:pt x="1068" y="1486"/>
                </a:cubicBezTo>
                <a:cubicBezTo>
                  <a:pt x="1070" y="1485"/>
                  <a:pt x="1071" y="1485"/>
                  <a:pt x="1073" y="1484"/>
                </a:cubicBezTo>
                <a:cubicBezTo>
                  <a:pt x="1074" y="1484"/>
                  <a:pt x="1075" y="1481"/>
                  <a:pt x="1074" y="1480"/>
                </a:cubicBezTo>
                <a:cubicBezTo>
                  <a:pt x="1070" y="1475"/>
                  <a:pt x="1065" y="1474"/>
                  <a:pt x="1058" y="1475"/>
                </a:cubicBezTo>
                <a:close/>
                <a:moveTo>
                  <a:pt x="133" y="551"/>
                </a:moveTo>
                <a:cubicBezTo>
                  <a:pt x="137" y="551"/>
                  <a:pt x="139" y="546"/>
                  <a:pt x="139" y="542"/>
                </a:cubicBezTo>
                <a:cubicBezTo>
                  <a:pt x="138" y="541"/>
                  <a:pt x="135" y="538"/>
                  <a:pt x="133" y="538"/>
                </a:cubicBezTo>
                <a:cubicBezTo>
                  <a:pt x="129" y="539"/>
                  <a:pt x="125" y="540"/>
                  <a:pt x="120" y="541"/>
                </a:cubicBezTo>
                <a:cubicBezTo>
                  <a:pt x="119" y="541"/>
                  <a:pt x="119" y="542"/>
                  <a:pt x="119" y="543"/>
                </a:cubicBezTo>
                <a:cubicBezTo>
                  <a:pt x="119" y="545"/>
                  <a:pt x="119" y="547"/>
                  <a:pt x="121" y="549"/>
                </a:cubicBezTo>
                <a:cubicBezTo>
                  <a:pt x="125" y="552"/>
                  <a:pt x="129" y="552"/>
                  <a:pt x="133" y="551"/>
                </a:cubicBezTo>
                <a:close/>
                <a:moveTo>
                  <a:pt x="2801" y="411"/>
                </a:moveTo>
                <a:cubicBezTo>
                  <a:pt x="2805" y="413"/>
                  <a:pt x="2812" y="411"/>
                  <a:pt x="2814" y="406"/>
                </a:cubicBezTo>
                <a:cubicBezTo>
                  <a:pt x="2815" y="405"/>
                  <a:pt x="2814" y="405"/>
                  <a:pt x="2815" y="404"/>
                </a:cubicBezTo>
                <a:cubicBezTo>
                  <a:pt x="2813" y="400"/>
                  <a:pt x="2811" y="398"/>
                  <a:pt x="2807" y="395"/>
                </a:cubicBezTo>
                <a:cubicBezTo>
                  <a:pt x="2807" y="395"/>
                  <a:pt x="2805" y="395"/>
                  <a:pt x="2804" y="395"/>
                </a:cubicBezTo>
                <a:cubicBezTo>
                  <a:pt x="2798" y="396"/>
                  <a:pt x="2796" y="400"/>
                  <a:pt x="2798" y="407"/>
                </a:cubicBezTo>
                <a:cubicBezTo>
                  <a:pt x="2799" y="408"/>
                  <a:pt x="2800" y="410"/>
                  <a:pt x="2801" y="411"/>
                </a:cubicBezTo>
                <a:close/>
                <a:moveTo>
                  <a:pt x="2408" y="1227"/>
                </a:moveTo>
                <a:cubicBezTo>
                  <a:pt x="2407" y="1228"/>
                  <a:pt x="2406" y="1229"/>
                  <a:pt x="2406" y="1230"/>
                </a:cubicBezTo>
                <a:cubicBezTo>
                  <a:pt x="2406" y="1231"/>
                  <a:pt x="2406" y="1232"/>
                  <a:pt x="2407" y="1233"/>
                </a:cubicBezTo>
                <a:cubicBezTo>
                  <a:pt x="2412" y="1234"/>
                  <a:pt x="2418" y="1235"/>
                  <a:pt x="2423" y="1237"/>
                </a:cubicBezTo>
                <a:cubicBezTo>
                  <a:pt x="2423" y="1237"/>
                  <a:pt x="2424" y="1237"/>
                  <a:pt x="2424" y="1237"/>
                </a:cubicBezTo>
                <a:cubicBezTo>
                  <a:pt x="2429" y="1236"/>
                  <a:pt x="2433" y="1235"/>
                  <a:pt x="2437" y="1235"/>
                </a:cubicBezTo>
                <a:cubicBezTo>
                  <a:pt x="2438" y="1235"/>
                  <a:pt x="2439" y="1234"/>
                  <a:pt x="2439" y="1234"/>
                </a:cubicBezTo>
                <a:cubicBezTo>
                  <a:pt x="2438" y="1233"/>
                  <a:pt x="2438" y="1232"/>
                  <a:pt x="2438" y="1231"/>
                </a:cubicBezTo>
                <a:cubicBezTo>
                  <a:pt x="2434" y="1228"/>
                  <a:pt x="2430" y="1227"/>
                  <a:pt x="2425" y="1227"/>
                </a:cubicBezTo>
                <a:cubicBezTo>
                  <a:pt x="2420" y="1227"/>
                  <a:pt x="2416" y="1227"/>
                  <a:pt x="2411" y="1226"/>
                </a:cubicBezTo>
                <a:cubicBezTo>
                  <a:pt x="2410" y="1226"/>
                  <a:pt x="2409" y="1227"/>
                  <a:pt x="2408" y="1227"/>
                </a:cubicBezTo>
                <a:close/>
                <a:moveTo>
                  <a:pt x="1217" y="1476"/>
                </a:moveTo>
                <a:cubicBezTo>
                  <a:pt x="1215" y="1475"/>
                  <a:pt x="1213" y="1475"/>
                  <a:pt x="1210" y="1475"/>
                </a:cubicBezTo>
                <a:cubicBezTo>
                  <a:pt x="1207" y="1475"/>
                  <a:pt x="1204" y="1475"/>
                  <a:pt x="1201" y="1476"/>
                </a:cubicBezTo>
                <a:cubicBezTo>
                  <a:pt x="1200" y="1477"/>
                  <a:pt x="1199" y="1479"/>
                  <a:pt x="1198" y="1480"/>
                </a:cubicBezTo>
                <a:cubicBezTo>
                  <a:pt x="1198" y="1481"/>
                  <a:pt x="1199" y="1483"/>
                  <a:pt x="1200" y="1484"/>
                </a:cubicBezTo>
                <a:cubicBezTo>
                  <a:pt x="1201" y="1484"/>
                  <a:pt x="1202" y="1485"/>
                  <a:pt x="1203" y="1485"/>
                </a:cubicBezTo>
                <a:cubicBezTo>
                  <a:pt x="1209" y="1486"/>
                  <a:pt x="1215" y="1485"/>
                  <a:pt x="1220" y="1482"/>
                </a:cubicBezTo>
                <a:cubicBezTo>
                  <a:pt x="1221" y="1481"/>
                  <a:pt x="1221" y="1480"/>
                  <a:pt x="1221" y="1479"/>
                </a:cubicBezTo>
                <a:cubicBezTo>
                  <a:pt x="1219" y="1478"/>
                  <a:pt x="1218" y="1476"/>
                  <a:pt x="1217" y="1476"/>
                </a:cubicBezTo>
                <a:close/>
                <a:moveTo>
                  <a:pt x="3744" y="1543"/>
                </a:moveTo>
                <a:cubicBezTo>
                  <a:pt x="3743" y="1543"/>
                  <a:pt x="3742" y="1545"/>
                  <a:pt x="3742" y="1545"/>
                </a:cubicBezTo>
                <a:cubicBezTo>
                  <a:pt x="3744" y="1550"/>
                  <a:pt x="3746" y="1556"/>
                  <a:pt x="3749" y="1560"/>
                </a:cubicBezTo>
                <a:cubicBezTo>
                  <a:pt x="3751" y="1562"/>
                  <a:pt x="3755" y="1562"/>
                  <a:pt x="3756" y="1559"/>
                </a:cubicBezTo>
                <a:cubicBezTo>
                  <a:pt x="3758" y="1556"/>
                  <a:pt x="3758" y="1552"/>
                  <a:pt x="3756" y="1549"/>
                </a:cubicBezTo>
                <a:cubicBezTo>
                  <a:pt x="3755" y="1546"/>
                  <a:pt x="3753" y="1544"/>
                  <a:pt x="3751" y="1542"/>
                </a:cubicBezTo>
                <a:cubicBezTo>
                  <a:pt x="3749" y="1542"/>
                  <a:pt x="3746" y="1541"/>
                  <a:pt x="3744" y="1543"/>
                </a:cubicBezTo>
                <a:close/>
                <a:moveTo>
                  <a:pt x="3725" y="1876"/>
                </a:moveTo>
                <a:cubicBezTo>
                  <a:pt x="3731" y="1877"/>
                  <a:pt x="3735" y="1881"/>
                  <a:pt x="3740" y="1883"/>
                </a:cubicBezTo>
                <a:cubicBezTo>
                  <a:pt x="3741" y="1884"/>
                  <a:pt x="3743" y="1883"/>
                  <a:pt x="3745" y="1883"/>
                </a:cubicBezTo>
                <a:cubicBezTo>
                  <a:pt x="3747" y="1883"/>
                  <a:pt x="3748" y="1880"/>
                  <a:pt x="3747" y="1878"/>
                </a:cubicBezTo>
                <a:cubicBezTo>
                  <a:pt x="3747" y="1877"/>
                  <a:pt x="3746" y="1876"/>
                  <a:pt x="3746" y="1875"/>
                </a:cubicBezTo>
                <a:cubicBezTo>
                  <a:pt x="3742" y="1871"/>
                  <a:pt x="3736" y="1869"/>
                  <a:pt x="3729" y="1869"/>
                </a:cubicBezTo>
                <a:cubicBezTo>
                  <a:pt x="3729" y="1870"/>
                  <a:pt x="3727" y="1870"/>
                  <a:pt x="3726" y="1870"/>
                </a:cubicBezTo>
                <a:cubicBezTo>
                  <a:pt x="3725" y="1871"/>
                  <a:pt x="3725" y="1872"/>
                  <a:pt x="3724" y="1873"/>
                </a:cubicBezTo>
                <a:cubicBezTo>
                  <a:pt x="3724" y="1874"/>
                  <a:pt x="3725" y="1876"/>
                  <a:pt x="3725" y="1876"/>
                </a:cubicBezTo>
                <a:close/>
                <a:moveTo>
                  <a:pt x="1121" y="187"/>
                </a:moveTo>
                <a:cubicBezTo>
                  <a:pt x="1122" y="188"/>
                  <a:pt x="1124" y="187"/>
                  <a:pt x="1125" y="186"/>
                </a:cubicBezTo>
                <a:cubicBezTo>
                  <a:pt x="1128" y="181"/>
                  <a:pt x="1128" y="175"/>
                  <a:pt x="1129" y="168"/>
                </a:cubicBezTo>
                <a:cubicBezTo>
                  <a:pt x="1129" y="167"/>
                  <a:pt x="1129" y="165"/>
                  <a:pt x="1129" y="164"/>
                </a:cubicBezTo>
                <a:cubicBezTo>
                  <a:pt x="1129" y="163"/>
                  <a:pt x="1128" y="162"/>
                  <a:pt x="1127" y="162"/>
                </a:cubicBezTo>
                <a:cubicBezTo>
                  <a:pt x="1126" y="162"/>
                  <a:pt x="1125" y="162"/>
                  <a:pt x="1124" y="163"/>
                </a:cubicBezTo>
                <a:cubicBezTo>
                  <a:pt x="1122" y="168"/>
                  <a:pt x="1120" y="172"/>
                  <a:pt x="1118" y="176"/>
                </a:cubicBezTo>
                <a:cubicBezTo>
                  <a:pt x="1118" y="178"/>
                  <a:pt x="1118" y="181"/>
                  <a:pt x="1118" y="183"/>
                </a:cubicBezTo>
                <a:cubicBezTo>
                  <a:pt x="1118" y="184"/>
                  <a:pt x="1120" y="185"/>
                  <a:pt x="1121" y="187"/>
                </a:cubicBezTo>
                <a:close/>
                <a:moveTo>
                  <a:pt x="4221" y="1815"/>
                </a:moveTo>
                <a:cubicBezTo>
                  <a:pt x="4220" y="1815"/>
                  <a:pt x="4220" y="1815"/>
                  <a:pt x="4219" y="1815"/>
                </a:cubicBezTo>
                <a:cubicBezTo>
                  <a:pt x="4218" y="1816"/>
                  <a:pt x="4217" y="1818"/>
                  <a:pt x="4218" y="1819"/>
                </a:cubicBezTo>
                <a:cubicBezTo>
                  <a:pt x="4218" y="1825"/>
                  <a:pt x="4222" y="1828"/>
                  <a:pt x="4224" y="1832"/>
                </a:cubicBezTo>
                <a:cubicBezTo>
                  <a:pt x="4226" y="1834"/>
                  <a:pt x="4230" y="1834"/>
                  <a:pt x="4232" y="1832"/>
                </a:cubicBezTo>
                <a:cubicBezTo>
                  <a:pt x="4234" y="1831"/>
                  <a:pt x="4235" y="1827"/>
                  <a:pt x="4233" y="1825"/>
                </a:cubicBezTo>
                <a:cubicBezTo>
                  <a:pt x="4230" y="1821"/>
                  <a:pt x="4225" y="1818"/>
                  <a:pt x="4221" y="1815"/>
                </a:cubicBezTo>
                <a:close/>
                <a:moveTo>
                  <a:pt x="1174" y="682"/>
                </a:moveTo>
                <a:cubicBezTo>
                  <a:pt x="1169" y="685"/>
                  <a:pt x="1166" y="691"/>
                  <a:pt x="1168" y="697"/>
                </a:cubicBezTo>
                <a:cubicBezTo>
                  <a:pt x="1169" y="698"/>
                  <a:pt x="1170" y="699"/>
                  <a:pt x="1171" y="700"/>
                </a:cubicBezTo>
                <a:cubicBezTo>
                  <a:pt x="1173" y="699"/>
                  <a:pt x="1174" y="699"/>
                  <a:pt x="1174" y="699"/>
                </a:cubicBezTo>
                <a:cubicBezTo>
                  <a:pt x="1176" y="696"/>
                  <a:pt x="1178" y="694"/>
                  <a:pt x="1180" y="691"/>
                </a:cubicBezTo>
                <a:cubicBezTo>
                  <a:pt x="1181" y="690"/>
                  <a:pt x="1181" y="689"/>
                  <a:pt x="1181" y="688"/>
                </a:cubicBezTo>
                <a:cubicBezTo>
                  <a:pt x="1182" y="686"/>
                  <a:pt x="1182" y="683"/>
                  <a:pt x="1180" y="682"/>
                </a:cubicBezTo>
                <a:cubicBezTo>
                  <a:pt x="1178" y="681"/>
                  <a:pt x="1176" y="680"/>
                  <a:pt x="1174" y="682"/>
                </a:cubicBezTo>
                <a:close/>
                <a:moveTo>
                  <a:pt x="4059" y="577"/>
                </a:moveTo>
                <a:cubicBezTo>
                  <a:pt x="4058" y="578"/>
                  <a:pt x="4056" y="579"/>
                  <a:pt x="4055" y="581"/>
                </a:cubicBezTo>
                <a:cubicBezTo>
                  <a:pt x="4053" y="583"/>
                  <a:pt x="4052" y="585"/>
                  <a:pt x="4053" y="588"/>
                </a:cubicBezTo>
                <a:cubicBezTo>
                  <a:pt x="4054" y="592"/>
                  <a:pt x="4056" y="595"/>
                  <a:pt x="4057" y="599"/>
                </a:cubicBezTo>
                <a:cubicBezTo>
                  <a:pt x="4057" y="599"/>
                  <a:pt x="4057" y="599"/>
                  <a:pt x="4058" y="599"/>
                </a:cubicBezTo>
                <a:cubicBezTo>
                  <a:pt x="4058" y="599"/>
                  <a:pt x="4059" y="599"/>
                  <a:pt x="4059" y="598"/>
                </a:cubicBezTo>
                <a:cubicBezTo>
                  <a:pt x="4060" y="594"/>
                  <a:pt x="4063" y="591"/>
                  <a:pt x="4065" y="587"/>
                </a:cubicBezTo>
                <a:cubicBezTo>
                  <a:pt x="4067" y="584"/>
                  <a:pt x="4066" y="581"/>
                  <a:pt x="4064" y="578"/>
                </a:cubicBezTo>
                <a:cubicBezTo>
                  <a:pt x="4062" y="577"/>
                  <a:pt x="4060" y="577"/>
                  <a:pt x="4059" y="577"/>
                </a:cubicBezTo>
                <a:close/>
                <a:moveTo>
                  <a:pt x="1294" y="1033"/>
                </a:moveTo>
                <a:cubicBezTo>
                  <a:pt x="1294" y="1033"/>
                  <a:pt x="1294" y="1033"/>
                  <a:pt x="1294" y="1033"/>
                </a:cubicBezTo>
                <a:cubicBezTo>
                  <a:pt x="1294" y="1033"/>
                  <a:pt x="1294" y="1033"/>
                  <a:pt x="1294" y="1033"/>
                </a:cubicBezTo>
                <a:cubicBezTo>
                  <a:pt x="1294" y="1033"/>
                  <a:pt x="1294" y="1033"/>
                  <a:pt x="1294" y="1033"/>
                </a:cubicBezTo>
                <a:cubicBezTo>
                  <a:pt x="1294" y="1033"/>
                  <a:pt x="1294" y="1033"/>
                  <a:pt x="1294" y="1033"/>
                </a:cubicBezTo>
                <a:close/>
                <a:moveTo>
                  <a:pt x="1304" y="1039"/>
                </a:moveTo>
                <a:cubicBezTo>
                  <a:pt x="1306" y="1039"/>
                  <a:pt x="1308" y="1039"/>
                  <a:pt x="1310" y="1039"/>
                </a:cubicBezTo>
                <a:cubicBezTo>
                  <a:pt x="1311" y="1029"/>
                  <a:pt x="1312" y="1032"/>
                  <a:pt x="1304" y="1028"/>
                </a:cubicBezTo>
                <a:cubicBezTo>
                  <a:pt x="1299" y="1026"/>
                  <a:pt x="1295" y="1025"/>
                  <a:pt x="1291" y="1021"/>
                </a:cubicBezTo>
                <a:cubicBezTo>
                  <a:pt x="1291" y="1021"/>
                  <a:pt x="1290" y="1021"/>
                  <a:pt x="1289" y="1022"/>
                </a:cubicBezTo>
                <a:cubicBezTo>
                  <a:pt x="1288" y="1022"/>
                  <a:pt x="1288" y="1023"/>
                  <a:pt x="1289" y="1023"/>
                </a:cubicBezTo>
                <a:cubicBezTo>
                  <a:pt x="1290" y="1026"/>
                  <a:pt x="1292" y="1030"/>
                  <a:pt x="1294" y="1033"/>
                </a:cubicBezTo>
                <a:cubicBezTo>
                  <a:pt x="1296" y="1033"/>
                  <a:pt x="1298" y="1034"/>
                  <a:pt x="1299" y="1034"/>
                </a:cubicBezTo>
                <a:cubicBezTo>
                  <a:pt x="1302" y="1035"/>
                  <a:pt x="1303" y="1037"/>
                  <a:pt x="1304" y="1039"/>
                </a:cubicBezTo>
                <a:close/>
                <a:moveTo>
                  <a:pt x="1304" y="1039"/>
                </a:moveTo>
                <a:cubicBezTo>
                  <a:pt x="1303" y="1039"/>
                  <a:pt x="1303" y="1039"/>
                  <a:pt x="1303" y="1039"/>
                </a:cubicBezTo>
                <a:cubicBezTo>
                  <a:pt x="1304" y="1039"/>
                  <a:pt x="1304" y="1040"/>
                  <a:pt x="1304" y="1040"/>
                </a:cubicBezTo>
                <a:cubicBezTo>
                  <a:pt x="1304" y="1040"/>
                  <a:pt x="1304" y="1040"/>
                  <a:pt x="1304" y="1040"/>
                </a:cubicBezTo>
                <a:cubicBezTo>
                  <a:pt x="1304" y="1040"/>
                  <a:pt x="1304" y="1039"/>
                  <a:pt x="1304" y="1039"/>
                </a:cubicBezTo>
                <a:close/>
                <a:moveTo>
                  <a:pt x="3993" y="977"/>
                </a:moveTo>
                <a:cubicBezTo>
                  <a:pt x="3998" y="970"/>
                  <a:pt x="4003" y="964"/>
                  <a:pt x="4009" y="959"/>
                </a:cubicBezTo>
                <a:cubicBezTo>
                  <a:pt x="4009" y="958"/>
                  <a:pt x="4009" y="957"/>
                  <a:pt x="4009" y="956"/>
                </a:cubicBezTo>
                <a:cubicBezTo>
                  <a:pt x="4008" y="955"/>
                  <a:pt x="4008" y="955"/>
                  <a:pt x="4008" y="955"/>
                </a:cubicBezTo>
                <a:cubicBezTo>
                  <a:pt x="4005" y="954"/>
                  <a:pt x="4004" y="957"/>
                  <a:pt x="4002" y="957"/>
                </a:cubicBezTo>
                <a:cubicBezTo>
                  <a:pt x="3999" y="959"/>
                  <a:pt x="3996" y="960"/>
                  <a:pt x="3995" y="963"/>
                </a:cubicBezTo>
                <a:cubicBezTo>
                  <a:pt x="3994" y="966"/>
                  <a:pt x="3992" y="969"/>
                  <a:pt x="3991" y="972"/>
                </a:cubicBezTo>
                <a:cubicBezTo>
                  <a:pt x="3990" y="973"/>
                  <a:pt x="3990" y="974"/>
                  <a:pt x="3990" y="975"/>
                </a:cubicBezTo>
                <a:cubicBezTo>
                  <a:pt x="3990" y="976"/>
                  <a:pt x="3991" y="977"/>
                  <a:pt x="3992" y="977"/>
                </a:cubicBezTo>
                <a:cubicBezTo>
                  <a:pt x="3992" y="978"/>
                  <a:pt x="3993" y="977"/>
                  <a:pt x="3993" y="977"/>
                </a:cubicBezTo>
                <a:close/>
                <a:moveTo>
                  <a:pt x="3839" y="1790"/>
                </a:moveTo>
                <a:cubicBezTo>
                  <a:pt x="3840" y="1790"/>
                  <a:pt x="3840" y="1788"/>
                  <a:pt x="3840" y="1787"/>
                </a:cubicBezTo>
                <a:cubicBezTo>
                  <a:pt x="3840" y="1786"/>
                  <a:pt x="3840" y="1785"/>
                  <a:pt x="3839" y="1785"/>
                </a:cubicBezTo>
                <a:cubicBezTo>
                  <a:pt x="3835" y="1780"/>
                  <a:pt x="3828" y="1780"/>
                  <a:pt x="3824" y="1785"/>
                </a:cubicBezTo>
                <a:cubicBezTo>
                  <a:pt x="3823" y="1786"/>
                  <a:pt x="3823" y="1788"/>
                  <a:pt x="3824" y="1789"/>
                </a:cubicBezTo>
                <a:cubicBezTo>
                  <a:pt x="3827" y="1792"/>
                  <a:pt x="3831" y="1794"/>
                  <a:pt x="3835" y="1793"/>
                </a:cubicBezTo>
                <a:cubicBezTo>
                  <a:pt x="3837" y="1792"/>
                  <a:pt x="3838" y="1791"/>
                  <a:pt x="3839" y="1790"/>
                </a:cubicBezTo>
                <a:close/>
                <a:moveTo>
                  <a:pt x="1913" y="394"/>
                </a:moveTo>
                <a:cubicBezTo>
                  <a:pt x="1912" y="396"/>
                  <a:pt x="1912" y="397"/>
                  <a:pt x="1912" y="399"/>
                </a:cubicBezTo>
                <a:cubicBezTo>
                  <a:pt x="1911" y="402"/>
                  <a:pt x="1912" y="404"/>
                  <a:pt x="1915" y="406"/>
                </a:cubicBezTo>
                <a:cubicBezTo>
                  <a:pt x="1918" y="407"/>
                  <a:pt x="1921" y="408"/>
                  <a:pt x="1924" y="406"/>
                </a:cubicBezTo>
                <a:cubicBezTo>
                  <a:pt x="1924" y="405"/>
                  <a:pt x="1924" y="405"/>
                  <a:pt x="1925" y="405"/>
                </a:cubicBezTo>
                <a:cubicBezTo>
                  <a:pt x="1925" y="404"/>
                  <a:pt x="1925" y="403"/>
                  <a:pt x="1925" y="403"/>
                </a:cubicBezTo>
                <a:cubicBezTo>
                  <a:pt x="1924" y="400"/>
                  <a:pt x="1923" y="397"/>
                  <a:pt x="1921" y="394"/>
                </a:cubicBezTo>
                <a:cubicBezTo>
                  <a:pt x="1920" y="391"/>
                  <a:pt x="1915" y="391"/>
                  <a:pt x="1913" y="394"/>
                </a:cubicBezTo>
                <a:close/>
                <a:moveTo>
                  <a:pt x="41" y="716"/>
                </a:moveTo>
                <a:cubicBezTo>
                  <a:pt x="40" y="716"/>
                  <a:pt x="39" y="716"/>
                  <a:pt x="38" y="717"/>
                </a:cubicBezTo>
                <a:cubicBezTo>
                  <a:pt x="34" y="721"/>
                  <a:pt x="30" y="725"/>
                  <a:pt x="26" y="730"/>
                </a:cubicBezTo>
                <a:cubicBezTo>
                  <a:pt x="26" y="730"/>
                  <a:pt x="26" y="731"/>
                  <a:pt x="26" y="731"/>
                </a:cubicBezTo>
                <a:cubicBezTo>
                  <a:pt x="27" y="731"/>
                  <a:pt x="27" y="732"/>
                  <a:pt x="28" y="732"/>
                </a:cubicBezTo>
                <a:cubicBezTo>
                  <a:pt x="34" y="732"/>
                  <a:pt x="39" y="729"/>
                  <a:pt x="44" y="725"/>
                </a:cubicBezTo>
                <a:cubicBezTo>
                  <a:pt x="45" y="724"/>
                  <a:pt x="45" y="722"/>
                  <a:pt x="45" y="721"/>
                </a:cubicBezTo>
                <a:cubicBezTo>
                  <a:pt x="45" y="719"/>
                  <a:pt x="43" y="716"/>
                  <a:pt x="41" y="716"/>
                </a:cubicBezTo>
                <a:close/>
                <a:moveTo>
                  <a:pt x="1242" y="98"/>
                </a:moveTo>
                <a:cubicBezTo>
                  <a:pt x="1243" y="100"/>
                  <a:pt x="1245" y="100"/>
                  <a:pt x="1246" y="99"/>
                </a:cubicBezTo>
                <a:cubicBezTo>
                  <a:pt x="1249" y="96"/>
                  <a:pt x="1251" y="93"/>
                  <a:pt x="1252" y="89"/>
                </a:cubicBezTo>
                <a:cubicBezTo>
                  <a:pt x="1253" y="88"/>
                  <a:pt x="1252" y="87"/>
                  <a:pt x="1252" y="86"/>
                </a:cubicBezTo>
                <a:cubicBezTo>
                  <a:pt x="1250" y="84"/>
                  <a:pt x="1248" y="84"/>
                  <a:pt x="1246" y="83"/>
                </a:cubicBezTo>
                <a:cubicBezTo>
                  <a:pt x="1241" y="84"/>
                  <a:pt x="1236" y="89"/>
                  <a:pt x="1240" y="94"/>
                </a:cubicBezTo>
                <a:cubicBezTo>
                  <a:pt x="1241" y="95"/>
                  <a:pt x="1241" y="97"/>
                  <a:pt x="1242" y="98"/>
                </a:cubicBezTo>
                <a:close/>
                <a:moveTo>
                  <a:pt x="1247" y="223"/>
                </a:moveTo>
                <a:cubicBezTo>
                  <a:pt x="1247" y="224"/>
                  <a:pt x="1248" y="224"/>
                  <a:pt x="1248" y="224"/>
                </a:cubicBezTo>
                <a:cubicBezTo>
                  <a:pt x="1251" y="226"/>
                  <a:pt x="1253" y="226"/>
                  <a:pt x="1256" y="225"/>
                </a:cubicBezTo>
                <a:cubicBezTo>
                  <a:pt x="1258" y="224"/>
                  <a:pt x="1260" y="221"/>
                  <a:pt x="1260" y="219"/>
                </a:cubicBezTo>
                <a:cubicBezTo>
                  <a:pt x="1261" y="215"/>
                  <a:pt x="1257" y="211"/>
                  <a:pt x="1253" y="211"/>
                </a:cubicBezTo>
                <a:cubicBezTo>
                  <a:pt x="1252" y="211"/>
                  <a:pt x="1251" y="212"/>
                  <a:pt x="1251" y="213"/>
                </a:cubicBezTo>
                <a:cubicBezTo>
                  <a:pt x="1248" y="216"/>
                  <a:pt x="1247" y="219"/>
                  <a:pt x="1247" y="223"/>
                </a:cubicBezTo>
                <a:close/>
                <a:moveTo>
                  <a:pt x="17" y="726"/>
                </a:moveTo>
                <a:cubicBezTo>
                  <a:pt x="16" y="726"/>
                  <a:pt x="14" y="726"/>
                  <a:pt x="13" y="726"/>
                </a:cubicBezTo>
                <a:cubicBezTo>
                  <a:pt x="8" y="729"/>
                  <a:pt x="4" y="733"/>
                  <a:pt x="1" y="738"/>
                </a:cubicBezTo>
                <a:cubicBezTo>
                  <a:pt x="0" y="739"/>
                  <a:pt x="0" y="740"/>
                  <a:pt x="1" y="741"/>
                </a:cubicBezTo>
                <a:cubicBezTo>
                  <a:pt x="2" y="741"/>
                  <a:pt x="2" y="741"/>
                  <a:pt x="3" y="741"/>
                </a:cubicBezTo>
                <a:cubicBezTo>
                  <a:pt x="9" y="738"/>
                  <a:pt x="14" y="735"/>
                  <a:pt x="19" y="730"/>
                </a:cubicBezTo>
                <a:cubicBezTo>
                  <a:pt x="19" y="729"/>
                  <a:pt x="19" y="729"/>
                  <a:pt x="19" y="728"/>
                </a:cubicBezTo>
                <a:cubicBezTo>
                  <a:pt x="18" y="727"/>
                  <a:pt x="18" y="726"/>
                  <a:pt x="17" y="726"/>
                </a:cubicBezTo>
                <a:close/>
                <a:moveTo>
                  <a:pt x="3482" y="176"/>
                </a:moveTo>
                <a:cubicBezTo>
                  <a:pt x="3480" y="176"/>
                  <a:pt x="3478" y="176"/>
                  <a:pt x="3477" y="177"/>
                </a:cubicBezTo>
                <a:cubicBezTo>
                  <a:pt x="3476" y="178"/>
                  <a:pt x="3475" y="180"/>
                  <a:pt x="3475" y="181"/>
                </a:cubicBezTo>
                <a:cubicBezTo>
                  <a:pt x="3476" y="186"/>
                  <a:pt x="3478" y="189"/>
                  <a:pt x="3483" y="191"/>
                </a:cubicBezTo>
                <a:cubicBezTo>
                  <a:pt x="3484" y="191"/>
                  <a:pt x="3486" y="191"/>
                  <a:pt x="3487" y="189"/>
                </a:cubicBezTo>
                <a:cubicBezTo>
                  <a:pt x="3487" y="188"/>
                  <a:pt x="3488" y="186"/>
                  <a:pt x="3488" y="185"/>
                </a:cubicBezTo>
                <a:cubicBezTo>
                  <a:pt x="3488" y="181"/>
                  <a:pt x="3485" y="178"/>
                  <a:pt x="3482" y="176"/>
                </a:cubicBezTo>
                <a:close/>
                <a:moveTo>
                  <a:pt x="1155" y="170"/>
                </a:moveTo>
                <a:cubicBezTo>
                  <a:pt x="1157" y="174"/>
                  <a:pt x="1159" y="176"/>
                  <a:pt x="1164" y="176"/>
                </a:cubicBezTo>
                <a:cubicBezTo>
                  <a:pt x="1166" y="176"/>
                  <a:pt x="1169" y="174"/>
                  <a:pt x="1168" y="171"/>
                </a:cubicBezTo>
                <a:cubicBezTo>
                  <a:pt x="1168" y="166"/>
                  <a:pt x="1164" y="163"/>
                  <a:pt x="1160" y="163"/>
                </a:cubicBezTo>
                <a:cubicBezTo>
                  <a:pt x="1157" y="163"/>
                  <a:pt x="1154" y="167"/>
                  <a:pt x="1155" y="170"/>
                </a:cubicBezTo>
                <a:close/>
                <a:moveTo>
                  <a:pt x="1052" y="136"/>
                </a:moveTo>
                <a:cubicBezTo>
                  <a:pt x="1052" y="137"/>
                  <a:pt x="1052" y="137"/>
                  <a:pt x="1052" y="137"/>
                </a:cubicBezTo>
                <a:cubicBezTo>
                  <a:pt x="1053" y="136"/>
                  <a:pt x="1053" y="136"/>
                  <a:pt x="1053" y="136"/>
                </a:cubicBezTo>
                <a:cubicBezTo>
                  <a:pt x="1052" y="138"/>
                  <a:pt x="1051" y="141"/>
                  <a:pt x="1051" y="143"/>
                </a:cubicBezTo>
                <a:cubicBezTo>
                  <a:pt x="1049" y="145"/>
                  <a:pt x="1050" y="148"/>
                  <a:pt x="1051" y="150"/>
                </a:cubicBezTo>
                <a:cubicBezTo>
                  <a:pt x="1053" y="153"/>
                  <a:pt x="1055" y="155"/>
                  <a:pt x="1056" y="157"/>
                </a:cubicBezTo>
                <a:cubicBezTo>
                  <a:pt x="1058" y="159"/>
                  <a:pt x="1060" y="160"/>
                  <a:pt x="1062" y="160"/>
                </a:cubicBezTo>
                <a:cubicBezTo>
                  <a:pt x="1064" y="160"/>
                  <a:pt x="1066" y="161"/>
                  <a:pt x="1068" y="161"/>
                </a:cubicBezTo>
                <a:cubicBezTo>
                  <a:pt x="1072" y="161"/>
                  <a:pt x="1076" y="159"/>
                  <a:pt x="1078" y="156"/>
                </a:cubicBezTo>
                <a:cubicBezTo>
                  <a:pt x="1081" y="154"/>
                  <a:pt x="1083" y="151"/>
                  <a:pt x="1083" y="148"/>
                </a:cubicBezTo>
                <a:cubicBezTo>
                  <a:pt x="1083" y="145"/>
                  <a:pt x="1085" y="144"/>
                  <a:pt x="1087" y="143"/>
                </a:cubicBezTo>
                <a:cubicBezTo>
                  <a:pt x="1090" y="142"/>
                  <a:pt x="1092" y="140"/>
                  <a:pt x="1094" y="139"/>
                </a:cubicBezTo>
                <a:cubicBezTo>
                  <a:pt x="1095" y="138"/>
                  <a:pt x="1095" y="137"/>
                  <a:pt x="1094" y="136"/>
                </a:cubicBezTo>
                <a:cubicBezTo>
                  <a:pt x="1094" y="135"/>
                  <a:pt x="1093" y="134"/>
                  <a:pt x="1092" y="134"/>
                </a:cubicBezTo>
                <a:cubicBezTo>
                  <a:pt x="1085" y="131"/>
                  <a:pt x="1078" y="130"/>
                  <a:pt x="1071" y="130"/>
                </a:cubicBezTo>
                <a:cubicBezTo>
                  <a:pt x="1066" y="129"/>
                  <a:pt x="1060" y="130"/>
                  <a:pt x="1056" y="133"/>
                </a:cubicBezTo>
                <a:cubicBezTo>
                  <a:pt x="1056" y="133"/>
                  <a:pt x="1056" y="133"/>
                  <a:pt x="1056" y="133"/>
                </a:cubicBezTo>
                <a:cubicBezTo>
                  <a:pt x="1056" y="133"/>
                  <a:pt x="1056" y="133"/>
                  <a:pt x="1056" y="133"/>
                </a:cubicBezTo>
                <a:cubicBezTo>
                  <a:pt x="1055" y="130"/>
                  <a:pt x="1055" y="127"/>
                  <a:pt x="1055" y="124"/>
                </a:cubicBezTo>
                <a:cubicBezTo>
                  <a:pt x="1055" y="122"/>
                  <a:pt x="1052" y="121"/>
                  <a:pt x="1050" y="121"/>
                </a:cubicBezTo>
                <a:cubicBezTo>
                  <a:pt x="1047" y="122"/>
                  <a:pt x="1046" y="123"/>
                  <a:pt x="1045" y="125"/>
                </a:cubicBezTo>
                <a:cubicBezTo>
                  <a:pt x="1044" y="128"/>
                  <a:pt x="1044" y="131"/>
                  <a:pt x="1046" y="133"/>
                </a:cubicBezTo>
                <a:cubicBezTo>
                  <a:pt x="1047" y="136"/>
                  <a:pt x="1050" y="136"/>
                  <a:pt x="1052" y="136"/>
                </a:cubicBezTo>
                <a:close/>
                <a:moveTo>
                  <a:pt x="4057" y="839"/>
                </a:moveTo>
                <a:cubicBezTo>
                  <a:pt x="4061" y="834"/>
                  <a:pt x="4062" y="828"/>
                  <a:pt x="4062" y="822"/>
                </a:cubicBezTo>
                <a:cubicBezTo>
                  <a:pt x="4062" y="822"/>
                  <a:pt x="4061" y="821"/>
                  <a:pt x="4061" y="821"/>
                </a:cubicBezTo>
                <a:cubicBezTo>
                  <a:pt x="4060" y="821"/>
                  <a:pt x="4059" y="821"/>
                  <a:pt x="4058" y="822"/>
                </a:cubicBezTo>
                <a:cubicBezTo>
                  <a:pt x="4058" y="822"/>
                  <a:pt x="4057" y="822"/>
                  <a:pt x="4057" y="823"/>
                </a:cubicBezTo>
                <a:cubicBezTo>
                  <a:pt x="4055" y="827"/>
                  <a:pt x="4053" y="831"/>
                  <a:pt x="4051" y="836"/>
                </a:cubicBezTo>
                <a:cubicBezTo>
                  <a:pt x="4051" y="837"/>
                  <a:pt x="4052" y="838"/>
                  <a:pt x="4053" y="840"/>
                </a:cubicBezTo>
                <a:cubicBezTo>
                  <a:pt x="4053" y="840"/>
                  <a:pt x="4054" y="840"/>
                  <a:pt x="4054" y="840"/>
                </a:cubicBezTo>
                <a:cubicBezTo>
                  <a:pt x="4055" y="840"/>
                  <a:pt x="4056" y="839"/>
                  <a:pt x="4057" y="839"/>
                </a:cubicBezTo>
                <a:close/>
                <a:moveTo>
                  <a:pt x="1138" y="831"/>
                </a:moveTo>
                <a:cubicBezTo>
                  <a:pt x="1142" y="830"/>
                  <a:pt x="1145" y="829"/>
                  <a:pt x="1147" y="825"/>
                </a:cubicBezTo>
                <a:cubicBezTo>
                  <a:pt x="1147" y="824"/>
                  <a:pt x="1147" y="823"/>
                  <a:pt x="1147" y="822"/>
                </a:cubicBezTo>
                <a:cubicBezTo>
                  <a:pt x="1146" y="820"/>
                  <a:pt x="1144" y="818"/>
                  <a:pt x="1142" y="819"/>
                </a:cubicBezTo>
                <a:cubicBezTo>
                  <a:pt x="1140" y="820"/>
                  <a:pt x="1138" y="820"/>
                  <a:pt x="1136" y="821"/>
                </a:cubicBezTo>
                <a:cubicBezTo>
                  <a:pt x="1133" y="822"/>
                  <a:pt x="1133" y="824"/>
                  <a:pt x="1133" y="826"/>
                </a:cubicBezTo>
                <a:cubicBezTo>
                  <a:pt x="1133" y="827"/>
                  <a:pt x="1133" y="827"/>
                  <a:pt x="1133" y="828"/>
                </a:cubicBezTo>
                <a:cubicBezTo>
                  <a:pt x="1133" y="830"/>
                  <a:pt x="1136" y="832"/>
                  <a:pt x="1138" y="831"/>
                </a:cubicBezTo>
                <a:close/>
                <a:moveTo>
                  <a:pt x="3394" y="154"/>
                </a:moveTo>
                <a:cubicBezTo>
                  <a:pt x="3394" y="155"/>
                  <a:pt x="3395" y="155"/>
                  <a:pt x="3395" y="155"/>
                </a:cubicBezTo>
                <a:cubicBezTo>
                  <a:pt x="3396" y="154"/>
                  <a:pt x="3397" y="153"/>
                  <a:pt x="3397" y="152"/>
                </a:cubicBezTo>
                <a:cubicBezTo>
                  <a:pt x="3397" y="151"/>
                  <a:pt x="3397" y="149"/>
                  <a:pt x="3396" y="148"/>
                </a:cubicBezTo>
                <a:cubicBezTo>
                  <a:pt x="3395" y="143"/>
                  <a:pt x="3393" y="140"/>
                  <a:pt x="3388" y="138"/>
                </a:cubicBezTo>
                <a:cubicBezTo>
                  <a:pt x="3387" y="138"/>
                  <a:pt x="3386" y="137"/>
                  <a:pt x="3385" y="137"/>
                </a:cubicBezTo>
                <a:cubicBezTo>
                  <a:pt x="3384" y="136"/>
                  <a:pt x="3383" y="136"/>
                  <a:pt x="3382" y="137"/>
                </a:cubicBezTo>
                <a:cubicBezTo>
                  <a:pt x="3382" y="138"/>
                  <a:pt x="3382" y="138"/>
                  <a:pt x="3382" y="139"/>
                </a:cubicBezTo>
                <a:cubicBezTo>
                  <a:pt x="3386" y="144"/>
                  <a:pt x="3390" y="149"/>
                  <a:pt x="3394" y="154"/>
                </a:cubicBezTo>
                <a:close/>
                <a:moveTo>
                  <a:pt x="1116" y="319"/>
                </a:moveTo>
                <a:cubicBezTo>
                  <a:pt x="1118" y="319"/>
                  <a:pt x="1120" y="317"/>
                  <a:pt x="1122" y="316"/>
                </a:cubicBezTo>
                <a:cubicBezTo>
                  <a:pt x="1122" y="316"/>
                  <a:pt x="1122" y="314"/>
                  <a:pt x="1122" y="313"/>
                </a:cubicBezTo>
                <a:cubicBezTo>
                  <a:pt x="1122" y="313"/>
                  <a:pt x="1122" y="313"/>
                  <a:pt x="1121" y="312"/>
                </a:cubicBezTo>
                <a:cubicBezTo>
                  <a:pt x="1117" y="311"/>
                  <a:pt x="1113" y="312"/>
                  <a:pt x="1108" y="312"/>
                </a:cubicBezTo>
                <a:cubicBezTo>
                  <a:pt x="1105" y="312"/>
                  <a:pt x="1103" y="315"/>
                  <a:pt x="1102" y="318"/>
                </a:cubicBezTo>
                <a:cubicBezTo>
                  <a:pt x="1107" y="319"/>
                  <a:pt x="1111" y="320"/>
                  <a:pt x="1116" y="319"/>
                </a:cubicBezTo>
                <a:close/>
                <a:moveTo>
                  <a:pt x="1078" y="262"/>
                </a:moveTo>
                <a:cubicBezTo>
                  <a:pt x="1081" y="262"/>
                  <a:pt x="1084" y="261"/>
                  <a:pt x="1085" y="259"/>
                </a:cubicBezTo>
                <a:cubicBezTo>
                  <a:pt x="1086" y="256"/>
                  <a:pt x="1086" y="254"/>
                  <a:pt x="1085" y="251"/>
                </a:cubicBezTo>
                <a:cubicBezTo>
                  <a:pt x="1084" y="250"/>
                  <a:pt x="1083" y="250"/>
                  <a:pt x="1082" y="250"/>
                </a:cubicBezTo>
                <a:cubicBezTo>
                  <a:pt x="1079" y="251"/>
                  <a:pt x="1075" y="254"/>
                  <a:pt x="1074" y="257"/>
                </a:cubicBezTo>
                <a:cubicBezTo>
                  <a:pt x="1074" y="259"/>
                  <a:pt x="1076" y="261"/>
                  <a:pt x="1078" y="262"/>
                </a:cubicBezTo>
                <a:close/>
                <a:moveTo>
                  <a:pt x="2189" y="277"/>
                </a:moveTo>
                <a:cubicBezTo>
                  <a:pt x="2188" y="278"/>
                  <a:pt x="2187" y="278"/>
                  <a:pt x="2187" y="279"/>
                </a:cubicBezTo>
                <a:cubicBezTo>
                  <a:pt x="2188" y="287"/>
                  <a:pt x="2192" y="292"/>
                  <a:pt x="2198" y="296"/>
                </a:cubicBezTo>
                <a:cubicBezTo>
                  <a:pt x="2198" y="296"/>
                  <a:pt x="2199" y="296"/>
                  <a:pt x="2199" y="295"/>
                </a:cubicBezTo>
                <a:cubicBezTo>
                  <a:pt x="2200" y="295"/>
                  <a:pt x="2200" y="294"/>
                  <a:pt x="2200" y="294"/>
                </a:cubicBezTo>
                <a:cubicBezTo>
                  <a:pt x="2198" y="288"/>
                  <a:pt x="2193" y="283"/>
                  <a:pt x="2190" y="277"/>
                </a:cubicBezTo>
                <a:cubicBezTo>
                  <a:pt x="2190" y="277"/>
                  <a:pt x="2189" y="277"/>
                  <a:pt x="2189" y="277"/>
                </a:cubicBezTo>
                <a:close/>
                <a:moveTo>
                  <a:pt x="1200" y="659"/>
                </a:moveTo>
                <a:cubicBezTo>
                  <a:pt x="1199" y="660"/>
                  <a:pt x="1199" y="663"/>
                  <a:pt x="1201" y="666"/>
                </a:cubicBezTo>
                <a:cubicBezTo>
                  <a:pt x="1202" y="667"/>
                  <a:pt x="1202" y="667"/>
                  <a:pt x="1203" y="668"/>
                </a:cubicBezTo>
                <a:cubicBezTo>
                  <a:pt x="1205" y="669"/>
                  <a:pt x="1206" y="669"/>
                  <a:pt x="1208" y="668"/>
                </a:cubicBezTo>
                <a:cubicBezTo>
                  <a:pt x="1209" y="667"/>
                  <a:pt x="1210" y="666"/>
                  <a:pt x="1211" y="665"/>
                </a:cubicBezTo>
                <a:cubicBezTo>
                  <a:pt x="1211" y="662"/>
                  <a:pt x="1210" y="661"/>
                  <a:pt x="1208" y="660"/>
                </a:cubicBezTo>
                <a:cubicBezTo>
                  <a:pt x="1205" y="658"/>
                  <a:pt x="1203" y="657"/>
                  <a:pt x="1200" y="659"/>
                </a:cubicBezTo>
                <a:close/>
                <a:moveTo>
                  <a:pt x="1096" y="887"/>
                </a:moveTo>
                <a:cubicBezTo>
                  <a:pt x="1094" y="887"/>
                  <a:pt x="1093" y="889"/>
                  <a:pt x="1093" y="890"/>
                </a:cubicBezTo>
                <a:cubicBezTo>
                  <a:pt x="1092" y="891"/>
                  <a:pt x="1093" y="893"/>
                  <a:pt x="1094" y="893"/>
                </a:cubicBezTo>
                <a:cubicBezTo>
                  <a:pt x="1096" y="894"/>
                  <a:pt x="1099" y="895"/>
                  <a:pt x="1100" y="895"/>
                </a:cubicBezTo>
                <a:cubicBezTo>
                  <a:pt x="1102" y="895"/>
                  <a:pt x="1102" y="895"/>
                  <a:pt x="1103" y="895"/>
                </a:cubicBezTo>
                <a:cubicBezTo>
                  <a:pt x="1104" y="895"/>
                  <a:pt x="1105" y="894"/>
                  <a:pt x="1106" y="894"/>
                </a:cubicBezTo>
                <a:cubicBezTo>
                  <a:pt x="1107" y="893"/>
                  <a:pt x="1106" y="891"/>
                  <a:pt x="1106" y="889"/>
                </a:cubicBezTo>
                <a:cubicBezTo>
                  <a:pt x="1103" y="886"/>
                  <a:pt x="1099" y="885"/>
                  <a:pt x="1096" y="887"/>
                </a:cubicBezTo>
                <a:close/>
                <a:moveTo>
                  <a:pt x="3786" y="754"/>
                </a:moveTo>
                <a:cubicBezTo>
                  <a:pt x="3783" y="752"/>
                  <a:pt x="3780" y="754"/>
                  <a:pt x="3778" y="757"/>
                </a:cubicBezTo>
                <a:cubicBezTo>
                  <a:pt x="3777" y="759"/>
                  <a:pt x="3779" y="762"/>
                  <a:pt x="3782" y="763"/>
                </a:cubicBezTo>
                <a:cubicBezTo>
                  <a:pt x="3783" y="763"/>
                  <a:pt x="3784" y="763"/>
                  <a:pt x="3786" y="764"/>
                </a:cubicBezTo>
                <a:cubicBezTo>
                  <a:pt x="3787" y="763"/>
                  <a:pt x="3788" y="762"/>
                  <a:pt x="3789" y="761"/>
                </a:cubicBezTo>
                <a:cubicBezTo>
                  <a:pt x="3791" y="759"/>
                  <a:pt x="3789" y="755"/>
                  <a:pt x="3786" y="754"/>
                </a:cubicBezTo>
                <a:close/>
                <a:moveTo>
                  <a:pt x="3909" y="2301"/>
                </a:moveTo>
                <a:cubicBezTo>
                  <a:pt x="3908" y="2302"/>
                  <a:pt x="3908" y="2303"/>
                  <a:pt x="3908" y="2304"/>
                </a:cubicBezTo>
                <a:cubicBezTo>
                  <a:pt x="3908" y="2305"/>
                  <a:pt x="3909" y="2305"/>
                  <a:pt x="3909" y="2305"/>
                </a:cubicBezTo>
                <a:cubicBezTo>
                  <a:pt x="3911" y="2306"/>
                  <a:pt x="3913" y="2306"/>
                  <a:pt x="3914" y="2307"/>
                </a:cubicBezTo>
                <a:cubicBezTo>
                  <a:pt x="3917" y="2307"/>
                  <a:pt x="3918" y="2307"/>
                  <a:pt x="3919" y="2306"/>
                </a:cubicBezTo>
                <a:cubicBezTo>
                  <a:pt x="3919" y="2306"/>
                  <a:pt x="3920" y="2306"/>
                  <a:pt x="3920" y="2306"/>
                </a:cubicBezTo>
                <a:cubicBezTo>
                  <a:pt x="3921" y="2306"/>
                  <a:pt x="3922" y="2305"/>
                  <a:pt x="3923" y="2304"/>
                </a:cubicBezTo>
                <a:cubicBezTo>
                  <a:pt x="3922" y="2303"/>
                  <a:pt x="3922" y="2301"/>
                  <a:pt x="3921" y="2301"/>
                </a:cubicBezTo>
                <a:cubicBezTo>
                  <a:pt x="3917" y="2298"/>
                  <a:pt x="3912" y="2298"/>
                  <a:pt x="3909" y="2301"/>
                </a:cubicBezTo>
                <a:close/>
                <a:moveTo>
                  <a:pt x="2896" y="392"/>
                </a:moveTo>
                <a:cubicBezTo>
                  <a:pt x="2895" y="392"/>
                  <a:pt x="2894" y="392"/>
                  <a:pt x="2893" y="392"/>
                </a:cubicBezTo>
                <a:cubicBezTo>
                  <a:pt x="2890" y="393"/>
                  <a:pt x="2889" y="400"/>
                  <a:pt x="2891" y="402"/>
                </a:cubicBezTo>
                <a:cubicBezTo>
                  <a:pt x="2893" y="404"/>
                  <a:pt x="2896" y="405"/>
                  <a:pt x="2899" y="404"/>
                </a:cubicBezTo>
                <a:cubicBezTo>
                  <a:pt x="2899" y="404"/>
                  <a:pt x="2900" y="403"/>
                  <a:pt x="2901" y="402"/>
                </a:cubicBezTo>
                <a:cubicBezTo>
                  <a:pt x="2901" y="398"/>
                  <a:pt x="2899" y="395"/>
                  <a:pt x="2896" y="392"/>
                </a:cubicBezTo>
                <a:close/>
                <a:moveTo>
                  <a:pt x="3940" y="1817"/>
                </a:moveTo>
                <a:cubicBezTo>
                  <a:pt x="3939" y="1818"/>
                  <a:pt x="3938" y="1818"/>
                  <a:pt x="3938" y="1818"/>
                </a:cubicBezTo>
                <a:cubicBezTo>
                  <a:pt x="3936" y="1821"/>
                  <a:pt x="3934" y="1825"/>
                  <a:pt x="3934" y="1830"/>
                </a:cubicBezTo>
                <a:cubicBezTo>
                  <a:pt x="3934" y="1830"/>
                  <a:pt x="3935" y="1831"/>
                  <a:pt x="3936" y="1832"/>
                </a:cubicBezTo>
                <a:cubicBezTo>
                  <a:pt x="3936" y="1832"/>
                  <a:pt x="3937" y="1832"/>
                  <a:pt x="3937" y="1832"/>
                </a:cubicBezTo>
                <a:cubicBezTo>
                  <a:pt x="3942" y="1830"/>
                  <a:pt x="3944" y="1825"/>
                  <a:pt x="3942" y="1819"/>
                </a:cubicBezTo>
                <a:cubicBezTo>
                  <a:pt x="3942" y="1818"/>
                  <a:pt x="3941" y="1817"/>
                  <a:pt x="3940" y="1817"/>
                </a:cubicBezTo>
                <a:close/>
                <a:moveTo>
                  <a:pt x="3887" y="1907"/>
                </a:moveTo>
                <a:cubicBezTo>
                  <a:pt x="3889" y="1908"/>
                  <a:pt x="3891" y="1906"/>
                  <a:pt x="3893" y="1903"/>
                </a:cubicBezTo>
                <a:cubicBezTo>
                  <a:pt x="3893" y="1902"/>
                  <a:pt x="3893" y="1900"/>
                  <a:pt x="3891" y="1899"/>
                </a:cubicBezTo>
                <a:cubicBezTo>
                  <a:pt x="3890" y="1899"/>
                  <a:pt x="3888" y="1899"/>
                  <a:pt x="3887" y="1899"/>
                </a:cubicBezTo>
                <a:cubicBezTo>
                  <a:pt x="3885" y="1899"/>
                  <a:pt x="3882" y="1899"/>
                  <a:pt x="3880" y="1900"/>
                </a:cubicBezTo>
                <a:cubicBezTo>
                  <a:pt x="3880" y="1900"/>
                  <a:pt x="3879" y="1901"/>
                  <a:pt x="3879" y="1902"/>
                </a:cubicBezTo>
                <a:cubicBezTo>
                  <a:pt x="3878" y="1903"/>
                  <a:pt x="3879" y="1904"/>
                  <a:pt x="3879" y="1904"/>
                </a:cubicBezTo>
                <a:cubicBezTo>
                  <a:pt x="3882" y="1906"/>
                  <a:pt x="3884" y="1907"/>
                  <a:pt x="3887" y="1907"/>
                </a:cubicBezTo>
                <a:close/>
                <a:moveTo>
                  <a:pt x="265" y="630"/>
                </a:moveTo>
                <a:cubicBezTo>
                  <a:pt x="263" y="633"/>
                  <a:pt x="259" y="635"/>
                  <a:pt x="259" y="639"/>
                </a:cubicBezTo>
                <a:cubicBezTo>
                  <a:pt x="262" y="640"/>
                  <a:pt x="266" y="640"/>
                  <a:pt x="269" y="639"/>
                </a:cubicBezTo>
                <a:cubicBezTo>
                  <a:pt x="270" y="639"/>
                  <a:pt x="271" y="638"/>
                  <a:pt x="272" y="637"/>
                </a:cubicBezTo>
                <a:cubicBezTo>
                  <a:pt x="273" y="636"/>
                  <a:pt x="273" y="633"/>
                  <a:pt x="271" y="631"/>
                </a:cubicBezTo>
                <a:cubicBezTo>
                  <a:pt x="270" y="630"/>
                  <a:pt x="267" y="629"/>
                  <a:pt x="265" y="630"/>
                </a:cubicBezTo>
                <a:close/>
                <a:moveTo>
                  <a:pt x="259" y="639"/>
                </a:moveTo>
                <a:cubicBezTo>
                  <a:pt x="256" y="641"/>
                  <a:pt x="254" y="642"/>
                  <a:pt x="251" y="642"/>
                </a:cubicBezTo>
                <a:cubicBezTo>
                  <a:pt x="248" y="641"/>
                  <a:pt x="246" y="642"/>
                  <a:pt x="244" y="645"/>
                </a:cubicBezTo>
                <a:cubicBezTo>
                  <a:pt x="244" y="646"/>
                  <a:pt x="243" y="646"/>
                  <a:pt x="242" y="647"/>
                </a:cubicBezTo>
                <a:cubicBezTo>
                  <a:pt x="242" y="647"/>
                  <a:pt x="241" y="647"/>
                  <a:pt x="241" y="647"/>
                </a:cubicBezTo>
                <a:cubicBezTo>
                  <a:pt x="229" y="648"/>
                  <a:pt x="227" y="651"/>
                  <a:pt x="226" y="662"/>
                </a:cubicBezTo>
                <a:cubicBezTo>
                  <a:pt x="226" y="664"/>
                  <a:pt x="227" y="665"/>
                  <a:pt x="229" y="666"/>
                </a:cubicBezTo>
                <a:cubicBezTo>
                  <a:pt x="230" y="667"/>
                  <a:pt x="230" y="669"/>
                  <a:pt x="231" y="670"/>
                </a:cubicBezTo>
                <a:cubicBezTo>
                  <a:pt x="232" y="671"/>
                  <a:pt x="233" y="671"/>
                  <a:pt x="234" y="671"/>
                </a:cubicBezTo>
                <a:cubicBezTo>
                  <a:pt x="239" y="666"/>
                  <a:pt x="246" y="662"/>
                  <a:pt x="253" y="659"/>
                </a:cubicBezTo>
                <a:cubicBezTo>
                  <a:pt x="256" y="658"/>
                  <a:pt x="258" y="654"/>
                  <a:pt x="262" y="653"/>
                </a:cubicBezTo>
                <a:cubicBezTo>
                  <a:pt x="264" y="652"/>
                  <a:pt x="265" y="648"/>
                  <a:pt x="265" y="645"/>
                </a:cubicBezTo>
                <a:cubicBezTo>
                  <a:pt x="264" y="644"/>
                  <a:pt x="263" y="643"/>
                  <a:pt x="262" y="642"/>
                </a:cubicBezTo>
                <a:cubicBezTo>
                  <a:pt x="260" y="641"/>
                  <a:pt x="259" y="640"/>
                  <a:pt x="259" y="639"/>
                </a:cubicBezTo>
                <a:cubicBezTo>
                  <a:pt x="259" y="639"/>
                  <a:pt x="259" y="639"/>
                  <a:pt x="259" y="639"/>
                </a:cubicBezTo>
                <a:cubicBezTo>
                  <a:pt x="258" y="639"/>
                  <a:pt x="258" y="639"/>
                  <a:pt x="258" y="639"/>
                </a:cubicBezTo>
                <a:lnTo>
                  <a:pt x="259" y="639"/>
                </a:lnTo>
                <a:close/>
                <a:moveTo>
                  <a:pt x="4246" y="2579"/>
                </a:moveTo>
                <a:cubicBezTo>
                  <a:pt x="4244" y="2582"/>
                  <a:pt x="4241" y="2585"/>
                  <a:pt x="4241" y="2589"/>
                </a:cubicBezTo>
                <a:cubicBezTo>
                  <a:pt x="4241" y="2589"/>
                  <a:pt x="4242" y="2590"/>
                  <a:pt x="4242" y="2590"/>
                </a:cubicBezTo>
                <a:cubicBezTo>
                  <a:pt x="4244" y="2589"/>
                  <a:pt x="4246" y="2589"/>
                  <a:pt x="4248" y="2588"/>
                </a:cubicBezTo>
                <a:cubicBezTo>
                  <a:pt x="4251" y="2586"/>
                  <a:pt x="4252" y="2583"/>
                  <a:pt x="4250" y="2580"/>
                </a:cubicBezTo>
                <a:cubicBezTo>
                  <a:pt x="4249" y="2578"/>
                  <a:pt x="4247" y="2578"/>
                  <a:pt x="4246" y="2579"/>
                </a:cubicBezTo>
                <a:close/>
                <a:moveTo>
                  <a:pt x="1270" y="1592"/>
                </a:moveTo>
                <a:cubicBezTo>
                  <a:pt x="1270" y="1594"/>
                  <a:pt x="1271" y="1596"/>
                  <a:pt x="1274" y="1596"/>
                </a:cubicBezTo>
                <a:cubicBezTo>
                  <a:pt x="1277" y="1596"/>
                  <a:pt x="1279" y="1594"/>
                  <a:pt x="1279" y="1591"/>
                </a:cubicBezTo>
                <a:cubicBezTo>
                  <a:pt x="1280" y="1588"/>
                  <a:pt x="1278" y="1585"/>
                  <a:pt x="1275" y="1585"/>
                </a:cubicBezTo>
                <a:cubicBezTo>
                  <a:pt x="1273" y="1585"/>
                  <a:pt x="1271" y="1586"/>
                  <a:pt x="1270" y="1588"/>
                </a:cubicBezTo>
                <a:cubicBezTo>
                  <a:pt x="1270" y="1589"/>
                  <a:pt x="1270" y="1590"/>
                  <a:pt x="1270" y="1592"/>
                </a:cubicBezTo>
                <a:close/>
                <a:moveTo>
                  <a:pt x="2600" y="143"/>
                </a:moveTo>
                <a:cubicBezTo>
                  <a:pt x="2601" y="142"/>
                  <a:pt x="2602" y="141"/>
                  <a:pt x="2603" y="139"/>
                </a:cubicBezTo>
                <a:cubicBezTo>
                  <a:pt x="2604" y="136"/>
                  <a:pt x="2602" y="133"/>
                  <a:pt x="2600" y="133"/>
                </a:cubicBezTo>
                <a:cubicBezTo>
                  <a:pt x="2597" y="132"/>
                  <a:pt x="2595" y="133"/>
                  <a:pt x="2593" y="134"/>
                </a:cubicBezTo>
                <a:cubicBezTo>
                  <a:pt x="2591" y="136"/>
                  <a:pt x="2591" y="139"/>
                  <a:pt x="2593" y="141"/>
                </a:cubicBezTo>
                <a:cubicBezTo>
                  <a:pt x="2595" y="143"/>
                  <a:pt x="2597" y="144"/>
                  <a:pt x="2600" y="143"/>
                </a:cubicBezTo>
                <a:close/>
                <a:moveTo>
                  <a:pt x="2838" y="1560"/>
                </a:moveTo>
                <a:cubicBezTo>
                  <a:pt x="2836" y="1559"/>
                  <a:pt x="2834" y="1559"/>
                  <a:pt x="2834" y="1558"/>
                </a:cubicBezTo>
                <a:cubicBezTo>
                  <a:pt x="2832" y="1558"/>
                  <a:pt x="2831" y="1558"/>
                  <a:pt x="2831" y="1559"/>
                </a:cubicBezTo>
                <a:cubicBezTo>
                  <a:pt x="2830" y="1559"/>
                  <a:pt x="2828" y="1560"/>
                  <a:pt x="2827" y="1561"/>
                </a:cubicBezTo>
                <a:cubicBezTo>
                  <a:pt x="2826" y="1563"/>
                  <a:pt x="2829" y="1565"/>
                  <a:pt x="2831" y="1565"/>
                </a:cubicBezTo>
                <a:cubicBezTo>
                  <a:pt x="2834" y="1566"/>
                  <a:pt x="2837" y="1565"/>
                  <a:pt x="2839" y="1562"/>
                </a:cubicBezTo>
                <a:cubicBezTo>
                  <a:pt x="2840" y="1561"/>
                  <a:pt x="2839" y="1560"/>
                  <a:pt x="2838" y="1560"/>
                </a:cubicBezTo>
                <a:close/>
                <a:moveTo>
                  <a:pt x="1254" y="506"/>
                </a:moveTo>
                <a:cubicBezTo>
                  <a:pt x="1253" y="507"/>
                  <a:pt x="1252" y="507"/>
                  <a:pt x="1251" y="508"/>
                </a:cubicBezTo>
                <a:cubicBezTo>
                  <a:pt x="1248" y="510"/>
                  <a:pt x="1244" y="510"/>
                  <a:pt x="1243" y="513"/>
                </a:cubicBezTo>
                <a:cubicBezTo>
                  <a:pt x="1242" y="514"/>
                  <a:pt x="1242" y="515"/>
                  <a:pt x="1242" y="516"/>
                </a:cubicBezTo>
                <a:cubicBezTo>
                  <a:pt x="1242" y="516"/>
                  <a:pt x="1243" y="517"/>
                  <a:pt x="1244" y="517"/>
                </a:cubicBezTo>
                <a:cubicBezTo>
                  <a:pt x="1245" y="517"/>
                  <a:pt x="1247" y="517"/>
                  <a:pt x="1248" y="517"/>
                </a:cubicBezTo>
                <a:cubicBezTo>
                  <a:pt x="1251" y="515"/>
                  <a:pt x="1253" y="513"/>
                  <a:pt x="1256" y="511"/>
                </a:cubicBezTo>
                <a:cubicBezTo>
                  <a:pt x="1257" y="509"/>
                  <a:pt x="1257" y="507"/>
                  <a:pt x="1256" y="506"/>
                </a:cubicBezTo>
                <a:cubicBezTo>
                  <a:pt x="1256" y="506"/>
                  <a:pt x="1255" y="505"/>
                  <a:pt x="1254" y="506"/>
                </a:cubicBezTo>
                <a:close/>
                <a:moveTo>
                  <a:pt x="4378" y="1961"/>
                </a:moveTo>
                <a:cubicBezTo>
                  <a:pt x="4376" y="1958"/>
                  <a:pt x="4374" y="1956"/>
                  <a:pt x="4371" y="1954"/>
                </a:cubicBezTo>
                <a:cubicBezTo>
                  <a:pt x="4371" y="1955"/>
                  <a:pt x="4369" y="1956"/>
                  <a:pt x="4369" y="1956"/>
                </a:cubicBezTo>
                <a:cubicBezTo>
                  <a:pt x="4369" y="1959"/>
                  <a:pt x="4369" y="1962"/>
                  <a:pt x="4370" y="1964"/>
                </a:cubicBezTo>
                <a:cubicBezTo>
                  <a:pt x="4370" y="1966"/>
                  <a:pt x="4373" y="1967"/>
                  <a:pt x="4375" y="1966"/>
                </a:cubicBezTo>
                <a:cubicBezTo>
                  <a:pt x="4377" y="1965"/>
                  <a:pt x="4378" y="1963"/>
                  <a:pt x="4378" y="1961"/>
                </a:cubicBezTo>
                <a:close/>
                <a:moveTo>
                  <a:pt x="1293" y="555"/>
                </a:moveTo>
                <a:cubicBezTo>
                  <a:pt x="1294" y="554"/>
                  <a:pt x="1294" y="553"/>
                  <a:pt x="1295" y="552"/>
                </a:cubicBezTo>
                <a:cubicBezTo>
                  <a:pt x="1295" y="551"/>
                  <a:pt x="1295" y="550"/>
                  <a:pt x="1294" y="549"/>
                </a:cubicBezTo>
                <a:cubicBezTo>
                  <a:pt x="1293" y="547"/>
                  <a:pt x="1290" y="546"/>
                  <a:pt x="1287" y="546"/>
                </a:cubicBezTo>
                <a:cubicBezTo>
                  <a:pt x="1286" y="546"/>
                  <a:pt x="1285" y="547"/>
                  <a:pt x="1284" y="549"/>
                </a:cubicBezTo>
                <a:cubicBezTo>
                  <a:pt x="1283" y="551"/>
                  <a:pt x="1284" y="552"/>
                  <a:pt x="1285" y="553"/>
                </a:cubicBezTo>
                <a:cubicBezTo>
                  <a:pt x="1288" y="555"/>
                  <a:pt x="1290" y="556"/>
                  <a:pt x="1293" y="555"/>
                </a:cubicBezTo>
                <a:close/>
                <a:moveTo>
                  <a:pt x="4307" y="1873"/>
                </a:moveTo>
                <a:cubicBezTo>
                  <a:pt x="4307" y="1873"/>
                  <a:pt x="4308" y="1873"/>
                  <a:pt x="4308" y="1873"/>
                </a:cubicBezTo>
                <a:cubicBezTo>
                  <a:pt x="4309" y="1872"/>
                  <a:pt x="4309" y="1872"/>
                  <a:pt x="4309" y="1871"/>
                </a:cubicBezTo>
                <a:cubicBezTo>
                  <a:pt x="4308" y="1870"/>
                  <a:pt x="4307" y="1868"/>
                  <a:pt x="4306" y="1866"/>
                </a:cubicBezTo>
                <a:cubicBezTo>
                  <a:pt x="4306" y="1866"/>
                  <a:pt x="4305" y="1866"/>
                  <a:pt x="4305" y="1866"/>
                </a:cubicBezTo>
                <a:cubicBezTo>
                  <a:pt x="4304" y="1864"/>
                  <a:pt x="4302" y="1862"/>
                  <a:pt x="4301" y="1860"/>
                </a:cubicBezTo>
                <a:cubicBezTo>
                  <a:pt x="4300" y="1859"/>
                  <a:pt x="4299" y="1859"/>
                  <a:pt x="4298" y="1859"/>
                </a:cubicBezTo>
                <a:cubicBezTo>
                  <a:pt x="4297" y="1858"/>
                  <a:pt x="4297" y="1862"/>
                  <a:pt x="4298" y="1863"/>
                </a:cubicBezTo>
                <a:cubicBezTo>
                  <a:pt x="4299" y="1868"/>
                  <a:pt x="4303" y="1871"/>
                  <a:pt x="4307" y="1873"/>
                </a:cubicBezTo>
                <a:close/>
                <a:moveTo>
                  <a:pt x="2553" y="171"/>
                </a:moveTo>
                <a:cubicBezTo>
                  <a:pt x="2552" y="171"/>
                  <a:pt x="2550" y="170"/>
                  <a:pt x="2549" y="170"/>
                </a:cubicBezTo>
                <a:cubicBezTo>
                  <a:pt x="2548" y="170"/>
                  <a:pt x="2547" y="170"/>
                  <a:pt x="2546" y="171"/>
                </a:cubicBezTo>
                <a:cubicBezTo>
                  <a:pt x="2545" y="171"/>
                  <a:pt x="2544" y="172"/>
                  <a:pt x="2544" y="173"/>
                </a:cubicBezTo>
                <a:cubicBezTo>
                  <a:pt x="2544" y="174"/>
                  <a:pt x="2544" y="175"/>
                  <a:pt x="2545" y="176"/>
                </a:cubicBezTo>
                <a:cubicBezTo>
                  <a:pt x="2550" y="176"/>
                  <a:pt x="2553" y="178"/>
                  <a:pt x="2557" y="179"/>
                </a:cubicBezTo>
                <a:cubicBezTo>
                  <a:pt x="2557" y="177"/>
                  <a:pt x="2557" y="176"/>
                  <a:pt x="2557" y="175"/>
                </a:cubicBezTo>
                <a:cubicBezTo>
                  <a:pt x="2557" y="172"/>
                  <a:pt x="2557" y="172"/>
                  <a:pt x="2553" y="171"/>
                </a:cubicBezTo>
                <a:close/>
                <a:moveTo>
                  <a:pt x="2557" y="179"/>
                </a:moveTo>
                <a:cubicBezTo>
                  <a:pt x="2557" y="179"/>
                  <a:pt x="2557" y="179"/>
                  <a:pt x="2557" y="180"/>
                </a:cubicBezTo>
                <a:cubicBezTo>
                  <a:pt x="2557" y="180"/>
                  <a:pt x="2557" y="180"/>
                  <a:pt x="2558" y="180"/>
                </a:cubicBezTo>
                <a:cubicBezTo>
                  <a:pt x="2558" y="179"/>
                  <a:pt x="2558" y="179"/>
                  <a:pt x="2558" y="179"/>
                </a:cubicBezTo>
                <a:cubicBezTo>
                  <a:pt x="2557" y="179"/>
                  <a:pt x="2557" y="179"/>
                  <a:pt x="2557" y="179"/>
                </a:cubicBezTo>
                <a:close/>
                <a:moveTo>
                  <a:pt x="2982" y="222"/>
                </a:moveTo>
                <a:cubicBezTo>
                  <a:pt x="2987" y="222"/>
                  <a:pt x="2990" y="219"/>
                  <a:pt x="2991" y="215"/>
                </a:cubicBezTo>
                <a:cubicBezTo>
                  <a:pt x="2990" y="214"/>
                  <a:pt x="2990" y="213"/>
                  <a:pt x="2989" y="212"/>
                </a:cubicBezTo>
                <a:cubicBezTo>
                  <a:pt x="2989" y="212"/>
                  <a:pt x="2988" y="212"/>
                  <a:pt x="2988" y="212"/>
                </a:cubicBezTo>
                <a:cubicBezTo>
                  <a:pt x="2986" y="214"/>
                  <a:pt x="2983" y="215"/>
                  <a:pt x="2981" y="217"/>
                </a:cubicBezTo>
                <a:cubicBezTo>
                  <a:pt x="2981" y="217"/>
                  <a:pt x="2980" y="219"/>
                  <a:pt x="2980" y="220"/>
                </a:cubicBezTo>
                <a:cubicBezTo>
                  <a:pt x="2980" y="220"/>
                  <a:pt x="2981" y="222"/>
                  <a:pt x="2982" y="222"/>
                </a:cubicBezTo>
                <a:close/>
                <a:moveTo>
                  <a:pt x="3065" y="146"/>
                </a:moveTo>
                <a:cubicBezTo>
                  <a:pt x="3066" y="145"/>
                  <a:pt x="3066" y="145"/>
                  <a:pt x="3066" y="144"/>
                </a:cubicBezTo>
                <a:cubicBezTo>
                  <a:pt x="3066" y="144"/>
                  <a:pt x="3065" y="142"/>
                  <a:pt x="3065" y="142"/>
                </a:cubicBezTo>
                <a:cubicBezTo>
                  <a:pt x="3061" y="141"/>
                  <a:pt x="3056" y="144"/>
                  <a:pt x="3052" y="141"/>
                </a:cubicBezTo>
                <a:cubicBezTo>
                  <a:pt x="3052" y="141"/>
                  <a:pt x="3051" y="142"/>
                  <a:pt x="3051" y="142"/>
                </a:cubicBezTo>
                <a:cubicBezTo>
                  <a:pt x="3051" y="143"/>
                  <a:pt x="3051" y="143"/>
                  <a:pt x="3051" y="144"/>
                </a:cubicBezTo>
                <a:cubicBezTo>
                  <a:pt x="3055" y="148"/>
                  <a:pt x="3060" y="149"/>
                  <a:pt x="3065" y="146"/>
                </a:cubicBezTo>
                <a:close/>
                <a:moveTo>
                  <a:pt x="1436" y="2177"/>
                </a:moveTo>
                <a:cubicBezTo>
                  <a:pt x="1436" y="2177"/>
                  <a:pt x="1436" y="2177"/>
                  <a:pt x="1436" y="2177"/>
                </a:cubicBezTo>
                <a:cubicBezTo>
                  <a:pt x="1436" y="2177"/>
                  <a:pt x="1436" y="2177"/>
                  <a:pt x="1436" y="2177"/>
                </a:cubicBezTo>
                <a:cubicBezTo>
                  <a:pt x="1436" y="2177"/>
                  <a:pt x="1436" y="2177"/>
                  <a:pt x="1436" y="2177"/>
                </a:cubicBezTo>
                <a:cubicBezTo>
                  <a:pt x="1436" y="2177"/>
                  <a:pt x="1436" y="2177"/>
                  <a:pt x="1436" y="2177"/>
                </a:cubicBezTo>
                <a:close/>
                <a:moveTo>
                  <a:pt x="1426" y="2184"/>
                </a:moveTo>
                <a:cubicBezTo>
                  <a:pt x="1424" y="2186"/>
                  <a:pt x="1423" y="2188"/>
                  <a:pt x="1421" y="2190"/>
                </a:cubicBezTo>
                <a:cubicBezTo>
                  <a:pt x="1420" y="2191"/>
                  <a:pt x="1420" y="2192"/>
                  <a:pt x="1420" y="2194"/>
                </a:cubicBezTo>
                <a:cubicBezTo>
                  <a:pt x="1429" y="2192"/>
                  <a:pt x="1434" y="2187"/>
                  <a:pt x="1436" y="2179"/>
                </a:cubicBezTo>
                <a:cubicBezTo>
                  <a:pt x="1436" y="2178"/>
                  <a:pt x="1436" y="2178"/>
                  <a:pt x="1436" y="2177"/>
                </a:cubicBezTo>
                <a:cubicBezTo>
                  <a:pt x="1435" y="2178"/>
                  <a:pt x="1433" y="2178"/>
                  <a:pt x="1432" y="2179"/>
                </a:cubicBezTo>
                <a:cubicBezTo>
                  <a:pt x="1430" y="2181"/>
                  <a:pt x="1428" y="2182"/>
                  <a:pt x="1426" y="2184"/>
                </a:cubicBezTo>
                <a:close/>
                <a:moveTo>
                  <a:pt x="1426" y="2184"/>
                </a:moveTo>
                <a:cubicBezTo>
                  <a:pt x="1426" y="2184"/>
                  <a:pt x="1426" y="2184"/>
                  <a:pt x="1426" y="2184"/>
                </a:cubicBezTo>
                <a:cubicBezTo>
                  <a:pt x="1426" y="2184"/>
                  <a:pt x="1426" y="2184"/>
                  <a:pt x="1426" y="2184"/>
                </a:cubicBezTo>
                <a:cubicBezTo>
                  <a:pt x="1426" y="2184"/>
                  <a:pt x="1426" y="2184"/>
                  <a:pt x="1426" y="2184"/>
                </a:cubicBezTo>
                <a:cubicBezTo>
                  <a:pt x="1426" y="2184"/>
                  <a:pt x="1426" y="2184"/>
                  <a:pt x="1426" y="2184"/>
                </a:cubicBezTo>
                <a:close/>
                <a:moveTo>
                  <a:pt x="1741" y="73"/>
                </a:moveTo>
                <a:cubicBezTo>
                  <a:pt x="1742" y="73"/>
                  <a:pt x="1743" y="73"/>
                  <a:pt x="1745" y="74"/>
                </a:cubicBezTo>
                <a:cubicBezTo>
                  <a:pt x="1745" y="73"/>
                  <a:pt x="1747" y="72"/>
                  <a:pt x="1747" y="71"/>
                </a:cubicBezTo>
                <a:cubicBezTo>
                  <a:pt x="1748" y="68"/>
                  <a:pt x="1747" y="65"/>
                  <a:pt x="1744" y="65"/>
                </a:cubicBezTo>
                <a:cubicBezTo>
                  <a:pt x="1742" y="64"/>
                  <a:pt x="1741" y="65"/>
                  <a:pt x="1739" y="68"/>
                </a:cubicBezTo>
                <a:cubicBezTo>
                  <a:pt x="1738" y="69"/>
                  <a:pt x="1739" y="72"/>
                  <a:pt x="1741" y="73"/>
                </a:cubicBezTo>
                <a:close/>
                <a:moveTo>
                  <a:pt x="3812" y="1767"/>
                </a:moveTo>
                <a:cubicBezTo>
                  <a:pt x="3812" y="1767"/>
                  <a:pt x="3812" y="1767"/>
                  <a:pt x="3812" y="1767"/>
                </a:cubicBezTo>
                <a:cubicBezTo>
                  <a:pt x="3815" y="1767"/>
                  <a:pt x="3817" y="1767"/>
                  <a:pt x="3819" y="1767"/>
                </a:cubicBezTo>
                <a:cubicBezTo>
                  <a:pt x="3819" y="1767"/>
                  <a:pt x="3820" y="1766"/>
                  <a:pt x="3821" y="1765"/>
                </a:cubicBezTo>
                <a:cubicBezTo>
                  <a:pt x="3820" y="1765"/>
                  <a:pt x="3820" y="1764"/>
                  <a:pt x="3819" y="1764"/>
                </a:cubicBezTo>
                <a:cubicBezTo>
                  <a:pt x="3815" y="1764"/>
                  <a:pt x="3810" y="1763"/>
                  <a:pt x="3805" y="1763"/>
                </a:cubicBezTo>
                <a:cubicBezTo>
                  <a:pt x="3805" y="1763"/>
                  <a:pt x="3804" y="1764"/>
                  <a:pt x="3803" y="1765"/>
                </a:cubicBezTo>
                <a:cubicBezTo>
                  <a:pt x="3803" y="1766"/>
                  <a:pt x="3803" y="1767"/>
                  <a:pt x="3805" y="1767"/>
                </a:cubicBezTo>
                <a:cubicBezTo>
                  <a:pt x="3807" y="1767"/>
                  <a:pt x="3810" y="1767"/>
                  <a:pt x="3812" y="1767"/>
                </a:cubicBezTo>
                <a:close/>
                <a:moveTo>
                  <a:pt x="4294" y="1878"/>
                </a:moveTo>
                <a:cubicBezTo>
                  <a:pt x="4295" y="1878"/>
                  <a:pt x="4296" y="1877"/>
                  <a:pt x="4297" y="1877"/>
                </a:cubicBezTo>
                <a:cubicBezTo>
                  <a:pt x="4297" y="1876"/>
                  <a:pt x="4297" y="1874"/>
                  <a:pt x="4296" y="1874"/>
                </a:cubicBezTo>
                <a:cubicBezTo>
                  <a:pt x="4294" y="1871"/>
                  <a:pt x="4291" y="1870"/>
                  <a:pt x="4288" y="1870"/>
                </a:cubicBezTo>
                <a:cubicBezTo>
                  <a:pt x="4287" y="1870"/>
                  <a:pt x="4286" y="1870"/>
                  <a:pt x="4285" y="1871"/>
                </a:cubicBezTo>
                <a:cubicBezTo>
                  <a:pt x="4284" y="1872"/>
                  <a:pt x="4285" y="1874"/>
                  <a:pt x="4286" y="1875"/>
                </a:cubicBezTo>
                <a:cubicBezTo>
                  <a:pt x="4288" y="1877"/>
                  <a:pt x="4291" y="1878"/>
                  <a:pt x="4294" y="1878"/>
                </a:cubicBezTo>
                <a:close/>
                <a:moveTo>
                  <a:pt x="3977" y="996"/>
                </a:moveTo>
                <a:cubicBezTo>
                  <a:pt x="3976" y="996"/>
                  <a:pt x="3976" y="996"/>
                  <a:pt x="3976" y="996"/>
                </a:cubicBezTo>
                <a:cubicBezTo>
                  <a:pt x="3976" y="996"/>
                  <a:pt x="3976" y="997"/>
                  <a:pt x="3976" y="997"/>
                </a:cubicBezTo>
                <a:cubicBezTo>
                  <a:pt x="3976" y="997"/>
                  <a:pt x="3976" y="997"/>
                  <a:pt x="3977" y="997"/>
                </a:cubicBezTo>
                <a:cubicBezTo>
                  <a:pt x="3977" y="997"/>
                  <a:pt x="3977" y="996"/>
                  <a:pt x="3977" y="996"/>
                </a:cubicBezTo>
                <a:close/>
                <a:moveTo>
                  <a:pt x="3984" y="982"/>
                </a:moveTo>
                <a:cubicBezTo>
                  <a:pt x="3983" y="982"/>
                  <a:pt x="3982" y="981"/>
                  <a:pt x="3981" y="982"/>
                </a:cubicBezTo>
                <a:cubicBezTo>
                  <a:pt x="3980" y="982"/>
                  <a:pt x="3979" y="983"/>
                  <a:pt x="3979" y="984"/>
                </a:cubicBezTo>
                <a:cubicBezTo>
                  <a:pt x="3977" y="988"/>
                  <a:pt x="3976" y="992"/>
                  <a:pt x="3977" y="996"/>
                </a:cubicBezTo>
                <a:cubicBezTo>
                  <a:pt x="3981" y="992"/>
                  <a:pt x="3984" y="988"/>
                  <a:pt x="3985" y="983"/>
                </a:cubicBezTo>
                <a:cubicBezTo>
                  <a:pt x="3985" y="983"/>
                  <a:pt x="3984" y="982"/>
                  <a:pt x="3984" y="982"/>
                </a:cubicBezTo>
                <a:close/>
                <a:moveTo>
                  <a:pt x="2523" y="200"/>
                </a:moveTo>
                <a:cubicBezTo>
                  <a:pt x="2523" y="201"/>
                  <a:pt x="2524" y="202"/>
                  <a:pt x="2524" y="203"/>
                </a:cubicBezTo>
                <a:cubicBezTo>
                  <a:pt x="2527" y="205"/>
                  <a:pt x="2531" y="204"/>
                  <a:pt x="2533" y="202"/>
                </a:cubicBezTo>
                <a:cubicBezTo>
                  <a:pt x="2533" y="201"/>
                  <a:pt x="2533" y="201"/>
                  <a:pt x="2533" y="200"/>
                </a:cubicBezTo>
                <a:cubicBezTo>
                  <a:pt x="2532" y="199"/>
                  <a:pt x="2531" y="197"/>
                  <a:pt x="2530" y="195"/>
                </a:cubicBezTo>
                <a:cubicBezTo>
                  <a:pt x="2528" y="194"/>
                  <a:pt x="2526" y="195"/>
                  <a:pt x="2524" y="196"/>
                </a:cubicBezTo>
                <a:cubicBezTo>
                  <a:pt x="2524" y="198"/>
                  <a:pt x="2523" y="199"/>
                  <a:pt x="2523" y="200"/>
                </a:cubicBezTo>
                <a:close/>
                <a:moveTo>
                  <a:pt x="2597" y="187"/>
                </a:moveTo>
                <a:cubicBezTo>
                  <a:pt x="2598" y="189"/>
                  <a:pt x="2600" y="191"/>
                  <a:pt x="2602" y="191"/>
                </a:cubicBezTo>
                <a:cubicBezTo>
                  <a:pt x="2605" y="191"/>
                  <a:pt x="2607" y="189"/>
                  <a:pt x="2606" y="186"/>
                </a:cubicBezTo>
                <a:cubicBezTo>
                  <a:pt x="2606" y="184"/>
                  <a:pt x="2604" y="182"/>
                  <a:pt x="2602" y="182"/>
                </a:cubicBezTo>
                <a:cubicBezTo>
                  <a:pt x="2599" y="182"/>
                  <a:pt x="2597" y="185"/>
                  <a:pt x="2597" y="187"/>
                </a:cubicBezTo>
                <a:close/>
                <a:moveTo>
                  <a:pt x="3435" y="1719"/>
                </a:moveTo>
                <a:cubicBezTo>
                  <a:pt x="3435" y="1718"/>
                  <a:pt x="3434" y="1718"/>
                  <a:pt x="3434" y="1719"/>
                </a:cubicBezTo>
                <a:cubicBezTo>
                  <a:pt x="3433" y="1719"/>
                  <a:pt x="3432" y="1720"/>
                  <a:pt x="3432" y="1721"/>
                </a:cubicBezTo>
                <a:cubicBezTo>
                  <a:pt x="3432" y="1724"/>
                  <a:pt x="3434" y="1726"/>
                  <a:pt x="3437" y="1728"/>
                </a:cubicBezTo>
                <a:cubicBezTo>
                  <a:pt x="3437" y="1728"/>
                  <a:pt x="3438" y="1729"/>
                  <a:pt x="3438" y="1728"/>
                </a:cubicBezTo>
                <a:cubicBezTo>
                  <a:pt x="3439" y="1728"/>
                  <a:pt x="3439" y="1727"/>
                  <a:pt x="3440" y="1726"/>
                </a:cubicBezTo>
                <a:cubicBezTo>
                  <a:pt x="3440" y="1723"/>
                  <a:pt x="3438" y="1720"/>
                  <a:pt x="3435" y="1719"/>
                </a:cubicBezTo>
                <a:close/>
                <a:moveTo>
                  <a:pt x="2543" y="187"/>
                </a:moveTo>
                <a:cubicBezTo>
                  <a:pt x="2543" y="188"/>
                  <a:pt x="2544" y="190"/>
                  <a:pt x="2544" y="190"/>
                </a:cubicBezTo>
                <a:cubicBezTo>
                  <a:pt x="2545" y="191"/>
                  <a:pt x="2546" y="191"/>
                  <a:pt x="2547" y="191"/>
                </a:cubicBezTo>
                <a:cubicBezTo>
                  <a:pt x="2551" y="189"/>
                  <a:pt x="2554" y="186"/>
                  <a:pt x="2556" y="183"/>
                </a:cubicBezTo>
                <a:cubicBezTo>
                  <a:pt x="2553" y="183"/>
                  <a:pt x="2550" y="183"/>
                  <a:pt x="2546" y="183"/>
                </a:cubicBezTo>
                <a:cubicBezTo>
                  <a:pt x="2544" y="183"/>
                  <a:pt x="2543" y="185"/>
                  <a:pt x="2543" y="187"/>
                </a:cubicBezTo>
                <a:close/>
                <a:moveTo>
                  <a:pt x="354" y="596"/>
                </a:moveTo>
                <a:cubicBezTo>
                  <a:pt x="355" y="596"/>
                  <a:pt x="355" y="596"/>
                  <a:pt x="355" y="596"/>
                </a:cubicBezTo>
                <a:cubicBezTo>
                  <a:pt x="355" y="596"/>
                  <a:pt x="355" y="596"/>
                  <a:pt x="354" y="596"/>
                </a:cubicBezTo>
                <a:cubicBezTo>
                  <a:pt x="354" y="596"/>
                  <a:pt x="354" y="596"/>
                  <a:pt x="354" y="596"/>
                </a:cubicBezTo>
                <a:cubicBezTo>
                  <a:pt x="354" y="596"/>
                  <a:pt x="354" y="596"/>
                  <a:pt x="354" y="596"/>
                </a:cubicBezTo>
                <a:close/>
                <a:moveTo>
                  <a:pt x="4020" y="949"/>
                </a:moveTo>
                <a:cubicBezTo>
                  <a:pt x="4024" y="946"/>
                  <a:pt x="4026" y="943"/>
                  <a:pt x="4025" y="938"/>
                </a:cubicBezTo>
                <a:cubicBezTo>
                  <a:pt x="4025" y="938"/>
                  <a:pt x="4025" y="937"/>
                  <a:pt x="4024" y="937"/>
                </a:cubicBezTo>
                <a:cubicBezTo>
                  <a:pt x="4024" y="937"/>
                  <a:pt x="4023" y="937"/>
                  <a:pt x="4023" y="937"/>
                </a:cubicBezTo>
                <a:cubicBezTo>
                  <a:pt x="4020" y="940"/>
                  <a:pt x="4018" y="943"/>
                  <a:pt x="4017" y="947"/>
                </a:cubicBezTo>
                <a:cubicBezTo>
                  <a:pt x="4017" y="947"/>
                  <a:pt x="4018" y="948"/>
                  <a:pt x="4018" y="948"/>
                </a:cubicBezTo>
                <a:cubicBezTo>
                  <a:pt x="4019" y="948"/>
                  <a:pt x="4019" y="949"/>
                  <a:pt x="4020" y="949"/>
                </a:cubicBezTo>
                <a:close/>
                <a:moveTo>
                  <a:pt x="2015" y="840"/>
                </a:moveTo>
                <a:cubicBezTo>
                  <a:pt x="2015" y="840"/>
                  <a:pt x="2015" y="840"/>
                  <a:pt x="2015" y="841"/>
                </a:cubicBezTo>
                <a:cubicBezTo>
                  <a:pt x="2015" y="841"/>
                  <a:pt x="2015" y="841"/>
                  <a:pt x="2015" y="841"/>
                </a:cubicBezTo>
                <a:cubicBezTo>
                  <a:pt x="2015" y="841"/>
                  <a:pt x="2015" y="841"/>
                  <a:pt x="2015" y="841"/>
                </a:cubicBezTo>
                <a:cubicBezTo>
                  <a:pt x="2015" y="841"/>
                  <a:pt x="2015" y="841"/>
                  <a:pt x="2015" y="840"/>
                </a:cubicBezTo>
                <a:close/>
                <a:moveTo>
                  <a:pt x="2024" y="832"/>
                </a:moveTo>
                <a:cubicBezTo>
                  <a:pt x="2024" y="831"/>
                  <a:pt x="2024" y="830"/>
                  <a:pt x="2022" y="829"/>
                </a:cubicBezTo>
                <a:cubicBezTo>
                  <a:pt x="2022" y="829"/>
                  <a:pt x="2021" y="829"/>
                  <a:pt x="2021" y="829"/>
                </a:cubicBezTo>
                <a:cubicBezTo>
                  <a:pt x="2018" y="830"/>
                  <a:pt x="2016" y="831"/>
                  <a:pt x="2015" y="834"/>
                </a:cubicBezTo>
                <a:cubicBezTo>
                  <a:pt x="2015" y="836"/>
                  <a:pt x="2015" y="838"/>
                  <a:pt x="2015" y="840"/>
                </a:cubicBezTo>
                <a:cubicBezTo>
                  <a:pt x="2016" y="840"/>
                  <a:pt x="2017" y="840"/>
                  <a:pt x="2018" y="839"/>
                </a:cubicBezTo>
                <a:cubicBezTo>
                  <a:pt x="2021" y="838"/>
                  <a:pt x="2023" y="835"/>
                  <a:pt x="2024" y="832"/>
                </a:cubicBezTo>
                <a:close/>
                <a:moveTo>
                  <a:pt x="3575" y="1775"/>
                </a:moveTo>
                <a:cubicBezTo>
                  <a:pt x="3574" y="1775"/>
                  <a:pt x="3574" y="1776"/>
                  <a:pt x="3574" y="1776"/>
                </a:cubicBezTo>
                <a:cubicBezTo>
                  <a:pt x="3573" y="1778"/>
                  <a:pt x="3572" y="1779"/>
                  <a:pt x="3573" y="1781"/>
                </a:cubicBezTo>
                <a:cubicBezTo>
                  <a:pt x="3574" y="1783"/>
                  <a:pt x="3576" y="1784"/>
                  <a:pt x="3578" y="1783"/>
                </a:cubicBezTo>
                <a:cubicBezTo>
                  <a:pt x="3580" y="1783"/>
                  <a:pt x="3581" y="1782"/>
                  <a:pt x="3582" y="1782"/>
                </a:cubicBezTo>
                <a:cubicBezTo>
                  <a:pt x="3582" y="1780"/>
                  <a:pt x="3583" y="1780"/>
                  <a:pt x="3582" y="1779"/>
                </a:cubicBezTo>
                <a:cubicBezTo>
                  <a:pt x="3582" y="1776"/>
                  <a:pt x="3577" y="1774"/>
                  <a:pt x="3575" y="1775"/>
                </a:cubicBezTo>
                <a:close/>
                <a:moveTo>
                  <a:pt x="4280" y="1855"/>
                </a:moveTo>
                <a:cubicBezTo>
                  <a:pt x="4282" y="1856"/>
                  <a:pt x="4283" y="1856"/>
                  <a:pt x="4283" y="1854"/>
                </a:cubicBezTo>
                <a:cubicBezTo>
                  <a:pt x="4283" y="1853"/>
                  <a:pt x="4283" y="1852"/>
                  <a:pt x="4283" y="1851"/>
                </a:cubicBezTo>
                <a:cubicBezTo>
                  <a:pt x="4281" y="1848"/>
                  <a:pt x="4277" y="1846"/>
                  <a:pt x="4274" y="1845"/>
                </a:cubicBezTo>
                <a:cubicBezTo>
                  <a:pt x="4273" y="1846"/>
                  <a:pt x="4273" y="1846"/>
                  <a:pt x="4272" y="1846"/>
                </a:cubicBezTo>
                <a:cubicBezTo>
                  <a:pt x="4272" y="1847"/>
                  <a:pt x="4272" y="1847"/>
                  <a:pt x="4272" y="1848"/>
                </a:cubicBezTo>
                <a:cubicBezTo>
                  <a:pt x="4274" y="1851"/>
                  <a:pt x="4277" y="1853"/>
                  <a:pt x="4280" y="1855"/>
                </a:cubicBezTo>
                <a:close/>
                <a:moveTo>
                  <a:pt x="1016" y="466"/>
                </a:moveTo>
                <a:cubicBezTo>
                  <a:pt x="1014" y="467"/>
                  <a:pt x="1012" y="468"/>
                  <a:pt x="1011" y="469"/>
                </a:cubicBezTo>
                <a:cubicBezTo>
                  <a:pt x="1009" y="471"/>
                  <a:pt x="1008" y="473"/>
                  <a:pt x="1009" y="475"/>
                </a:cubicBezTo>
                <a:cubicBezTo>
                  <a:pt x="1009" y="476"/>
                  <a:pt x="1010" y="477"/>
                  <a:pt x="1012" y="476"/>
                </a:cubicBezTo>
                <a:cubicBezTo>
                  <a:pt x="1015" y="474"/>
                  <a:pt x="1017" y="472"/>
                  <a:pt x="1018" y="468"/>
                </a:cubicBezTo>
                <a:cubicBezTo>
                  <a:pt x="1018" y="468"/>
                  <a:pt x="1018" y="467"/>
                  <a:pt x="1018" y="467"/>
                </a:cubicBezTo>
                <a:cubicBezTo>
                  <a:pt x="1017" y="467"/>
                  <a:pt x="1017" y="466"/>
                  <a:pt x="1016" y="466"/>
                </a:cubicBezTo>
                <a:close/>
                <a:moveTo>
                  <a:pt x="3455" y="1754"/>
                </a:moveTo>
                <a:cubicBezTo>
                  <a:pt x="3454" y="1754"/>
                  <a:pt x="3453" y="1754"/>
                  <a:pt x="3452" y="1755"/>
                </a:cubicBezTo>
                <a:cubicBezTo>
                  <a:pt x="3450" y="1755"/>
                  <a:pt x="3450" y="1756"/>
                  <a:pt x="3451" y="1757"/>
                </a:cubicBezTo>
                <a:cubicBezTo>
                  <a:pt x="3452" y="1760"/>
                  <a:pt x="3453" y="1762"/>
                  <a:pt x="3456" y="1763"/>
                </a:cubicBezTo>
                <a:cubicBezTo>
                  <a:pt x="3457" y="1763"/>
                  <a:pt x="3457" y="1763"/>
                  <a:pt x="3458" y="1763"/>
                </a:cubicBezTo>
                <a:cubicBezTo>
                  <a:pt x="3458" y="1762"/>
                  <a:pt x="3459" y="1761"/>
                  <a:pt x="3459" y="1760"/>
                </a:cubicBezTo>
                <a:cubicBezTo>
                  <a:pt x="3459" y="1757"/>
                  <a:pt x="3457" y="1755"/>
                  <a:pt x="3455" y="1754"/>
                </a:cubicBezTo>
                <a:close/>
                <a:moveTo>
                  <a:pt x="1302" y="740"/>
                </a:moveTo>
                <a:cubicBezTo>
                  <a:pt x="1301" y="741"/>
                  <a:pt x="1300" y="743"/>
                  <a:pt x="1299" y="744"/>
                </a:cubicBezTo>
                <a:cubicBezTo>
                  <a:pt x="1298" y="744"/>
                  <a:pt x="1298" y="745"/>
                  <a:pt x="1298" y="746"/>
                </a:cubicBezTo>
                <a:cubicBezTo>
                  <a:pt x="1299" y="746"/>
                  <a:pt x="1300" y="747"/>
                  <a:pt x="1301" y="747"/>
                </a:cubicBezTo>
                <a:cubicBezTo>
                  <a:pt x="1303" y="746"/>
                  <a:pt x="1304" y="746"/>
                  <a:pt x="1305" y="745"/>
                </a:cubicBezTo>
                <a:cubicBezTo>
                  <a:pt x="1306" y="744"/>
                  <a:pt x="1306" y="743"/>
                  <a:pt x="1306" y="742"/>
                </a:cubicBezTo>
                <a:cubicBezTo>
                  <a:pt x="1305" y="740"/>
                  <a:pt x="1303" y="739"/>
                  <a:pt x="1302" y="740"/>
                </a:cubicBezTo>
                <a:close/>
                <a:moveTo>
                  <a:pt x="4306" y="1886"/>
                </a:moveTo>
                <a:cubicBezTo>
                  <a:pt x="4305" y="1887"/>
                  <a:pt x="4306" y="1888"/>
                  <a:pt x="4306" y="1888"/>
                </a:cubicBezTo>
                <a:cubicBezTo>
                  <a:pt x="4307" y="1891"/>
                  <a:pt x="4309" y="1892"/>
                  <a:pt x="4312" y="1893"/>
                </a:cubicBezTo>
                <a:cubicBezTo>
                  <a:pt x="4313" y="1893"/>
                  <a:pt x="4315" y="1892"/>
                  <a:pt x="4316" y="1891"/>
                </a:cubicBezTo>
                <a:cubicBezTo>
                  <a:pt x="4315" y="1890"/>
                  <a:pt x="4316" y="1889"/>
                  <a:pt x="4315" y="1889"/>
                </a:cubicBezTo>
                <a:cubicBezTo>
                  <a:pt x="4314" y="1887"/>
                  <a:pt x="4311" y="1886"/>
                  <a:pt x="4308" y="1885"/>
                </a:cubicBezTo>
                <a:cubicBezTo>
                  <a:pt x="4307" y="1885"/>
                  <a:pt x="4306" y="1885"/>
                  <a:pt x="4306" y="1886"/>
                </a:cubicBezTo>
                <a:close/>
                <a:moveTo>
                  <a:pt x="1148" y="210"/>
                </a:moveTo>
                <a:cubicBezTo>
                  <a:pt x="1148" y="210"/>
                  <a:pt x="1147" y="210"/>
                  <a:pt x="1147" y="209"/>
                </a:cubicBezTo>
                <a:cubicBezTo>
                  <a:pt x="1144" y="209"/>
                  <a:pt x="1140" y="209"/>
                  <a:pt x="1138" y="211"/>
                </a:cubicBezTo>
                <a:cubicBezTo>
                  <a:pt x="1137" y="212"/>
                  <a:pt x="1137" y="213"/>
                  <a:pt x="1138" y="214"/>
                </a:cubicBezTo>
                <a:cubicBezTo>
                  <a:pt x="1139" y="215"/>
                  <a:pt x="1140" y="215"/>
                  <a:pt x="1142" y="216"/>
                </a:cubicBezTo>
                <a:cubicBezTo>
                  <a:pt x="1144" y="215"/>
                  <a:pt x="1146" y="213"/>
                  <a:pt x="1148" y="212"/>
                </a:cubicBezTo>
                <a:cubicBezTo>
                  <a:pt x="1148" y="212"/>
                  <a:pt x="1148" y="211"/>
                  <a:pt x="1148" y="210"/>
                </a:cubicBezTo>
                <a:close/>
                <a:moveTo>
                  <a:pt x="1142" y="216"/>
                </a:moveTo>
                <a:cubicBezTo>
                  <a:pt x="1141" y="216"/>
                  <a:pt x="1141" y="216"/>
                  <a:pt x="1141" y="216"/>
                </a:cubicBezTo>
                <a:cubicBezTo>
                  <a:pt x="1141" y="216"/>
                  <a:pt x="1141" y="216"/>
                  <a:pt x="1141" y="216"/>
                </a:cubicBezTo>
                <a:cubicBezTo>
                  <a:pt x="1141" y="216"/>
                  <a:pt x="1142" y="216"/>
                  <a:pt x="1142" y="216"/>
                </a:cubicBezTo>
                <a:cubicBezTo>
                  <a:pt x="1142" y="216"/>
                  <a:pt x="1142" y="216"/>
                  <a:pt x="1142" y="216"/>
                </a:cubicBezTo>
                <a:close/>
                <a:moveTo>
                  <a:pt x="1160" y="585"/>
                </a:moveTo>
                <a:cubicBezTo>
                  <a:pt x="1160" y="585"/>
                  <a:pt x="1159" y="586"/>
                  <a:pt x="1159" y="587"/>
                </a:cubicBezTo>
                <a:cubicBezTo>
                  <a:pt x="1158" y="587"/>
                  <a:pt x="1158" y="589"/>
                  <a:pt x="1159" y="590"/>
                </a:cubicBezTo>
                <a:cubicBezTo>
                  <a:pt x="1160" y="591"/>
                  <a:pt x="1161" y="593"/>
                  <a:pt x="1163" y="594"/>
                </a:cubicBezTo>
                <a:cubicBezTo>
                  <a:pt x="1163" y="595"/>
                  <a:pt x="1164" y="595"/>
                  <a:pt x="1164" y="595"/>
                </a:cubicBezTo>
                <a:cubicBezTo>
                  <a:pt x="1166" y="594"/>
                  <a:pt x="1166" y="593"/>
                  <a:pt x="1166" y="592"/>
                </a:cubicBezTo>
                <a:cubicBezTo>
                  <a:pt x="1165" y="589"/>
                  <a:pt x="1164" y="586"/>
                  <a:pt x="1160" y="585"/>
                </a:cubicBezTo>
                <a:close/>
                <a:moveTo>
                  <a:pt x="1346" y="716"/>
                </a:moveTo>
                <a:cubicBezTo>
                  <a:pt x="1345" y="716"/>
                  <a:pt x="1344" y="716"/>
                  <a:pt x="1343" y="717"/>
                </a:cubicBezTo>
                <a:cubicBezTo>
                  <a:pt x="1342" y="718"/>
                  <a:pt x="1341" y="719"/>
                  <a:pt x="1341" y="721"/>
                </a:cubicBezTo>
                <a:cubicBezTo>
                  <a:pt x="1341" y="722"/>
                  <a:pt x="1342" y="724"/>
                  <a:pt x="1342" y="725"/>
                </a:cubicBezTo>
                <a:cubicBezTo>
                  <a:pt x="1343" y="726"/>
                  <a:pt x="1345" y="726"/>
                  <a:pt x="1345" y="726"/>
                </a:cubicBezTo>
                <a:cubicBezTo>
                  <a:pt x="1346" y="725"/>
                  <a:pt x="1347" y="724"/>
                  <a:pt x="1348" y="722"/>
                </a:cubicBezTo>
                <a:cubicBezTo>
                  <a:pt x="1347" y="721"/>
                  <a:pt x="1347" y="719"/>
                  <a:pt x="1347" y="717"/>
                </a:cubicBezTo>
                <a:cubicBezTo>
                  <a:pt x="1347" y="717"/>
                  <a:pt x="1346" y="716"/>
                  <a:pt x="1346" y="716"/>
                </a:cubicBezTo>
                <a:close/>
                <a:moveTo>
                  <a:pt x="4189" y="1787"/>
                </a:moveTo>
                <a:cubicBezTo>
                  <a:pt x="4188" y="1792"/>
                  <a:pt x="4190" y="1797"/>
                  <a:pt x="4192" y="1802"/>
                </a:cubicBezTo>
                <a:cubicBezTo>
                  <a:pt x="4192" y="1802"/>
                  <a:pt x="4193" y="1802"/>
                  <a:pt x="4194" y="1802"/>
                </a:cubicBezTo>
                <a:cubicBezTo>
                  <a:pt x="4195" y="1802"/>
                  <a:pt x="4196" y="1800"/>
                  <a:pt x="4196" y="1799"/>
                </a:cubicBezTo>
                <a:cubicBezTo>
                  <a:pt x="4195" y="1794"/>
                  <a:pt x="4193" y="1790"/>
                  <a:pt x="4189" y="1787"/>
                </a:cubicBezTo>
                <a:close/>
                <a:moveTo>
                  <a:pt x="2560" y="106"/>
                </a:moveTo>
                <a:cubicBezTo>
                  <a:pt x="2562" y="106"/>
                  <a:pt x="2562" y="106"/>
                  <a:pt x="2563" y="106"/>
                </a:cubicBezTo>
                <a:cubicBezTo>
                  <a:pt x="2565" y="107"/>
                  <a:pt x="2567" y="104"/>
                  <a:pt x="2566" y="102"/>
                </a:cubicBezTo>
                <a:cubicBezTo>
                  <a:pt x="2565" y="101"/>
                  <a:pt x="2563" y="100"/>
                  <a:pt x="2562" y="100"/>
                </a:cubicBezTo>
                <a:cubicBezTo>
                  <a:pt x="2560" y="99"/>
                  <a:pt x="2557" y="102"/>
                  <a:pt x="2558" y="103"/>
                </a:cubicBezTo>
                <a:cubicBezTo>
                  <a:pt x="2559" y="105"/>
                  <a:pt x="2560" y="106"/>
                  <a:pt x="2560" y="106"/>
                </a:cubicBezTo>
                <a:close/>
                <a:moveTo>
                  <a:pt x="2602" y="106"/>
                </a:moveTo>
                <a:cubicBezTo>
                  <a:pt x="2604" y="106"/>
                  <a:pt x="2606" y="104"/>
                  <a:pt x="2605" y="103"/>
                </a:cubicBezTo>
                <a:cubicBezTo>
                  <a:pt x="2604" y="101"/>
                  <a:pt x="2603" y="101"/>
                  <a:pt x="2602" y="101"/>
                </a:cubicBezTo>
                <a:cubicBezTo>
                  <a:pt x="2600" y="101"/>
                  <a:pt x="2598" y="103"/>
                  <a:pt x="2599" y="104"/>
                </a:cubicBezTo>
                <a:cubicBezTo>
                  <a:pt x="2600" y="105"/>
                  <a:pt x="2601" y="106"/>
                  <a:pt x="2602" y="106"/>
                </a:cubicBezTo>
                <a:close/>
                <a:moveTo>
                  <a:pt x="1020" y="168"/>
                </a:moveTo>
                <a:cubicBezTo>
                  <a:pt x="1020" y="169"/>
                  <a:pt x="1021" y="170"/>
                  <a:pt x="1021" y="171"/>
                </a:cubicBezTo>
                <a:cubicBezTo>
                  <a:pt x="1022" y="172"/>
                  <a:pt x="1024" y="173"/>
                  <a:pt x="1025" y="173"/>
                </a:cubicBezTo>
                <a:cubicBezTo>
                  <a:pt x="1027" y="173"/>
                  <a:pt x="1028" y="172"/>
                  <a:pt x="1028" y="170"/>
                </a:cubicBezTo>
                <a:cubicBezTo>
                  <a:pt x="1028" y="169"/>
                  <a:pt x="1028" y="168"/>
                  <a:pt x="1027" y="167"/>
                </a:cubicBezTo>
                <a:cubicBezTo>
                  <a:pt x="1026" y="167"/>
                  <a:pt x="1024" y="166"/>
                  <a:pt x="1023" y="166"/>
                </a:cubicBezTo>
                <a:cubicBezTo>
                  <a:pt x="1022" y="166"/>
                  <a:pt x="1020" y="167"/>
                  <a:pt x="1020" y="168"/>
                </a:cubicBezTo>
                <a:close/>
                <a:moveTo>
                  <a:pt x="3534" y="1725"/>
                </a:moveTo>
                <a:cubicBezTo>
                  <a:pt x="3534" y="1725"/>
                  <a:pt x="3534" y="1724"/>
                  <a:pt x="3534" y="1724"/>
                </a:cubicBezTo>
                <a:cubicBezTo>
                  <a:pt x="3534" y="1723"/>
                  <a:pt x="3533" y="1722"/>
                  <a:pt x="3532" y="1721"/>
                </a:cubicBezTo>
                <a:cubicBezTo>
                  <a:pt x="3531" y="1721"/>
                  <a:pt x="3530" y="1721"/>
                  <a:pt x="3529" y="1721"/>
                </a:cubicBezTo>
                <a:cubicBezTo>
                  <a:pt x="3527" y="1721"/>
                  <a:pt x="3525" y="1721"/>
                  <a:pt x="3524" y="1721"/>
                </a:cubicBezTo>
                <a:cubicBezTo>
                  <a:pt x="3526" y="1723"/>
                  <a:pt x="3529" y="1725"/>
                  <a:pt x="3531" y="1726"/>
                </a:cubicBezTo>
                <a:cubicBezTo>
                  <a:pt x="3532" y="1726"/>
                  <a:pt x="3533" y="1725"/>
                  <a:pt x="3534" y="1725"/>
                </a:cubicBezTo>
                <a:close/>
                <a:moveTo>
                  <a:pt x="3889" y="1740"/>
                </a:moveTo>
                <a:cubicBezTo>
                  <a:pt x="3889" y="1741"/>
                  <a:pt x="3889" y="1741"/>
                  <a:pt x="3889" y="1742"/>
                </a:cubicBezTo>
                <a:cubicBezTo>
                  <a:pt x="3889" y="1742"/>
                  <a:pt x="3890" y="1743"/>
                  <a:pt x="3891" y="1743"/>
                </a:cubicBezTo>
                <a:cubicBezTo>
                  <a:pt x="3892" y="1744"/>
                  <a:pt x="3895" y="1743"/>
                  <a:pt x="3897" y="1743"/>
                </a:cubicBezTo>
                <a:cubicBezTo>
                  <a:pt x="3897" y="1743"/>
                  <a:pt x="3897" y="1742"/>
                  <a:pt x="3898" y="1742"/>
                </a:cubicBezTo>
                <a:cubicBezTo>
                  <a:pt x="3897" y="1741"/>
                  <a:pt x="3898" y="1741"/>
                  <a:pt x="3897" y="1740"/>
                </a:cubicBezTo>
                <a:cubicBezTo>
                  <a:pt x="3895" y="1738"/>
                  <a:pt x="3892" y="1737"/>
                  <a:pt x="3889" y="1740"/>
                </a:cubicBezTo>
                <a:close/>
                <a:moveTo>
                  <a:pt x="2882" y="310"/>
                </a:moveTo>
                <a:cubicBezTo>
                  <a:pt x="2882" y="312"/>
                  <a:pt x="2883" y="313"/>
                  <a:pt x="2885" y="313"/>
                </a:cubicBezTo>
                <a:cubicBezTo>
                  <a:pt x="2886" y="314"/>
                  <a:pt x="2888" y="312"/>
                  <a:pt x="2888" y="310"/>
                </a:cubicBezTo>
                <a:cubicBezTo>
                  <a:pt x="2888" y="309"/>
                  <a:pt x="2887" y="307"/>
                  <a:pt x="2886" y="306"/>
                </a:cubicBezTo>
                <a:cubicBezTo>
                  <a:pt x="2885" y="305"/>
                  <a:pt x="2882" y="308"/>
                  <a:pt x="2882" y="310"/>
                </a:cubicBezTo>
                <a:close/>
                <a:moveTo>
                  <a:pt x="1161" y="269"/>
                </a:moveTo>
                <a:cubicBezTo>
                  <a:pt x="1162" y="269"/>
                  <a:pt x="1163" y="269"/>
                  <a:pt x="1165" y="268"/>
                </a:cubicBezTo>
                <a:cubicBezTo>
                  <a:pt x="1161" y="265"/>
                  <a:pt x="1156" y="265"/>
                  <a:pt x="1152" y="266"/>
                </a:cubicBezTo>
                <a:cubicBezTo>
                  <a:pt x="1154" y="272"/>
                  <a:pt x="1154" y="272"/>
                  <a:pt x="1161" y="269"/>
                </a:cubicBezTo>
                <a:close/>
                <a:moveTo>
                  <a:pt x="1152" y="266"/>
                </a:moveTo>
                <a:cubicBezTo>
                  <a:pt x="1152" y="266"/>
                  <a:pt x="1152" y="265"/>
                  <a:pt x="1152" y="265"/>
                </a:cubicBezTo>
                <a:cubicBezTo>
                  <a:pt x="1151" y="265"/>
                  <a:pt x="1151" y="265"/>
                  <a:pt x="1151" y="265"/>
                </a:cubicBezTo>
                <a:cubicBezTo>
                  <a:pt x="1151" y="265"/>
                  <a:pt x="1151" y="266"/>
                  <a:pt x="1151" y="266"/>
                </a:cubicBezTo>
                <a:cubicBezTo>
                  <a:pt x="1151" y="266"/>
                  <a:pt x="1152" y="266"/>
                  <a:pt x="1152" y="266"/>
                </a:cubicBezTo>
                <a:close/>
                <a:moveTo>
                  <a:pt x="3796" y="1592"/>
                </a:moveTo>
                <a:cubicBezTo>
                  <a:pt x="3795" y="1593"/>
                  <a:pt x="3793" y="1594"/>
                  <a:pt x="3791" y="1595"/>
                </a:cubicBezTo>
                <a:cubicBezTo>
                  <a:pt x="3794" y="1600"/>
                  <a:pt x="3795" y="1600"/>
                  <a:pt x="3798" y="1599"/>
                </a:cubicBezTo>
                <a:cubicBezTo>
                  <a:pt x="3800" y="1598"/>
                  <a:pt x="3802" y="1595"/>
                  <a:pt x="3801" y="1594"/>
                </a:cubicBezTo>
                <a:cubicBezTo>
                  <a:pt x="3800" y="1593"/>
                  <a:pt x="3798" y="1592"/>
                  <a:pt x="3796" y="1592"/>
                </a:cubicBezTo>
                <a:close/>
                <a:moveTo>
                  <a:pt x="3794" y="1583"/>
                </a:moveTo>
                <a:cubicBezTo>
                  <a:pt x="3794" y="1583"/>
                  <a:pt x="3794" y="1582"/>
                  <a:pt x="3794" y="1582"/>
                </a:cubicBezTo>
                <a:cubicBezTo>
                  <a:pt x="3793" y="1581"/>
                  <a:pt x="3792" y="1581"/>
                  <a:pt x="3791" y="1582"/>
                </a:cubicBezTo>
                <a:cubicBezTo>
                  <a:pt x="3790" y="1583"/>
                  <a:pt x="3789" y="1584"/>
                  <a:pt x="3788" y="1585"/>
                </a:cubicBezTo>
                <a:cubicBezTo>
                  <a:pt x="3788" y="1588"/>
                  <a:pt x="3788" y="1592"/>
                  <a:pt x="3788" y="1595"/>
                </a:cubicBezTo>
                <a:cubicBezTo>
                  <a:pt x="3789" y="1595"/>
                  <a:pt x="3790" y="1595"/>
                  <a:pt x="3791" y="1595"/>
                </a:cubicBezTo>
                <a:cubicBezTo>
                  <a:pt x="3792" y="1593"/>
                  <a:pt x="3793" y="1590"/>
                  <a:pt x="3793" y="1588"/>
                </a:cubicBezTo>
                <a:cubicBezTo>
                  <a:pt x="3794" y="1587"/>
                  <a:pt x="3794" y="1585"/>
                  <a:pt x="3794" y="1583"/>
                </a:cubicBezTo>
                <a:close/>
                <a:moveTo>
                  <a:pt x="3788" y="1585"/>
                </a:moveTo>
                <a:cubicBezTo>
                  <a:pt x="3788" y="1585"/>
                  <a:pt x="3788" y="1585"/>
                  <a:pt x="3788" y="1585"/>
                </a:cubicBezTo>
                <a:cubicBezTo>
                  <a:pt x="3788" y="1585"/>
                  <a:pt x="3788" y="1585"/>
                  <a:pt x="3788" y="1585"/>
                </a:cubicBezTo>
                <a:cubicBezTo>
                  <a:pt x="3788" y="1585"/>
                  <a:pt x="3788" y="1585"/>
                  <a:pt x="3788" y="1585"/>
                </a:cubicBezTo>
                <a:cubicBezTo>
                  <a:pt x="3788" y="1585"/>
                  <a:pt x="3788" y="1585"/>
                  <a:pt x="3788" y="1585"/>
                </a:cubicBezTo>
                <a:close/>
                <a:moveTo>
                  <a:pt x="3791" y="1595"/>
                </a:moveTo>
                <a:cubicBezTo>
                  <a:pt x="3791" y="1595"/>
                  <a:pt x="3791" y="1595"/>
                  <a:pt x="3791" y="1595"/>
                </a:cubicBezTo>
                <a:cubicBezTo>
                  <a:pt x="3791" y="1595"/>
                  <a:pt x="3791" y="1595"/>
                  <a:pt x="3791" y="1595"/>
                </a:cubicBezTo>
                <a:cubicBezTo>
                  <a:pt x="3791" y="1595"/>
                  <a:pt x="3791" y="1595"/>
                  <a:pt x="3791" y="1595"/>
                </a:cubicBezTo>
                <a:close/>
                <a:moveTo>
                  <a:pt x="1280" y="1528"/>
                </a:moveTo>
                <a:cubicBezTo>
                  <a:pt x="1280" y="1528"/>
                  <a:pt x="1278" y="1527"/>
                  <a:pt x="1278" y="1528"/>
                </a:cubicBezTo>
                <a:cubicBezTo>
                  <a:pt x="1277" y="1528"/>
                  <a:pt x="1276" y="1530"/>
                  <a:pt x="1277" y="1530"/>
                </a:cubicBezTo>
                <a:cubicBezTo>
                  <a:pt x="1277" y="1532"/>
                  <a:pt x="1278" y="1533"/>
                  <a:pt x="1280" y="1534"/>
                </a:cubicBezTo>
                <a:cubicBezTo>
                  <a:pt x="1280" y="1534"/>
                  <a:pt x="1281" y="1533"/>
                  <a:pt x="1283" y="1532"/>
                </a:cubicBezTo>
                <a:cubicBezTo>
                  <a:pt x="1282" y="1531"/>
                  <a:pt x="1281" y="1529"/>
                  <a:pt x="1280" y="1528"/>
                </a:cubicBezTo>
                <a:close/>
                <a:moveTo>
                  <a:pt x="1278" y="1506"/>
                </a:moveTo>
                <a:cubicBezTo>
                  <a:pt x="1278" y="1505"/>
                  <a:pt x="1277" y="1504"/>
                  <a:pt x="1276" y="1504"/>
                </a:cubicBezTo>
                <a:cubicBezTo>
                  <a:pt x="1274" y="1504"/>
                  <a:pt x="1272" y="1505"/>
                  <a:pt x="1271" y="1507"/>
                </a:cubicBezTo>
                <a:cubicBezTo>
                  <a:pt x="1271" y="1508"/>
                  <a:pt x="1272" y="1510"/>
                  <a:pt x="1272" y="1510"/>
                </a:cubicBezTo>
                <a:cubicBezTo>
                  <a:pt x="1275" y="1511"/>
                  <a:pt x="1278" y="1509"/>
                  <a:pt x="1278" y="1506"/>
                </a:cubicBezTo>
                <a:close/>
                <a:moveTo>
                  <a:pt x="1217" y="655"/>
                </a:moveTo>
                <a:cubicBezTo>
                  <a:pt x="1216" y="656"/>
                  <a:pt x="1215" y="657"/>
                  <a:pt x="1215" y="658"/>
                </a:cubicBezTo>
                <a:cubicBezTo>
                  <a:pt x="1216" y="660"/>
                  <a:pt x="1217" y="662"/>
                  <a:pt x="1220" y="662"/>
                </a:cubicBezTo>
                <a:cubicBezTo>
                  <a:pt x="1221" y="663"/>
                  <a:pt x="1222" y="661"/>
                  <a:pt x="1223" y="661"/>
                </a:cubicBezTo>
                <a:cubicBezTo>
                  <a:pt x="1223" y="660"/>
                  <a:pt x="1223" y="659"/>
                  <a:pt x="1223" y="659"/>
                </a:cubicBezTo>
                <a:cubicBezTo>
                  <a:pt x="1222" y="656"/>
                  <a:pt x="1220" y="655"/>
                  <a:pt x="1217" y="655"/>
                </a:cubicBezTo>
                <a:close/>
                <a:moveTo>
                  <a:pt x="1060" y="1379"/>
                </a:moveTo>
                <a:cubicBezTo>
                  <a:pt x="1059" y="1379"/>
                  <a:pt x="1057" y="1382"/>
                  <a:pt x="1057" y="1384"/>
                </a:cubicBezTo>
                <a:cubicBezTo>
                  <a:pt x="1057" y="1385"/>
                  <a:pt x="1059" y="1386"/>
                  <a:pt x="1060" y="1387"/>
                </a:cubicBezTo>
                <a:cubicBezTo>
                  <a:pt x="1062" y="1387"/>
                  <a:pt x="1063" y="1385"/>
                  <a:pt x="1063" y="1384"/>
                </a:cubicBezTo>
                <a:cubicBezTo>
                  <a:pt x="1063" y="1381"/>
                  <a:pt x="1062" y="1379"/>
                  <a:pt x="1060" y="1379"/>
                </a:cubicBezTo>
                <a:close/>
                <a:moveTo>
                  <a:pt x="1075" y="1361"/>
                </a:moveTo>
                <a:cubicBezTo>
                  <a:pt x="1078" y="1358"/>
                  <a:pt x="1077" y="1354"/>
                  <a:pt x="1073" y="1352"/>
                </a:cubicBezTo>
                <a:cubicBezTo>
                  <a:pt x="1073" y="1352"/>
                  <a:pt x="1072" y="1352"/>
                  <a:pt x="1072" y="1352"/>
                </a:cubicBezTo>
                <a:cubicBezTo>
                  <a:pt x="1071" y="1355"/>
                  <a:pt x="1072" y="1358"/>
                  <a:pt x="1073" y="1361"/>
                </a:cubicBezTo>
                <a:cubicBezTo>
                  <a:pt x="1074" y="1361"/>
                  <a:pt x="1075" y="1361"/>
                  <a:pt x="1075" y="1361"/>
                </a:cubicBezTo>
                <a:close/>
                <a:moveTo>
                  <a:pt x="1055" y="1352"/>
                </a:moveTo>
                <a:cubicBezTo>
                  <a:pt x="1054" y="1352"/>
                  <a:pt x="1054" y="1354"/>
                  <a:pt x="1054" y="1355"/>
                </a:cubicBezTo>
                <a:cubicBezTo>
                  <a:pt x="1055" y="1355"/>
                  <a:pt x="1055" y="1355"/>
                  <a:pt x="1056" y="1355"/>
                </a:cubicBezTo>
                <a:cubicBezTo>
                  <a:pt x="1058" y="1356"/>
                  <a:pt x="1060" y="1355"/>
                  <a:pt x="1062" y="1353"/>
                </a:cubicBezTo>
                <a:cubicBezTo>
                  <a:pt x="1062" y="1353"/>
                  <a:pt x="1062" y="1352"/>
                  <a:pt x="1062" y="1352"/>
                </a:cubicBezTo>
                <a:cubicBezTo>
                  <a:pt x="1062" y="1351"/>
                  <a:pt x="1061" y="1351"/>
                  <a:pt x="1061" y="1351"/>
                </a:cubicBezTo>
                <a:cubicBezTo>
                  <a:pt x="1059" y="1350"/>
                  <a:pt x="1056" y="1350"/>
                  <a:pt x="1055" y="1352"/>
                </a:cubicBezTo>
                <a:close/>
                <a:moveTo>
                  <a:pt x="1120" y="1439"/>
                </a:moveTo>
                <a:cubicBezTo>
                  <a:pt x="1120" y="1439"/>
                  <a:pt x="1121" y="1439"/>
                  <a:pt x="1121" y="1438"/>
                </a:cubicBezTo>
                <a:cubicBezTo>
                  <a:pt x="1121" y="1438"/>
                  <a:pt x="1120" y="1436"/>
                  <a:pt x="1120" y="1436"/>
                </a:cubicBezTo>
                <a:cubicBezTo>
                  <a:pt x="1119" y="1435"/>
                  <a:pt x="1117" y="1435"/>
                  <a:pt x="1116" y="1436"/>
                </a:cubicBezTo>
                <a:cubicBezTo>
                  <a:pt x="1115" y="1436"/>
                  <a:pt x="1114" y="1438"/>
                  <a:pt x="1114" y="1438"/>
                </a:cubicBezTo>
                <a:cubicBezTo>
                  <a:pt x="1114" y="1439"/>
                  <a:pt x="1116" y="1440"/>
                  <a:pt x="1117" y="1440"/>
                </a:cubicBezTo>
                <a:cubicBezTo>
                  <a:pt x="1118" y="1440"/>
                  <a:pt x="1119" y="1440"/>
                  <a:pt x="1120" y="1439"/>
                </a:cubicBezTo>
                <a:close/>
                <a:moveTo>
                  <a:pt x="4181" y="1783"/>
                </a:moveTo>
                <a:cubicBezTo>
                  <a:pt x="4181" y="1784"/>
                  <a:pt x="4181" y="1784"/>
                  <a:pt x="4181" y="1784"/>
                </a:cubicBezTo>
                <a:cubicBezTo>
                  <a:pt x="4181" y="1784"/>
                  <a:pt x="4181" y="1784"/>
                  <a:pt x="4182" y="1784"/>
                </a:cubicBezTo>
                <a:cubicBezTo>
                  <a:pt x="4182" y="1784"/>
                  <a:pt x="4181" y="1784"/>
                  <a:pt x="4181" y="1783"/>
                </a:cubicBezTo>
                <a:cubicBezTo>
                  <a:pt x="4181" y="1783"/>
                  <a:pt x="4181" y="1783"/>
                  <a:pt x="4181" y="1783"/>
                </a:cubicBezTo>
                <a:close/>
                <a:moveTo>
                  <a:pt x="4169" y="1777"/>
                </a:moveTo>
                <a:cubicBezTo>
                  <a:pt x="4172" y="1781"/>
                  <a:pt x="4176" y="1784"/>
                  <a:pt x="4181" y="1783"/>
                </a:cubicBezTo>
                <a:cubicBezTo>
                  <a:pt x="4178" y="1778"/>
                  <a:pt x="4174" y="1777"/>
                  <a:pt x="4169" y="1777"/>
                </a:cubicBezTo>
                <a:close/>
                <a:moveTo>
                  <a:pt x="3847" y="1750"/>
                </a:moveTo>
                <a:cubicBezTo>
                  <a:pt x="3848" y="1749"/>
                  <a:pt x="3849" y="1748"/>
                  <a:pt x="3851" y="1747"/>
                </a:cubicBezTo>
                <a:cubicBezTo>
                  <a:pt x="3851" y="1747"/>
                  <a:pt x="3851" y="1747"/>
                  <a:pt x="3851" y="1748"/>
                </a:cubicBezTo>
                <a:cubicBezTo>
                  <a:pt x="3851" y="1747"/>
                  <a:pt x="3851" y="1747"/>
                  <a:pt x="3851" y="1747"/>
                </a:cubicBezTo>
                <a:cubicBezTo>
                  <a:pt x="3852" y="1747"/>
                  <a:pt x="3853" y="1747"/>
                  <a:pt x="3854" y="1747"/>
                </a:cubicBezTo>
                <a:cubicBezTo>
                  <a:pt x="3853" y="1744"/>
                  <a:pt x="3852" y="1742"/>
                  <a:pt x="3852" y="1739"/>
                </a:cubicBezTo>
                <a:cubicBezTo>
                  <a:pt x="3852" y="1738"/>
                  <a:pt x="3852" y="1736"/>
                  <a:pt x="3854" y="1735"/>
                </a:cubicBezTo>
                <a:cubicBezTo>
                  <a:pt x="3854" y="1735"/>
                  <a:pt x="3855" y="1735"/>
                  <a:pt x="3855" y="1735"/>
                </a:cubicBezTo>
                <a:cubicBezTo>
                  <a:pt x="3858" y="1734"/>
                  <a:pt x="3861" y="1733"/>
                  <a:pt x="3859" y="1729"/>
                </a:cubicBezTo>
                <a:cubicBezTo>
                  <a:pt x="3859" y="1728"/>
                  <a:pt x="3860" y="1726"/>
                  <a:pt x="3861" y="1725"/>
                </a:cubicBezTo>
                <a:cubicBezTo>
                  <a:pt x="3862" y="1723"/>
                  <a:pt x="3864" y="1722"/>
                  <a:pt x="3864" y="1720"/>
                </a:cubicBezTo>
                <a:cubicBezTo>
                  <a:pt x="3864" y="1719"/>
                  <a:pt x="3863" y="1717"/>
                  <a:pt x="3862" y="1717"/>
                </a:cubicBezTo>
                <a:cubicBezTo>
                  <a:pt x="3861" y="1716"/>
                  <a:pt x="3859" y="1716"/>
                  <a:pt x="3858" y="1716"/>
                </a:cubicBezTo>
                <a:cubicBezTo>
                  <a:pt x="3856" y="1716"/>
                  <a:pt x="3855" y="1716"/>
                  <a:pt x="3854" y="1714"/>
                </a:cubicBezTo>
                <a:cubicBezTo>
                  <a:pt x="3853" y="1713"/>
                  <a:pt x="3853" y="1712"/>
                  <a:pt x="3856" y="1711"/>
                </a:cubicBezTo>
                <a:cubicBezTo>
                  <a:pt x="3857" y="1710"/>
                  <a:pt x="3858" y="1710"/>
                  <a:pt x="3859" y="1709"/>
                </a:cubicBezTo>
                <a:cubicBezTo>
                  <a:pt x="3859" y="1708"/>
                  <a:pt x="3859" y="1707"/>
                  <a:pt x="3859" y="1706"/>
                </a:cubicBezTo>
                <a:cubicBezTo>
                  <a:pt x="3859" y="1706"/>
                  <a:pt x="3858" y="1705"/>
                  <a:pt x="3858" y="1706"/>
                </a:cubicBezTo>
                <a:cubicBezTo>
                  <a:pt x="3846" y="1709"/>
                  <a:pt x="3843" y="1715"/>
                  <a:pt x="3844" y="1726"/>
                </a:cubicBezTo>
                <a:cubicBezTo>
                  <a:pt x="3844" y="1729"/>
                  <a:pt x="3845" y="1731"/>
                  <a:pt x="3845" y="1733"/>
                </a:cubicBezTo>
                <a:cubicBezTo>
                  <a:pt x="3846" y="1737"/>
                  <a:pt x="3847" y="1740"/>
                  <a:pt x="3847" y="1744"/>
                </a:cubicBezTo>
                <a:cubicBezTo>
                  <a:pt x="3847" y="1744"/>
                  <a:pt x="3847" y="1744"/>
                  <a:pt x="3847" y="1744"/>
                </a:cubicBezTo>
                <a:cubicBezTo>
                  <a:pt x="3847" y="1744"/>
                  <a:pt x="3847" y="1744"/>
                  <a:pt x="3847" y="1744"/>
                </a:cubicBezTo>
                <a:cubicBezTo>
                  <a:pt x="3846" y="1744"/>
                  <a:pt x="3845" y="1744"/>
                  <a:pt x="3845" y="1745"/>
                </a:cubicBezTo>
                <a:cubicBezTo>
                  <a:pt x="3843" y="1746"/>
                  <a:pt x="3842" y="1747"/>
                  <a:pt x="3843" y="1748"/>
                </a:cubicBezTo>
                <a:cubicBezTo>
                  <a:pt x="3844" y="1750"/>
                  <a:pt x="3845" y="1751"/>
                  <a:pt x="3847" y="1750"/>
                </a:cubicBezTo>
                <a:close/>
                <a:moveTo>
                  <a:pt x="3367" y="1549"/>
                </a:moveTo>
                <a:cubicBezTo>
                  <a:pt x="3366" y="1548"/>
                  <a:pt x="3365" y="1549"/>
                  <a:pt x="3365" y="1550"/>
                </a:cubicBezTo>
                <a:cubicBezTo>
                  <a:pt x="3364" y="1551"/>
                  <a:pt x="3364" y="1552"/>
                  <a:pt x="3364" y="1554"/>
                </a:cubicBezTo>
                <a:cubicBezTo>
                  <a:pt x="3364" y="1554"/>
                  <a:pt x="3364" y="1555"/>
                  <a:pt x="3364" y="1556"/>
                </a:cubicBezTo>
                <a:cubicBezTo>
                  <a:pt x="3365" y="1557"/>
                  <a:pt x="3365" y="1558"/>
                  <a:pt x="3366" y="1559"/>
                </a:cubicBezTo>
                <a:cubicBezTo>
                  <a:pt x="3367" y="1558"/>
                  <a:pt x="3367" y="1557"/>
                  <a:pt x="3368" y="1556"/>
                </a:cubicBezTo>
                <a:cubicBezTo>
                  <a:pt x="3368" y="1554"/>
                  <a:pt x="3368" y="1552"/>
                  <a:pt x="3367" y="1550"/>
                </a:cubicBezTo>
                <a:cubicBezTo>
                  <a:pt x="3367" y="1549"/>
                  <a:pt x="3367" y="1549"/>
                  <a:pt x="3367" y="1549"/>
                </a:cubicBezTo>
                <a:close/>
                <a:moveTo>
                  <a:pt x="3896" y="1843"/>
                </a:moveTo>
                <a:cubicBezTo>
                  <a:pt x="3895" y="1844"/>
                  <a:pt x="3894" y="1845"/>
                  <a:pt x="3894" y="1847"/>
                </a:cubicBezTo>
                <a:cubicBezTo>
                  <a:pt x="3894" y="1848"/>
                  <a:pt x="3895" y="1849"/>
                  <a:pt x="3896" y="1849"/>
                </a:cubicBezTo>
                <a:cubicBezTo>
                  <a:pt x="3896" y="1850"/>
                  <a:pt x="3897" y="1849"/>
                  <a:pt x="3897" y="1849"/>
                </a:cubicBezTo>
                <a:cubicBezTo>
                  <a:pt x="3899" y="1848"/>
                  <a:pt x="3901" y="1847"/>
                  <a:pt x="3900" y="1844"/>
                </a:cubicBezTo>
                <a:cubicBezTo>
                  <a:pt x="3900" y="1843"/>
                  <a:pt x="3899" y="1842"/>
                  <a:pt x="3899" y="1841"/>
                </a:cubicBezTo>
                <a:cubicBezTo>
                  <a:pt x="3898" y="1841"/>
                  <a:pt x="3896" y="1842"/>
                  <a:pt x="3896" y="1843"/>
                </a:cubicBezTo>
                <a:close/>
                <a:moveTo>
                  <a:pt x="2849" y="409"/>
                </a:moveTo>
                <a:cubicBezTo>
                  <a:pt x="2850" y="409"/>
                  <a:pt x="2850" y="409"/>
                  <a:pt x="2850" y="408"/>
                </a:cubicBezTo>
                <a:cubicBezTo>
                  <a:pt x="2850" y="407"/>
                  <a:pt x="2850" y="405"/>
                  <a:pt x="2849" y="404"/>
                </a:cubicBezTo>
                <a:cubicBezTo>
                  <a:pt x="2849" y="403"/>
                  <a:pt x="2848" y="402"/>
                  <a:pt x="2847" y="402"/>
                </a:cubicBezTo>
                <a:cubicBezTo>
                  <a:pt x="2846" y="402"/>
                  <a:pt x="2845" y="403"/>
                  <a:pt x="2845" y="404"/>
                </a:cubicBezTo>
                <a:cubicBezTo>
                  <a:pt x="2844" y="406"/>
                  <a:pt x="2845" y="408"/>
                  <a:pt x="2846" y="409"/>
                </a:cubicBezTo>
                <a:cubicBezTo>
                  <a:pt x="2847" y="410"/>
                  <a:pt x="2848" y="410"/>
                  <a:pt x="2849" y="409"/>
                </a:cubicBezTo>
                <a:close/>
                <a:moveTo>
                  <a:pt x="1274" y="509"/>
                </a:moveTo>
                <a:cubicBezTo>
                  <a:pt x="1274" y="509"/>
                  <a:pt x="1272" y="508"/>
                  <a:pt x="1271" y="508"/>
                </a:cubicBezTo>
                <a:cubicBezTo>
                  <a:pt x="1270" y="508"/>
                  <a:pt x="1268" y="509"/>
                  <a:pt x="1268" y="511"/>
                </a:cubicBezTo>
                <a:cubicBezTo>
                  <a:pt x="1268" y="512"/>
                  <a:pt x="1269" y="513"/>
                  <a:pt x="1270" y="514"/>
                </a:cubicBezTo>
                <a:cubicBezTo>
                  <a:pt x="1271" y="514"/>
                  <a:pt x="1273" y="514"/>
                  <a:pt x="1273" y="513"/>
                </a:cubicBezTo>
                <a:cubicBezTo>
                  <a:pt x="1274" y="512"/>
                  <a:pt x="1274" y="510"/>
                  <a:pt x="1274" y="509"/>
                </a:cubicBezTo>
                <a:close/>
                <a:moveTo>
                  <a:pt x="3783" y="1218"/>
                </a:moveTo>
                <a:cubicBezTo>
                  <a:pt x="3784" y="1217"/>
                  <a:pt x="3782" y="1215"/>
                  <a:pt x="3781" y="1215"/>
                </a:cubicBezTo>
                <a:cubicBezTo>
                  <a:pt x="3780" y="1216"/>
                  <a:pt x="3779" y="1216"/>
                  <a:pt x="3778" y="1216"/>
                </a:cubicBezTo>
                <a:cubicBezTo>
                  <a:pt x="3776" y="1217"/>
                  <a:pt x="3776" y="1219"/>
                  <a:pt x="3776" y="1220"/>
                </a:cubicBezTo>
                <a:cubicBezTo>
                  <a:pt x="3777" y="1221"/>
                  <a:pt x="3778" y="1221"/>
                  <a:pt x="3779" y="1221"/>
                </a:cubicBezTo>
                <a:cubicBezTo>
                  <a:pt x="3782" y="1221"/>
                  <a:pt x="3783" y="1220"/>
                  <a:pt x="3783" y="1218"/>
                </a:cubicBezTo>
                <a:close/>
                <a:moveTo>
                  <a:pt x="3628" y="2117"/>
                </a:moveTo>
                <a:cubicBezTo>
                  <a:pt x="3627" y="2116"/>
                  <a:pt x="3626" y="2116"/>
                  <a:pt x="3625" y="2116"/>
                </a:cubicBezTo>
                <a:cubicBezTo>
                  <a:pt x="3624" y="2117"/>
                  <a:pt x="3623" y="2118"/>
                  <a:pt x="3623" y="2119"/>
                </a:cubicBezTo>
                <a:cubicBezTo>
                  <a:pt x="3624" y="2121"/>
                  <a:pt x="3625" y="2122"/>
                  <a:pt x="3626" y="2124"/>
                </a:cubicBezTo>
                <a:cubicBezTo>
                  <a:pt x="3627" y="2124"/>
                  <a:pt x="3628" y="2124"/>
                  <a:pt x="3629" y="2124"/>
                </a:cubicBezTo>
                <a:cubicBezTo>
                  <a:pt x="3629" y="2122"/>
                  <a:pt x="3629" y="2119"/>
                  <a:pt x="3628" y="2117"/>
                </a:cubicBezTo>
                <a:close/>
                <a:moveTo>
                  <a:pt x="3626" y="2124"/>
                </a:moveTo>
                <a:cubicBezTo>
                  <a:pt x="3626" y="2124"/>
                  <a:pt x="3626" y="2124"/>
                  <a:pt x="3626" y="2124"/>
                </a:cubicBezTo>
                <a:cubicBezTo>
                  <a:pt x="3626" y="2124"/>
                  <a:pt x="3626" y="2124"/>
                  <a:pt x="3626" y="2124"/>
                </a:cubicBezTo>
                <a:cubicBezTo>
                  <a:pt x="3626" y="2124"/>
                  <a:pt x="3626" y="2124"/>
                  <a:pt x="3626" y="2124"/>
                </a:cubicBezTo>
                <a:cubicBezTo>
                  <a:pt x="3626" y="2124"/>
                  <a:pt x="3626" y="2124"/>
                  <a:pt x="3626" y="2124"/>
                </a:cubicBezTo>
                <a:close/>
                <a:moveTo>
                  <a:pt x="2524" y="196"/>
                </a:moveTo>
                <a:cubicBezTo>
                  <a:pt x="2524" y="196"/>
                  <a:pt x="2524" y="196"/>
                  <a:pt x="2524" y="196"/>
                </a:cubicBezTo>
                <a:cubicBezTo>
                  <a:pt x="2524" y="196"/>
                  <a:pt x="2524" y="196"/>
                  <a:pt x="2524" y="196"/>
                </a:cubicBezTo>
                <a:cubicBezTo>
                  <a:pt x="2524" y="196"/>
                  <a:pt x="2525" y="196"/>
                  <a:pt x="2525" y="196"/>
                </a:cubicBezTo>
                <a:cubicBezTo>
                  <a:pt x="2524" y="196"/>
                  <a:pt x="2524" y="196"/>
                  <a:pt x="2524" y="196"/>
                </a:cubicBezTo>
                <a:close/>
                <a:moveTo>
                  <a:pt x="2519" y="190"/>
                </a:moveTo>
                <a:cubicBezTo>
                  <a:pt x="2518" y="190"/>
                  <a:pt x="2517" y="191"/>
                  <a:pt x="2517" y="191"/>
                </a:cubicBezTo>
                <a:cubicBezTo>
                  <a:pt x="2517" y="193"/>
                  <a:pt x="2518" y="195"/>
                  <a:pt x="2518" y="195"/>
                </a:cubicBezTo>
                <a:cubicBezTo>
                  <a:pt x="2520" y="196"/>
                  <a:pt x="2522" y="196"/>
                  <a:pt x="2524" y="196"/>
                </a:cubicBezTo>
                <a:cubicBezTo>
                  <a:pt x="2523" y="194"/>
                  <a:pt x="2523" y="192"/>
                  <a:pt x="2522" y="191"/>
                </a:cubicBezTo>
                <a:cubicBezTo>
                  <a:pt x="2522" y="190"/>
                  <a:pt x="2520" y="190"/>
                  <a:pt x="2519" y="190"/>
                </a:cubicBezTo>
                <a:close/>
                <a:moveTo>
                  <a:pt x="3739" y="1563"/>
                </a:moveTo>
                <a:cubicBezTo>
                  <a:pt x="3738" y="1563"/>
                  <a:pt x="3737" y="1562"/>
                  <a:pt x="3735" y="1561"/>
                </a:cubicBezTo>
                <a:cubicBezTo>
                  <a:pt x="3734" y="1561"/>
                  <a:pt x="3733" y="1562"/>
                  <a:pt x="3733" y="1564"/>
                </a:cubicBezTo>
                <a:cubicBezTo>
                  <a:pt x="3733" y="1565"/>
                  <a:pt x="3733" y="1566"/>
                  <a:pt x="3734" y="1567"/>
                </a:cubicBezTo>
                <a:cubicBezTo>
                  <a:pt x="3735" y="1568"/>
                  <a:pt x="3739" y="1566"/>
                  <a:pt x="3739" y="1563"/>
                </a:cubicBezTo>
                <a:close/>
                <a:moveTo>
                  <a:pt x="3825" y="1850"/>
                </a:moveTo>
                <a:cubicBezTo>
                  <a:pt x="3826" y="1850"/>
                  <a:pt x="3827" y="1850"/>
                  <a:pt x="3828" y="1850"/>
                </a:cubicBezTo>
                <a:cubicBezTo>
                  <a:pt x="3829" y="1849"/>
                  <a:pt x="3829" y="1848"/>
                  <a:pt x="3830" y="1848"/>
                </a:cubicBezTo>
                <a:cubicBezTo>
                  <a:pt x="3830" y="1847"/>
                  <a:pt x="3829" y="1846"/>
                  <a:pt x="3828" y="1846"/>
                </a:cubicBezTo>
                <a:cubicBezTo>
                  <a:pt x="3828" y="1845"/>
                  <a:pt x="3827" y="1845"/>
                  <a:pt x="3826" y="1846"/>
                </a:cubicBezTo>
                <a:cubicBezTo>
                  <a:pt x="3826" y="1846"/>
                  <a:pt x="3825" y="1846"/>
                  <a:pt x="3825" y="1846"/>
                </a:cubicBezTo>
                <a:cubicBezTo>
                  <a:pt x="3823" y="1846"/>
                  <a:pt x="3822" y="1846"/>
                  <a:pt x="3821" y="1848"/>
                </a:cubicBezTo>
                <a:cubicBezTo>
                  <a:pt x="3821" y="1849"/>
                  <a:pt x="3822" y="1850"/>
                  <a:pt x="3825" y="1850"/>
                </a:cubicBezTo>
                <a:close/>
                <a:moveTo>
                  <a:pt x="1942" y="149"/>
                </a:moveTo>
                <a:cubicBezTo>
                  <a:pt x="1943" y="148"/>
                  <a:pt x="1943" y="147"/>
                  <a:pt x="1944" y="145"/>
                </a:cubicBezTo>
                <a:cubicBezTo>
                  <a:pt x="1944" y="144"/>
                  <a:pt x="1943" y="143"/>
                  <a:pt x="1943" y="142"/>
                </a:cubicBezTo>
                <a:cubicBezTo>
                  <a:pt x="1942" y="141"/>
                  <a:pt x="1939" y="143"/>
                  <a:pt x="1939" y="144"/>
                </a:cubicBezTo>
                <a:cubicBezTo>
                  <a:pt x="1939" y="147"/>
                  <a:pt x="1940" y="148"/>
                  <a:pt x="1942" y="149"/>
                </a:cubicBezTo>
                <a:close/>
                <a:moveTo>
                  <a:pt x="2689" y="1896"/>
                </a:moveTo>
                <a:cubicBezTo>
                  <a:pt x="2689" y="1895"/>
                  <a:pt x="2689" y="1893"/>
                  <a:pt x="2687" y="1892"/>
                </a:cubicBezTo>
                <a:cubicBezTo>
                  <a:pt x="2686" y="1891"/>
                  <a:pt x="2684" y="1893"/>
                  <a:pt x="2684" y="1895"/>
                </a:cubicBezTo>
                <a:cubicBezTo>
                  <a:pt x="2685" y="1896"/>
                  <a:pt x="2685" y="1897"/>
                  <a:pt x="2686" y="1897"/>
                </a:cubicBezTo>
                <a:cubicBezTo>
                  <a:pt x="2687" y="1898"/>
                  <a:pt x="2688" y="1898"/>
                  <a:pt x="2689" y="1896"/>
                </a:cubicBezTo>
                <a:close/>
                <a:moveTo>
                  <a:pt x="1935" y="259"/>
                </a:moveTo>
                <a:cubicBezTo>
                  <a:pt x="1934" y="259"/>
                  <a:pt x="1933" y="261"/>
                  <a:pt x="1933" y="262"/>
                </a:cubicBezTo>
                <a:cubicBezTo>
                  <a:pt x="1933" y="263"/>
                  <a:pt x="1934" y="264"/>
                  <a:pt x="1934" y="264"/>
                </a:cubicBezTo>
                <a:cubicBezTo>
                  <a:pt x="1935" y="264"/>
                  <a:pt x="1936" y="264"/>
                  <a:pt x="1937" y="264"/>
                </a:cubicBezTo>
                <a:cubicBezTo>
                  <a:pt x="1937" y="263"/>
                  <a:pt x="1938" y="261"/>
                  <a:pt x="1938" y="260"/>
                </a:cubicBezTo>
                <a:cubicBezTo>
                  <a:pt x="1937" y="258"/>
                  <a:pt x="1937" y="258"/>
                  <a:pt x="1935" y="259"/>
                </a:cubicBezTo>
                <a:close/>
                <a:moveTo>
                  <a:pt x="2366" y="1184"/>
                </a:moveTo>
                <a:cubicBezTo>
                  <a:pt x="2366" y="1184"/>
                  <a:pt x="2365" y="1183"/>
                  <a:pt x="2365" y="1183"/>
                </a:cubicBezTo>
                <a:cubicBezTo>
                  <a:pt x="2364" y="1182"/>
                  <a:pt x="2363" y="1182"/>
                  <a:pt x="2362" y="1183"/>
                </a:cubicBezTo>
                <a:cubicBezTo>
                  <a:pt x="2362" y="1184"/>
                  <a:pt x="2361" y="1185"/>
                  <a:pt x="2361" y="1186"/>
                </a:cubicBezTo>
                <a:cubicBezTo>
                  <a:pt x="2361" y="1186"/>
                  <a:pt x="2362" y="1188"/>
                  <a:pt x="2363" y="1188"/>
                </a:cubicBezTo>
                <a:cubicBezTo>
                  <a:pt x="2365" y="1188"/>
                  <a:pt x="2367" y="1188"/>
                  <a:pt x="2369" y="1188"/>
                </a:cubicBezTo>
                <a:cubicBezTo>
                  <a:pt x="2369" y="1187"/>
                  <a:pt x="2369" y="1186"/>
                  <a:pt x="2369" y="1185"/>
                </a:cubicBezTo>
                <a:cubicBezTo>
                  <a:pt x="2368" y="1185"/>
                  <a:pt x="2367" y="1184"/>
                  <a:pt x="2366" y="1184"/>
                </a:cubicBezTo>
                <a:close/>
                <a:moveTo>
                  <a:pt x="2369" y="1188"/>
                </a:moveTo>
                <a:cubicBezTo>
                  <a:pt x="2369" y="1189"/>
                  <a:pt x="2369" y="1189"/>
                  <a:pt x="2369" y="1189"/>
                </a:cubicBezTo>
                <a:cubicBezTo>
                  <a:pt x="2369" y="1188"/>
                  <a:pt x="2369" y="1188"/>
                  <a:pt x="2369" y="1188"/>
                </a:cubicBezTo>
                <a:cubicBezTo>
                  <a:pt x="2369" y="1188"/>
                  <a:pt x="2369" y="1188"/>
                  <a:pt x="2369" y="1188"/>
                </a:cubicBezTo>
                <a:cubicBezTo>
                  <a:pt x="2369" y="1188"/>
                  <a:pt x="2369" y="1188"/>
                  <a:pt x="2369" y="1188"/>
                </a:cubicBezTo>
                <a:close/>
                <a:moveTo>
                  <a:pt x="3986" y="2394"/>
                </a:moveTo>
                <a:cubicBezTo>
                  <a:pt x="3986" y="2393"/>
                  <a:pt x="3986" y="2392"/>
                  <a:pt x="3987" y="2391"/>
                </a:cubicBezTo>
                <a:cubicBezTo>
                  <a:pt x="3987" y="2391"/>
                  <a:pt x="3987" y="2390"/>
                  <a:pt x="3987" y="2390"/>
                </a:cubicBezTo>
                <a:cubicBezTo>
                  <a:pt x="3986" y="2389"/>
                  <a:pt x="3986" y="2387"/>
                  <a:pt x="3985" y="2387"/>
                </a:cubicBezTo>
                <a:cubicBezTo>
                  <a:pt x="3984" y="2387"/>
                  <a:pt x="3983" y="2388"/>
                  <a:pt x="3982" y="2389"/>
                </a:cubicBezTo>
                <a:cubicBezTo>
                  <a:pt x="3982" y="2390"/>
                  <a:pt x="3981" y="2391"/>
                  <a:pt x="3981" y="2393"/>
                </a:cubicBezTo>
                <a:cubicBezTo>
                  <a:pt x="3981" y="2394"/>
                  <a:pt x="3982" y="2395"/>
                  <a:pt x="3983" y="2395"/>
                </a:cubicBezTo>
                <a:cubicBezTo>
                  <a:pt x="3984" y="2396"/>
                  <a:pt x="3985" y="2395"/>
                  <a:pt x="3986" y="2394"/>
                </a:cubicBezTo>
                <a:close/>
                <a:moveTo>
                  <a:pt x="3850" y="1764"/>
                </a:moveTo>
                <a:cubicBezTo>
                  <a:pt x="3850" y="1763"/>
                  <a:pt x="3851" y="1762"/>
                  <a:pt x="3852" y="1762"/>
                </a:cubicBezTo>
                <a:cubicBezTo>
                  <a:pt x="3852" y="1761"/>
                  <a:pt x="3852" y="1761"/>
                  <a:pt x="3852" y="1760"/>
                </a:cubicBezTo>
                <a:cubicBezTo>
                  <a:pt x="3851" y="1759"/>
                  <a:pt x="3849" y="1758"/>
                  <a:pt x="3848" y="1758"/>
                </a:cubicBezTo>
                <a:cubicBezTo>
                  <a:pt x="3846" y="1759"/>
                  <a:pt x="3845" y="1761"/>
                  <a:pt x="3845" y="1762"/>
                </a:cubicBezTo>
                <a:cubicBezTo>
                  <a:pt x="3846" y="1763"/>
                  <a:pt x="3848" y="1764"/>
                  <a:pt x="3850" y="1764"/>
                </a:cubicBezTo>
                <a:close/>
                <a:moveTo>
                  <a:pt x="1157" y="2417"/>
                </a:moveTo>
                <a:cubicBezTo>
                  <a:pt x="1157" y="2417"/>
                  <a:pt x="1158" y="2417"/>
                  <a:pt x="1158" y="2417"/>
                </a:cubicBezTo>
                <a:cubicBezTo>
                  <a:pt x="1159" y="2417"/>
                  <a:pt x="1159" y="2416"/>
                  <a:pt x="1159" y="2416"/>
                </a:cubicBezTo>
                <a:cubicBezTo>
                  <a:pt x="1159" y="2414"/>
                  <a:pt x="1158" y="2412"/>
                  <a:pt x="1156" y="2411"/>
                </a:cubicBezTo>
                <a:cubicBezTo>
                  <a:pt x="1156" y="2411"/>
                  <a:pt x="1154" y="2412"/>
                  <a:pt x="1154" y="2412"/>
                </a:cubicBezTo>
                <a:cubicBezTo>
                  <a:pt x="1153" y="2414"/>
                  <a:pt x="1154" y="2416"/>
                  <a:pt x="1157" y="2417"/>
                </a:cubicBezTo>
                <a:close/>
                <a:moveTo>
                  <a:pt x="3959" y="1940"/>
                </a:moveTo>
                <a:cubicBezTo>
                  <a:pt x="3960" y="1941"/>
                  <a:pt x="3962" y="1941"/>
                  <a:pt x="3962" y="1942"/>
                </a:cubicBezTo>
                <a:cubicBezTo>
                  <a:pt x="3964" y="1941"/>
                  <a:pt x="3965" y="1941"/>
                  <a:pt x="3965" y="1940"/>
                </a:cubicBezTo>
                <a:cubicBezTo>
                  <a:pt x="3965" y="1940"/>
                  <a:pt x="3965" y="1938"/>
                  <a:pt x="3964" y="1938"/>
                </a:cubicBezTo>
                <a:cubicBezTo>
                  <a:pt x="3964" y="1937"/>
                  <a:pt x="3963" y="1937"/>
                  <a:pt x="3962" y="1937"/>
                </a:cubicBezTo>
                <a:cubicBezTo>
                  <a:pt x="3960" y="1936"/>
                  <a:pt x="3959" y="1938"/>
                  <a:pt x="3959" y="1940"/>
                </a:cubicBezTo>
                <a:close/>
                <a:moveTo>
                  <a:pt x="1716" y="94"/>
                </a:moveTo>
                <a:cubicBezTo>
                  <a:pt x="1716" y="94"/>
                  <a:pt x="1717" y="93"/>
                  <a:pt x="1717" y="93"/>
                </a:cubicBezTo>
                <a:cubicBezTo>
                  <a:pt x="1717" y="90"/>
                  <a:pt x="1716" y="88"/>
                  <a:pt x="1714" y="88"/>
                </a:cubicBezTo>
                <a:cubicBezTo>
                  <a:pt x="1713" y="88"/>
                  <a:pt x="1713" y="88"/>
                  <a:pt x="1713" y="89"/>
                </a:cubicBezTo>
                <a:cubicBezTo>
                  <a:pt x="1711" y="90"/>
                  <a:pt x="1712" y="91"/>
                  <a:pt x="1713" y="93"/>
                </a:cubicBezTo>
                <a:cubicBezTo>
                  <a:pt x="1714" y="93"/>
                  <a:pt x="1715" y="94"/>
                  <a:pt x="1716" y="94"/>
                </a:cubicBezTo>
                <a:close/>
                <a:moveTo>
                  <a:pt x="4380" y="1981"/>
                </a:moveTo>
                <a:cubicBezTo>
                  <a:pt x="4381" y="1981"/>
                  <a:pt x="4382" y="1981"/>
                  <a:pt x="4383" y="1980"/>
                </a:cubicBezTo>
                <a:cubicBezTo>
                  <a:pt x="4383" y="1980"/>
                  <a:pt x="4383" y="1979"/>
                  <a:pt x="4383" y="1978"/>
                </a:cubicBezTo>
                <a:cubicBezTo>
                  <a:pt x="4382" y="1977"/>
                  <a:pt x="4381" y="1976"/>
                  <a:pt x="4380" y="1974"/>
                </a:cubicBezTo>
                <a:cubicBezTo>
                  <a:pt x="4380" y="1974"/>
                  <a:pt x="4379" y="1974"/>
                  <a:pt x="4379" y="1974"/>
                </a:cubicBezTo>
                <a:cubicBezTo>
                  <a:pt x="4379" y="1974"/>
                  <a:pt x="4378" y="1974"/>
                  <a:pt x="4378" y="1975"/>
                </a:cubicBezTo>
                <a:cubicBezTo>
                  <a:pt x="4377" y="1978"/>
                  <a:pt x="4378" y="1981"/>
                  <a:pt x="4380" y="1981"/>
                </a:cubicBezTo>
                <a:close/>
                <a:moveTo>
                  <a:pt x="2644" y="490"/>
                </a:moveTo>
                <a:cubicBezTo>
                  <a:pt x="2643" y="491"/>
                  <a:pt x="2642" y="491"/>
                  <a:pt x="2641" y="492"/>
                </a:cubicBezTo>
                <a:cubicBezTo>
                  <a:pt x="2641" y="492"/>
                  <a:pt x="2641" y="493"/>
                  <a:pt x="2641" y="493"/>
                </a:cubicBezTo>
                <a:cubicBezTo>
                  <a:pt x="2643" y="495"/>
                  <a:pt x="2644" y="496"/>
                  <a:pt x="2646" y="497"/>
                </a:cubicBezTo>
                <a:cubicBezTo>
                  <a:pt x="2646" y="498"/>
                  <a:pt x="2648" y="498"/>
                  <a:pt x="2649" y="498"/>
                </a:cubicBezTo>
                <a:cubicBezTo>
                  <a:pt x="2650" y="497"/>
                  <a:pt x="2650" y="495"/>
                  <a:pt x="2649" y="494"/>
                </a:cubicBezTo>
                <a:cubicBezTo>
                  <a:pt x="2647" y="492"/>
                  <a:pt x="2646" y="490"/>
                  <a:pt x="2644" y="490"/>
                </a:cubicBezTo>
                <a:close/>
                <a:moveTo>
                  <a:pt x="3584" y="1679"/>
                </a:moveTo>
                <a:cubicBezTo>
                  <a:pt x="3583" y="1678"/>
                  <a:pt x="3582" y="1677"/>
                  <a:pt x="3581" y="1677"/>
                </a:cubicBezTo>
                <a:cubicBezTo>
                  <a:pt x="3579" y="1677"/>
                  <a:pt x="3578" y="1679"/>
                  <a:pt x="3579" y="1681"/>
                </a:cubicBezTo>
                <a:cubicBezTo>
                  <a:pt x="3579" y="1681"/>
                  <a:pt x="3580" y="1682"/>
                  <a:pt x="3581" y="1682"/>
                </a:cubicBezTo>
                <a:cubicBezTo>
                  <a:pt x="3582" y="1683"/>
                  <a:pt x="3584" y="1681"/>
                  <a:pt x="3584" y="1679"/>
                </a:cubicBezTo>
                <a:close/>
                <a:moveTo>
                  <a:pt x="3795" y="1537"/>
                </a:moveTo>
                <a:cubicBezTo>
                  <a:pt x="3794" y="1537"/>
                  <a:pt x="3793" y="1537"/>
                  <a:pt x="3793" y="1538"/>
                </a:cubicBezTo>
                <a:cubicBezTo>
                  <a:pt x="3791" y="1539"/>
                  <a:pt x="3792" y="1541"/>
                  <a:pt x="3794" y="1541"/>
                </a:cubicBezTo>
                <a:cubicBezTo>
                  <a:pt x="3795" y="1541"/>
                  <a:pt x="3795" y="1540"/>
                  <a:pt x="3796" y="1540"/>
                </a:cubicBezTo>
                <a:cubicBezTo>
                  <a:pt x="3797" y="1538"/>
                  <a:pt x="3796" y="1537"/>
                  <a:pt x="3795" y="1537"/>
                </a:cubicBezTo>
                <a:close/>
                <a:moveTo>
                  <a:pt x="1282" y="1542"/>
                </a:moveTo>
                <a:cubicBezTo>
                  <a:pt x="1282" y="1541"/>
                  <a:pt x="1281" y="1541"/>
                  <a:pt x="1280" y="1541"/>
                </a:cubicBezTo>
                <a:cubicBezTo>
                  <a:pt x="1279" y="1541"/>
                  <a:pt x="1279" y="1542"/>
                  <a:pt x="1279" y="1542"/>
                </a:cubicBezTo>
                <a:cubicBezTo>
                  <a:pt x="1278" y="1543"/>
                  <a:pt x="1279" y="1544"/>
                  <a:pt x="1280" y="1544"/>
                </a:cubicBezTo>
                <a:cubicBezTo>
                  <a:pt x="1280" y="1544"/>
                  <a:pt x="1281" y="1543"/>
                  <a:pt x="1282" y="1542"/>
                </a:cubicBezTo>
                <a:close/>
                <a:moveTo>
                  <a:pt x="4244" y="1833"/>
                </a:moveTo>
                <a:cubicBezTo>
                  <a:pt x="4244" y="1833"/>
                  <a:pt x="4244" y="1833"/>
                  <a:pt x="4244" y="1833"/>
                </a:cubicBezTo>
                <a:cubicBezTo>
                  <a:pt x="4244" y="1833"/>
                  <a:pt x="4244" y="1833"/>
                  <a:pt x="4244" y="1833"/>
                </a:cubicBezTo>
                <a:cubicBezTo>
                  <a:pt x="4244" y="1833"/>
                  <a:pt x="4244" y="1833"/>
                  <a:pt x="4244" y="1833"/>
                </a:cubicBezTo>
                <a:cubicBezTo>
                  <a:pt x="4244" y="1833"/>
                  <a:pt x="4244" y="1833"/>
                  <a:pt x="4244" y="1833"/>
                </a:cubicBezTo>
                <a:close/>
                <a:moveTo>
                  <a:pt x="4251" y="1840"/>
                </a:moveTo>
                <a:cubicBezTo>
                  <a:pt x="4251" y="1840"/>
                  <a:pt x="4252" y="1839"/>
                  <a:pt x="4253" y="1838"/>
                </a:cubicBezTo>
                <a:cubicBezTo>
                  <a:pt x="4253" y="1838"/>
                  <a:pt x="4253" y="1837"/>
                  <a:pt x="4252" y="1837"/>
                </a:cubicBezTo>
                <a:cubicBezTo>
                  <a:pt x="4251" y="1834"/>
                  <a:pt x="4248" y="1832"/>
                  <a:pt x="4244" y="1833"/>
                </a:cubicBezTo>
                <a:cubicBezTo>
                  <a:pt x="4245" y="1837"/>
                  <a:pt x="4247" y="1839"/>
                  <a:pt x="4251" y="1840"/>
                </a:cubicBezTo>
                <a:close/>
                <a:moveTo>
                  <a:pt x="1182" y="258"/>
                </a:moveTo>
                <a:cubicBezTo>
                  <a:pt x="1180" y="258"/>
                  <a:pt x="1179" y="260"/>
                  <a:pt x="1179" y="262"/>
                </a:cubicBezTo>
                <a:cubicBezTo>
                  <a:pt x="1179" y="263"/>
                  <a:pt x="1180" y="263"/>
                  <a:pt x="1180" y="264"/>
                </a:cubicBezTo>
                <a:cubicBezTo>
                  <a:pt x="1182" y="264"/>
                  <a:pt x="1185" y="261"/>
                  <a:pt x="1184" y="259"/>
                </a:cubicBezTo>
                <a:cubicBezTo>
                  <a:pt x="1183" y="259"/>
                  <a:pt x="1183" y="258"/>
                  <a:pt x="1182" y="258"/>
                </a:cubicBezTo>
                <a:close/>
                <a:moveTo>
                  <a:pt x="3838" y="1307"/>
                </a:moveTo>
                <a:cubicBezTo>
                  <a:pt x="3838" y="1307"/>
                  <a:pt x="3838" y="1306"/>
                  <a:pt x="3837" y="1306"/>
                </a:cubicBezTo>
                <a:cubicBezTo>
                  <a:pt x="3836" y="1305"/>
                  <a:pt x="3835" y="1305"/>
                  <a:pt x="3834" y="1306"/>
                </a:cubicBezTo>
                <a:cubicBezTo>
                  <a:pt x="3833" y="1307"/>
                  <a:pt x="3833" y="1310"/>
                  <a:pt x="3834" y="1310"/>
                </a:cubicBezTo>
                <a:cubicBezTo>
                  <a:pt x="3835" y="1309"/>
                  <a:pt x="3836" y="1309"/>
                  <a:pt x="3837" y="1308"/>
                </a:cubicBezTo>
                <a:cubicBezTo>
                  <a:pt x="3837" y="1308"/>
                  <a:pt x="3838" y="1307"/>
                  <a:pt x="3838" y="1307"/>
                </a:cubicBezTo>
                <a:close/>
                <a:moveTo>
                  <a:pt x="1169" y="467"/>
                </a:moveTo>
                <a:cubicBezTo>
                  <a:pt x="1169" y="468"/>
                  <a:pt x="1170" y="470"/>
                  <a:pt x="1172" y="471"/>
                </a:cubicBezTo>
                <a:cubicBezTo>
                  <a:pt x="1175" y="471"/>
                  <a:pt x="1177" y="470"/>
                  <a:pt x="1178" y="467"/>
                </a:cubicBezTo>
                <a:cubicBezTo>
                  <a:pt x="1176" y="467"/>
                  <a:pt x="1174" y="466"/>
                  <a:pt x="1172" y="466"/>
                </a:cubicBezTo>
                <a:cubicBezTo>
                  <a:pt x="1171" y="466"/>
                  <a:pt x="1170" y="467"/>
                  <a:pt x="1169" y="467"/>
                </a:cubicBezTo>
                <a:close/>
                <a:moveTo>
                  <a:pt x="1178" y="467"/>
                </a:moveTo>
                <a:cubicBezTo>
                  <a:pt x="1178" y="467"/>
                  <a:pt x="1178" y="467"/>
                  <a:pt x="1178" y="467"/>
                </a:cubicBezTo>
                <a:cubicBezTo>
                  <a:pt x="1178" y="467"/>
                  <a:pt x="1178" y="467"/>
                  <a:pt x="1178" y="467"/>
                </a:cubicBezTo>
                <a:cubicBezTo>
                  <a:pt x="1178" y="467"/>
                  <a:pt x="1178" y="467"/>
                  <a:pt x="1178" y="467"/>
                </a:cubicBezTo>
                <a:cubicBezTo>
                  <a:pt x="1178" y="467"/>
                  <a:pt x="1178" y="467"/>
                  <a:pt x="1178" y="467"/>
                </a:cubicBezTo>
                <a:close/>
                <a:moveTo>
                  <a:pt x="1430" y="257"/>
                </a:moveTo>
                <a:cubicBezTo>
                  <a:pt x="1429" y="255"/>
                  <a:pt x="1427" y="255"/>
                  <a:pt x="1425" y="255"/>
                </a:cubicBezTo>
                <a:cubicBezTo>
                  <a:pt x="1425" y="255"/>
                  <a:pt x="1424" y="256"/>
                  <a:pt x="1424" y="256"/>
                </a:cubicBezTo>
                <a:cubicBezTo>
                  <a:pt x="1424" y="257"/>
                  <a:pt x="1424" y="257"/>
                  <a:pt x="1424" y="258"/>
                </a:cubicBezTo>
                <a:cubicBezTo>
                  <a:pt x="1424" y="259"/>
                  <a:pt x="1426" y="260"/>
                  <a:pt x="1428" y="260"/>
                </a:cubicBezTo>
                <a:cubicBezTo>
                  <a:pt x="1428" y="260"/>
                  <a:pt x="1429" y="259"/>
                  <a:pt x="1430" y="258"/>
                </a:cubicBezTo>
                <a:cubicBezTo>
                  <a:pt x="1430" y="258"/>
                  <a:pt x="1430" y="257"/>
                  <a:pt x="1430" y="257"/>
                </a:cubicBezTo>
                <a:close/>
                <a:moveTo>
                  <a:pt x="3961" y="1763"/>
                </a:moveTo>
                <a:cubicBezTo>
                  <a:pt x="3962" y="1764"/>
                  <a:pt x="3962" y="1764"/>
                  <a:pt x="3963" y="1764"/>
                </a:cubicBezTo>
                <a:cubicBezTo>
                  <a:pt x="3964" y="1764"/>
                  <a:pt x="3966" y="1764"/>
                  <a:pt x="3967" y="1762"/>
                </a:cubicBezTo>
                <a:cubicBezTo>
                  <a:pt x="3966" y="1762"/>
                  <a:pt x="3964" y="1761"/>
                  <a:pt x="3963" y="1761"/>
                </a:cubicBezTo>
                <a:cubicBezTo>
                  <a:pt x="3962" y="1761"/>
                  <a:pt x="3962" y="1761"/>
                  <a:pt x="3961" y="1761"/>
                </a:cubicBezTo>
                <a:cubicBezTo>
                  <a:pt x="3961" y="1761"/>
                  <a:pt x="3960" y="1762"/>
                  <a:pt x="3960" y="1762"/>
                </a:cubicBezTo>
                <a:cubicBezTo>
                  <a:pt x="3960" y="1763"/>
                  <a:pt x="3961" y="1763"/>
                  <a:pt x="3961" y="1763"/>
                </a:cubicBezTo>
                <a:close/>
                <a:moveTo>
                  <a:pt x="2423" y="1156"/>
                </a:moveTo>
                <a:cubicBezTo>
                  <a:pt x="2424" y="1155"/>
                  <a:pt x="2424" y="1154"/>
                  <a:pt x="2422" y="1154"/>
                </a:cubicBezTo>
                <a:cubicBezTo>
                  <a:pt x="2422" y="1153"/>
                  <a:pt x="2421" y="1154"/>
                  <a:pt x="2421" y="1154"/>
                </a:cubicBezTo>
                <a:cubicBezTo>
                  <a:pt x="2420" y="1155"/>
                  <a:pt x="2420" y="1156"/>
                  <a:pt x="2421" y="1156"/>
                </a:cubicBezTo>
                <a:cubicBezTo>
                  <a:pt x="2422" y="1157"/>
                  <a:pt x="2422" y="1157"/>
                  <a:pt x="2423" y="1156"/>
                </a:cubicBezTo>
                <a:close/>
                <a:moveTo>
                  <a:pt x="2920" y="228"/>
                </a:moveTo>
                <a:cubicBezTo>
                  <a:pt x="2921" y="228"/>
                  <a:pt x="2922" y="228"/>
                  <a:pt x="2923" y="227"/>
                </a:cubicBezTo>
                <a:cubicBezTo>
                  <a:pt x="2924" y="225"/>
                  <a:pt x="2923" y="224"/>
                  <a:pt x="2921" y="223"/>
                </a:cubicBezTo>
                <a:cubicBezTo>
                  <a:pt x="2920" y="223"/>
                  <a:pt x="2919" y="223"/>
                  <a:pt x="2919" y="224"/>
                </a:cubicBezTo>
                <a:cubicBezTo>
                  <a:pt x="2918" y="226"/>
                  <a:pt x="2919" y="228"/>
                  <a:pt x="2920" y="228"/>
                </a:cubicBezTo>
                <a:close/>
                <a:moveTo>
                  <a:pt x="4255" y="1856"/>
                </a:moveTo>
                <a:cubicBezTo>
                  <a:pt x="4256" y="1856"/>
                  <a:pt x="4257" y="1856"/>
                  <a:pt x="4258" y="1855"/>
                </a:cubicBezTo>
                <a:cubicBezTo>
                  <a:pt x="4258" y="1855"/>
                  <a:pt x="4258" y="1853"/>
                  <a:pt x="4258" y="1853"/>
                </a:cubicBezTo>
                <a:cubicBezTo>
                  <a:pt x="4256" y="1850"/>
                  <a:pt x="4254" y="1850"/>
                  <a:pt x="4251" y="1850"/>
                </a:cubicBezTo>
                <a:cubicBezTo>
                  <a:pt x="4251" y="1853"/>
                  <a:pt x="4252" y="1855"/>
                  <a:pt x="4255" y="1856"/>
                </a:cubicBezTo>
                <a:close/>
                <a:moveTo>
                  <a:pt x="470" y="773"/>
                </a:moveTo>
                <a:cubicBezTo>
                  <a:pt x="470" y="773"/>
                  <a:pt x="471" y="772"/>
                  <a:pt x="471" y="771"/>
                </a:cubicBezTo>
                <a:cubicBezTo>
                  <a:pt x="471" y="769"/>
                  <a:pt x="469" y="768"/>
                  <a:pt x="468" y="768"/>
                </a:cubicBezTo>
                <a:cubicBezTo>
                  <a:pt x="467" y="768"/>
                  <a:pt x="467" y="770"/>
                  <a:pt x="468" y="772"/>
                </a:cubicBezTo>
                <a:cubicBezTo>
                  <a:pt x="468" y="773"/>
                  <a:pt x="469" y="773"/>
                  <a:pt x="470" y="773"/>
                </a:cubicBezTo>
                <a:close/>
                <a:moveTo>
                  <a:pt x="3434" y="203"/>
                </a:moveTo>
                <a:cubicBezTo>
                  <a:pt x="3435" y="206"/>
                  <a:pt x="3438" y="207"/>
                  <a:pt x="3441" y="207"/>
                </a:cubicBezTo>
                <a:cubicBezTo>
                  <a:pt x="3441" y="207"/>
                  <a:pt x="3442" y="206"/>
                  <a:pt x="3442" y="205"/>
                </a:cubicBezTo>
                <a:cubicBezTo>
                  <a:pt x="3442" y="205"/>
                  <a:pt x="3442" y="204"/>
                  <a:pt x="3441" y="204"/>
                </a:cubicBezTo>
                <a:cubicBezTo>
                  <a:pt x="3439" y="202"/>
                  <a:pt x="3437" y="202"/>
                  <a:pt x="3434" y="203"/>
                </a:cubicBezTo>
                <a:close/>
                <a:moveTo>
                  <a:pt x="3963" y="1753"/>
                </a:moveTo>
                <a:cubicBezTo>
                  <a:pt x="3963" y="1753"/>
                  <a:pt x="3964" y="1752"/>
                  <a:pt x="3964" y="1752"/>
                </a:cubicBezTo>
                <a:cubicBezTo>
                  <a:pt x="3964" y="1750"/>
                  <a:pt x="3962" y="1748"/>
                  <a:pt x="3960" y="1748"/>
                </a:cubicBezTo>
                <a:cubicBezTo>
                  <a:pt x="3959" y="1748"/>
                  <a:pt x="3958" y="1749"/>
                  <a:pt x="3958" y="1749"/>
                </a:cubicBezTo>
                <a:cubicBezTo>
                  <a:pt x="3959" y="1750"/>
                  <a:pt x="3959" y="1752"/>
                  <a:pt x="3960" y="1753"/>
                </a:cubicBezTo>
                <a:cubicBezTo>
                  <a:pt x="3961" y="1753"/>
                  <a:pt x="3962" y="1753"/>
                  <a:pt x="3963" y="1753"/>
                </a:cubicBezTo>
                <a:close/>
                <a:moveTo>
                  <a:pt x="1337" y="292"/>
                </a:moveTo>
                <a:cubicBezTo>
                  <a:pt x="1337" y="292"/>
                  <a:pt x="1337" y="292"/>
                  <a:pt x="1337" y="292"/>
                </a:cubicBezTo>
                <a:cubicBezTo>
                  <a:pt x="1337" y="292"/>
                  <a:pt x="1337" y="292"/>
                  <a:pt x="1337" y="292"/>
                </a:cubicBezTo>
                <a:cubicBezTo>
                  <a:pt x="1337" y="292"/>
                  <a:pt x="1337" y="292"/>
                  <a:pt x="1337" y="292"/>
                </a:cubicBezTo>
                <a:cubicBezTo>
                  <a:pt x="1337" y="292"/>
                  <a:pt x="1337" y="292"/>
                  <a:pt x="1337" y="292"/>
                </a:cubicBezTo>
                <a:close/>
                <a:moveTo>
                  <a:pt x="1333" y="293"/>
                </a:moveTo>
                <a:cubicBezTo>
                  <a:pt x="1331" y="295"/>
                  <a:pt x="1332" y="297"/>
                  <a:pt x="1333" y="297"/>
                </a:cubicBezTo>
                <a:cubicBezTo>
                  <a:pt x="1334" y="297"/>
                  <a:pt x="1336" y="297"/>
                  <a:pt x="1336" y="296"/>
                </a:cubicBezTo>
                <a:cubicBezTo>
                  <a:pt x="1336" y="295"/>
                  <a:pt x="1336" y="293"/>
                  <a:pt x="1337" y="292"/>
                </a:cubicBezTo>
                <a:cubicBezTo>
                  <a:pt x="1335" y="292"/>
                  <a:pt x="1334" y="292"/>
                  <a:pt x="1333" y="293"/>
                </a:cubicBezTo>
                <a:close/>
                <a:moveTo>
                  <a:pt x="4116" y="1766"/>
                </a:moveTo>
                <a:cubicBezTo>
                  <a:pt x="4116" y="1766"/>
                  <a:pt x="4116" y="1765"/>
                  <a:pt x="4116" y="1765"/>
                </a:cubicBezTo>
                <a:cubicBezTo>
                  <a:pt x="4115" y="1764"/>
                  <a:pt x="4113" y="1764"/>
                  <a:pt x="4111" y="1764"/>
                </a:cubicBezTo>
                <a:cubicBezTo>
                  <a:pt x="4111" y="1764"/>
                  <a:pt x="4110" y="1765"/>
                  <a:pt x="4110" y="1765"/>
                </a:cubicBezTo>
                <a:cubicBezTo>
                  <a:pt x="4110" y="1766"/>
                  <a:pt x="4110" y="1767"/>
                  <a:pt x="4111" y="1767"/>
                </a:cubicBezTo>
                <a:cubicBezTo>
                  <a:pt x="4113" y="1769"/>
                  <a:pt x="4115" y="1769"/>
                  <a:pt x="4116" y="1766"/>
                </a:cubicBezTo>
                <a:close/>
                <a:moveTo>
                  <a:pt x="4371" y="2055"/>
                </a:moveTo>
                <a:cubicBezTo>
                  <a:pt x="4371" y="2054"/>
                  <a:pt x="4370" y="2053"/>
                  <a:pt x="4370" y="2052"/>
                </a:cubicBezTo>
                <a:cubicBezTo>
                  <a:pt x="4369" y="2051"/>
                  <a:pt x="4368" y="2051"/>
                  <a:pt x="4368" y="2052"/>
                </a:cubicBezTo>
                <a:cubicBezTo>
                  <a:pt x="4367" y="2052"/>
                  <a:pt x="4367" y="2052"/>
                  <a:pt x="4367" y="2053"/>
                </a:cubicBezTo>
                <a:cubicBezTo>
                  <a:pt x="4367" y="2054"/>
                  <a:pt x="4367" y="2055"/>
                  <a:pt x="4368" y="2056"/>
                </a:cubicBezTo>
                <a:cubicBezTo>
                  <a:pt x="4369" y="2057"/>
                  <a:pt x="4370" y="2056"/>
                  <a:pt x="4371" y="2055"/>
                </a:cubicBezTo>
                <a:close/>
                <a:moveTo>
                  <a:pt x="1554" y="532"/>
                </a:moveTo>
                <a:cubicBezTo>
                  <a:pt x="1554" y="531"/>
                  <a:pt x="1553" y="531"/>
                  <a:pt x="1552" y="531"/>
                </a:cubicBezTo>
                <a:cubicBezTo>
                  <a:pt x="1551" y="531"/>
                  <a:pt x="1551" y="532"/>
                  <a:pt x="1551" y="532"/>
                </a:cubicBezTo>
                <a:cubicBezTo>
                  <a:pt x="1551" y="533"/>
                  <a:pt x="1551" y="534"/>
                  <a:pt x="1551" y="535"/>
                </a:cubicBezTo>
                <a:cubicBezTo>
                  <a:pt x="1552" y="535"/>
                  <a:pt x="1554" y="536"/>
                  <a:pt x="1555" y="536"/>
                </a:cubicBezTo>
                <a:cubicBezTo>
                  <a:pt x="1555" y="536"/>
                  <a:pt x="1555" y="535"/>
                  <a:pt x="1555" y="534"/>
                </a:cubicBezTo>
                <a:cubicBezTo>
                  <a:pt x="1555" y="533"/>
                  <a:pt x="1554" y="533"/>
                  <a:pt x="1554" y="532"/>
                </a:cubicBezTo>
                <a:close/>
                <a:moveTo>
                  <a:pt x="1164" y="2426"/>
                </a:moveTo>
                <a:cubicBezTo>
                  <a:pt x="1164" y="2425"/>
                  <a:pt x="1163" y="2424"/>
                  <a:pt x="1162" y="2424"/>
                </a:cubicBezTo>
                <a:cubicBezTo>
                  <a:pt x="1161" y="2424"/>
                  <a:pt x="1160" y="2425"/>
                  <a:pt x="1160" y="2426"/>
                </a:cubicBezTo>
                <a:cubicBezTo>
                  <a:pt x="1161" y="2428"/>
                  <a:pt x="1161" y="2430"/>
                  <a:pt x="1162" y="2432"/>
                </a:cubicBezTo>
                <a:cubicBezTo>
                  <a:pt x="1163" y="2431"/>
                  <a:pt x="1164" y="2430"/>
                  <a:pt x="1165" y="2429"/>
                </a:cubicBezTo>
                <a:cubicBezTo>
                  <a:pt x="1165" y="2428"/>
                  <a:pt x="1165" y="2426"/>
                  <a:pt x="1164" y="2426"/>
                </a:cubicBezTo>
                <a:close/>
                <a:moveTo>
                  <a:pt x="1162" y="2432"/>
                </a:moveTo>
                <a:cubicBezTo>
                  <a:pt x="1162" y="2432"/>
                  <a:pt x="1162" y="2432"/>
                  <a:pt x="1162" y="2432"/>
                </a:cubicBezTo>
                <a:cubicBezTo>
                  <a:pt x="1162" y="2432"/>
                  <a:pt x="1162" y="2432"/>
                  <a:pt x="1162" y="2432"/>
                </a:cubicBezTo>
                <a:cubicBezTo>
                  <a:pt x="1162" y="2432"/>
                  <a:pt x="1162" y="2432"/>
                  <a:pt x="1162" y="2432"/>
                </a:cubicBezTo>
                <a:cubicBezTo>
                  <a:pt x="1162" y="2432"/>
                  <a:pt x="1162" y="2432"/>
                  <a:pt x="1162" y="2432"/>
                </a:cubicBezTo>
                <a:close/>
                <a:moveTo>
                  <a:pt x="3085" y="177"/>
                </a:moveTo>
                <a:cubicBezTo>
                  <a:pt x="3086" y="177"/>
                  <a:pt x="3087" y="177"/>
                  <a:pt x="3087" y="176"/>
                </a:cubicBezTo>
                <a:cubicBezTo>
                  <a:pt x="3088" y="175"/>
                  <a:pt x="3088" y="173"/>
                  <a:pt x="3086" y="172"/>
                </a:cubicBezTo>
                <a:cubicBezTo>
                  <a:pt x="3085" y="171"/>
                  <a:pt x="3084" y="172"/>
                  <a:pt x="3083" y="173"/>
                </a:cubicBezTo>
                <a:cubicBezTo>
                  <a:pt x="3083" y="175"/>
                  <a:pt x="3083" y="176"/>
                  <a:pt x="3085" y="177"/>
                </a:cubicBezTo>
                <a:close/>
                <a:moveTo>
                  <a:pt x="1726" y="72"/>
                </a:moveTo>
                <a:cubicBezTo>
                  <a:pt x="1727" y="72"/>
                  <a:pt x="1728" y="71"/>
                  <a:pt x="1727" y="70"/>
                </a:cubicBezTo>
                <a:cubicBezTo>
                  <a:pt x="1727" y="69"/>
                  <a:pt x="1726" y="68"/>
                  <a:pt x="1725" y="68"/>
                </a:cubicBezTo>
                <a:cubicBezTo>
                  <a:pt x="1725" y="68"/>
                  <a:pt x="1724" y="68"/>
                  <a:pt x="1724" y="68"/>
                </a:cubicBezTo>
                <a:cubicBezTo>
                  <a:pt x="1723" y="69"/>
                  <a:pt x="1722" y="70"/>
                  <a:pt x="1723" y="71"/>
                </a:cubicBezTo>
                <a:cubicBezTo>
                  <a:pt x="1724" y="71"/>
                  <a:pt x="1725" y="72"/>
                  <a:pt x="1726" y="72"/>
                </a:cubicBezTo>
                <a:close/>
                <a:moveTo>
                  <a:pt x="2512" y="148"/>
                </a:moveTo>
                <a:cubicBezTo>
                  <a:pt x="2512" y="148"/>
                  <a:pt x="2513" y="147"/>
                  <a:pt x="2513" y="147"/>
                </a:cubicBezTo>
                <a:cubicBezTo>
                  <a:pt x="2513" y="146"/>
                  <a:pt x="2513" y="145"/>
                  <a:pt x="2511" y="145"/>
                </a:cubicBezTo>
                <a:cubicBezTo>
                  <a:pt x="2510" y="145"/>
                  <a:pt x="2510" y="145"/>
                  <a:pt x="2510" y="147"/>
                </a:cubicBezTo>
                <a:cubicBezTo>
                  <a:pt x="2510" y="148"/>
                  <a:pt x="2511" y="148"/>
                  <a:pt x="2512" y="148"/>
                </a:cubicBezTo>
                <a:close/>
                <a:moveTo>
                  <a:pt x="4036" y="2397"/>
                </a:moveTo>
                <a:cubicBezTo>
                  <a:pt x="4035" y="2397"/>
                  <a:pt x="4034" y="2399"/>
                  <a:pt x="4034" y="2399"/>
                </a:cubicBezTo>
                <a:cubicBezTo>
                  <a:pt x="4035" y="2400"/>
                  <a:pt x="4035" y="2401"/>
                  <a:pt x="4036" y="2402"/>
                </a:cubicBezTo>
                <a:cubicBezTo>
                  <a:pt x="4037" y="2402"/>
                  <a:pt x="4038" y="2402"/>
                  <a:pt x="4039" y="2401"/>
                </a:cubicBezTo>
                <a:cubicBezTo>
                  <a:pt x="4039" y="2400"/>
                  <a:pt x="4039" y="2399"/>
                  <a:pt x="4038" y="2398"/>
                </a:cubicBezTo>
                <a:cubicBezTo>
                  <a:pt x="4038" y="2397"/>
                  <a:pt x="4037" y="2396"/>
                  <a:pt x="4036" y="2397"/>
                </a:cubicBezTo>
                <a:close/>
                <a:moveTo>
                  <a:pt x="1167" y="2519"/>
                </a:moveTo>
                <a:cubicBezTo>
                  <a:pt x="1166" y="2520"/>
                  <a:pt x="1166" y="2522"/>
                  <a:pt x="1167" y="2523"/>
                </a:cubicBezTo>
                <a:cubicBezTo>
                  <a:pt x="1168" y="2524"/>
                  <a:pt x="1170" y="2524"/>
                  <a:pt x="1171" y="2524"/>
                </a:cubicBezTo>
                <a:cubicBezTo>
                  <a:pt x="1171" y="2522"/>
                  <a:pt x="1171" y="2520"/>
                  <a:pt x="1171" y="2518"/>
                </a:cubicBezTo>
                <a:cubicBezTo>
                  <a:pt x="1170" y="2518"/>
                  <a:pt x="1168" y="2519"/>
                  <a:pt x="1167" y="2519"/>
                </a:cubicBezTo>
                <a:close/>
                <a:moveTo>
                  <a:pt x="4161" y="1875"/>
                </a:moveTo>
                <a:cubicBezTo>
                  <a:pt x="4159" y="1871"/>
                  <a:pt x="4158" y="1870"/>
                  <a:pt x="4154" y="1871"/>
                </a:cubicBezTo>
                <a:cubicBezTo>
                  <a:pt x="4153" y="1872"/>
                  <a:pt x="4152" y="1872"/>
                  <a:pt x="4152" y="1872"/>
                </a:cubicBezTo>
                <a:cubicBezTo>
                  <a:pt x="4155" y="1873"/>
                  <a:pt x="4158" y="1874"/>
                  <a:pt x="4161" y="1876"/>
                </a:cubicBezTo>
                <a:cubicBezTo>
                  <a:pt x="4161" y="1876"/>
                  <a:pt x="4161" y="1875"/>
                  <a:pt x="4161" y="1875"/>
                </a:cubicBezTo>
                <a:close/>
                <a:moveTo>
                  <a:pt x="4152" y="1872"/>
                </a:moveTo>
                <a:cubicBezTo>
                  <a:pt x="4151" y="1872"/>
                  <a:pt x="4151" y="1872"/>
                  <a:pt x="4151" y="1872"/>
                </a:cubicBezTo>
                <a:cubicBezTo>
                  <a:pt x="4151" y="1872"/>
                  <a:pt x="4151" y="1873"/>
                  <a:pt x="4151" y="1873"/>
                </a:cubicBezTo>
                <a:cubicBezTo>
                  <a:pt x="4151" y="1873"/>
                  <a:pt x="4151" y="1873"/>
                  <a:pt x="4151" y="1873"/>
                </a:cubicBezTo>
                <a:cubicBezTo>
                  <a:pt x="4151" y="1873"/>
                  <a:pt x="4151" y="1873"/>
                  <a:pt x="4152" y="1872"/>
                </a:cubicBezTo>
                <a:close/>
                <a:moveTo>
                  <a:pt x="985" y="477"/>
                </a:moveTo>
                <a:cubicBezTo>
                  <a:pt x="985" y="477"/>
                  <a:pt x="986" y="478"/>
                  <a:pt x="986" y="478"/>
                </a:cubicBezTo>
                <a:cubicBezTo>
                  <a:pt x="988" y="478"/>
                  <a:pt x="989" y="477"/>
                  <a:pt x="989" y="476"/>
                </a:cubicBezTo>
                <a:cubicBezTo>
                  <a:pt x="989" y="475"/>
                  <a:pt x="988" y="474"/>
                  <a:pt x="987" y="474"/>
                </a:cubicBezTo>
                <a:cubicBezTo>
                  <a:pt x="985" y="475"/>
                  <a:pt x="985" y="476"/>
                  <a:pt x="985" y="477"/>
                </a:cubicBezTo>
                <a:close/>
                <a:moveTo>
                  <a:pt x="1912" y="1339"/>
                </a:moveTo>
                <a:cubicBezTo>
                  <a:pt x="1912" y="1339"/>
                  <a:pt x="1913" y="1339"/>
                  <a:pt x="1913" y="1339"/>
                </a:cubicBezTo>
                <a:cubicBezTo>
                  <a:pt x="1914" y="1338"/>
                  <a:pt x="1914" y="1338"/>
                  <a:pt x="1915" y="1337"/>
                </a:cubicBezTo>
                <a:cubicBezTo>
                  <a:pt x="1915" y="1336"/>
                  <a:pt x="1914" y="1335"/>
                  <a:pt x="1914" y="1335"/>
                </a:cubicBezTo>
                <a:cubicBezTo>
                  <a:pt x="1913" y="1335"/>
                  <a:pt x="1912" y="1336"/>
                  <a:pt x="1911" y="1337"/>
                </a:cubicBezTo>
                <a:cubicBezTo>
                  <a:pt x="1910" y="1338"/>
                  <a:pt x="1910" y="1339"/>
                  <a:pt x="1912" y="1339"/>
                </a:cubicBezTo>
                <a:close/>
                <a:moveTo>
                  <a:pt x="3822" y="1336"/>
                </a:moveTo>
                <a:cubicBezTo>
                  <a:pt x="3822" y="1336"/>
                  <a:pt x="3821" y="1335"/>
                  <a:pt x="3821" y="1335"/>
                </a:cubicBezTo>
                <a:cubicBezTo>
                  <a:pt x="3819" y="1335"/>
                  <a:pt x="3818" y="1336"/>
                  <a:pt x="3818" y="1338"/>
                </a:cubicBezTo>
                <a:cubicBezTo>
                  <a:pt x="3818" y="1338"/>
                  <a:pt x="3819" y="1339"/>
                  <a:pt x="3819" y="1339"/>
                </a:cubicBezTo>
                <a:cubicBezTo>
                  <a:pt x="3820" y="1339"/>
                  <a:pt x="3820" y="1339"/>
                  <a:pt x="3821" y="1339"/>
                </a:cubicBezTo>
                <a:cubicBezTo>
                  <a:pt x="3821" y="1338"/>
                  <a:pt x="3822" y="1337"/>
                  <a:pt x="3822" y="1336"/>
                </a:cubicBezTo>
                <a:close/>
                <a:moveTo>
                  <a:pt x="1096" y="1391"/>
                </a:moveTo>
                <a:cubicBezTo>
                  <a:pt x="1095" y="1390"/>
                  <a:pt x="1095" y="1390"/>
                  <a:pt x="1094" y="1389"/>
                </a:cubicBezTo>
                <a:cubicBezTo>
                  <a:pt x="1094" y="1390"/>
                  <a:pt x="1093" y="1391"/>
                  <a:pt x="1093" y="1391"/>
                </a:cubicBezTo>
                <a:cubicBezTo>
                  <a:pt x="1093" y="1392"/>
                  <a:pt x="1094" y="1392"/>
                  <a:pt x="1094" y="1392"/>
                </a:cubicBezTo>
                <a:cubicBezTo>
                  <a:pt x="1095" y="1393"/>
                  <a:pt x="1096" y="1392"/>
                  <a:pt x="1096" y="1391"/>
                </a:cubicBezTo>
                <a:close/>
                <a:moveTo>
                  <a:pt x="1064" y="1397"/>
                </a:moveTo>
                <a:cubicBezTo>
                  <a:pt x="1065" y="1397"/>
                  <a:pt x="1065" y="1396"/>
                  <a:pt x="1066" y="1395"/>
                </a:cubicBezTo>
                <a:cubicBezTo>
                  <a:pt x="1065" y="1394"/>
                  <a:pt x="1065" y="1393"/>
                  <a:pt x="1064" y="1393"/>
                </a:cubicBezTo>
                <a:cubicBezTo>
                  <a:pt x="1063" y="1393"/>
                  <a:pt x="1062" y="1394"/>
                  <a:pt x="1062" y="1395"/>
                </a:cubicBezTo>
                <a:cubicBezTo>
                  <a:pt x="1062" y="1396"/>
                  <a:pt x="1063" y="1398"/>
                  <a:pt x="1064" y="1397"/>
                </a:cubicBezTo>
                <a:close/>
                <a:moveTo>
                  <a:pt x="1109" y="1414"/>
                </a:moveTo>
                <a:cubicBezTo>
                  <a:pt x="1109" y="1414"/>
                  <a:pt x="1109" y="1413"/>
                  <a:pt x="1109" y="1413"/>
                </a:cubicBezTo>
                <a:cubicBezTo>
                  <a:pt x="1109" y="1413"/>
                  <a:pt x="1108" y="1413"/>
                  <a:pt x="1108" y="1413"/>
                </a:cubicBezTo>
                <a:cubicBezTo>
                  <a:pt x="1108" y="1413"/>
                  <a:pt x="1108" y="1413"/>
                  <a:pt x="1108" y="1414"/>
                </a:cubicBezTo>
                <a:cubicBezTo>
                  <a:pt x="1108" y="1414"/>
                  <a:pt x="1109" y="1414"/>
                  <a:pt x="1109" y="1414"/>
                </a:cubicBezTo>
                <a:close/>
                <a:moveTo>
                  <a:pt x="1112" y="1417"/>
                </a:moveTo>
                <a:cubicBezTo>
                  <a:pt x="1112" y="1416"/>
                  <a:pt x="1113" y="1416"/>
                  <a:pt x="1113" y="1416"/>
                </a:cubicBezTo>
                <a:cubicBezTo>
                  <a:pt x="1113" y="1414"/>
                  <a:pt x="1113" y="1414"/>
                  <a:pt x="1111" y="1414"/>
                </a:cubicBezTo>
                <a:cubicBezTo>
                  <a:pt x="1111" y="1413"/>
                  <a:pt x="1110" y="1414"/>
                  <a:pt x="1109" y="1414"/>
                </a:cubicBezTo>
                <a:cubicBezTo>
                  <a:pt x="1109" y="1415"/>
                  <a:pt x="1109" y="1415"/>
                  <a:pt x="1109" y="1416"/>
                </a:cubicBezTo>
                <a:cubicBezTo>
                  <a:pt x="1110" y="1417"/>
                  <a:pt x="1111" y="1418"/>
                  <a:pt x="1112" y="1417"/>
                </a:cubicBezTo>
                <a:close/>
                <a:moveTo>
                  <a:pt x="1538" y="491"/>
                </a:moveTo>
                <a:cubicBezTo>
                  <a:pt x="1538" y="490"/>
                  <a:pt x="1537" y="489"/>
                  <a:pt x="1537" y="488"/>
                </a:cubicBezTo>
                <a:cubicBezTo>
                  <a:pt x="1536" y="489"/>
                  <a:pt x="1535" y="489"/>
                  <a:pt x="1535" y="490"/>
                </a:cubicBezTo>
                <a:cubicBezTo>
                  <a:pt x="1534" y="491"/>
                  <a:pt x="1534" y="492"/>
                  <a:pt x="1535" y="492"/>
                </a:cubicBezTo>
                <a:cubicBezTo>
                  <a:pt x="1536" y="493"/>
                  <a:pt x="1538" y="492"/>
                  <a:pt x="1538" y="491"/>
                </a:cubicBezTo>
                <a:close/>
                <a:moveTo>
                  <a:pt x="989" y="1427"/>
                </a:moveTo>
                <a:cubicBezTo>
                  <a:pt x="988" y="1428"/>
                  <a:pt x="989" y="1429"/>
                  <a:pt x="990" y="1430"/>
                </a:cubicBezTo>
                <a:cubicBezTo>
                  <a:pt x="991" y="1430"/>
                  <a:pt x="992" y="1430"/>
                  <a:pt x="993" y="1428"/>
                </a:cubicBezTo>
                <a:cubicBezTo>
                  <a:pt x="992" y="1427"/>
                  <a:pt x="992" y="1426"/>
                  <a:pt x="992" y="1426"/>
                </a:cubicBezTo>
                <a:cubicBezTo>
                  <a:pt x="991" y="1425"/>
                  <a:pt x="989" y="1426"/>
                  <a:pt x="989" y="1427"/>
                </a:cubicBezTo>
                <a:close/>
                <a:moveTo>
                  <a:pt x="1300" y="1551"/>
                </a:moveTo>
                <a:cubicBezTo>
                  <a:pt x="1300" y="1552"/>
                  <a:pt x="1300" y="1553"/>
                  <a:pt x="1301" y="1553"/>
                </a:cubicBezTo>
                <a:cubicBezTo>
                  <a:pt x="1302" y="1553"/>
                  <a:pt x="1302" y="1552"/>
                  <a:pt x="1303" y="1552"/>
                </a:cubicBezTo>
                <a:cubicBezTo>
                  <a:pt x="1303" y="1551"/>
                  <a:pt x="1302" y="1550"/>
                  <a:pt x="1301" y="1550"/>
                </a:cubicBezTo>
                <a:cubicBezTo>
                  <a:pt x="1301" y="1550"/>
                  <a:pt x="1300" y="1550"/>
                  <a:pt x="1300" y="1551"/>
                </a:cubicBezTo>
                <a:close/>
                <a:moveTo>
                  <a:pt x="1263" y="497"/>
                </a:moveTo>
                <a:cubicBezTo>
                  <a:pt x="1262" y="496"/>
                  <a:pt x="1261" y="496"/>
                  <a:pt x="1260" y="497"/>
                </a:cubicBezTo>
                <a:cubicBezTo>
                  <a:pt x="1260" y="497"/>
                  <a:pt x="1260" y="498"/>
                  <a:pt x="1259" y="498"/>
                </a:cubicBezTo>
                <a:cubicBezTo>
                  <a:pt x="1260" y="499"/>
                  <a:pt x="1261" y="499"/>
                  <a:pt x="1261" y="499"/>
                </a:cubicBezTo>
                <a:cubicBezTo>
                  <a:pt x="1263" y="499"/>
                  <a:pt x="1263" y="498"/>
                  <a:pt x="1263" y="497"/>
                </a:cubicBezTo>
                <a:close/>
                <a:moveTo>
                  <a:pt x="3767" y="1560"/>
                </a:moveTo>
                <a:cubicBezTo>
                  <a:pt x="3767" y="1559"/>
                  <a:pt x="3766" y="1559"/>
                  <a:pt x="3766" y="1558"/>
                </a:cubicBezTo>
                <a:cubicBezTo>
                  <a:pt x="3765" y="1559"/>
                  <a:pt x="3765" y="1559"/>
                  <a:pt x="3764" y="1560"/>
                </a:cubicBezTo>
                <a:cubicBezTo>
                  <a:pt x="3765" y="1560"/>
                  <a:pt x="3765" y="1561"/>
                  <a:pt x="3766" y="1561"/>
                </a:cubicBezTo>
                <a:cubicBezTo>
                  <a:pt x="3766" y="1561"/>
                  <a:pt x="3767" y="1560"/>
                  <a:pt x="3767" y="1560"/>
                </a:cubicBezTo>
                <a:close/>
                <a:moveTo>
                  <a:pt x="3362" y="1569"/>
                </a:moveTo>
                <a:cubicBezTo>
                  <a:pt x="3361" y="1570"/>
                  <a:pt x="3362" y="1573"/>
                  <a:pt x="3363" y="1572"/>
                </a:cubicBezTo>
                <a:cubicBezTo>
                  <a:pt x="3363" y="1572"/>
                  <a:pt x="3364" y="1572"/>
                  <a:pt x="3364" y="1571"/>
                </a:cubicBezTo>
                <a:cubicBezTo>
                  <a:pt x="3364" y="1570"/>
                  <a:pt x="3364" y="1569"/>
                  <a:pt x="3363" y="1569"/>
                </a:cubicBezTo>
                <a:cubicBezTo>
                  <a:pt x="3363" y="1568"/>
                  <a:pt x="3362" y="1568"/>
                  <a:pt x="3362" y="1569"/>
                </a:cubicBezTo>
                <a:close/>
                <a:moveTo>
                  <a:pt x="3771" y="1643"/>
                </a:moveTo>
                <a:cubicBezTo>
                  <a:pt x="3770" y="1642"/>
                  <a:pt x="3769" y="1642"/>
                  <a:pt x="3768" y="1642"/>
                </a:cubicBezTo>
                <a:cubicBezTo>
                  <a:pt x="3767" y="1643"/>
                  <a:pt x="3766" y="1644"/>
                  <a:pt x="3767" y="1645"/>
                </a:cubicBezTo>
                <a:cubicBezTo>
                  <a:pt x="3768" y="1645"/>
                  <a:pt x="3769" y="1646"/>
                  <a:pt x="3770" y="1646"/>
                </a:cubicBezTo>
                <a:cubicBezTo>
                  <a:pt x="3770" y="1645"/>
                  <a:pt x="3771" y="1644"/>
                  <a:pt x="3771" y="1643"/>
                </a:cubicBezTo>
                <a:close/>
                <a:moveTo>
                  <a:pt x="3881" y="1763"/>
                </a:moveTo>
                <a:cubicBezTo>
                  <a:pt x="3880" y="1764"/>
                  <a:pt x="3879" y="1764"/>
                  <a:pt x="3879" y="1765"/>
                </a:cubicBezTo>
                <a:cubicBezTo>
                  <a:pt x="3878" y="1766"/>
                  <a:pt x="3879" y="1766"/>
                  <a:pt x="3880" y="1767"/>
                </a:cubicBezTo>
                <a:cubicBezTo>
                  <a:pt x="3882" y="1767"/>
                  <a:pt x="3883" y="1766"/>
                  <a:pt x="3883" y="1765"/>
                </a:cubicBezTo>
                <a:cubicBezTo>
                  <a:pt x="3883" y="1764"/>
                  <a:pt x="3882" y="1764"/>
                  <a:pt x="3881" y="1763"/>
                </a:cubicBezTo>
                <a:close/>
                <a:moveTo>
                  <a:pt x="1929" y="317"/>
                </a:moveTo>
                <a:cubicBezTo>
                  <a:pt x="1930" y="316"/>
                  <a:pt x="1930" y="316"/>
                  <a:pt x="1931" y="315"/>
                </a:cubicBezTo>
                <a:cubicBezTo>
                  <a:pt x="1931" y="315"/>
                  <a:pt x="1930" y="314"/>
                  <a:pt x="1930" y="314"/>
                </a:cubicBezTo>
                <a:cubicBezTo>
                  <a:pt x="1930" y="315"/>
                  <a:pt x="1929" y="315"/>
                  <a:pt x="1928" y="316"/>
                </a:cubicBezTo>
                <a:cubicBezTo>
                  <a:pt x="1928" y="316"/>
                  <a:pt x="1929" y="316"/>
                  <a:pt x="1929" y="317"/>
                </a:cubicBezTo>
                <a:close/>
                <a:moveTo>
                  <a:pt x="3806" y="1855"/>
                </a:moveTo>
                <a:cubicBezTo>
                  <a:pt x="3806" y="1855"/>
                  <a:pt x="3806" y="1854"/>
                  <a:pt x="3805" y="1854"/>
                </a:cubicBezTo>
                <a:cubicBezTo>
                  <a:pt x="3803" y="1854"/>
                  <a:pt x="3802" y="1854"/>
                  <a:pt x="3802" y="1856"/>
                </a:cubicBezTo>
                <a:cubicBezTo>
                  <a:pt x="3802" y="1856"/>
                  <a:pt x="3803" y="1857"/>
                  <a:pt x="3803" y="1858"/>
                </a:cubicBezTo>
                <a:cubicBezTo>
                  <a:pt x="3805" y="1858"/>
                  <a:pt x="3807" y="1856"/>
                  <a:pt x="3806" y="1855"/>
                </a:cubicBezTo>
                <a:close/>
                <a:moveTo>
                  <a:pt x="4166" y="1879"/>
                </a:moveTo>
                <a:cubicBezTo>
                  <a:pt x="4166" y="1878"/>
                  <a:pt x="4166" y="1878"/>
                  <a:pt x="4165" y="1878"/>
                </a:cubicBezTo>
                <a:cubicBezTo>
                  <a:pt x="4164" y="1877"/>
                  <a:pt x="4163" y="1877"/>
                  <a:pt x="4162" y="1877"/>
                </a:cubicBezTo>
                <a:cubicBezTo>
                  <a:pt x="4163" y="1878"/>
                  <a:pt x="4163" y="1879"/>
                  <a:pt x="4164" y="1880"/>
                </a:cubicBezTo>
                <a:cubicBezTo>
                  <a:pt x="4165" y="1881"/>
                  <a:pt x="4166" y="1880"/>
                  <a:pt x="4166" y="1879"/>
                </a:cubicBezTo>
                <a:close/>
                <a:moveTo>
                  <a:pt x="4162" y="1877"/>
                </a:moveTo>
                <a:cubicBezTo>
                  <a:pt x="4162" y="1877"/>
                  <a:pt x="4162" y="1876"/>
                  <a:pt x="4161" y="1876"/>
                </a:cubicBezTo>
                <a:cubicBezTo>
                  <a:pt x="4161" y="1876"/>
                  <a:pt x="4161" y="1876"/>
                  <a:pt x="4161" y="1876"/>
                </a:cubicBezTo>
                <a:cubicBezTo>
                  <a:pt x="4161" y="1876"/>
                  <a:pt x="4161" y="1876"/>
                  <a:pt x="4161" y="1877"/>
                </a:cubicBezTo>
                <a:cubicBezTo>
                  <a:pt x="4161" y="1877"/>
                  <a:pt x="4162" y="1877"/>
                  <a:pt x="4162" y="1877"/>
                </a:cubicBezTo>
                <a:close/>
                <a:moveTo>
                  <a:pt x="3993" y="1982"/>
                </a:moveTo>
                <a:cubicBezTo>
                  <a:pt x="3993" y="1982"/>
                  <a:pt x="3993" y="1982"/>
                  <a:pt x="3992" y="1982"/>
                </a:cubicBezTo>
                <a:cubicBezTo>
                  <a:pt x="3992" y="1982"/>
                  <a:pt x="3992" y="1982"/>
                  <a:pt x="3992" y="1982"/>
                </a:cubicBezTo>
                <a:cubicBezTo>
                  <a:pt x="3993" y="1982"/>
                  <a:pt x="3993" y="1982"/>
                  <a:pt x="3993" y="1982"/>
                </a:cubicBezTo>
                <a:cubicBezTo>
                  <a:pt x="3993" y="1982"/>
                  <a:pt x="3993" y="1982"/>
                  <a:pt x="3993" y="1982"/>
                </a:cubicBezTo>
                <a:close/>
                <a:moveTo>
                  <a:pt x="3997" y="1978"/>
                </a:moveTo>
                <a:cubicBezTo>
                  <a:pt x="3997" y="1978"/>
                  <a:pt x="3996" y="1978"/>
                  <a:pt x="3996" y="1979"/>
                </a:cubicBezTo>
                <a:cubicBezTo>
                  <a:pt x="3995" y="1980"/>
                  <a:pt x="3994" y="1981"/>
                  <a:pt x="3993" y="1982"/>
                </a:cubicBezTo>
                <a:cubicBezTo>
                  <a:pt x="3994" y="1981"/>
                  <a:pt x="3996" y="1981"/>
                  <a:pt x="3997" y="1981"/>
                </a:cubicBezTo>
                <a:cubicBezTo>
                  <a:pt x="3998" y="1980"/>
                  <a:pt x="3998" y="1979"/>
                  <a:pt x="3997" y="1978"/>
                </a:cubicBezTo>
                <a:close/>
                <a:moveTo>
                  <a:pt x="3624" y="2125"/>
                </a:moveTo>
                <a:cubicBezTo>
                  <a:pt x="3621" y="2126"/>
                  <a:pt x="3621" y="2128"/>
                  <a:pt x="3623" y="2130"/>
                </a:cubicBezTo>
                <a:cubicBezTo>
                  <a:pt x="3624" y="2130"/>
                  <a:pt x="3625" y="2131"/>
                  <a:pt x="3626" y="2131"/>
                </a:cubicBezTo>
                <a:cubicBezTo>
                  <a:pt x="3626" y="2129"/>
                  <a:pt x="3626" y="2127"/>
                  <a:pt x="3626" y="2124"/>
                </a:cubicBezTo>
                <a:cubicBezTo>
                  <a:pt x="3625" y="2124"/>
                  <a:pt x="3625" y="2124"/>
                  <a:pt x="3624" y="2125"/>
                </a:cubicBezTo>
                <a:close/>
                <a:moveTo>
                  <a:pt x="1955" y="142"/>
                </a:moveTo>
                <a:cubicBezTo>
                  <a:pt x="1955" y="141"/>
                  <a:pt x="1954" y="140"/>
                  <a:pt x="1953" y="139"/>
                </a:cubicBezTo>
                <a:cubicBezTo>
                  <a:pt x="1953" y="140"/>
                  <a:pt x="1952" y="141"/>
                  <a:pt x="1952" y="142"/>
                </a:cubicBezTo>
                <a:cubicBezTo>
                  <a:pt x="1952" y="143"/>
                  <a:pt x="1953" y="143"/>
                  <a:pt x="1954" y="144"/>
                </a:cubicBezTo>
                <a:cubicBezTo>
                  <a:pt x="1954" y="143"/>
                  <a:pt x="1955" y="142"/>
                  <a:pt x="1955" y="142"/>
                </a:cubicBezTo>
                <a:close/>
                <a:moveTo>
                  <a:pt x="2576" y="138"/>
                </a:moveTo>
                <a:cubicBezTo>
                  <a:pt x="2575" y="137"/>
                  <a:pt x="2574" y="137"/>
                  <a:pt x="2573" y="137"/>
                </a:cubicBezTo>
                <a:cubicBezTo>
                  <a:pt x="2572" y="137"/>
                  <a:pt x="2571" y="138"/>
                  <a:pt x="2572" y="139"/>
                </a:cubicBezTo>
                <a:cubicBezTo>
                  <a:pt x="2572" y="141"/>
                  <a:pt x="2573" y="142"/>
                  <a:pt x="2574" y="143"/>
                </a:cubicBezTo>
                <a:cubicBezTo>
                  <a:pt x="2575" y="143"/>
                  <a:pt x="2576" y="143"/>
                  <a:pt x="2577" y="143"/>
                </a:cubicBezTo>
                <a:cubicBezTo>
                  <a:pt x="2577" y="141"/>
                  <a:pt x="2577" y="139"/>
                  <a:pt x="2576" y="138"/>
                </a:cubicBezTo>
                <a:close/>
                <a:moveTo>
                  <a:pt x="1114" y="348"/>
                </a:moveTo>
                <a:cubicBezTo>
                  <a:pt x="1114" y="349"/>
                  <a:pt x="1112" y="349"/>
                  <a:pt x="1112" y="350"/>
                </a:cubicBezTo>
                <a:cubicBezTo>
                  <a:pt x="1112" y="351"/>
                  <a:pt x="1112" y="352"/>
                  <a:pt x="1113" y="353"/>
                </a:cubicBezTo>
                <a:cubicBezTo>
                  <a:pt x="1114" y="354"/>
                  <a:pt x="1116" y="352"/>
                  <a:pt x="1116" y="350"/>
                </a:cubicBezTo>
                <a:cubicBezTo>
                  <a:pt x="1116" y="350"/>
                  <a:pt x="1115" y="349"/>
                  <a:pt x="1114" y="348"/>
                </a:cubicBezTo>
                <a:close/>
                <a:moveTo>
                  <a:pt x="2849" y="389"/>
                </a:moveTo>
                <a:cubicBezTo>
                  <a:pt x="2849" y="389"/>
                  <a:pt x="2850" y="388"/>
                  <a:pt x="2851" y="388"/>
                </a:cubicBezTo>
                <a:cubicBezTo>
                  <a:pt x="2851" y="388"/>
                  <a:pt x="2851" y="387"/>
                  <a:pt x="2851" y="386"/>
                </a:cubicBezTo>
                <a:cubicBezTo>
                  <a:pt x="2851" y="386"/>
                  <a:pt x="2850" y="385"/>
                  <a:pt x="2850" y="385"/>
                </a:cubicBezTo>
                <a:cubicBezTo>
                  <a:pt x="2849" y="386"/>
                  <a:pt x="2848" y="386"/>
                  <a:pt x="2848" y="387"/>
                </a:cubicBezTo>
                <a:cubicBezTo>
                  <a:pt x="2847" y="388"/>
                  <a:pt x="2847" y="389"/>
                  <a:pt x="2849" y="389"/>
                </a:cubicBezTo>
                <a:close/>
                <a:moveTo>
                  <a:pt x="366" y="594"/>
                </a:moveTo>
                <a:cubicBezTo>
                  <a:pt x="366" y="594"/>
                  <a:pt x="365" y="595"/>
                  <a:pt x="365" y="595"/>
                </a:cubicBezTo>
                <a:cubicBezTo>
                  <a:pt x="365" y="597"/>
                  <a:pt x="366" y="599"/>
                  <a:pt x="367" y="598"/>
                </a:cubicBezTo>
                <a:cubicBezTo>
                  <a:pt x="368" y="598"/>
                  <a:pt x="368" y="597"/>
                  <a:pt x="369" y="597"/>
                </a:cubicBezTo>
                <a:cubicBezTo>
                  <a:pt x="369" y="595"/>
                  <a:pt x="367" y="593"/>
                  <a:pt x="366" y="594"/>
                </a:cubicBezTo>
                <a:close/>
                <a:moveTo>
                  <a:pt x="2242" y="603"/>
                </a:moveTo>
                <a:cubicBezTo>
                  <a:pt x="2242" y="604"/>
                  <a:pt x="2243" y="603"/>
                  <a:pt x="2243" y="603"/>
                </a:cubicBezTo>
                <a:cubicBezTo>
                  <a:pt x="2244" y="602"/>
                  <a:pt x="2245" y="601"/>
                  <a:pt x="2246" y="600"/>
                </a:cubicBezTo>
                <a:cubicBezTo>
                  <a:pt x="2245" y="600"/>
                  <a:pt x="2243" y="601"/>
                  <a:pt x="2242" y="601"/>
                </a:cubicBezTo>
                <a:cubicBezTo>
                  <a:pt x="2241" y="602"/>
                  <a:pt x="2241" y="603"/>
                  <a:pt x="2242" y="603"/>
                </a:cubicBezTo>
                <a:close/>
                <a:moveTo>
                  <a:pt x="2246" y="600"/>
                </a:moveTo>
                <a:cubicBezTo>
                  <a:pt x="2246" y="600"/>
                  <a:pt x="2246" y="600"/>
                  <a:pt x="2247" y="600"/>
                </a:cubicBezTo>
                <a:cubicBezTo>
                  <a:pt x="2247" y="600"/>
                  <a:pt x="2247" y="599"/>
                  <a:pt x="2247" y="599"/>
                </a:cubicBezTo>
                <a:cubicBezTo>
                  <a:pt x="2247" y="599"/>
                  <a:pt x="2247" y="599"/>
                  <a:pt x="2246" y="599"/>
                </a:cubicBezTo>
                <a:cubicBezTo>
                  <a:pt x="2246" y="599"/>
                  <a:pt x="2246" y="600"/>
                  <a:pt x="2246" y="600"/>
                </a:cubicBezTo>
                <a:close/>
                <a:moveTo>
                  <a:pt x="2490" y="668"/>
                </a:moveTo>
                <a:cubicBezTo>
                  <a:pt x="2490" y="668"/>
                  <a:pt x="2491" y="669"/>
                  <a:pt x="2491" y="670"/>
                </a:cubicBezTo>
                <a:cubicBezTo>
                  <a:pt x="2492" y="669"/>
                  <a:pt x="2493" y="669"/>
                  <a:pt x="2493" y="669"/>
                </a:cubicBezTo>
                <a:cubicBezTo>
                  <a:pt x="2493" y="668"/>
                  <a:pt x="2492" y="667"/>
                  <a:pt x="2491" y="667"/>
                </a:cubicBezTo>
                <a:cubicBezTo>
                  <a:pt x="2490" y="667"/>
                  <a:pt x="2490" y="667"/>
                  <a:pt x="2490" y="668"/>
                </a:cubicBezTo>
                <a:close/>
                <a:moveTo>
                  <a:pt x="1288" y="685"/>
                </a:moveTo>
                <a:cubicBezTo>
                  <a:pt x="1287" y="686"/>
                  <a:pt x="1286" y="687"/>
                  <a:pt x="1286" y="687"/>
                </a:cubicBezTo>
                <a:cubicBezTo>
                  <a:pt x="1286" y="688"/>
                  <a:pt x="1287" y="689"/>
                  <a:pt x="1287" y="690"/>
                </a:cubicBezTo>
                <a:cubicBezTo>
                  <a:pt x="1288" y="690"/>
                  <a:pt x="1289" y="690"/>
                  <a:pt x="1290" y="689"/>
                </a:cubicBezTo>
                <a:cubicBezTo>
                  <a:pt x="1290" y="688"/>
                  <a:pt x="1290" y="687"/>
                  <a:pt x="1290" y="686"/>
                </a:cubicBezTo>
                <a:cubicBezTo>
                  <a:pt x="1289" y="686"/>
                  <a:pt x="1288" y="685"/>
                  <a:pt x="1288" y="685"/>
                </a:cubicBezTo>
                <a:close/>
                <a:moveTo>
                  <a:pt x="2998" y="232"/>
                </a:moveTo>
                <a:cubicBezTo>
                  <a:pt x="2997" y="232"/>
                  <a:pt x="2997" y="233"/>
                  <a:pt x="2997" y="233"/>
                </a:cubicBezTo>
                <a:cubicBezTo>
                  <a:pt x="2996" y="234"/>
                  <a:pt x="2997" y="235"/>
                  <a:pt x="2998" y="235"/>
                </a:cubicBezTo>
                <a:cubicBezTo>
                  <a:pt x="2999" y="235"/>
                  <a:pt x="3000" y="234"/>
                  <a:pt x="3000" y="233"/>
                </a:cubicBezTo>
                <a:cubicBezTo>
                  <a:pt x="3000" y="232"/>
                  <a:pt x="2999" y="231"/>
                  <a:pt x="2998" y="232"/>
                </a:cubicBezTo>
                <a:close/>
                <a:moveTo>
                  <a:pt x="4050" y="822"/>
                </a:moveTo>
                <a:cubicBezTo>
                  <a:pt x="4050" y="821"/>
                  <a:pt x="4049" y="821"/>
                  <a:pt x="4049" y="821"/>
                </a:cubicBezTo>
                <a:cubicBezTo>
                  <a:pt x="4048" y="821"/>
                  <a:pt x="4048" y="821"/>
                  <a:pt x="4048" y="821"/>
                </a:cubicBezTo>
                <a:cubicBezTo>
                  <a:pt x="4048" y="821"/>
                  <a:pt x="4048" y="822"/>
                  <a:pt x="4048" y="822"/>
                </a:cubicBezTo>
                <a:cubicBezTo>
                  <a:pt x="4049" y="823"/>
                  <a:pt x="4049" y="823"/>
                  <a:pt x="4050" y="822"/>
                </a:cubicBezTo>
                <a:close/>
                <a:moveTo>
                  <a:pt x="3918" y="1126"/>
                </a:moveTo>
                <a:cubicBezTo>
                  <a:pt x="3919" y="1125"/>
                  <a:pt x="3920" y="1125"/>
                  <a:pt x="3920" y="1124"/>
                </a:cubicBezTo>
                <a:cubicBezTo>
                  <a:pt x="3920" y="1123"/>
                  <a:pt x="3919" y="1122"/>
                  <a:pt x="3919" y="1122"/>
                </a:cubicBezTo>
                <a:cubicBezTo>
                  <a:pt x="3918" y="1122"/>
                  <a:pt x="3917" y="1123"/>
                  <a:pt x="3917" y="1124"/>
                </a:cubicBezTo>
                <a:cubicBezTo>
                  <a:pt x="3917" y="1125"/>
                  <a:pt x="3918" y="1125"/>
                  <a:pt x="3918" y="1126"/>
                </a:cubicBezTo>
                <a:close/>
                <a:moveTo>
                  <a:pt x="2135" y="1165"/>
                </a:moveTo>
                <a:cubicBezTo>
                  <a:pt x="2136" y="1165"/>
                  <a:pt x="2136" y="1163"/>
                  <a:pt x="2136" y="1163"/>
                </a:cubicBezTo>
                <a:cubicBezTo>
                  <a:pt x="2136" y="1162"/>
                  <a:pt x="2135" y="1161"/>
                  <a:pt x="2134" y="1161"/>
                </a:cubicBezTo>
                <a:cubicBezTo>
                  <a:pt x="2133" y="1161"/>
                  <a:pt x="2131" y="1163"/>
                  <a:pt x="2132" y="1164"/>
                </a:cubicBezTo>
                <a:cubicBezTo>
                  <a:pt x="2133" y="1165"/>
                  <a:pt x="2134" y="1165"/>
                  <a:pt x="2135" y="1165"/>
                </a:cubicBezTo>
                <a:close/>
                <a:moveTo>
                  <a:pt x="2461" y="1220"/>
                </a:moveTo>
                <a:cubicBezTo>
                  <a:pt x="2461" y="1220"/>
                  <a:pt x="2462" y="1220"/>
                  <a:pt x="2462" y="1219"/>
                </a:cubicBezTo>
                <a:cubicBezTo>
                  <a:pt x="2463" y="1219"/>
                  <a:pt x="2463" y="1218"/>
                  <a:pt x="2464" y="1217"/>
                </a:cubicBezTo>
                <a:cubicBezTo>
                  <a:pt x="2463" y="1216"/>
                  <a:pt x="2462" y="1215"/>
                  <a:pt x="2462" y="1216"/>
                </a:cubicBezTo>
                <a:cubicBezTo>
                  <a:pt x="2460" y="1216"/>
                  <a:pt x="2459" y="1217"/>
                  <a:pt x="2459" y="1219"/>
                </a:cubicBezTo>
                <a:cubicBezTo>
                  <a:pt x="2460" y="1219"/>
                  <a:pt x="2460" y="1220"/>
                  <a:pt x="2461" y="1220"/>
                </a:cubicBezTo>
                <a:close/>
                <a:moveTo>
                  <a:pt x="910" y="1311"/>
                </a:moveTo>
                <a:cubicBezTo>
                  <a:pt x="910" y="1311"/>
                  <a:pt x="910" y="1311"/>
                  <a:pt x="910" y="1310"/>
                </a:cubicBezTo>
                <a:cubicBezTo>
                  <a:pt x="910" y="1310"/>
                  <a:pt x="910" y="1311"/>
                  <a:pt x="910" y="1311"/>
                </a:cubicBezTo>
                <a:cubicBezTo>
                  <a:pt x="910" y="1311"/>
                  <a:pt x="910" y="1311"/>
                  <a:pt x="910" y="1311"/>
                </a:cubicBezTo>
                <a:cubicBezTo>
                  <a:pt x="910" y="1311"/>
                  <a:pt x="910" y="1311"/>
                  <a:pt x="910" y="1311"/>
                </a:cubicBezTo>
                <a:close/>
                <a:moveTo>
                  <a:pt x="913" y="1314"/>
                </a:moveTo>
                <a:cubicBezTo>
                  <a:pt x="914" y="1315"/>
                  <a:pt x="915" y="1315"/>
                  <a:pt x="915" y="1313"/>
                </a:cubicBezTo>
                <a:cubicBezTo>
                  <a:pt x="915" y="1313"/>
                  <a:pt x="915" y="1312"/>
                  <a:pt x="915" y="1312"/>
                </a:cubicBezTo>
                <a:cubicBezTo>
                  <a:pt x="913" y="1311"/>
                  <a:pt x="912" y="1311"/>
                  <a:pt x="910" y="1311"/>
                </a:cubicBezTo>
                <a:cubicBezTo>
                  <a:pt x="910" y="1313"/>
                  <a:pt x="911" y="1314"/>
                  <a:pt x="913" y="1314"/>
                </a:cubicBezTo>
                <a:close/>
                <a:moveTo>
                  <a:pt x="1154" y="302"/>
                </a:moveTo>
                <a:cubicBezTo>
                  <a:pt x="1154" y="302"/>
                  <a:pt x="1154" y="302"/>
                  <a:pt x="1154" y="301"/>
                </a:cubicBezTo>
                <a:cubicBezTo>
                  <a:pt x="1154" y="301"/>
                  <a:pt x="1153" y="301"/>
                  <a:pt x="1153" y="301"/>
                </a:cubicBezTo>
                <a:cubicBezTo>
                  <a:pt x="1152" y="302"/>
                  <a:pt x="1153" y="302"/>
                  <a:pt x="1154" y="302"/>
                </a:cubicBezTo>
                <a:close/>
                <a:moveTo>
                  <a:pt x="1009" y="304"/>
                </a:moveTo>
                <a:cubicBezTo>
                  <a:pt x="1009" y="304"/>
                  <a:pt x="1010" y="304"/>
                  <a:pt x="1010" y="304"/>
                </a:cubicBezTo>
                <a:cubicBezTo>
                  <a:pt x="1010" y="303"/>
                  <a:pt x="1010" y="303"/>
                  <a:pt x="1010" y="303"/>
                </a:cubicBezTo>
                <a:cubicBezTo>
                  <a:pt x="1009" y="303"/>
                  <a:pt x="1009" y="303"/>
                  <a:pt x="1009" y="304"/>
                </a:cubicBezTo>
                <a:close/>
                <a:moveTo>
                  <a:pt x="3773" y="757"/>
                </a:moveTo>
                <a:cubicBezTo>
                  <a:pt x="3773" y="758"/>
                  <a:pt x="3772" y="758"/>
                  <a:pt x="3772" y="759"/>
                </a:cubicBezTo>
                <a:cubicBezTo>
                  <a:pt x="3772" y="759"/>
                  <a:pt x="3773" y="760"/>
                  <a:pt x="3773" y="760"/>
                </a:cubicBezTo>
                <a:cubicBezTo>
                  <a:pt x="3774" y="760"/>
                  <a:pt x="3774" y="759"/>
                  <a:pt x="3774" y="758"/>
                </a:cubicBezTo>
                <a:cubicBezTo>
                  <a:pt x="3774" y="757"/>
                  <a:pt x="3773" y="757"/>
                  <a:pt x="3773" y="757"/>
                </a:cubicBezTo>
                <a:close/>
                <a:moveTo>
                  <a:pt x="2930" y="326"/>
                </a:moveTo>
                <a:cubicBezTo>
                  <a:pt x="2930" y="325"/>
                  <a:pt x="2930" y="324"/>
                  <a:pt x="2929" y="324"/>
                </a:cubicBezTo>
                <a:cubicBezTo>
                  <a:pt x="2929" y="324"/>
                  <a:pt x="2929" y="325"/>
                  <a:pt x="2929" y="325"/>
                </a:cubicBezTo>
                <a:cubicBezTo>
                  <a:pt x="2929" y="326"/>
                  <a:pt x="2929" y="326"/>
                  <a:pt x="2930" y="326"/>
                </a:cubicBezTo>
                <a:close/>
                <a:moveTo>
                  <a:pt x="2929" y="337"/>
                </a:moveTo>
                <a:cubicBezTo>
                  <a:pt x="2927" y="336"/>
                  <a:pt x="2927" y="336"/>
                  <a:pt x="2927" y="336"/>
                </a:cubicBezTo>
                <a:cubicBezTo>
                  <a:pt x="2927" y="337"/>
                  <a:pt x="2927" y="337"/>
                  <a:pt x="2927" y="337"/>
                </a:cubicBezTo>
                <a:lnTo>
                  <a:pt x="2929" y="337"/>
                </a:lnTo>
                <a:close/>
                <a:moveTo>
                  <a:pt x="606" y="341"/>
                </a:moveTo>
                <a:cubicBezTo>
                  <a:pt x="606" y="341"/>
                  <a:pt x="606" y="341"/>
                  <a:pt x="606" y="341"/>
                </a:cubicBezTo>
                <a:cubicBezTo>
                  <a:pt x="606" y="341"/>
                  <a:pt x="606" y="341"/>
                  <a:pt x="606" y="341"/>
                </a:cubicBezTo>
                <a:cubicBezTo>
                  <a:pt x="606" y="342"/>
                  <a:pt x="606" y="342"/>
                  <a:pt x="606" y="342"/>
                </a:cubicBezTo>
                <a:cubicBezTo>
                  <a:pt x="606" y="342"/>
                  <a:pt x="606" y="341"/>
                  <a:pt x="606" y="341"/>
                </a:cubicBezTo>
                <a:close/>
                <a:moveTo>
                  <a:pt x="610" y="341"/>
                </a:moveTo>
                <a:cubicBezTo>
                  <a:pt x="610" y="341"/>
                  <a:pt x="610" y="340"/>
                  <a:pt x="610" y="340"/>
                </a:cubicBezTo>
                <a:cubicBezTo>
                  <a:pt x="609" y="340"/>
                  <a:pt x="608" y="339"/>
                  <a:pt x="608" y="339"/>
                </a:cubicBezTo>
                <a:cubicBezTo>
                  <a:pt x="607" y="340"/>
                  <a:pt x="607" y="341"/>
                  <a:pt x="606" y="341"/>
                </a:cubicBezTo>
                <a:cubicBezTo>
                  <a:pt x="607" y="341"/>
                  <a:pt x="608" y="342"/>
                  <a:pt x="609" y="341"/>
                </a:cubicBezTo>
                <a:cubicBezTo>
                  <a:pt x="609" y="341"/>
                  <a:pt x="610" y="341"/>
                  <a:pt x="610" y="341"/>
                </a:cubicBezTo>
                <a:close/>
                <a:moveTo>
                  <a:pt x="2872" y="341"/>
                </a:moveTo>
                <a:cubicBezTo>
                  <a:pt x="2872" y="342"/>
                  <a:pt x="2872" y="343"/>
                  <a:pt x="2873" y="343"/>
                </a:cubicBezTo>
                <a:cubicBezTo>
                  <a:pt x="2874" y="343"/>
                  <a:pt x="2874" y="343"/>
                  <a:pt x="2874" y="342"/>
                </a:cubicBezTo>
                <a:cubicBezTo>
                  <a:pt x="2875" y="341"/>
                  <a:pt x="2874" y="340"/>
                  <a:pt x="2873" y="340"/>
                </a:cubicBezTo>
                <a:cubicBezTo>
                  <a:pt x="2873" y="340"/>
                  <a:pt x="2872" y="340"/>
                  <a:pt x="2872" y="341"/>
                </a:cubicBezTo>
                <a:close/>
                <a:moveTo>
                  <a:pt x="2148" y="1157"/>
                </a:moveTo>
                <a:cubicBezTo>
                  <a:pt x="2148" y="1157"/>
                  <a:pt x="2148" y="1156"/>
                  <a:pt x="2148" y="1156"/>
                </a:cubicBezTo>
                <a:cubicBezTo>
                  <a:pt x="2147" y="1156"/>
                  <a:pt x="2147" y="1156"/>
                  <a:pt x="2146" y="1156"/>
                </a:cubicBezTo>
                <a:cubicBezTo>
                  <a:pt x="2145" y="1157"/>
                  <a:pt x="2145" y="1157"/>
                  <a:pt x="2147" y="1158"/>
                </a:cubicBezTo>
                <a:cubicBezTo>
                  <a:pt x="2147" y="1158"/>
                  <a:pt x="2148" y="1158"/>
                  <a:pt x="2148" y="1157"/>
                </a:cubicBezTo>
                <a:close/>
                <a:moveTo>
                  <a:pt x="1243" y="533"/>
                </a:moveTo>
                <a:cubicBezTo>
                  <a:pt x="1242" y="532"/>
                  <a:pt x="1242" y="532"/>
                  <a:pt x="1242" y="532"/>
                </a:cubicBezTo>
                <a:cubicBezTo>
                  <a:pt x="1242" y="533"/>
                  <a:pt x="1242" y="533"/>
                  <a:pt x="1242" y="533"/>
                </a:cubicBezTo>
                <a:lnTo>
                  <a:pt x="1243" y="533"/>
                </a:lnTo>
                <a:close/>
                <a:moveTo>
                  <a:pt x="2572" y="121"/>
                </a:moveTo>
                <a:cubicBezTo>
                  <a:pt x="2572" y="121"/>
                  <a:pt x="2573" y="121"/>
                  <a:pt x="2573" y="120"/>
                </a:cubicBezTo>
                <a:cubicBezTo>
                  <a:pt x="2574" y="119"/>
                  <a:pt x="2573" y="118"/>
                  <a:pt x="2572" y="118"/>
                </a:cubicBezTo>
                <a:cubicBezTo>
                  <a:pt x="2572" y="118"/>
                  <a:pt x="2571" y="118"/>
                  <a:pt x="2571" y="119"/>
                </a:cubicBezTo>
                <a:cubicBezTo>
                  <a:pt x="2570" y="120"/>
                  <a:pt x="2571" y="121"/>
                  <a:pt x="2572" y="121"/>
                </a:cubicBezTo>
                <a:close/>
                <a:moveTo>
                  <a:pt x="3813" y="1231"/>
                </a:moveTo>
                <a:cubicBezTo>
                  <a:pt x="3813" y="1231"/>
                  <a:pt x="3813" y="1230"/>
                  <a:pt x="3813" y="1230"/>
                </a:cubicBezTo>
                <a:cubicBezTo>
                  <a:pt x="3813" y="1230"/>
                  <a:pt x="3812" y="1230"/>
                  <a:pt x="3812" y="1230"/>
                </a:cubicBezTo>
                <a:cubicBezTo>
                  <a:pt x="3812" y="1231"/>
                  <a:pt x="3812" y="1231"/>
                  <a:pt x="3812" y="1231"/>
                </a:cubicBezTo>
                <a:cubicBezTo>
                  <a:pt x="3813" y="1231"/>
                  <a:pt x="3813" y="1231"/>
                  <a:pt x="3813" y="1231"/>
                </a:cubicBezTo>
                <a:close/>
                <a:moveTo>
                  <a:pt x="2917" y="353"/>
                </a:moveTo>
                <a:cubicBezTo>
                  <a:pt x="2917" y="353"/>
                  <a:pt x="2918" y="354"/>
                  <a:pt x="2918" y="354"/>
                </a:cubicBezTo>
                <a:cubicBezTo>
                  <a:pt x="2919" y="354"/>
                  <a:pt x="2919" y="353"/>
                  <a:pt x="2919" y="353"/>
                </a:cubicBezTo>
                <a:cubicBezTo>
                  <a:pt x="2918" y="352"/>
                  <a:pt x="2917" y="352"/>
                  <a:pt x="2917" y="353"/>
                </a:cubicBezTo>
                <a:close/>
                <a:moveTo>
                  <a:pt x="1896" y="355"/>
                </a:moveTo>
                <a:cubicBezTo>
                  <a:pt x="1896" y="361"/>
                  <a:pt x="1896" y="361"/>
                  <a:pt x="1896" y="361"/>
                </a:cubicBezTo>
                <a:cubicBezTo>
                  <a:pt x="1899" y="358"/>
                  <a:pt x="1899" y="358"/>
                  <a:pt x="1896" y="355"/>
                </a:cubicBezTo>
                <a:close/>
                <a:moveTo>
                  <a:pt x="1163" y="149"/>
                </a:moveTo>
                <a:cubicBezTo>
                  <a:pt x="1165" y="149"/>
                  <a:pt x="1165" y="148"/>
                  <a:pt x="1165" y="147"/>
                </a:cubicBezTo>
                <a:cubicBezTo>
                  <a:pt x="1164" y="147"/>
                  <a:pt x="1163" y="148"/>
                  <a:pt x="1163" y="148"/>
                </a:cubicBezTo>
                <a:cubicBezTo>
                  <a:pt x="1163" y="148"/>
                  <a:pt x="1163" y="149"/>
                  <a:pt x="1163" y="149"/>
                </a:cubicBezTo>
                <a:close/>
                <a:moveTo>
                  <a:pt x="2862" y="397"/>
                </a:moveTo>
                <a:cubicBezTo>
                  <a:pt x="2863" y="397"/>
                  <a:pt x="2863" y="397"/>
                  <a:pt x="2863" y="396"/>
                </a:cubicBezTo>
                <a:cubicBezTo>
                  <a:pt x="2863" y="396"/>
                  <a:pt x="2863" y="395"/>
                  <a:pt x="2862" y="395"/>
                </a:cubicBezTo>
                <a:cubicBezTo>
                  <a:pt x="2862" y="396"/>
                  <a:pt x="2861" y="396"/>
                  <a:pt x="2861" y="396"/>
                </a:cubicBezTo>
                <a:cubicBezTo>
                  <a:pt x="2861" y="396"/>
                  <a:pt x="2861" y="397"/>
                  <a:pt x="2862" y="397"/>
                </a:cubicBezTo>
                <a:close/>
                <a:moveTo>
                  <a:pt x="1944" y="153"/>
                </a:moveTo>
                <a:cubicBezTo>
                  <a:pt x="1945" y="153"/>
                  <a:pt x="1944" y="152"/>
                  <a:pt x="1944" y="152"/>
                </a:cubicBezTo>
                <a:cubicBezTo>
                  <a:pt x="1944" y="151"/>
                  <a:pt x="1943" y="151"/>
                  <a:pt x="1942" y="150"/>
                </a:cubicBezTo>
                <a:cubicBezTo>
                  <a:pt x="1943" y="151"/>
                  <a:pt x="1943" y="152"/>
                  <a:pt x="1943" y="152"/>
                </a:cubicBezTo>
                <a:cubicBezTo>
                  <a:pt x="1943" y="154"/>
                  <a:pt x="1944" y="154"/>
                  <a:pt x="1944" y="153"/>
                </a:cubicBezTo>
                <a:close/>
                <a:moveTo>
                  <a:pt x="1942" y="150"/>
                </a:moveTo>
                <a:cubicBezTo>
                  <a:pt x="1942" y="150"/>
                  <a:pt x="1942" y="150"/>
                  <a:pt x="1942" y="149"/>
                </a:cubicBezTo>
                <a:cubicBezTo>
                  <a:pt x="1942" y="149"/>
                  <a:pt x="1942" y="149"/>
                  <a:pt x="1942" y="149"/>
                </a:cubicBezTo>
                <a:cubicBezTo>
                  <a:pt x="1942" y="149"/>
                  <a:pt x="1942" y="149"/>
                  <a:pt x="1942" y="150"/>
                </a:cubicBezTo>
                <a:cubicBezTo>
                  <a:pt x="1942" y="150"/>
                  <a:pt x="1942" y="150"/>
                  <a:pt x="1942" y="150"/>
                </a:cubicBezTo>
                <a:close/>
                <a:moveTo>
                  <a:pt x="2726" y="539"/>
                </a:moveTo>
                <a:cubicBezTo>
                  <a:pt x="2727" y="538"/>
                  <a:pt x="2727" y="538"/>
                  <a:pt x="2727" y="538"/>
                </a:cubicBezTo>
                <a:cubicBezTo>
                  <a:pt x="2726" y="538"/>
                  <a:pt x="2726" y="538"/>
                  <a:pt x="2726" y="538"/>
                </a:cubicBezTo>
                <a:lnTo>
                  <a:pt x="2726" y="539"/>
                </a:lnTo>
                <a:close/>
                <a:moveTo>
                  <a:pt x="1035" y="422"/>
                </a:moveTo>
                <a:cubicBezTo>
                  <a:pt x="1035" y="422"/>
                  <a:pt x="1035" y="421"/>
                  <a:pt x="1035" y="421"/>
                </a:cubicBezTo>
                <a:cubicBezTo>
                  <a:pt x="1035" y="420"/>
                  <a:pt x="1035" y="420"/>
                  <a:pt x="1035" y="420"/>
                </a:cubicBezTo>
                <a:cubicBezTo>
                  <a:pt x="1034" y="420"/>
                  <a:pt x="1034" y="420"/>
                  <a:pt x="1034" y="420"/>
                </a:cubicBezTo>
                <a:cubicBezTo>
                  <a:pt x="1033" y="421"/>
                  <a:pt x="1034" y="422"/>
                  <a:pt x="1035" y="422"/>
                </a:cubicBezTo>
                <a:close/>
                <a:moveTo>
                  <a:pt x="1238" y="175"/>
                </a:moveTo>
                <a:cubicBezTo>
                  <a:pt x="1238" y="177"/>
                  <a:pt x="1239" y="177"/>
                  <a:pt x="1240" y="176"/>
                </a:cubicBezTo>
                <a:cubicBezTo>
                  <a:pt x="1240" y="176"/>
                  <a:pt x="1240" y="175"/>
                  <a:pt x="1240" y="175"/>
                </a:cubicBezTo>
                <a:cubicBezTo>
                  <a:pt x="1239" y="174"/>
                  <a:pt x="1239" y="174"/>
                  <a:pt x="1238" y="173"/>
                </a:cubicBezTo>
                <a:cubicBezTo>
                  <a:pt x="1238" y="174"/>
                  <a:pt x="1238" y="175"/>
                  <a:pt x="1238" y="175"/>
                </a:cubicBezTo>
                <a:close/>
                <a:moveTo>
                  <a:pt x="2560" y="182"/>
                </a:moveTo>
                <a:cubicBezTo>
                  <a:pt x="2561" y="182"/>
                  <a:pt x="2562" y="182"/>
                  <a:pt x="2563" y="181"/>
                </a:cubicBezTo>
                <a:cubicBezTo>
                  <a:pt x="2562" y="181"/>
                  <a:pt x="2561" y="180"/>
                  <a:pt x="2560" y="180"/>
                </a:cubicBezTo>
                <a:cubicBezTo>
                  <a:pt x="2559" y="179"/>
                  <a:pt x="2559" y="180"/>
                  <a:pt x="2558" y="180"/>
                </a:cubicBezTo>
                <a:cubicBezTo>
                  <a:pt x="2558" y="181"/>
                  <a:pt x="2558" y="182"/>
                  <a:pt x="2558" y="183"/>
                </a:cubicBezTo>
                <a:cubicBezTo>
                  <a:pt x="2558" y="183"/>
                  <a:pt x="2559" y="183"/>
                  <a:pt x="2560" y="182"/>
                </a:cubicBezTo>
                <a:close/>
                <a:moveTo>
                  <a:pt x="2556" y="183"/>
                </a:moveTo>
                <a:cubicBezTo>
                  <a:pt x="2557" y="183"/>
                  <a:pt x="2557" y="183"/>
                  <a:pt x="2557" y="183"/>
                </a:cubicBezTo>
                <a:cubicBezTo>
                  <a:pt x="2558" y="183"/>
                  <a:pt x="2558" y="183"/>
                  <a:pt x="2558" y="183"/>
                </a:cubicBezTo>
                <a:cubicBezTo>
                  <a:pt x="2557" y="183"/>
                  <a:pt x="2557" y="183"/>
                  <a:pt x="2557" y="183"/>
                </a:cubicBezTo>
                <a:cubicBezTo>
                  <a:pt x="2557" y="183"/>
                  <a:pt x="2557" y="183"/>
                  <a:pt x="2556" y="183"/>
                </a:cubicBezTo>
                <a:close/>
                <a:moveTo>
                  <a:pt x="3828" y="1232"/>
                </a:moveTo>
                <a:cubicBezTo>
                  <a:pt x="3828" y="1234"/>
                  <a:pt x="3829" y="1236"/>
                  <a:pt x="3831" y="1238"/>
                </a:cubicBezTo>
                <a:cubicBezTo>
                  <a:pt x="3830" y="1235"/>
                  <a:pt x="3830" y="1233"/>
                  <a:pt x="3828" y="1232"/>
                </a:cubicBezTo>
                <a:close/>
                <a:moveTo>
                  <a:pt x="1296" y="189"/>
                </a:moveTo>
                <a:cubicBezTo>
                  <a:pt x="1296" y="189"/>
                  <a:pt x="1296" y="188"/>
                  <a:pt x="1296" y="188"/>
                </a:cubicBezTo>
                <a:cubicBezTo>
                  <a:pt x="1295" y="188"/>
                  <a:pt x="1295" y="187"/>
                  <a:pt x="1294" y="187"/>
                </a:cubicBezTo>
                <a:cubicBezTo>
                  <a:pt x="1294" y="188"/>
                  <a:pt x="1294" y="189"/>
                  <a:pt x="1296" y="189"/>
                </a:cubicBezTo>
                <a:close/>
                <a:moveTo>
                  <a:pt x="4188" y="1786"/>
                </a:moveTo>
                <a:cubicBezTo>
                  <a:pt x="4186" y="1785"/>
                  <a:pt x="4184" y="1784"/>
                  <a:pt x="4182" y="1784"/>
                </a:cubicBezTo>
                <a:cubicBezTo>
                  <a:pt x="4183" y="1786"/>
                  <a:pt x="4185" y="1786"/>
                  <a:pt x="4188" y="1786"/>
                </a:cubicBezTo>
                <a:close/>
                <a:moveTo>
                  <a:pt x="4188" y="1786"/>
                </a:moveTo>
                <a:cubicBezTo>
                  <a:pt x="4188" y="1787"/>
                  <a:pt x="4188" y="1787"/>
                  <a:pt x="4188" y="1787"/>
                </a:cubicBezTo>
                <a:cubicBezTo>
                  <a:pt x="4188" y="1787"/>
                  <a:pt x="4189" y="1787"/>
                  <a:pt x="4189" y="1787"/>
                </a:cubicBezTo>
                <a:cubicBezTo>
                  <a:pt x="4189" y="1787"/>
                  <a:pt x="4189" y="1787"/>
                  <a:pt x="4189" y="1786"/>
                </a:cubicBezTo>
                <a:lnTo>
                  <a:pt x="4188" y="1786"/>
                </a:lnTo>
                <a:close/>
                <a:moveTo>
                  <a:pt x="2270" y="197"/>
                </a:moveTo>
                <a:cubicBezTo>
                  <a:pt x="2270" y="197"/>
                  <a:pt x="2270" y="196"/>
                  <a:pt x="2269" y="196"/>
                </a:cubicBezTo>
                <a:cubicBezTo>
                  <a:pt x="2268" y="196"/>
                  <a:pt x="2268" y="196"/>
                  <a:pt x="2267" y="196"/>
                </a:cubicBezTo>
                <a:cubicBezTo>
                  <a:pt x="2267" y="197"/>
                  <a:pt x="2268" y="198"/>
                  <a:pt x="2268" y="198"/>
                </a:cubicBezTo>
                <a:cubicBezTo>
                  <a:pt x="2269" y="199"/>
                  <a:pt x="2270" y="198"/>
                  <a:pt x="2270" y="197"/>
                </a:cubicBezTo>
                <a:close/>
                <a:moveTo>
                  <a:pt x="2267" y="196"/>
                </a:moveTo>
                <a:cubicBezTo>
                  <a:pt x="2267" y="196"/>
                  <a:pt x="2267" y="196"/>
                  <a:pt x="2266" y="196"/>
                </a:cubicBezTo>
                <a:cubicBezTo>
                  <a:pt x="2266" y="195"/>
                  <a:pt x="2266" y="195"/>
                  <a:pt x="2266" y="195"/>
                </a:cubicBezTo>
                <a:cubicBezTo>
                  <a:pt x="2266" y="196"/>
                  <a:pt x="2266" y="196"/>
                  <a:pt x="2266" y="196"/>
                </a:cubicBezTo>
                <a:cubicBezTo>
                  <a:pt x="2266" y="196"/>
                  <a:pt x="2266" y="196"/>
                  <a:pt x="2267" y="196"/>
                </a:cubicBezTo>
                <a:close/>
                <a:moveTo>
                  <a:pt x="3432" y="200"/>
                </a:moveTo>
                <a:cubicBezTo>
                  <a:pt x="3431" y="200"/>
                  <a:pt x="3430" y="200"/>
                  <a:pt x="3430" y="201"/>
                </a:cubicBezTo>
                <a:cubicBezTo>
                  <a:pt x="3430" y="202"/>
                  <a:pt x="3430" y="202"/>
                  <a:pt x="3431" y="202"/>
                </a:cubicBezTo>
                <a:cubicBezTo>
                  <a:pt x="3432" y="203"/>
                  <a:pt x="3433" y="202"/>
                  <a:pt x="3434" y="202"/>
                </a:cubicBezTo>
                <a:cubicBezTo>
                  <a:pt x="3434" y="201"/>
                  <a:pt x="3433" y="200"/>
                  <a:pt x="3432" y="200"/>
                </a:cubicBezTo>
                <a:close/>
                <a:moveTo>
                  <a:pt x="3434" y="202"/>
                </a:moveTo>
                <a:cubicBezTo>
                  <a:pt x="3434" y="203"/>
                  <a:pt x="3434" y="203"/>
                  <a:pt x="3434" y="203"/>
                </a:cubicBezTo>
                <a:cubicBezTo>
                  <a:pt x="3434" y="203"/>
                  <a:pt x="3434" y="203"/>
                  <a:pt x="3434" y="203"/>
                </a:cubicBezTo>
                <a:cubicBezTo>
                  <a:pt x="3434" y="203"/>
                  <a:pt x="3434" y="203"/>
                  <a:pt x="3434" y="202"/>
                </a:cubicBezTo>
                <a:close/>
                <a:moveTo>
                  <a:pt x="1012" y="451"/>
                </a:moveTo>
                <a:cubicBezTo>
                  <a:pt x="1012" y="451"/>
                  <a:pt x="1012" y="451"/>
                  <a:pt x="1013" y="450"/>
                </a:cubicBezTo>
                <a:cubicBezTo>
                  <a:pt x="1013" y="450"/>
                  <a:pt x="1012" y="450"/>
                  <a:pt x="1012" y="450"/>
                </a:cubicBezTo>
                <a:cubicBezTo>
                  <a:pt x="1012" y="450"/>
                  <a:pt x="1012" y="450"/>
                  <a:pt x="1012" y="450"/>
                </a:cubicBezTo>
                <a:cubicBezTo>
                  <a:pt x="1012" y="450"/>
                  <a:pt x="1012" y="451"/>
                  <a:pt x="1012" y="451"/>
                </a:cubicBezTo>
                <a:close/>
                <a:moveTo>
                  <a:pt x="1012" y="455"/>
                </a:moveTo>
                <a:cubicBezTo>
                  <a:pt x="1012" y="455"/>
                  <a:pt x="1012" y="454"/>
                  <a:pt x="1012" y="453"/>
                </a:cubicBezTo>
                <a:cubicBezTo>
                  <a:pt x="1012" y="452"/>
                  <a:pt x="1012" y="452"/>
                  <a:pt x="1012" y="451"/>
                </a:cubicBezTo>
                <a:cubicBezTo>
                  <a:pt x="1012" y="452"/>
                  <a:pt x="1011" y="452"/>
                  <a:pt x="1011" y="453"/>
                </a:cubicBezTo>
                <a:cubicBezTo>
                  <a:pt x="1010" y="454"/>
                  <a:pt x="1011" y="455"/>
                  <a:pt x="1012" y="455"/>
                </a:cubicBezTo>
                <a:close/>
                <a:moveTo>
                  <a:pt x="2057" y="817"/>
                </a:moveTo>
                <a:cubicBezTo>
                  <a:pt x="2057" y="816"/>
                  <a:pt x="2056" y="816"/>
                  <a:pt x="2056" y="817"/>
                </a:cubicBezTo>
                <a:cubicBezTo>
                  <a:pt x="2055" y="818"/>
                  <a:pt x="2056" y="818"/>
                  <a:pt x="2056" y="818"/>
                </a:cubicBezTo>
                <a:cubicBezTo>
                  <a:pt x="2056" y="818"/>
                  <a:pt x="2057" y="818"/>
                  <a:pt x="2057" y="817"/>
                </a:cubicBezTo>
                <a:close/>
                <a:moveTo>
                  <a:pt x="1275" y="1519"/>
                </a:moveTo>
                <a:cubicBezTo>
                  <a:pt x="1275" y="1520"/>
                  <a:pt x="1275" y="1521"/>
                  <a:pt x="1276" y="1521"/>
                </a:cubicBezTo>
                <a:cubicBezTo>
                  <a:pt x="1276" y="1521"/>
                  <a:pt x="1276" y="1520"/>
                  <a:pt x="1277" y="1520"/>
                </a:cubicBezTo>
                <a:cubicBezTo>
                  <a:pt x="1276" y="1519"/>
                  <a:pt x="1276" y="1519"/>
                  <a:pt x="1276" y="1519"/>
                </a:cubicBezTo>
                <a:cubicBezTo>
                  <a:pt x="1276" y="1518"/>
                  <a:pt x="1275" y="1519"/>
                  <a:pt x="1275" y="1519"/>
                </a:cubicBezTo>
                <a:close/>
                <a:moveTo>
                  <a:pt x="2369" y="1192"/>
                </a:moveTo>
                <a:cubicBezTo>
                  <a:pt x="2369" y="1192"/>
                  <a:pt x="2369" y="1192"/>
                  <a:pt x="2369" y="1192"/>
                </a:cubicBezTo>
                <a:cubicBezTo>
                  <a:pt x="2369" y="1192"/>
                  <a:pt x="2369" y="1192"/>
                  <a:pt x="2369" y="1192"/>
                </a:cubicBezTo>
                <a:cubicBezTo>
                  <a:pt x="2369" y="1192"/>
                  <a:pt x="2369" y="1192"/>
                  <a:pt x="2369" y="1191"/>
                </a:cubicBezTo>
                <a:cubicBezTo>
                  <a:pt x="2369" y="1192"/>
                  <a:pt x="2369" y="1192"/>
                  <a:pt x="2369" y="1192"/>
                </a:cubicBezTo>
                <a:close/>
                <a:moveTo>
                  <a:pt x="2366" y="1193"/>
                </a:moveTo>
                <a:cubicBezTo>
                  <a:pt x="2366" y="1193"/>
                  <a:pt x="2367" y="1194"/>
                  <a:pt x="2367" y="1194"/>
                </a:cubicBezTo>
                <a:cubicBezTo>
                  <a:pt x="2367" y="1193"/>
                  <a:pt x="2368" y="1192"/>
                  <a:pt x="2369" y="1192"/>
                </a:cubicBezTo>
                <a:cubicBezTo>
                  <a:pt x="2367" y="1192"/>
                  <a:pt x="2366" y="1192"/>
                  <a:pt x="2366" y="1193"/>
                </a:cubicBezTo>
                <a:close/>
                <a:moveTo>
                  <a:pt x="3845" y="1271"/>
                </a:moveTo>
                <a:cubicBezTo>
                  <a:pt x="3845" y="1272"/>
                  <a:pt x="3845" y="1272"/>
                  <a:pt x="3846" y="1273"/>
                </a:cubicBezTo>
                <a:cubicBezTo>
                  <a:pt x="3846" y="1272"/>
                  <a:pt x="3846" y="1272"/>
                  <a:pt x="3847" y="1272"/>
                </a:cubicBezTo>
                <a:cubicBezTo>
                  <a:pt x="3846" y="1270"/>
                  <a:pt x="3846" y="1270"/>
                  <a:pt x="3845" y="1271"/>
                </a:cubicBezTo>
                <a:close/>
                <a:moveTo>
                  <a:pt x="1548" y="480"/>
                </a:moveTo>
                <a:cubicBezTo>
                  <a:pt x="1548" y="481"/>
                  <a:pt x="1548" y="481"/>
                  <a:pt x="1548" y="481"/>
                </a:cubicBezTo>
                <a:cubicBezTo>
                  <a:pt x="1548" y="481"/>
                  <a:pt x="1548" y="481"/>
                  <a:pt x="1549" y="481"/>
                </a:cubicBezTo>
                <a:cubicBezTo>
                  <a:pt x="1549" y="480"/>
                  <a:pt x="1549" y="480"/>
                  <a:pt x="1549" y="480"/>
                </a:cubicBezTo>
                <a:cubicBezTo>
                  <a:pt x="1549" y="480"/>
                  <a:pt x="1548" y="480"/>
                  <a:pt x="1548" y="480"/>
                </a:cubicBezTo>
                <a:close/>
                <a:moveTo>
                  <a:pt x="1546" y="477"/>
                </a:moveTo>
                <a:cubicBezTo>
                  <a:pt x="1545" y="478"/>
                  <a:pt x="1544" y="478"/>
                  <a:pt x="1543" y="479"/>
                </a:cubicBezTo>
                <a:cubicBezTo>
                  <a:pt x="1544" y="479"/>
                  <a:pt x="1545" y="480"/>
                  <a:pt x="1546" y="480"/>
                </a:cubicBezTo>
                <a:cubicBezTo>
                  <a:pt x="1547" y="481"/>
                  <a:pt x="1547" y="480"/>
                  <a:pt x="1548" y="480"/>
                </a:cubicBezTo>
                <a:cubicBezTo>
                  <a:pt x="1548" y="479"/>
                  <a:pt x="1548" y="478"/>
                  <a:pt x="1548" y="477"/>
                </a:cubicBezTo>
                <a:cubicBezTo>
                  <a:pt x="1547" y="477"/>
                  <a:pt x="1547" y="477"/>
                  <a:pt x="1546" y="477"/>
                </a:cubicBezTo>
                <a:close/>
                <a:moveTo>
                  <a:pt x="1440" y="258"/>
                </a:moveTo>
                <a:cubicBezTo>
                  <a:pt x="1440" y="258"/>
                  <a:pt x="1440" y="258"/>
                  <a:pt x="1441" y="257"/>
                </a:cubicBezTo>
                <a:cubicBezTo>
                  <a:pt x="1440" y="257"/>
                  <a:pt x="1439" y="256"/>
                  <a:pt x="1438" y="256"/>
                </a:cubicBezTo>
                <a:cubicBezTo>
                  <a:pt x="1438" y="256"/>
                  <a:pt x="1437" y="257"/>
                  <a:pt x="1437" y="257"/>
                </a:cubicBezTo>
                <a:cubicBezTo>
                  <a:pt x="1438" y="258"/>
                  <a:pt x="1438" y="259"/>
                  <a:pt x="1440" y="258"/>
                </a:cubicBezTo>
                <a:close/>
                <a:moveTo>
                  <a:pt x="2429" y="1204"/>
                </a:moveTo>
                <a:cubicBezTo>
                  <a:pt x="2429" y="1203"/>
                  <a:pt x="2429" y="1203"/>
                  <a:pt x="2429" y="1203"/>
                </a:cubicBezTo>
                <a:cubicBezTo>
                  <a:pt x="2428" y="1203"/>
                  <a:pt x="2428" y="1203"/>
                  <a:pt x="2428" y="1203"/>
                </a:cubicBezTo>
                <a:lnTo>
                  <a:pt x="2429" y="1204"/>
                </a:lnTo>
                <a:close/>
                <a:moveTo>
                  <a:pt x="1097" y="1405"/>
                </a:moveTo>
                <a:cubicBezTo>
                  <a:pt x="1097" y="1405"/>
                  <a:pt x="1096" y="1406"/>
                  <a:pt x="1096" y="1406"/>
                </a:cubicBezTo>
                <a:cubicBezTo>
                  <a:pt x="1096" y="1406"/>
                  <a:pt x="1097" y="1407"/>
                  <a:pt x="1097" y="1407"/>
                </a:cubicBezTo>
                <a:cubicBezTo>
                  <a:pt x="1097" y="1407"/>
                  <a:pt x="1098" y="1407"/>
                  <a:pt x="1098" y="1406"/>
                </a:cubicBezTo>
                <a:cubicBezTo>
                  <a:pt x="1098" y="1406"/>
                  <a:pt x="1097" y="1405"/>
                  <a:pt x="1097" y="1405"/>
                </a:cubicBezTo>
                <a:close/>
                <a:moveTo>
                  <a:pt x="2230" y="1106"/>
                </a:moveTo>
                <a:cubicBezTo>
                  <a:pt x="2230" y="1106"/>
                  <a:pt x="2230" y="1106"/>
                  <a:pt x="2230" y="1106"/>
                </a:cubicBezTo>
                <a:cubicBezTo>
                  <a:pt x="2230" y="1106"/>
                  <a:pt x="2230" y="1106"/>
                  <a:pt x="2230" y="1106"/>
                </a:cubicBezTo>
                <a:cubicBezTo>
                  <a:pt x="2230" y="1106"/>
                  <a:pt x="2230" y="1106"/>
                  <a:pt x="2230" y="1105"/>
                </a:cubicBezTo>
                <a:cubicBezTo>
                  <a:pt x="2230" y="1106"/>
                  <a:pt x="2230" y="1106"/>
                  <a:pt x="2230" y="1106"/>
                </a:cubicBezTo>
                <a:close/>
                <a:moveTo>
                  <a:pt x="2227" y="1107"/>
                </a:moveTo>
                <a:cubicBezTo>
                  <a:pt x="2227" y="1107"/>
                  <a:pt x="2228" y="1108"/>
                  <a:pt x="2228" y="1107"/>
                </a:cubicBezTo>
                <a:cubicBezTo>
                  <a:pt x="2228" y="1107"/>
                  <a:pt x="2229" y="1106"/>
                  <a:pt x="2230" y="1106"/>
                </a:cubicBezTo>
                <a:cubicBezTo>
                  <a:pt x="2228" y="1106"/>
                  <a:pt x="2227" y="1106"/>
                  <a:pt x="2227" y="1107"/>
                </a:cubicBezTo>
                <a:close/>
                <a:moveTo>
                  <a:pt x="2330" y="274"/>
                </a:moveTo>
                <a:cubicBezTo>
                  <a:pt x="2330" y="275"/>
                  <a:pt x="2330" y="276"/>
                  <a:pt x="2331" y="277"/>
                </a:cubicBezTo>
                <a:cubicBezTo>
                  <a:pt x="2331" y="277"/>
                  <a:pt x="2332" y="277"/>
                  <a:pt x="2332" y="276"/>
                </a:cubicBezTo>
                <a:cubicBezTo>
                  <a:pt x="2332" y="275"/>
                  <a:pt x="2332" y="274"/>
                  <a:pt x="2331" y="273"/>
                </a:cubicBezTo>
                <a:cubicBezTo>
                  <a:pt x="2330" y="274"/>
                  <a:pt x="2330" y="274"/>
                  <a:pt x="2330" y="274"/>
                </a:cubicBezTo>
                <a:close/>
                <a:moveTo>
                  <a:pt x="2886" y="291"/>
                </a:moveTo>
                <a:cubicBezTo>
                  <a:pt x="2886" y="290"/>
                  <a:pt x="2886" y="290"/>
                  <a:pt x="2885" y="289"/>
                </a:cubicBezTo>
                <a:cubicBezTo>
                  <a:pt x="2885" y="289"/>
                  <a:pt x="2884" y="289"/>
                  <a:pt x="2884" y="289"/>
                </a:cubicBezTo>
                <a:cubicBezTo>
                  <a:pt x="2883" y="290"/>
                  <a:pt x="2883" y="291"/>
                  <a:pt x="2884" y="291"/>
                </a:cubicBezTo>
                <a:cubicBezTo>
                  <a:pt x="2885" y="291"/>
                  <a:pt x="2885" y="291"/>
                  <a:pt x="2886" y="291"/>
                </a:cubicBezTo>
                <a:close/>
                <a:moveTo>
                  <a:pt x="2875" y="294"/>
                </a:moveTo>
                <a:cubicBezTo>
                  <a:pt x="2875" y="294"/>
                  <a:pt x="2875" y="294"/>
                  <a:pt x="2876" y="294"/>
                </a:cubicBezTo>
                <a:cubicBezTo>
                  <a:pt x="2876" y="294"/>
                  <a:pt x="2876" y="294"/>
                  <a:pt x="2876" y="293"/>
                </a:cubicBezTo>
                <a:cubicBezTo>
                  <a:pt x="2875" y="292"/>
                  <a:pt x="2874" y="293"/>
                  <a:pt x="2875" y="294"/>
                </a:cubicBezTo>
                <a:close/>
                <a:moveTo>
                  <a:pt x="4074" y="1544"/>
                </a:moveTo>
                <a:cubicBezTo>
                  <a:pt x="4073" y="1544"/>
                  <a:pt x="4073" y="1543"/>
                  <a:pt x="4073" y="1543"/>
                </a:cubicBezTo>
                <a:cubicBezTo>
                  <a:pt x="4072" y="1543"/>
                  <a:pt x="4071" y="1543"/>
                  <a:pt x="4071" y="1544"/>
                </a:cubicBezTo>
                <a:cubicBezTo>
                  <a:pt x="4072" y="1545"/>
                  <a:pt x="4072" y="1545"/>
                  <a:pt x="4073" y="1545"/>
                </a:cubicBezTo>
                <a:cubicBezTo>
                  <a:pt x="4073" y="1544"/>
                  <a:pt x="4073" y="1544"/>
                  <a:pt x="4074" y="1544"/>
                </a:cubicBezTo>
                <a:close/>
                <a:moveTo>
                  <a:pt x="2025" y="878"/>
                </a:moveTo>
                <a:cubicBezTo>
                  <a:pt x="2025" y="878"/>
                  <a:pt x="2025" y="878"/>
                  <a:pt x="2025" y="878"/>
                </a:cubicBezTo>
                <a:cubicBezTo>
                  <a:pt x="2025" y="878"/>
                  <a:pt x="2025" y="878"/>
                  <a:pt x="2025" y="878"/>
                </a:cubicBezTo>
                <a:cubicBezTo>
                  <a:pt x="2025" y="878"/>
                  <a:pt x="2025" y="877"/>
                  <a:pt x="2025" y="877"/>
                </a:cubicBezTo>
                <a:cubicBezTo>
                  <a:pt x="2025" y="877"/>
                  <a:pt x="2025" y="878"/>
                  <a:pt x="2025" y="878"/>
                </a:cubicBezTo>
                <a:close/>
                <a:moveTo>
                  <a:pt x="2022" y="878"/>
                </a:moveTo>
                <a:cubicBezTo>
                  <a:pt x="2022" y="878"/>
                  <a:pt x="2021" y="878"/>
                  <a:pt x="2021" y="879"/>
                </a:cubicBezTo>
                <a:cubicBezTo>
                  <a:pt x="2021" y="880"/>
                  <a:pt x="2022" y="881"/>
                  <a:pt x="2023" y="880"/>
                </a:cubicBezTo>
                <a:cubicBezTo>
                  <a:pt x="2024" y="880"/>
                  <a:pt x="2024" y="879"/>
                  <a:pt x="2025" y="878"/>
                </a:cubicBezTo>
                <a:cubicBezTo>
                  <a:pt x="2024" y="878"/>
                  <a:pt x="2023" y="877"/>
                  <a:pt x="2022" y="878"/>
                </a:cubicBezTo>
                <a:close/>
                <a:moveTo>
                  <a:pt x="1271" y="1567"/>
                </a:moveTo>
                <a:cubicBezTo>
                  <a:pt x="1272" y="1568"/>
                  <a:pt x="1272" y="1568"/>
                  <a:pt x="1272" y="1567"/>
                </a:cubicBezTo>
                <a:cubicBezTo>
                  <a:pt x="1272" y="1566"/>
                  <a:pt x="1271" y="1566"/>
                  <a:pt x="1271" y="1566"/>
                </a:cubicBezTo>
                <a:cubicBezTo>
                  <a:pt x="1271" y="1566"/>
                  <a:pt x="1271" y="1567"/>
                  <a:pt x="1271" y="1567"/>
                </a:cubicBezTo>
                <a:close/>
                <a:moveTo>
                  <a:pt x="51" y="715"/>
                </a:moveTo>
                <a:cubicBezTo>
                  <a:pt x="51" y="715"/>
                  <a:pt x="52" y="715"/>
                  <a:pt x="52" y="716"/>
                </a:cubicBezTo>
                <a:cubicBezTo>
                  <a:pt x="52" y="716"/>
                  <a:pt x="52" y="715"/>
                  <a:pt x="53" y="715"/>
                </a:cubicBezTo>
                <a:cubicBezTo>
                  <a:pt x="53" y="714"/>
                  <a:pt x="52" y="714"/>
                  <a:pt x="52" y="713"/>
                </a:cubicBezTo>
                <a:cubicBezTo>
                  <a:pt x="52" y="714"/>
                  <a:pt x="51" y="714"/>
                  <a:pt x="51" y="715"/>
                </a:cubicBezTo>
                <a:close/>
                <a:moveTo>
                  <a:pt x="3362" y="1587"/>
                </a:moveTo>
                <a:cubicBezTo>
                  <a:pt x="3362" y="1587"/>
                  <a:pt x="3362" y="1588"/>
                  <a:pt x="3363" y="1588"/>
                </a:cubicBezTo>
                <a:cubicBezTo>
                  <a:pt x="3363" y="1588"/>
                  <a:pt x="3364" y="1587"/>
                  <a:pt x="3364" y="1587"/>
                </a:cubicBezTo>
                <a:cubicBezTo>
                  <a:pt x="3363" y="1586"/>
                  <a:pt x="3363" y="1585"/>
                  <a:pt x="3363" y="1585"/>
                </a:cubicBezTo>
                <a:cubicBezTo>
                  <a:pt x="3362" y="1585"/>
                  <a:pt x="3362" y="1586"/>
                  <a:pt x="3362" y="1587"/>
                </a:cubicBezTo>
                <a:close/>
                <a:moveTo>
                  <a:pt x="460" y="709"/>
                </a:moveTo>
                <a:cubicBezTo>
                  <a:pt x="460" y="709"/>
                  <a:pt x="460" y="708"/>
                  <a:pt x="460" y="708"/>
                </a:cubicBezTo>
                <a:cubicBezTo>
                  <a:pt x="460" y="707"/>
                  <a:pt x="460" y="706"/>
                  <a:pt x="460" y="706"/>
                </a:cubicBezTo>
                <a:cubicBezTo>
                  <a:pt x="459" y="706"/>
                  <a:pt x="459" y="707"/>
                  <a:pt x="459" y="707"/>
                </a:cubicBezTo>
                <a:cubicBezTo>
                  <a:pt x="458" y="709"/>
                  <a:pt x="458" y="709"/>
                  <a:pt x="460" y="709"/>
                </a:cubicBezTo>
                <a:close/>
                <a:moveTo>
                  <a:pt x="3698" y="1623"/>
                </a:moveTo>
                <a:cubicBezTo>
                  <a:pt x="3699" y="1624"/>
                  <a:pt x="3699" y="1624"/>
                  <a:pt x="3699" y="1624"/>
                </a:cubicBezTo>
                <a:cubicBezTo>
                  <a:pt x="3699" y="1623"/>
                  <a:pt x="3699" y="1623"/>
                  <a:pt x="3699" y="1623"/>
                </a:cubicBezTo>
                <a:lnTo>
                  <a:pt x="3698" y="1623"/>
                </a:lnTo>
                <a:close/>
                <a:moveTo>
                  <a:pt x="3383" y="1636"/>
                </a:moveTo>
                <a:cubicBezTo>
                  <a:pt x="3382" y="1636"/>
                  <a:pt x="3381" y="1637"/>
                  <a:pt x="3382" y="1638"/>
                </a:cubicBezTo>
                <a:cubicBezTo>
                  <a:pt x="3382" y="1639"/>
                  <a:pt x="3382" y="1639"/>
                  <a:pt x="3383" y="1639"/>
                </a:cubicBezTo>
                <a:cubicBezTo>
                  <a:pt x="3383" y="1639"/>
                  <a:pt x="3383" y="1638"/>
                  <a:pt x="3384" y="1637"/>
                </a:cubicBezTo>
                <a:cubicBezTo>
                  <a:pt x="3383" y="1637"/>
                  <a:pt x="3383" y="1636"/>
                  <a:pt x="3383" y="1636"/>
                </a:cubicBezTo>
                <a:close/>
                <a:moveTo>
                  <a:pt x="3755" y="1652"/>
                </a:moveTo>
                <a:cubicBezTo>
                  <a:pt x="3755" y="1652"/>
                  <a:pt x="3755" y="1653"/>
                  <a:pt x="3754" y="1653"/>
                </a:cubicBezTo>
                <a:cubicBezTo>
                  <a:pt x="3754" y="1653"/>
                  <a:pt x="3755" y="1654"/>
                  <a:pt x="3755" y="1654"/>
                </a:cubicBezTo>
                <a:cubicBezTo>
                  <a:pt x="3756" y="1654"/>
                  <a:pt x="3756" y="1653"/>
                  <a:pt x="3757" y="1653"/>
                </a:cubicBezTo>
                <a:cubicBezTo>
                  <a:pt x="3756" y="1653"/>
                  <a:pt x="3756" y="1652"/>
                  <a:pt x="3755" y="1652"/>
                </a:cubicBezTo>
                <a:close/>
                <a:moveTo>
                  <a:pt x="3742" y="1663"/>
                </a:moveTo>
                <a:cubicBezTo>
                  <a:pt x="3741" y="1662"/>
                  <a:pt x="3740" y="1662"/>
                  <a:pt x="3741" y="1663"/>
                </a:cubicBezTo>
                <a:cubicBezTo>
                  <a:pt x="3741" y="1664"/>
                  <a:pt x="3741" y="1664"/>
                  <a:pt x="3742" y="1664"/>
                </a:cubicBezTo>
                <a:cubicBezTo>
                  <a:pt x="3742" y="1664"/>
                  <a:pt x="3742" y="1663"/>
                  <a:pt x="3742" y="1663"/>
                </a:cubicBezTo>
                <a:close/>
                <a:moveTo>
                  <a:pt x="3835" y="1677"/>
                </a:moveTo>
                <a:cubicBezTo>
                  <a:pt x="3835" y="1677"/>
                  <a:pt x="3835" y="1678"/>
                  <a:pt x="3836" y="1678"/>
                </a:cubicBezTo>
                <a:cubicBezTo>
                  <a:pt x="3836" y="1678"/>
                  <a:pt x="3836" y="1678"/>
                  <a:pt x="3836" y="1677"/>
                </a:cubicBezTo>
                <a:cubicBezTo>
                  <a:pt x="3836" y="1676"/>
                  <a:pt x="3835" y="1676"/>
                  <a:pt x="3835" y="1677"/>
                </a:cubicBezTo>
                <a:close/>
                <a:moveTo>
                  <a:pt x="1426" y="1731"/>
                </a:moveTo>
                <a:cubicBezTo>
                  <a:pt x="1426" y="1731"/>
                  <a:pt x="1426" y="1731"/>
                  <a:pt x="1426" y="1730"/>
                </a:cubicBezTo>
                <a:cubicBezTo>
                  <a:pt x="1426" y="1731"/>
                  <a:pt x="1426" y="1731"/>
                  <a:pt x="1426" y="1731"/>
                </a:cubicBezTo>
                <a:cubicBezTo>
                  <a:pt x="1426" y="1731"/>
                  <a:pt x="1426" y="1731"/>
                  <a:pt x="1426" y="1731"/>
                </a:cubicBezTo>
                <a:cubicBezTo>
                  <a:pt x="1426" y="1731"/>
                  <a:pt x="1426" y="1731"/>
                  <a:pt x="1426" y="1731"/>
                </a:cubicBezTo>
                <a:close/>
                <a:moveTo>
                  <a:pt x="1432" y="1734"/>
                </a:moveTo>
                <a:cubicBezTo>
                  <a:pt x="1431" y="1731"/>
                  <a:pt x="1429" y="1731"/>
                  <a:pt x="1426" y="1731"/>
                </a:cubicBezTo>
                <a:cubicBezTo>
                  <a:pt x="1428" y="1734"/>
                  <a:pt x="1430" y="1734"/>
                  <a:pt x="1432" y="1734"/>
                </a:cubicBezTo>
                <a:close/>
                <a:moveTo>
                  <a:pt x="3534" y="1741"/>
                </a:moveTo>
                <a:cubicBezTo>
                  <a:pt x="3534" y="1742"/>
                  <a:pt x="3534" y="1743"/>
                  <a:pt x="3533" y="1744"/>
                </a:cubicBezTo>
                <a:cubicBezTo>
                  <a:pt x="3534" y="1744"/>
                  <a:pt x="3535" y="1744"/>
                  <a:pt x="3536" y="1744"/>
                </a:cubicBezTo>
                <a:cubicBezTo>
                  <a:pt x="3536" y="1744"/>
                  <a:pt x="3537" y="1743"/>
                  <a:pt x="3537" y="1743"/>
                </a:cubicBezTo>
                <a:cubicBezTo>
                  <a:pt x="3536" y="1741"/>
                  <a:pt x="3535" y="1741"/>
                  <a:pt x="3534" y="1741"/>
                </a:cubicBezTo>
                <a:close/>
                <a:moveTo>
                  <a:pt x="3532" y="1745"/>
                </a:moveTo>
                <a:cubicBezTo>
                  <a:pt x="3533" y="1744"/>
                  <a:pt x="3533" y="1744"/>
                  <a:pt x="3533" y="1744"/>
                </a:cubicBezTo>
                <a:cubicBezTo>
                  <a:pt x="3533" y="1744"/>
                  <a:pt x="3533" y="1744"/>
                  <a:pt x="3533" y="1744"/>
                </a:cubicBezTo>
                <a:cubicBezTo>
                  <a:pt x="3533" y="1744"/>
                  <a:pt x="3533" y="1744"/>
                  <a:pt x="3533" y="1744"/>
                </a:cubicBezTo>
                <a:cubicBezTo>
                  <a:pt x="3533" y="1744"/>
                  <a:pt x="3533" y="1744"/>
                  <a:pt x="3532" y="1745"/>
                </a:cubicBezTo>
                <a:close/>
                <a:moveTo>
                  <a:pt x="3532" y="1747"/>
                </a:moveTo>
                <a:cubicBezTo>
                  <a:pt x="3532" y="1746"/>
                  <a:pt x="3532" y="1746"/>
                  <a:pt x="3532" y="1745"/>
                </a:cubicBezTo>
                <a:cubicBezTo>
                  <a:pt x="3532" y="1745"/>
                  <a:pt x="3532" y="1746"/>
                  <a:pt x="3531" y="1746"/>
                </a:cubicBezTo>
                <a:cubicBezTo>
                  <a:pt x="3531" y="1746"/>
                  <a:pt x="3532" y="1747"/>
                  <a:pt x="3532" y="1747"/>
                </a:cubicBezTo>
                <a:close/>
                <a:moveTo>
                  <a:pt x="4156" y="1774"/>
                </a:moveTo>
                <a:cubicBezTo>
                  <a:pt x="4156" y="1775"/>
                  <a:pt x="4156" y="1776"/>
                  <a:pt x="4157" y="1775"/>
                </a:cubicBezTo>
                <a:cubicBezTo>
                  <a:pt x="4157" y="1775"/>
                  <a:pt x="4157" y="1775"/>
                  <a:pt x="4158" y="1774"/>
                </a:cubicBezTo>
                <a:cubicBezTo>
                  <a:pt x="4157" y="1774"/>
                  <a:pt x="4157" y="1774"/>
                  <a:pt x="4157" y="1773"/>
                </a:cubicBezTo>
                <a:cubicBezTo>
                  <a:pt x="4156" y="1774"/>
                  <a:pt x="4156" y="1774"/>
                  <a:pt x="4156" y="1774"/>
                </a:cubicBezTo>
                <a:close/>
                <a:moveTo>
                  <a:pt x="3474" y="1781"/>
                </a:moveTo>
                <a:cubicBezTo>
                  <a:pt x="3474" y="1781"/>
                  <a:pt x="3473" y="1782"/>
                  <a:pt x="3473" y="1782"/>
                </a:cubicBezTo>
                <a:cubicBezTo>
                  <a:pt x="3473" y="1782"/>
                  <a:pt x="3474" y="1783"/>
                  <a:pt x="3474" y="1783"/>
                </a:cubicBezTo>
                <a:cubicBezTo>
                  <a:pt x="3474" y="1783"/>
                  <a:pt x="3475" y="1782"/>
                  <a:pt x="3475" y="1782"/>
                </a:cubicBezTo>
                <a:cubicBezTo>
                  <a:pt x="3475" y="1782"/>
                  <a:pt x="3475" y="1781"/>
                  <a:pt x="3474" y="1781"/>
                </a:cubicBezTo>
                <a:close/>
                <a:moveTo>
                  <a:pt x="3765" y="1812"/>
                </a:moveTo>
                <a:cubicBezTo>
                  <a:pt x="3765" y="1814"/>
                  <a:pt x="3766" y="1814"/>
                  <a:pt x="3767" y="1814"/>
                </a:cubicBezTo>
                <a:cubicBezTo>
                  <a:pt x="3767" y="1814"/>
                  <a:pt x="3767" y="1813"/>
                  <a:pt x="3767" y="1813"/>
                </a:cubicBezTo>
                <a:cubicBezTo>
                  <a:pt x="3767" y="1812"/>
                  <a:pt x="3767" y="1812"/>
                  <a:pt x="3766" y="1811"/>
                </a:cubicBezTo>
                <a:cubicBezTo>
                  <a:pt x="3766" y="1812"/>
                  <a:pt x="3766" y="1812"/>
                  <a:pt x="3765" y="1812"/>
                </a:cubicBezTo>
                <a:close/>
                <a:moveTo>
                  <a:pt x="4123" y="1816"/>
                </a:moveTo>
                <a:cubicBezTo>
                  <a:pt x="4123" y="1816"/>
                  <a:pt x="4123" y="1817"/>
                  <a:pt x="4123" y="1817"/>
                </a:cubicBezTo>
                <a:cubicBezTo>
                  <a:pt x="4123" y="1817"/>
                  <a:pt x="4123" y="1817"/>
                  <a:pt x="4124" y="1817"/>
                </a:cubicBezTo>
                <a:cubicBezTo>
                  <a:pt x="4124" y="1817"/>
                  <a:pt x="4124" y="1817"/>
                  <a:pt x="4124" y="1816"/>
                </a:cubicBezTo>
                <a:cubicBezTo>
                  <a:pt x="4124" y="1816"/>
                  <a:pt x="4124" y="1816"/>
                  <a:pt x="4123" y="1816"/>
                </a:cubicBezTo>
                <a:close/>
                <a:moveTo>
                  <a:pt x="3746" y="1824"/>
                </a:moveTo>
                <a:cubicBezTo>
                  <a:pt x="3746" y="1824"/>
                  <a:pt x="3746" y="1824"/>
                  <a:pt x="3746" y="1825"/>
                </a:cubicBezTo>
                <a:cubicBezTo>
                  <a:pt x="3747" y="1825"/>
                  <a:pt x="3747" y="1825"/>
                  <a:pt x="3747" y="1825"/>
                </a:cubicBezTo>
                <a:cubicBezTo>
                  <a:pt x="3747" y="1824"/>
                  <a:pt x="3747" y="1824"/>
                  <a:pt x="3747" y="1823"/>
                </a:cubicBezTo>
                <a:cubicBezTo>
                  <a:pt x="3747" y="1823"/>
                  <a:pt x="3746" y="1823"/>
                  <a:pt x="3746" y="1824"/>
                </a:cubicBezTo>
                <a:close/>
                <a:moveTo>
                  <a:pt x="3788" y="1857"/>
                </a:moveTo>
                <a:cubicBezTo>
                  <a:pt x="3786" y="1858"/>
                  <a:pt x="3787" y="1859"/>
                  <a:pt x="3788" y="1859"/>
                </a:cubicBezTo>
                <a:cubicBezTo>
                  <a:pt x="3788" y="1859"/>
                  <a:pt x="3789" y="1859"/>
                  <a:pt x="3789" y="1858"/>
                </a:cubicBezTo>
                <a:cubicBezTo>
                  <a:pt x="3789" y="1858"/>
                  <a:pt x="3789" y="1858"/>
                  <a:pt x="3789" y="1857"/>
                </a:cubicBezTo>
                <a:cubicBezTo>
                  <a:pt x="3789" y="1857"/>
                  <a:pt x="3788" y="1857"/>
                  <a:pt x="3788" y="1857"/>
                </a:cubicBezTo>
                <a:close/>
                <a:moveTo>
                  <a:pt x="3780" y="1892"/>
                </a:moveTo>
                <a:cubicBezTo>
                  <a:pt x="3780" y="1891"/>
                  <a:pt x="3780" y="1891"/>
                  <a:pt x="3781" y="1890"/>
                </a:cubicBezTo>
                <a:cubicBezTo>
                  <a:pt x="3780" y="1890"/>
                  <a:pt x="3779" y="1890"/>
                  <a:pt x="3778" y="1890"/>
                </a:cubicBezTo>
                <a:cubicBezTo>
                  <a:pt x="3778" y="1890"/>
                  <a:pt x="3777" y="1891"/>
                  <a:pt x="3777" y="1891"/>
                </a:cubicBezTo>
                <a:cubicBezTo>
                  <a:pt x="3778" y="1892"/>
                  <a:pt x="3779" y="1893"/>
                  <a:pt x="3780" y="1892"/>
                </a:cubicBezTo>
                <a:close/>
                <a:moveTo>
                  <a:pt x="2712" y="1911"/>
                </a:moveTo>
                <a:cubicBezTo>
                  <a:pt x="2711" y="1912"/>
                  <a:pt x="2711" y="1912"/>
                  <a:pt x="2711" y="1912"/>
                </a:cubicBezTo>
                <a:cubicBezTo>
                  <a:pt x="2711" y="1912"/>
                  <a:pt x="2711" y="1913"/>
                  <a:pt x="2711" y="1913"/>
                </a:cubicBezTo>
                <a:cubicBezTo>
                  <a:pt x="2711" y="1913"/>
                  <a:pt x="2711" y="1913"/>
                  <a:pt x="2712" y="1913"/>
                </a:cubicBezTo>
                <a:cubicBezTo>
                  <a:pt x="2712" y="1912"/>
                  <a:pt x="2712" y="1912"/>
                  <a:pt x="2712" y="1911"/>
                </a:cubicBezTo>
                <a:close/>
                <a:moveTo>
                  <a:pt x="4389" y="1980"/>
                </a:moveTo>
                <a:cubicBezTo>
                  <a:pt x="4389" y="1980"/>
                  <a:pt x="4389" y="1979"/>
                  <a:pt x="4389" y="1979"/>
                </a:cubicBezTo>
                <a:cubicBezTo>
                  <a:pt x="4389" y="1978"/>
                  <a:pt x="4389" y="1978"/>
                  <a:pt x="4388" y="1978"/>
                </a:cubicBezTo>
                <a:cubicBezTo>
                  <a:pt x="4388" y="1978"/>
                  <a:pt x="4387" y="1978"/>
                  <a:pt x="4387" y="1978"/>
                </a:cubicBezTo>
                <a:cubicBezTo>
                  <a:pt x="4387" y="1980"/>
                  <a:pt x="4387" y="1980"/>
                  <a:pt x="4389" y="1980"/>
                </a:cubicBezTo>
                <a:close/>
                <a:moveTo>
                  <a:pt x="4389" y="2000"/>
                </a:moveTo>
                <a:cubicBezTo>
                  <a:pt x="4389" y="2000"/>
                  <a:pt x="4389" y="2001"/>
                  <a:pt x="4389" y="2001"/>
                </a:cubicBezTo>
                <a:cubicBezTo>
                  <a:pt x="4390" y="2001"/>
                  <a:pt x="4391" y="2001"/>
                  <a:pt x="4392" y="2000"/>
                </a:cubicBezTo>
                <a:cubicBezTo>
                  <a:pt x="4392" y="2000"/>
                  <a:pt x="4391" y="1999"/>
                  <a:pt x="4391" y="1999"/>
                </a:cubicBezTo>
                <a:cubicBezTo>
                  <a:pt x="4390" y="1999"/>
                  <a:pt x="4389" y="1999"/>
                  <a:pt x="4389" y="2000"/>
                </a:cubicBezTo>
                <a:close/>
                <a:moveTo>
                  <a:pt x="4398" y="2018"/>
                </a:moveTo>
                <a:cubicBezTo>
                  <a:pt x="4397" y="2018"/>
                  <a:pt x="4397" y="2018"/>
                  <a:pt x="4397" y="2018"/>
                </a:cubicBezTo>
                <a:cubicBezTo>
                  <a:pt x="4398" y="2019"/>
                  <a:pt x="4398" y="2019"/>
                  <a:pt x="4398" y="2019"/>
                </a:cubicBezTo>
                <a:lnTo>
                  <a:pt x="4398" y="2018"/>
                </a:lnTo>
                <a:close/>
                <a:moveTo>
                  <a:pt x="4378" y="2063"/>
                </a:moveTo>
                <a:cubicBezTo>
                  <a:pt x="4377" y="2063"/>
                  <a:pt x="4376" y="2064"/>
                  <a:pt x="4377" y="2065"/>
                </a:cubicBezTo>
                <a:cubicBezTo>
                  <a:pt x="4377" y="2065"/>
                  <a:pt x="4378" y="2066"/>
                  <a:pt x="4378" y="2066"/>
                </a:cubicBezTo>
                <a:cubicBezTo>
                  <a:pt x="4379" y="2066"/>
                  <a:pt x="4380" y="2065"/>
                  <a:pt x="4379" y="2064"/>
                </a:cubicBezTo>
                <a:cubicBezTo>
                  <a:pt x="4379" y="2063"/>
                  <a:pt x="4378" y="2063"/>
                  <a:pt x="4378" y="2063"/>
                </a:cubicBezTo>
                <a:close/>
                <a:moveTo>
                  <a:pt x="4035" y="2406"/>
                </a:moveTo>
                <a:cubicBezTo>
                  <a:pt x="4035" y="2406"/>
                  <a:pt x="4034" y="2407"/>
                  <a:pt x="4034" y="2407"/>
                </a:cubicBezTo>
                <a:cubicBezTo>
                  <a:pt x="4035" y="2408"/>
                  <a:pt x="4036" y="2409"/>
                  <a:pt x="4037" y="2408"/>
                </a:cubicBezTo>
                <a:cubicBezTo>
                  <a:pt x="4037" y="2408"/>
                  <a:pt x="4038" y="2407"/>
                  <a:pt x="4038" y="2407"/>
                </a:cubicBezTo>
                <a:cubicBezTo>
                  <a:pt x="4038" y="2406"/>
                  <a:pt x="4037" y="2405"/>
                  <a:pt x="4035" y="2406"/>
                </a:cubicBezTo>
                <a:close/>
                <a:moveTo>
                  <a:pt x="2043" y="909"/>
                </a:moveTo>
                <a:cubicBezTo>
                  <a:pt x="2043" y="909"/>
                  <a:pt x="2042" y="908"/>
                  <a:pt x="2042" y="908"/>
                </a:cubicBezTo>
                <a:cubicBezTo>
                  <a:pt x="2042" y="908"/>
                  <a:pt x="2041" y="908"/>
                  <a:pt x="2041" y="908"/>
                </a:cubicBezTo>
                <a:cubicBezTo>
                  <a:pt x="2040" y="909"/>
                  <a:pt x="2040" y="910"/>
                  <a:pt x="2042" y="910"/>
                </a:cubicBezTo>
                <a:cubicBezTo>
                  <a:pt x="2042" y="910"/>
                  <a:pt x="2042" y="909"/>
                  <a:pt x="2043" y="909"/>
                </a:cubicBezTo>
                <a:close/>
                <a:moveTo>
                  <a:pt x="2676" y="556"/>
                </a:moveTo>
                <a:cubicBezTo>
                  <a:pt x="2677" y="556"/>
                  <a:pt x="2677" y="555"/>
                  <a:pt x="2676" y="554"/>
                </a:cubicBezTo>
                <a:cubicBezTo>
                  <a:pt x="2676" y="554"/>
                  <a:pt x="2675" y="554"/>
                  <a:pt x="2675" y="554"/>
                </a:cubicBezTo>
                <a:cubicBezTo>
                  <a:pt x="2674" y="555"/>
                  <a:pt x="2674" y="556"/>
                  <a:pt x="2673" y="556"/>
                </a:cubicBezTo>
                <a:cubicBezTo>
                  <a:pt x="2674" y="556"/>
                  <a:pt x="2675" y="556"/>
                  <a:pt x="2676" y="556"/>
                </a:cubicBezTo>
                <a:close/>
                <a:moveTo>
                  <a:pt x="2673" y="556"/>
                </a:moveTo>
                <a:cubicBezTo>
                  <a:pt x="2673" y="556"/>
                  <a:pt x="2673" y="556"/>
                  <a:pt x="2673" y="556"/>
                </a:cubicBezTo>
                <a:cubicBezTo>
                  <a:pt x="2673" y="556"/>
                  <a:pt x="2673" y="557"/>
                  <a:pt x="2673" y="557"/>
                </a:cubicBezTo>
                <a:cubicBezTo>
                  <a:pt x="2673" y="557"/>
                  <a:pt x="2673" y="557"/>
                  <a:pt x="2673" y="557"/>
                </a:cubicBezTo>
                <a:cubicBezTo>
                  <a:pt x="2673" y="557"/>
                  <a:pt x="2673" y="556"/>
                  <a:pt x="2673" y="556"/>
                </a:cubicBezTo>
                <a:close/>
                <a:moveTo>
                  <a:pt x="2300" y="550"/>
                </a:moveTo>
                <a:cubicBezTo>
                  <a:pt x="2300" y="551"/>
                  <a:pt x="2301" y="551"/>
                  <a:pt x="2301" y="552"/>
                </a:cubicBezTo>
                <a:cubicBezTo>
                  <a:pt x="2301" y="551"/>
                  <a:pt x="2301" y="551"/>
                  <a:pt x="2302" y="551"/>
                </a:cubicBezTo>
                <a:cubicBezTo>
                  <a:pt x="2301" y="549"/>
                  <a:pt x="2301" y="549"/>
                  <a:pt x="2300" y="550"/>
                </a:cubicBezTo>
                <a:close/>
                <a:moveTo>
                  <a:pt x="1324" y="2603"/>
                </a:moveTo>
                <a:cubicBezTo>
                  <a:pt x="1324" y="2603"/>
                  <a:pt x="1324" y="2603"/>
                  <a:pt x="1325" y="2602"/>
                </a:cubicBezTo>
                <a:cubicBezTo>
                  <a:pt x="1324" y="2602"/>
                  <a:pt x="1324" y="2602"/>
                  <a:pt x="1324" y="2602"/>
                </a:cubicBezTo>
                <a:cubicBezTo>
                  <a:pt x="1322" y="2602"/>
                  <a:pt x="1322" y="2602"/>
                  <a:pt x="1324" y="2603"/>
                </a:cubicBezTo>
                <a:close/>
                <a:moveTo>
                  <a:pt x="1524" y="458"/>
                </a:moveTo>
                <a:cubicBezTo>
                  <a:pt x="1524" y="459"/>
                  <a:pt x="1524" y="460"/>
                  <a:pt x="1525" y="460"/>
                </a:cubicBezTo>
                <a:cubicBezTo>
                  <a:pt x="1525" y="459"/>
                  <a:pt x="1525" y="459"/>
                  <a:pt x="1525" y="458"/>
                </a:cubicBezTo>
                <a:cubicBezTo>
                  <a:pt x="1525" y="458"/>
                  <a:pt x="1525" y="458"/>
                  <a:pt x="1524" y="458"/>
                </a:cubicBezTo>
                <a:close/>
                <a:moveTo>
                  <a:pt x="1221" y="500"/>
                </a:moveTo>
                <a:cubicBezTo>
                  <a:pt x="1221" y="500"/>
                  <a:pt x="1221" y="500"/>
                  <a:pt x="1221" y="500"/>
                </a:cubicBezTo>
                <a:cubicBezTo>
                  <a:pt x="1221" y="501"/>
                  <a:pt x="1221" y="501"/>
                  <a:pt x="1221" y="501"/>
                </a:cubicBezTo>
                <a:cubicBezTo>
                  <a:pt x="1221" y="501"/>
                  <a:pt x="1221" y="501"/>
                  <a:pt x="1221" y="501"/>
                </a:cubicBezTo>
                <a:lnTo>
                  <a:pt x="1221" y="500"/>
                </a:lnTo>
                <a:close/>
                <a:moveTo>
                  <a:pt x="4004" y="506"/>
                </a:moveTo>
                <a:cubicBezTo>
                  <a:pt x="4004" y="506"/>
                  <a:pt x="4004" y="506"/>
                  <a:pt x="4003" y="507"/>
                </a:cubicBezTo>
                <a:cubicBezTo>
                  <a:pt x="4004" y="506"/>
                  <a:pt x="4004" y="506"/>
                  <a:pt x="4004" y="506"/>
                </a:cubicBezTo>
                <a:cubicBezTo>
                  <a:pt x="4004" y="506"/>
                  <a:pt x="4004" y="506"/>
                  <a:pt x="4004" y="506"/>
                </a:cubicBezTo>
                <a:close/>
                <a:moveTo>
                  <a:pt x="4003" y="507"/>
                </a:moveTo>
                <a:cubicBezTo>
                  <a:pt x="4003" y="507"/>
                  <a:pt x="4003" y="507"/>
                  <a:pt x="4002" y="507"/>
                </a:cubicBezTo>
                <a:cubicBezTo>
                  <a:pt x="4002" y="507"/>
                  <a:pt x="4002" y="507"/>
                  <a:pt x="4002" y="507"/>
                </a:cubicBezTo>
                <a:cubicBezTo>
                  <a:pt x="4003" y="507"/>
                  <a:pt x="4003" y="507"/>
                  <a:pt x="4003" y="507"/>
                </a:cubicBezTo>
                <a:cubicBezTo>
                  <a:pt x="4003" y="507"/>
                  <a:pt x="4003" y="507"/>
                  <a:pt x="4003" y="507"/>
                </a:cubicBezTo>
                <a:close/>
                <a:moveTo>
                  <a:pt x="2333" y="533"/>
                </a:moveTo>
                <a:cubicBezTo>
                  <a:pt x="2333" y="533"/>
                  <a:pt x="2332" y="533"/>
                  <a:pt x="2332" y="533"/>
                </a:cubicBezTo>
                <a:cubicBezTo>
                  <a:pt x="2332" y="533"/>
                  <a:pt x="2332" y="533"/>
                  <a:pt x="2332" y="534"/>
                </a:cubicBezTo>
                <a:cubicBezTo>
                  <a:pt x="2332" y="534"/>
                  <a:pt x="2332" y="534"/>
                  <a:pt x="2333" y="534"/>
                </a:cubicBezTo>
                <a:cubicBezTo>
                  <a:pt x="2333" y="533"/>
                  <a:pt x="2333" y="533"/>
                  <a:pt x="2333" y="533"/>
                </a:cubicBezTo>
                <a:close/>
                <a:moveTo>
                  <a:pt x="2333" y="532"/>
                </a:moveTo>
                <a:cubicBezTo>
                  <a:pt x="2333" y="533"/>
                  <a:pt x="2333" y="533"/>
                  <a:pt x="2333" y="533"/>
                </a:cubicBezTo>
                <a:cubicBezTo>
                  <a:pt x="2334" y="533"/>
                  <a:pt x="2334" y="533"/>
                  <a:pt x="2333" y="532"/>
                </a:cubicBezTo>
                <a:close/>
                <a:moveTo>
                  <a:pt x="2428" y="1148"/>
                </a:moveTo>
                <a:cubicBezTo>
                  <a:pt x="2428" y="1149"/>
                  <a:pt x="2428" y="1149"/>
                  <a:pt x="2428" y="1149"/>
                </a:cubicBezTo>
                <a:cubicBezTo>
                  <a:pt x="2428" y="1149"/>
                  <a:pt x="2429" y="1149"/>
                  <a:pt x="2429" y="1149"/>
                </a:cubicBezTo>
                <a:cubicBezTo>
                  <a:pt x="2429" y="1149"/>
                  <a:pt x="2429" y="1149"/>
                  <a:pt x="2428" y="1148"/>
                </a:cubicBezTo>
                <a:close/>
                <a:moveTo>
                  <a:pt x="2284" y="1223"/>
                </a:moveTo>
                <a:cubicBezTo>
                  <a:pt x="2285" y="1223"/>
                  <a:pt x="2285" y="1223"/>
                  <a:pt x="2285" y="1223"/>
                </a:cubicBezTo>
                <a:cubicBezTo>
                  <a:pt x="2285" y="1223"/>
                  <a:pt x="2285" y="1223"/>
                  <a:pt x="2285" y="1223"/>
                </a:cubicBezTo>
                <a:lnTo>
                  <a:pt x="2284" y="1223"/>
                </a:lnTo>
                <a:close/>
                <a:moveTo>
                  <a:pt x="1108" y="1413"/>
                </a:moveTo>
                <a:cubicBezTo>
                  <a:pt x="1108" y="1413"/>
                  <a:pt x="1108" y="1413"/>
                  <a:pt x="1108" y="1413"/>
                </a:cubicBezTo>
                <a:cubicBezTo>
                  <a:pt x="1108" y="1412"/>
                  <a:pt x="1108" y="1412"/>
                  <a:pt x="1108" y="1413"/>
                </a:cubicBezTo>
                <a:close/>
                <a:moveTo>
                  <a:pt x="1252" y="1481"/>
                </a:moveTo>
                <a:cubicBezTo>
                  <a:pt x="1253" y="1481"/>
                  <a:pt x="1253" y="1481"/>
                  <a:pt x="1253" y="1481"/>
                </a:cubicBezTo>
                <a:cubicBezTo>
                  <a:pt x="1253" y="1480"/>
                  <a:pt x="1253" y="1480"/>
                  <a:pt x="1253" y="1480"/>
                </a:cubicBezTo>
                <a:lnTo>
                  <a:pt x="1252" y="1481"/>
                </a:lnTo>
                <a:close/>
                <a:moveTo>
                  <a:pt x="2119" y="1174"/>
                </a:moveTo>
                <a:cubicBezTo>
                  <a:pt x="2120" y="1173"/>
                  <a:pt x="2120" y="1173"/>
                  <a:pt x="2120" y="1173"/>
                </a:cubicBezTo>
                <a:cubicBezTo>
                  <a:pt x="2119" y="1173"/>
                  <a:pt x="2119" y="1173"/>
                  <a:pt x="2119" y="1173"/>
                </a:cubicBezTo>
                <a:lnTo>
                  <a:pt x="2119" y="1174"/>
                </a:lnTo>
                <a:close/>
                <a:moveTo>
                  <a:pt x="1799" y="52"/>
                </a:moveTo>
                <a:cubicBezTo>
                  <a:pt x="1798" y="53"/>
                  <a:pt x="1799" y="53"/>
                  <a:pt x="1800" y="54"/>
                </a:cubicBezTo>
                <a:cubicBezTo>
                  <a:pt x="1800" y="53"/>
                  <a:pt x="1800" y="53"/>
                  <a:pt x="1800" y="53"/>
                </a:cubicBezTo>
                <a:cubicBezTo>
                  <a:pt x="1799" y="52"/>
                  <a:pt x="1799" y="52"/>
                  <a:pt x="1799" y="52"/>
                </a:cubicBezTo>
                <a:close/>
                <a:moveTo>
                  <a:pt x="3920" y="881"/>
                </a:moveTo>
                <a:cubicBezTo>
                  <a:pt x="3920" y="881"/>
                  <a:pt x="3920" y="881"/>
                  <a:pt x="3920" y="881"/>
                </a:cubicBezTo>
                <a:cubicBezTo>
                  <a:pt x="3920" y="881"/>
                  <a:pt x="3920" y="881"/>
                  <a:pt x="3920" y="881"/>
                </a:cubicBezTo>
                <a:cubicBezTo>
                  <a:pt x="3920" y="881"/>
                  <a:pt x="3920" y="881"/>
                  <a:pt x="3920" y="881"/>
                </a:cubicBezTo>
                <a:cubicBezTo>
                  <a:pt x="3920" y="881"/>
                  <a:pt x="3920" y="881"/>
                  <a:pt x="3920" y="881"/>
                </a:cubicBezTo>
                <a:close/>
                <a:moveTo>
                  <a:pt x="3923" y="884"/>
                </a:moveTo>
                <a:cubicBezTo>
                  <a:pt x="3923" y="882"/>
                  <a:pt x="3922" y="881"/>
                  <a:pt x="3920" y="881"/>
                </a:cubicBezTo>
                <a:cubicBezTo>
                  <a:pt x="3921" y="882"/>
                  <a:pt x="3921" y="883"/>
                  <a:pt x="3923" y="884"/>
                </a:cubicBezTo>
                <a:close/>
                <a:moveTo>
                  <a:pt x="136" y="703"/>
                </a:moveTo>
                <a:cubicBezTo>
                  <a:pt x="136" y="702"/>
                  <a:pt x="136" y="702"/>
                  <a:pt x="136" y="702"/>
                </a:cubicBezTo>
                <a:cubicBezTo>
                  <a:pt x="136" y="702"/>
                  <a:pt x="136" y="702"/>
                  <a:pt x="136" y="702"/>
                </a:cubicBezTo>
                <a:cubicBezTo>
                  <a:pt x="136" y="702"/>
                  <a:pt x="136" y="702"/>
                  <a:pt x="136" y="703"/>
                </a:cubicBezTo>
                <a:close/>
                <a:moveTo>
                  <a:pt x="135" y="703"/>
                </a:moveTo>
                <a:cubicBezTo>
                  <a:pt x="135" y="703"/>
                  <a:pt x="136" y="703"/>
                  <a:pt x="136" y="703"/>
                </a:cubicBezTo>
                <a:cubicBezTo>
                  <a:pt x="135" y="703"/>
                  <a:pt x="134" y="703"/>
                  <a:pt x="135" y="703"/>
                </a:cubicBezTo>
                <a:close/>
                <a:moveTo>
                  <a:pt x="3924" y="884"/>
                </a:moveTo>
                <a:cubicBezTo>
                  <a:pt x="3924" y="884"/>
                  <a:pt x="3924" y="884"/>
                  <a:pt x="3924" y="884"/>
                </a:cubicBezTo>
                <a:cubicBezTo>
                  <a:pt x="3923" y="884"/>
                  <a:pt x="3923" y="884"/>
                  <a:pt x="3923" y="884"/>
                </a:cubicBezTo>
                <a:cubicBezTo>
                  <a:pt x="3923" y="884"/>
                  <a:pt x="3923" y="884"/>
                  <a:pt x="3923" y="884"/>
                </a:cubicBezTo>
                <a:cubicBezTo>
                  <a:pt x="3923" y="884"/>
                  <a:pt x="3924" y="884"/>
                  <a:pt x="3924" y="884"/>
                </a:cubicBezTo>
                <a:close/>
                <a:moveTo>
                  <a:pt x="3926" y="887"/>
                </a:moveTo>
                <a:cubicBezTo>
                  <a:pt x="3926" y="886"/>
                  <a:pt x="3925" y="885"/>
                  <a:pt x="3924" y="884"/>
                </a:cubicBezTo>
                <a:cubicBezTo>
                  <a:pt x="3924" y="886"/>
                  <a:pt x="3925" y="886"/>
                  <a:pt x="3926" y="887"/>
                </a:cubicBezTo>
                <a:close/>
                <a:moveTo>
                  <a:pt x="3819" y="1689"/>
                </a:moveTo>
                <a:cubicBezTo>
                  <a:pt x="3819" y="1690"/>
                  <a:pt x="3819" y="1690"/>
                  <a:pt x="3819" y="1690"/>
                </a:cubicBezTo>
                <a:cubicBezTo>
                  <a:pt x="3819" y="1689"/>
                  <a:pt x="3819" y="1689"/>
                  <a:pt x="3819" y="1689"/>
                </a:cubicBezTo>
                <a:close/>
                <a:moveTo>
                  <a:pt x="3412" y="1700"/>
                </a:moveTo>
                <a:cubicBezTo>
                  <a:pt x="3413" y="1700"/>
                  <a:pt x="3413" y="1700"/>
                  <a:pt x="3413" y="1700"/>
                </a:cubicBezTo>
                <a:cubicBezTo>
                  <a:pt x="3412" y="1698"/>
                  <a:pt x="3412" y="1698"/>
                  <a:pt x="3412" y="1698"/>
                </a:cubicBezTo>
                <a:lnTo>
                  <a:pt x="3412" y="1700"/>
                </a:lnTo>
                <a:close/>
                <a:moveTo>
                  <a:pt x="3854" y="1748"/>
                </a:moveTo>
                <a:cubicBezTo>
                  <a:pt x="3854" y="1747"/>
                  <a:pt x="3854" y="1747"/>
                  <a:pt x="3854" y="1747"/>
                </a:cubicBezTo>
                <a:cubicBezTo>
                  <a:pt x="3854" y="1747"/>
                  <a:pt x="3854" y="1747"/>
                  <a:pt x="3854" y="1747"/>
                </a:cubicBezTo>
                <a:cubicBezTo>
                  <a:pt x="3854" y="1747"/>
                  <a:pt x="3854" y="1747"/>
                  <a:pt x="3854" y="1747"/>
                </a:cubicBezTo>
                <a:cubicBezTo>
                  <a:pt x="3854" y="1747"/>
                  <a:pt x="3854" y="1747"/>
                  <a:pt x="3854" y="1748"/>
                </a:cubicBezTo>
                <a:close/>
                <a:moveTo>
                  <a:pt x="3855" y="1748"/>
                </a:moveTo>
                <a:cubicBezTo>
                  <a:pt x="3855" y="1748"/>
                  <a:pt x="3855" y="1748"/>
                  <a:pt x="3854" y="1748"/>
                </a:cubicBezTo>
                <a:cubicBezTo>
                  <a:pt x="3854" y="1748"/>
                  <a:pt x="3855" y="1749"/>
                  <a:pt x="3855" y="1748"/>
                </a:cubicBezTo>
                <a:close/>
                <a:moveTo>
                  <a:pt x="189" y="669"/>
                </a:moveTo>
                <a:cubicBezTo>
                  <a:pt x="189" y="669"/>
                  <a:pt x="189" y="669"/>
                  <a:pt x="189" y="669"/>
                </a:cubicBezTo>
                <a:cubicBezTo>
                  <a:pt x="189" y="669"/>
                  <a:pt x="189" y="669"/>
                  <a:pt x="189" y="669"/>
                </a:cubicBezTo>
                <a:cubicBezTo>
                  <a:pt x="189" y="669"/>
                  <a:pt x="189" y="669"/>
                  <a:pt x="189" y="669"/>
                </a:cubicBezTo>
                <a:close/>
                <a:moveTo>
                  <a:pt x="1531" y="139"/>
                </a:moveTo>
                <a:cubicBezTo>
                  <a:pt x="1531" y="139"/>
                  <a:pt x="1532" y="140"/>
                  <a:pt x="1532" y="140"/>
                </a:cubicBezTo>
                <a:cubicBezTo>
                  <a:pt x="1532" y="140"/>
                  <a:pt x="1532" y="140"/>
                  <a:pt x="1532" y="140"/>
                </a:cubicBezTo>
                <a:cubicBezTo>
                  <a:pt x="1532" y="140"/>
                  <a:pt x="1532" y="140"/>
                  <a:pt x="1532" y="139"/>
                </a:cubicBezTo>
                <a:cubicBezTo>
                  <a:pt x="1532" y="139"/>
                  <a:pt x="1532" y="139"/>
                  <a:pt x="1531" y="139"/>
                </a:cubicBezTo>
                <a:close/>
                <a:moveTo>
                  <a:pt x="4167" y="1776"/>
                </a:moveTo>
                <a:cubicBezTo>
                  <a:pt x="4168" y="1777"/>
                  <a:pt x="4168" y="1777"/>
                  <a:pt x="4168" y="1777"/>
                </a:cubicBezTo>
                <a:cubicBezTo>
                  <a:pt x="4168" y="1777"/>
                  <a:pt x="4168" y="1777"/>
                  <a:pt x="4169" y="1777"/>
                </a:cubicBezTo>
                <a:cubicBezTo>
                  <a:pt x="4169" y="1777"/>
                  <a:pt x="4168" y="1777"/>
                  <a:pt x="4168" y="1777"/>
                </a:cubicBezTo>
                <a:lnTo>
                  <a:pt x="4167" y="1776"/>
                </a:lnTo>
                <a:close/>
                <a:moveTo>
                  <a:pt x="3764" y="1543"/>
                </a:moveTo>
                <a:cubicBezTo>
                  <a:pt x="3764" y="1542"/>
                  <a:pt x="3765" y="1542"/>
                  <a:pt x="3765" y="1542"/>
                </a:cubicBezTo>
                <a:cubicBezTo>
                  <a:pt x="3765" y="1542"/>
                  <a:pt x="3765" y="1542"/>
                  <a:pt x="3765" y="1542"/>
                </a:cubicBezTo>
                <a:cubicBezTo>
                  <a:pt x="3764" y="1542"/>
                  <a:pt x="3764" y="1542"/>
                  <a:pt x="3764" y="1542"/>
                </a:cubicBezTo>
                <a:cubicBezTo>
                  <a:pt x="3764" y="1542"/>
                  <a:pt x="3764" y="1542"/>
                  <a:pt x="3764" y="1543"/>
                </a:cubicBezTo>
                <a:close/>
                <a:moveTo>
                  <a:pt x="3764" y="1544"/>
                </a:moveTo>
                <a:cubicBezTo>
                  <a:pt x="3764" y="1544"/>
                  <a:pt x="3764" y="1543"/>
                  <a:pt x="3764" y="1543"/>
                </a:cubicBezTo>
                <a:cubicBezTo>
                  <a:pt x="3764" y="1543"/>
                  <a:pt x="3763" y="1543"/>
                  <a:pt x="3762" y="1543"/>
                </a:cubicBezTo>
                <a:cubicBezTo>
                  <a:pt x="3763" y="1544"/>
                  <a:pt x="3763" y="1544"/>
                  <a:pt x="3764" y="1544"/>
                </a:cubicBezTo>
                <a:close/>
                <a:moveTo>
                  <a:pt x="3927" y="888"/>
                </a:moveTo>
                <a:cubicBezTo>
                  <a:pt x="3927" y="888"/>
                  <a:pt x="3927" y="887"/>
                  <a:pt x="3927" y="887"/>
                </a:cubicBezTo>
                <a:cubicBezTo>
                  <a:pt x="3926" y="887"/>
                  <a:pt x="3926" y="887"/>
                  <a:pt x="3926" y="887"/>
                </a:cubicBezTo>
                <a:cubicBezTo>
                  <a:pt x="3926" y="887"/>
                  <a:pt x="3926" y="887"/>
                  <a:pt x="3926" y="887"/>
                </a:cubicBezTo>
                <a:cubicBezTo>
                  <a:pt x="3927" y="888"/>
                  <a:pt x="3927" y="888"/>
                  <a:pt x="3927" y="888"/>
                </a:cubicBezTo>
                <a:close/>
                <a:moveTo>
                  <a:pt x="4244" y="1833"/>
                </a:moveTo>
                <a:cubicBezTo>
                  <a:pt x="4244" y="1833"/>
                  <a:pt x="4244" y="1832"/>
                  <a:pt x="4244" y="1832"/>
                </a:cubicBezTo>
                <a:cubicBezTo>
                  <a:pt x="4244" y="1832"/>
                  <a:pt x="4243" y="1832"/>
                  <a:pt x="4243" y="1832"/>
                </a:cubicBezTo>
                <a:cubicBezTo>
                  <a:pt x="4242" y="1833"/>
                  <a:pt x="4243" y="1833"/>
                  <a:pt x="4244" y="1833"/>
                </a:cubicBezTo>
                <a:close/>
                <a:moveTo>
                  <a:pt x="2578" y="161"/>
                </a:moveTo>
                <a:cubicBezTo>
                  <a:pt x="2579" y="162"/>
                  <a:pt x="2579" y="162"/>
                  <a:pt x="2579" y="162"/>
                </a:cubicBezTo>
                <a:cubicBezTo>
                  <a:pt x="2579" y="161"/>
                  <a:pt x="2579" y="161"/>
                  <a:pt x="2579" y="161"/>
                </a:cubicBezTo>
                <a:lnTo>
                  <a:pt x="2578" y="161"/>
                </a:lnTo>
                <a:close/>
                <a:moveTo>
                  <a:pt x="4250" y="1849"/>
                </a:moveTo>
                <a:cubicBezTo>
                  <a:pt x="4251" y="1850"/>
                  <a:pt x="4251" y="1850"/>
                  <a:pt x="4251" y="1850"/>
                </a:cubicBezTo>
                <a:cubicBezTo>
                  <a:pt x="4251" y="1850"/>
                  <a:pt x="4251" y="1850"/>
                  <a:pt x="4251" y="1850"/>
                </a:cubicBezTo>
                <a:cubicBezTo>
                  <a:pt x="4251" y="1850"/>
                  <a:pt x="4251" y="1850"/>
                  <a:pt x="4251" y="1849"/>
                </a:cubicBezTo>
                <a:lnTo>
                  <a:pt x="4250" y="1849"/>
                </a:lnTo>
                <a:close/>
                <a:moveTo>
                  <a:pt x="3785" y="1886"/>
                </a:moveTo>
                <a:cubicBezTo>
                  <a:pt x="3785" y="1886"/>
                  <a:pt x="3785" y="1886"/>
                  <a:pt x="3785" y="1886"/>
                </a:cubicBezTo>
                <a:cubicBezTo>
                  <a:pt x="3785" y="1886"/>
                  <a:pt x="3785" y="1886"/>
                  <a:pt x="3784" y="1886"/>
                </a:cubicBezTo>
                <a:cubicBezTo>
                  <a:pt x="3783" y="1887"/>
                  <a:pt x="3782" y="1888"/>
                  <a:pt x="3781" y="1889"/>
                </a:cubicBezTo>
                <a:cubicBezTo>
                  <a:pt x="3781" y="1889"/>
                  <a:pt x="3781" y="1890"/>
                  <a:pt x="3781" y="1890"/>
                </a:cubicBezTo>
                <a:cubicBezTo>
                  <a:pt x="3781" y="1890"/>
                  <a:pt x="3781" y="1890"/>
                  <a:pt x="3781" y="1890"/>
                </a:cubicBezTo>
                <a:cubicBezTo>
                  <a:pt x="3782" y="1889"/>
                  <a:pt x="3784" y="1887"/>
                  <a:pt x="3785" y="1886"/>
                </a:cubicBezTo>
                <a:close/>
                <a:moveTo>
                  <a:pt x="2755" y="1919"/>
                </a:moveTo>
                <a:cubicBezTo>
                  <a:pt x="2756" y="1919"/>
                  <a:pt x="2756" y="1919"/>
                  <a:pt x="2756" y="1919"/>
                </a:cubicBezTo>
                <a:cubicBezTo>
                  <a:pt x="2756" y="1919"/>
                  <a:pt x="2756" y="1919"/>
                  <a:pt x="2756" y="1919"/>
                </a:cubicBezTo>
                <a:cubicBezTo>
                  <a:pt x="2756" y="1919"/>
                  <a:pt x="2756" y="1919"/>
                  <a:pt x="2756" y="1919"/>
                </a:cubicBezTo>
                <a:lnTo>
                  <a:pt x="2755" y="1919"/>
                </a:lnTo>
                <a:close/>
                <a:moveTo>
                  <a:pt x="1156" y="215"/>
                </a:moveTo>
                <a:cubicBezTo>
                  <a:pt x="1154" y="216"/>
                  <a:pt x="1154" y="216"/>
                  <a:pt x="1154" y="216"/>
                </a:cubicBezTo>
                <a:cubicBezTo>
                  <a:pt x="1155" y="216"/>
                  <a:pt x="1155" y="216"/>
                  <a:pt x="1155" y="216"/>
                </a:cubicBezTo>
                <a:cubicBezTo>
                  <a:pt x="1155" y="216"/>
                  <a:pt x="1155" y="216"/>
                  <a:pt x="1155" y="216"/>
                </a:cubicBezTo>
                <a:lnTo>
                  <a:pt x="1156" y="215"/>
                </a:lnTo>
                <a:close/>
                <a:moveTo>
                  <a:pt x="2330" y="218"/>
                </a:moveTo>
                <a:cubicBezTo>
                  <a:pt x="2330" y="218"/>
                  <a:pt x="2330" y="219"/>
                  <a:pt x="2329" y="219"/>
                </a:cubicBezTo>
                <a:cubicBezTo>
                  <a:pt x="2330" y="218"/>
                  <a:pt x="2330" y="218"/>
                  <a:pt x="2330" y="218"/>
                </a:cubicBezTo>
                <a:close/>
                <a:moveTo>
                  <a:pt x="2329" y="219"/>
                </a:moveTo>
                <a:cubicBezTo>
                  <a:pt x="2329" y="219"/>
                  <a:pt x="2329" y="219"/>
                  <a:pt x="2329" y="219"/>
                </a:cubicBezTo>
                <a:cubicBezTo>
                  <a:pt x="2329" y="219"/>
                  <a:pt x="2329" y="219"/>
                  <a:pt x="2329" y="219"/>
                </a:cubicBezTo>
                <a:cubicBezTo>
                  <a:pt x="2329" y="219"/>
                  <a:pt x="2329" y="220"/>
                  <a:pt x="2329" y="220"/>
                </a:cubicBezTo>
                <a:cubicBezTo>
                  <a:pt x="2329" y="219"/>
                  <a:pt x="2329" y="219"/>
                  <a:pt x="2329" y="219"/>
                </a:cubicBezTo>
                <a:close/>
                <a:moveTo>
                  <a:pt x="3007" y="226"/>
                </a:moveTo>
                <a:cubicBezTo>
                  <a:pt x="3008" y="226"/>
                  <a:pt x="3008" y="226"/>
                  <a:pt x="3008" y="226"/>
                </a:cubicBezTo>
                <a:cubicBezTo>
                  <a:pt x="3007" y="226"/>
                  <a:pt x="3007" y="226"/>
                  <a:pt x="3007" y="226"/>
                </a:cubicBezTo>
                <a:cubicBezTo>
                  <a:pt x="3006" y="225"/>
                  <a:pt x="3006" y="225"/>
                  <a:pt x="3006" y="225"/>
                </a:cubicBezTo>
                <a:lnTo>
                  <a:pt x="3007" y="226"/>
                </a:lnTo>
                <a:close/>
                <a:moveTo>
                  <a:pt x="351" y="597"/>
                </a:moveTo>
                <a:cubicBezTo>
                  <a:pt x="351" y="598"/>
                  <a:pt x="351" y="598"/>
                  <a:pt x="351" y="598"/>
                </a:cubicBezTo>
                <a:cubicBezTo>
                  <a:pt x="351" y="598"/>
                  <a:pt x="351" y="597"/>
                  <a:pt x="351" y="597"/>
                </a:cubicBezTo>
                <a:cubicBezTo>
                  <a:pt x="351" y="597"/>
                  <a:pt x="351" y="597"/>
                  <a:pt x="351" y="597"/>
                </a:cubicBezTo>
                <a:close/>
                <a:moveTo>
                  <a:pt x="351" y="598"/>
                </a:moveTo>
                <a:cubicBezTo>
                  <a:pt x="351" y="600"/>
                  <a:pt x="351" y="600"/>
                  <a:pt x="351" y="600"/>
                </a:cubicBezTo>
                <a:cubicBezTo>
                  <a:pt x="351" y="600"/>
                  <a:pt x="351" y="600"/>
                  <a:pt x="351" y="600"/>
                </a:cubicBezTo>
                <a:cubicBezTo>
                  <a:pt x="350" y="601"/>
                  <a:pt x="348" y="603"/>
                  <a:pt x="347" y="605"/>
                </a:cubicBezTo>
                <a:cubicBezTo>
                  <a:pt x="345" y="606"/>
                  <a:pt x="345" y="608"/>
                  <a:pt x="347" y="609"/>
                </a:cubicBezTo>
                <a:cubicBezTo>
                  <a:pt x="348" y="609"/>
                  <a:pt x="349" y="609"/>
                  <a:pt x="350" y="609"/>
                </a:cubicBezTo>
                <a:cubicBezTo>
                  <a:pt x="354" y="606"/>
                  <a:pt x="357" y="603"/>
                  <a:pt x="359" y="599"/>
                </a:cubicBezTo>
                <a:cubicBezTo>
                  <a:pt x="360" y="598"/>
                  <a:pt x="359" y="597"/>
                  <a:pt x="358" y="597"/>
                </a:cubicBezTo>
                <a:cubicBezTo>
                  <a:pt x="356" y="597"/>
                  <a:pt x="355" y="597"/>
                  <a:pt x="354" y="596"/>
                </a:cubicBezTo>
                <a:cubicBezTo>
                  <a:pt x="353" y="597"/>
                  <a:pt x="352" y="598"/>
                  <a:pt x="351" y="599"/>
                </a:cubicBezTo>
                <a:cubicBezTo>
                  <a:pt x="351" y="599"/>
                  <a:pt x="351" y="599"/>
                  <a:pt x="351" y="598"/>
                </a:cubicBezTo>
                <a:close/>
                <a:moveTo>
                  <a:pt x="3336" y="252"/>
                </a:moveTo>
                <a:cubicBezTo>
                  <a:pt x="3336" y="252"/>
                  <a:pt x="3337" y="251"/>
                  <a:pt x="3337" y="251"/>
                </a:cubicBezTo>
                <a:cubicBezTo>
                  <a:pt x="3337" y="250"/>
                  <a:pt x="3337" y="250"/>
                  <a:pt x="3336" y="250"/>
                </a:cubicBezTo>
                <a:cubicBezTo>
                  <a:pt x="3336" y="250"/>
                  <a:pt x="3335" y="250"/>
                  <a:pt x="3335" y="251"/>
                </a:cubicBezTo>
                <a:cubicBezTo>
                  <a:pt x="3335" y="251"/>
                  <a:pt x="3336" y="252"/>
                  <a:pt x="3336" y="252"/>
                </a:cubicBezTo>
                <a:close/>
                <a:moveTo>
                  <a:pt x="505" y="850"/>
                </a:moveTo>
                <a:cubicBezTo>
                  <a:pt x="505" y="850"/>
                  <a:pt x="506" y="850"/>
                  <a:pt x="506" y="851"/>
                </a:cubicBezTo>
                <a:cubicBezTo>
                  <a:pt x="506" y="850"/>
                  <a:pt x="507" y="848"/>
                  <a:pt x="505" y="850"/>
                </a:cubicBezTo>
                <a:close/>
                <a:moveTo>
                  <a:pt x="1406" y="587"/>
                </a:moveTo>
                <a:cubicBezTo>
                  <a:pt x="1406" y="588"/>
                  <a:pt x="1406" y="588"/>
                  <a:pt x="1406" y="589"/>
                </a:cubicBezTo>
                <a:cubicBezTo>
                  <a:pt x="1408" y="588"/>
                  <a:pt x="1408" y="588"/>
                  <a:pt x="1406" y="587"/>
                </a:cubicBezTo>
                <a:close/>
                <a:moveTo>
                  <a:pt x="3222" y="285"/>
                </a:moveTo>
                <a:cubicBezTo>
                  <a:pt x="3222" y="285"/>
                  <a:pt x="3222" y="285"/>
                  <a:pt x="3222" y="286"/>
                </a:cubicBezTo>
                <a:cubicBezTo>
                  <a:pt x="3222" y="286"/>
                  <a:pt x="3222" y="286"/>
                  <a:pt x="3222" y="286"/>
                </a:cubicBezTo>
                <a:cubicBezTo>
                  <a:pt x="3222" y="285"/>
                  <a:pt x="3222" y="285"/>
                  <a:pt x="3222" y="285"/>
                </a:cubicBezTo>
                <a:cubicBezTo>
                  <a:pt x="3222" y="285"/>
                  <a:pt x="3222" y="285"/>
                  <a:pt x="3222" y="285"/>
                </a:cubicBezTo>
                <a:close/>
                <a:moveTo>
                  <a:pt x="3221" y="285"/>
                </a:moveTo>
                <a:cubicBezTo>
                  <a:pt x="3221" y="285"/>
                  <a:pt x="3221" y="285"/>
                  <a:pt x="3222" y="285"/>
                </a:cubicBezTo>
                <a:cubicBezTo>
                  <a:pt x="3222" y="284"/>
                  <a:pt x="3221" y="284"/>
                  <a:pt x="3221" y="285"/>
                </a:cubicBezTo>
                <a:close/>
                <a:moveTo>
                  <a:pt x="1338" y="290"/>
                </a:moveTo>
                <a:cubicBezTo>
                  <a:pt x="1337" y="290"/>
                  <a:pt x="1337" y="291"/>
                  <a:pt x="1337" y="292"/>
                </a:cubicBezTo>
                <a:cubicBezTo>
                  <a:pt x="1338" y="291"/>
                  <a:pt x="1338" y="291"/>
                  <a:pt x="1339" y="291"/>
                </a:cubicBezTo>
                <a:cubicBezTo>
                  <a:pt x="1339" y="290"/>
                  <a:pt x="1338" y="290"/>
                  <a:pt x="1338" y="290"/>
                </a:cubicBezTo>
                <a:close/>
                <a:moveTo>
                  <a:pt x="1131" y="297"/>
                </a:moveTo>
                <a:cubicBezTo>
                  <a:pt x="1130" y="296"/>
                  <a:pt x="1130" y="296"/>
                  <a:pt x="1130" y="296"/>
                </a:cubicBezTo>
                <a:cubicBezTo>
                  <a:pt x="1130" y="297"/>
                  <a:pt x="1130" y="297"/>
                  <a:pt x="1130" y="297"/>
                </a:cubicBezTo>
                <a:lnTo>
                  <a:pt x="1131" y="297"/>
                </a:lnTo>
                <a:close/>
                <a:moveTo>
                  <a:pt x="2910" y="353"/>
                </a:moveTo>
                <a:cubicBezTo>
                  <a:pt x="2909" y="353"/>
                  <a:pt x="2909" y="353"/>
                  <a:pt x="2909" y="353"/>
                </a:cubicBezTo>
                <a:cubicBezTo>
                  <a:pt x="2910" y="354"/>
                  <a:pt x="2910" y="354"/>
                  <a:pt x="2910" y="354"/>
                </a:cubicBezTo>
                <a:lnTo>
                  <a:pt x="2910" y="353"/>
                </a:lnTo>
                <a:close/>
                <a:moveTo>
                  <a:pt x="1224" y="2597"/>
                </a:moveTo>
                <a:cubicBezTo>
                  <a:pt x="1224" y="2598"/>
                  <a:pt x="1224" y="2598"/>
                  <a:pt x="1225" y="2598"/>
                </a:cubicBezTo>
                <a:cubicBezTo>
                  <a:pt x="1225" y="2597"/>
                  <a:pt x="1225" y="2597"/>
                  <a:pt x="1225" y="2597"/>
                </a:cubicBezTo>
                <a:cubicBezTo>
                  <a:pt x="1224" y="2597"/>
                  <a:pt x="1224" y="2597"/>
                  <a:pt x="1224" y="2597"/>
                </a:cubicBezTo>
                <a:cubicBezTo>
                  <a:pt x="1224" y="2597"/>
                  <a:pt x="1224" y="2597"/>
                  <a:pt x="1224" y="2597"/>
                </a:cubicBezTo>
                <a:close/>
                <a:moveTo>
                  <a:pt x="1224" y="2597"/>
                </a:moveTo>
                <a:cubicBezTo>
                  <a:pt x="1221" y="2597"/>
                  <a:pt x="1221" y="2597"/>
                  <a:pt x="1221" y="2597"/>
                </a:cubicBezTo>
                <a:cubicBezTo>
                  <a:pt x="1222" y="2599"/>
                  <a:pt x="1223" y="2599"/>
                  <a:pt x="1224" y="2597"/>
                </a:cubicBezTo>
                <a:close/>
                <a:moveTo>
                  <a:pt x="2310" y="853"/>
                </a:moveTo>
                <a:cubicBezTo>
                  <a:pt x="2310" y="853"/>
                  <a:pt x="2311" y="854"/>
                  <a:pt x="2312" y="855"/>
                </a:cubicBezTo>
                <a:cubicBezTo>
                  <a:pt x="2313" y="856"/>
                  <a:pt x="2314" y="855"/>
                  <a:pt x="2316" y="853"/>
                </a:cubicBezTo>
                <a:cubicBezTo>
                  <a:pt x="2320" y="849"/>
                  <a:pt x="2320" y="843"/>
                  <a:pt x="2319" y="838"/>
                </a:cubicBezTo>
                <a:cubicBezTo>
                  <a:pt x="2316" y="838"/>
                  <a:pt x="2314" y="838"/>
                  <a:pt x="2312" y="840"/>
                </a:cubicBezTo>
                <a:cubicBezTo>
                  <a:pt x="2309" y="843"/>
                  <a:pt x="2308" y="846"/>
                  <a:pt x="2309" y="849"/>
                </a:cubicBezTo>
                <a:cubicBezTo>
                  <a:pt x="2309" y="851"/>
                  <a:pt x="2309" y="852"/>
                  <a:pt x="2310" y="853"/>
                </a:cubicBezTo>
                <a:close/>
                <a:moveTo>
                  <a:pt x="2326" y="788"/>
                </a:moveTo>
                <a:cubicBezTo>
                  <a:pt x="2326" y="788"/>
                  <a:pt x="2327" y="788"/>
                  <a:pt x="2327" y="788"/>
                </a:cubicBezTo>
                <a:cubicBezTo>
                  <a:pt x="2329" y="787"/>
                  <a:pt x="2329" y="785"/>
                  <a:pt x="2328" y="784"/>
                </a:cubicBezTo>
                <a:cubicBezTo>
                  <a:pt x="2328" y="782"/>
                  <a:pt x="2326" y="781"/>
                  <a:pt x="2325" y="781"/>
                </a:cubicBezTo>
                <a:cubicBezTo>
                  <a:pt x="2325" y="781"/>
                  <a:pt x="2324" y="781"/>
                  <a:pt x="2324" y="781"/>
                </a:cubicBezTo>
                <a:cubicBezTo>
                  <a:pt x="2322" y="782"/>
                  <a:pt x="2322" y="784"/>
                  <a:pt x="2322" y="786"/>
                </a:cubicBezTo>
                <a:cubicBezTo>
                  <a:pt x="2323" y="787"/>
                  <a:pt x="2324" y="788"/>
                  <a:pt x="2326" y="788"/>
                </a:cubicBezTo>
                <a:close/>
                <a:moveTo>
                  <a:pt x="2274" y="893"/>
                </a:moveTo>
                <a:cubicBezTo>
                  <a:pt x="2274" y="893"/>
                  <a:pt x="2275" y="892"/>
                  <a:pt x="2275" y="892"/>
                </a:cubicBezTo>
                <a:cubicBezTo>
                  <a:pt x="2274" y="891"/>
                  <a:pt x="2274" y="890"/>
                  <a:pt x="2274" y="889"/>
                </a:cubicBezTo>
                <a:cubicBezTo>
                  <a:pt x="2273" y="888"/>
                  <a:pt x="2272" y="888"/>
                  <a:pt x="2271" y="889"/>
                </a:cubicBezTo>
                <a:cubicBezTo>
                  <a:pt x="2271" y="890"/>
                  <a:pt x="2271" y="891"/>
                  <a:pt x="2271" y="892"/>
                </a:cubicBezTo>
                <a:cubicBezTo>
                  <a:pt x="2272" y="892"/>
                  <a:pt x="2273" y="892"/>
                  <a:pt x="2274" y="893"/>
                </a:cubicBezTo>
                <a:close/>
                <a:moveTo>
                  <a:pt x="2360" y="816"/>
                </a:moveTo>
                <a:cubicBezTo>
                  <a:pt x="2361" y="817"/>
                  <a:pt x="2362" y="816"/>
                  <a:pt x="2363" y="814"/>
                </a:cubicBezTo>
                <a:cubicBezTo>
                  <a:pt x="2363" y="814"/>
                  <a:pt x="2363" y="813"/>
                  <a:pt x="2363" y="813"/>
                </a:cubicBezTo>
                <a:cubicBezTo>
                  <a:pt x="2363" y="812"/>
                  <a:pt x="2361" y="811"/>
                  <a:pt x="2359" y="812"/>
                </a:cubicBezTo>
                <a:cubicBezTo>
                  <a:pt x="2359" y="812"/>
                  <a:pt x="2358" y="813"/>
                  <a:pt x="2358" y="814"/>
                </a:cubicBezTo>
                <a:cubicBezTo>
                  <a:pt x="2358" y="815"/>
                  <a:pt x="2359" y="816"/>
                  <a:pt x="2360" y="816"/>
                </a:cubicBezTo>
                <a:close/>
                <a:moveTo>
                  <a:pt x="2319" y="837"/>
                </a:moveTo>
                <a:cubicBezTo>
                  <a:pt x="2319" y="838"/>
                  <a:pt x="2319" y="838"/>
                  <a:pt x="2319" y="838"/>
                </a:cubicBezTo>
                <a:cubicBezTo>
                  <a:pt x="2319" y="838"/>
                  <a:pt x="2319" y="838"/>
                  <a:pt x="2319" y="838"/>
                </a:cubicBezTo>
                <a:cubicBezTo>
                  <a:pt x="2319" y="838"/>
                  <a:pt x="2319" y="838"/>
                  <a:pt x="2319" y="838"/>
                </a:cubicBezTo>
                <a:lnTo>
                  <a:pt x="2319" y="837"/>
                </a:lnTo>
                <a:close/>
                <a:moveTo>
                  <a:pt x="2355" y="832"/>
                </a:moveTo>
                <a:cubicBezTo>
                  <a:pt x="2356" y="831"/>
                  <a:pt x="2356" y="831"/>
                  <a:pt x="2356" y="831"/>
                </a:cubicBezTo>
                <a:cubicBezTo>
                  <a:pt x="2356" y="831"/>
                  <a:pt x="2356" y="831"/>
                  <a:pt x="2355" y="831"/>
                </a:cubicBezTo>
                <a:cubicBezTo>
                  <a:pt x="2355" y="831"/>
                  <a:pt x="2355" y="831"/>
                  <a:pt x="2355" y="831"/>
                </a:cubicBezTo>
                <a:lnTo>
                  <a:pt x="2355" y="832"/>
                </a:lnTo>
                <a:close/>
              </a:path>
            </a:pathLst>
          </a:custGeom>
          <a:solidFill>
            <a:srgbClr val="8282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441" name="Freeform 5"/>
          <p:cNvSpPr>
            <a:spLocks noEditPoints="1"/>
          </p:cNvSpPr>
          <p:nvPr/>
        </p:nvSpPr>
        <p:spPr bwMode="auto">
          <a:xfrm>
            <a:off x="-2217765" y="1079500"/>
            <a:ext cx="9151965" cy="3648075"/>
          </a:xfrm>
          <a:custGeom>
            <a:avLst/>
            <a:gdLst>
              <a:gd name="T0" fmla="*/ 0 w 2880"/>
              <a:gd name="T1" fmla="*/ 0 h 1146"/>
              <a:gd name="T2" fmla="*/ 0 w 2880"/>
              <a:gd name="T3" fmla="*/ 1146 h 1146"/>
              <a:gd name="T4" fmla="*/ 2880 w 2880"/>
              <a:gd name="T5" fmla="*/ 1146 h 1146"/>
              <a:gd name="T6" fmla="*/ 2880 w 2880"/>
              <a:gd name="T7" fmla="*/ 0 h 1146"/>
              <a:gd name="T8" fmla="*/ 0 w 2880"/>
              <a:gd name="T9" fmla="*/ 0 h 1146"/>
              <a:gd name="T10" fmla="*/ 1440 w 2880"/>
              <a:gd name="T11" fmla="*/ 881 h 1146"/>
              <a:gd name="T12" fmla="*/ 1131 w 2880"/>
              <a:gd name="T13" fmla="*/ 573 h 1146"/>
              <a:gd name="T14" fmla="*/ 1440 w 2880"/>
              <a:gd name="T15" fmla="*/ 264 h 1146"/>
              <a:gd name="T16" fmla="*/ 1749 w 2880"/>
              <a:gd name="T17" fmla="*/ 573 h 1146"/>
              <a:gd name="T18" fmla="*/ 1440 w 2880"/>
              <a:gd name="T19" fmla="*/ 881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0" h="1146">
                <a:moveTo>
                  <a:pt x="0" y="0"/>
                </a:moveTo>
                <a:cubicBezTo>
                  <a:pt x="0" y="1146"/>
                  <a:pt x="0" y="1146"/>
                  <a:pt x="0" y="1146"/>
                </a:cubicBezTo>
                <a:cubicBezTo>
                  <a:pt x="2880" y="1146"/>
                  <a:pt x="2880" y="1146"/>
                  <a:pt x="2880" y="1146"/>
                </a:cubicBezTo>
                <a:cubicBezTo>
                  <a:pt x="2880" y="0"/>
                  <a:pt x="2880" y="0"/>
                  <a:pt x="2880" y="0"/>
                </a:cubicBezTo>
                <a:lnTo>
                  <a:pt x="0" y="0"/>
                </a:lnTo>
                <a:close/>
                <a:moveTo>
                  <a:pt x="1440" y="881"/>
                </a:moveTo>
                <a:cubicBezTo>
                  <a:pt x="1270" y="881"/>
                  <a:pt x="1131" y="743"/>
                  <a:pt x="1131" y="573"/>
                </a:cubicBezTo>
                <a:cubicBezTo>
                  <a:pt x="1131" y="402"/>
                  <a:pt x="1270" y="264"/>
                  <a:pt x="1440" y="264"/>
                </a:cubicBezTo>
                <a:cubicBezTo>
                  <a:pt x="1610" y="264"/>
                  <a:pt x="1749" y="402"/>
                  <a:pt x="1749" y="573"/>
                </a:cubicBezTo>
                <a:cubicBezTo>
                  <a:pt x="1749" y="743"/>
                  <a:pt x="1610" y="881"/>
                  <a:pt x="1440" y="881"/>
                </a:cubicBezTo>
                <a:close/>
              </a:path>
            </a:pathLst>
          </a:custGeom>
          <a:solidFill>
            <a:schemeClr val="accent5">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829" name="Oval 449" hidden="1"/>
          <p:cNvSpPr>
            <a:spLocks noChangeArrowheads="1"/>
          </p:cNvSpPr>
          <p:nvPr/>
        </p:nvSpPr>
        <p:spPr bwMode="auto">
          <a:xfrm>
            <a:off x="1376363" y="1918701"/>
            <a:ext cx="1968817" cy="1967473"/>
          </a:xfrm>
          <a:prstGeom prst="ellipse">
            <a:avLst/>
          </a:prstGeom>
          <a:gradFill>
            <a:gsLst>
              <a:gs pos="70000">
                <a:srgbClr val="B1D1FA">
                  <a:alpha val="15000"/>
                </a:srgbClr>
              </a:gs>
              <a:gs pos="0">
                <a:schemeClr val="bg1">
                  <a:lumMod val="95000"/>
                  <a:alpha val="13000"/>
                </a:schemeClr>
              </a:gs>
              <a:gs pos="100000">
                <a:schemeClr val="accent1">
                  <a:lumMod val="30000"/>
                  <a:lumOff val="70000"/>
                  <a:alpha val="42000"/>
                </a:schemeClr>
              </a:gs>
            </a:gsLst>
            <a:lin ang="5400000" scaled="1"/>
          </a:gradFill>
          <a:ln w="15875" cap="flat">
            <a:solidFill>
              <a:schemeClr val="tx1">
                <a:lumMod val="20000"/>
                <a:lumOff val="80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en-US" dirty="0" smtClean="0"/>
              <a:t>By 2020…</a:t>
            </a:r>
            <a:endParaRPr lang="en-US" dirty="0"/>
          </a:p>
        </p:txBody>
      </p:sp>
      <p:sp>
        <p:nvSpPr>
          <p:cNvPr id="2051" name="Oval 449"/>
          <p:cNvSpPr>
            <a:spLocks noChangeArrowheads="1"/>
          </p:cNvSpPr>
          <p:nvPr/>
        </p:nvSpPr>
        <p:spPr bwMode="auto">
          <a:xfrm>
            <a:off x="835343" y="1378052"/>
            <a:ext cx="3050858" cy="3048772"/>
          </a:xfrm>
          <a:prstGeom prst="donut">
            <a:avLst>
              <a:gd name="adj" fmla="val 17572"/>
            </a:avLst>
          </a:prstGeom>
          <a:gradFill flip="none" rotWithShape="1">
            <a:gsLst>
              <a:gs pos="0">
                <a:schemeClr val="bg1">
                  <a:lumMod val="95000"/>
                  <a:alpha val="55000"/>
                </a:schemeClr>
              </a:gs>
              <a:gs pos="100000">
                <a:srgbClr val="004BAF">
                  <a:alpha val="0"/>
                </a:srgbClr>
              </a:gs>
            </a:gsLst>
            <a:path path="circle">
              <a:fillToRect l="50000" t="50000" r="50000" b="50000"/>
            </a:path>
            <a:tileRect/>
          </a:gra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2" name="Group 230"/>
          <p:cNvGrpSpPr/>
          <p:nvPr/>
        </p:nvGrpSpPr>
        <p:grpSpPr>
          <a:xfrm>
            <a:off x="3217773" y="1643864"/>
            <a:ext cx="585870" cy="585871"/>
            <a:chOff x="2249481" y="2268560"/>
            <a:chExt cx="770091" cy="770092"/>
          </a:xfrm>
          <a:solidFill>
            <a:srgbClr val="FFFFFF"/>
          </a:solidFill>
        </p:grpSpPr>
        <p:sp>
          <p:nvSpPr>
            <p:cNvPr id="1831" name="Oval 1830"/>
            <p:cNvSpPr/>
            <p:nvPr/>
          </p:nvSpPr>
          <p:spPr>
            <a:xfrm>
              <a:off x="2249481" y="22685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mj-lt"/>
                <a:ea typeface="+mn-ea"/>
                <a:cs typeface="+mn-cs"/>
              </a:endParaRPr>
            </a:p>
          </p:txBody>
        </p:sp>
        <p:grpSp>
          <p:nvGrpSpPr>
            <p:cNvPr id="3" name="Group 140"/>
            <p:cNvGrpSpPr/>
            <p:nvPr/>
          </p:nvGrpSpPr>
          <p:grpSpPr>
            <a:xfrm>
              <a:off x="2449659" y="2451385"/>
              <a:ext cx="369735" cy="404442"/>
              <a:chOff x="2447795" y="2424132"/>
              <a:chExt cx="369735" cy="404442"/>
            </a:xfrm>
            <a:grpFill/>
          </p:grpSpPr>
          <p:sp>
            <p:nvSpPr>
              <p:cNvPr id="1833" name="Freeform 6"/>
              <p:cNvSpPr>
                <a:spLocks noEditPoints="1"/>
              </p:cNvSpPr>
              <p:nvPr/>
            </p:nvSpPr>
            <p:spPr bwMode="auto">
              <a:xfrm>
                <a:off x="2447795" y="2424132"/>
                <a:ext cx="369735" cy="404442"/>
              </a:xfrm>
              <a:custGeom>
                <a:avLst/>
                <a:gdLst>
                  <a:gd name="T0" fmla="*/ 210 w 221"/>
                  <a:gd name="T1" fmla="*/ 234 h 242"/>
                  <a:gd name="T2" fmla="*/ 206 w 221"/>
                  <a:gd name="T3" fmla="*/ 16 h 242"/>
                  <a:gd name="T4" fmla="*/ 125 w 221"/>
                  <a:gd name="T5" fmla="*/ 20 h 242"/>
                  <a:gd name="T6" fmla="*/ 117 w 221"/>
                  <a:gd name="T7" fmla="*/ 38 h 242"/>
                  <a:gd name="T8" fmla="*/ 113 w 221"/>
                  <a:gd name="T9" fmla="*/ 16 h 242"/>
                  <a:gd name="T10" fmla="*/ 95 w 221"/>
                  <a:gd name="T11" fmla="*/ 4 h 242"/>
                  <a:gd name="T12" fmla="*/ 87 w 221"/>
                  <a:gd name="T13" fmla="*/ 4 h 242"/>
                  <a:gd name="T14" fmla="*/ 69 w 221"/>
                  <a:gd name="T15" fmla="*/ 16 h 242"/>
                  <a:gd name="T16" fmla="*/ 65 w 221"/>
                  <a:gd name="T17" fmla="*/ 38 h 242"/>
                  <a:gd name="T18" fmla="*/ 49 w 221"/>
                  <a:gd name="T19" fmla="*/ 42 h 242"/>
                  <a:gd name="T20" fmla="*/ 15 w 221"/>
                  <a:gd name="T21" fmla="*/ 76 h 242"/>
                  <a:gd name="T22" fmla="*/ 11 w 221"/>
                  <a:gd name="T23" fmla="*/ 234 h 242"/>
                  <a:gd name="T24" fmla="*/ 0 w 221"/>
                  <a:gd name="T25" fmla="*/ 238 h 242"/>
                  <a:gd name="T26" fmla="*/ 217 w 221"/>
                  <a:gd name="T27" fmla="*/ 242 h 242"/>
                  <a:gd name="T28" fmla="*/ 217 w 221"/>
                  <a:gd name="T29" fmla="*/ 234 h 242"/>
                  <a:gd name="T30" fmla="*/ 202 w 221"/>
                  <a:gd name="T31" fmla="*/ 24 h 242"/>
                  <a:gd name="T32" fmla="*/ 172 w 221"/>
                  <a:gd name="T33" fmla="*/ 234 h 242"/>
                  <a:gd name="T34" fmla="*/ 172 w 221"/>
                  <a:gd name="T35" fmla="*/ 124 h 242"/>
                  <a:gd name="T36" fmla="*/ 163 w 221"/>
                  <a:gd name="T37" fmla="*/ 124 h 242"/>
                  <a:gd name="T38" fmla="*/ 155 w 221"/>
                  <a:gd name="T39" fmla="*/ 125 h 242"/>
                  <a:gd name="T40" fmla="*/ 151 w 221"/>
                  <a:gd name="T41" fmla="*/ 119 h 242"/>
                  <a:gd name="T42" fmla="*/ 147 w 221"/>
                  <a:gd name="T43" fmla="*/ 125 h 242"/>
                  <a:gd name="T44" fmla="*/ 133 w 221"/>
                  <a:gd name="T45" fmla="*/ 42 h 242"/>
                  <a:gd name="T46" fmla="*/ 73 w 221"/>
                  <a:gd name="T47" fmla="*/ 24 h 242"/>
                  <a:gd name="T48" fmla="*/ 109 w 221"/>
                  <a:gd name="T49" fmla="*/ 38 h 242"/>
                  <a:gd name="T50" fmla="*/ 73 w 221"/>
                  <a:gd name="T51" fmla="*/ 24 h 242"/>
                  <a:gd name="T52" fmla="*/ 125 w 221"/>
                  <a:gd name="T53" fmla="*/ 46 h 242"/>
                  <a:gd name="T54" fmla="*/ 95 w 221"/>
                  <a:gd name="T55" fmla="*/ 125 h 242"/>
                  <a:gd name="T56" fmla="*/ 108 w 221"/>
                  <a:gd name="T57" fmla="*/ 111 h 242"/>
                  <a:gd name="T58" fmla="*/ 108 w 221"/>
                  <a:gd name="T59" fmla="*/ 103 h 242"/>
                  <a:gd name="T60" fmla="*/ 95 w 221"/>
                  <a:gd name="T61" fmla="*/ 89 h 242"/>
                  <a:gd name="T62" fmla="*/ 112 w 221"/>
                  <a:gd name="T63" fmla="*/ 85 h 242"/>
                  <a:gd name="T64" fmla="*/ 95 w 221"/>
                  <a:gd name="T65" fmla="*/ 81 h 242"/>
                  <a:gd name="T66" fmla="*/ 91 w 221"/>
                  <a:gd name="T67" fmla="*/ 76 h 242"/>
                  <a:gd name="T68" fmla="*/ 57 w 221"/>
                  <a:gd name="T69" fmla="*/ 46 h 242"/>
                  <a:gd name="T70" fmla="*/ 87 w 221"/>
                  <a:gd name="T71" fmla="*/ 84 h 242"/>
                  <a:gd name="T72" fmla="*/ 87 w 221"/>
                  <a:gd name="T73" fmla="*/ 136 h 242"/>
                  <a:gd name="T74" fmla="*/ 68 w 221"/>
                  <a:gd name="T75" fmla="*/ 234 h 242"/>
                  <a:gd name="T76" fmla="*/ 64 w 221"/>
                  <a:gd name="T77" fmla="*/ 212 h 242"/>
                  <a:gd name="T78" fmla="*/ 38 w 221"/>
                  <a:gd name="T79" fmla="*/ 216 h 242"/>
                  <a:gd name="T80" fmla="*/ 19 w 221"/>
                  <a:gd name="T81" fmla="*/ 234 h 242"/>
                  <a:gd name="T82" fmla="*/ 57 w 221"/>
                  <a:gd name="T83" fmla="*/ 234 h 242"/>
                  <a:gd name="T84" fmla="*/ 53 w 221"/>
                  <a:gd name="T85" fmla="*/ 223 h 242"/>
                  <a:gd name="T86" fmla="*/ 49 w 221"/>
                  <a:gd name="T87" fmla="*/ 234 h 242"/>
                  <a:gd name="T88" fmla="*/ 46 w 221"/>
                  <a:gd name="T89" fmla="*/ 220 h 242"/>
                  <a:gd name="T90" fmla="*/ 60 w 221"/>
                  <a:gd name="T91" fmla="*/ 234 h 242"/>
                  <a:gd name="T92" fmla="*/ 95 w 221"/>
                  <a:gd name="T93" fmla="*/ 234 h 242"/>
                  <a:gd name="T94" fmla="*/ 95 w 221"/>
                  <a:gd name="T95" fmla="*/ 133 h 242"/>
                  <a:gd name="T96" fmla="*/ 163 w 221"/>
                  <a:gd name="T97" fmla="*/ 234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1" h="242">
                    <a:moveTo>
                      <a:pt x="217" y="234"/>
                    </a:moveTo>
                    <a:cubicBezTo>
                      <a:pt x="210" y="234"/>
                      <a:pt x="210" y="234"/>
                      <a:pt x="210" y="234"/>
                    </a:cubicBezTo>
                    <a:cubicBezTo>
                      <a:pt x="210" y="20"/>
                      <a:pt x="210" y="20"/>
                      <a:pt x="210" y="20"/>
                    </a:cubicBezTo>
                    <a:cubicBezTo>
                      <a:pt x="210" y="18"/>
                      <a:pt x="208" y="16"/>
                      <a:pt x="206" y="16"/>
                    </a:cubicBezTo>
                    <a:cubicBezTo>
                      <a:pt x="129" y="16"/>
                      <a:pt x="129" y="16"/>
                      <a:pt x="129" y="16"/>
                    </a:cubicBezTo>
                    <a:cubicBezTo>
                      <a:pt x="127" y="16"/>
                      <a:pt x="125" y="18"/>
                      <a:pt x="125" y="20"/>
                    </a:cubicBezTo>
                    <a:cubicBezTo>
                      <a:pt x="125" y="38"/>
                      <a:pt x="125" y="38"/>
                      <a:pt x="125" y="38"/>
                    </a:cubicBezTo>
                    <a:cubicBezTo>
                      <a:pt x="117" y="38"/>
                      <a:pt x="117" y="38"/>
                      <a:pt x="117" y="38"/>
                    </a:cubicBezTo>
                    <a:cubicBezTo>
                      <a:pt x="117" y="20"/>
                      <a:pt x="117" y="20"/>
                      <a:pt x="117" y="20"/>
                    </a:cubicBezTo>
                    <a:cubicBezTo>
                      <a:pt x="117" y="18"/>
                      <a:pt x="115" y="16"/>
                      <a:pt x="113" y="16"/>
                    </a:cubicBezTo>
                    <a:cubicBezTo>
                      <a:pt x="95" y="16"/>
                      <a:pt x="95" y="16"/>
                      <a:pt x="95" y="16"/>
                    </a:cubicBezTo>
                    <a:cubicBezTo>
                      <a:pt x="95" y="4"/>
                      <a:pt x="95" y="4"/>
                      <a:pt x="95" y="4"/>
                    </a:cubicBezTo>
                    <a:cubicBezTo>
                      <a:pt x="95" y="1"/>
                      <a:pt x="93" y="0"/>
                      <a:pt x="91" y="0"/>
                    </a:cubicBezTo>
                    <a:cubicBezTo>
                      <a:pt x="89" y="0"/>
                      <a:pt x="87" y="1"/>
                      <a:pt x="87" y="4"/>
                    </a:cubicBezTo>
                    <a:cubicBezTo>
                      <a:pt x="87" y="16"/>
                      <a:pt x="87" y="16"/>
                      <a:pt x="87" y="16"/>
                    </a:cubicBezTo>
                    <a:cubicBezTo>
                      <a:pt x="69" y="16"/>
                      <a:pt x="69" y="16"/>
                      <a:pt x="69" y="16"/>
                    </a:cubicBezTo>
                    <a:cubicBezTo>
                      <a:pt x="67" y="16"/>
                      <a:pt x="65" y="18"/>
                      <a:pt x="65" y="20"/>
                    </a:cubicBezTo>
                    <a:cubicBezTo>
                      <a:pt x="65" y="38"/>
                      <a:pt x="65" y="38"/>
                      <a:pt x="65" y="38"/>
                    </a:cubicBezTo>
                    <a:cubicBezTo>
                      <a:pt x="53" y="38"/>
                      <a:pt x="53" y="38"/>
                      <a:pt x="53" y="38"/>
                    </a:cubicBezTo>
                    <a:cubicBezTo>
                      <a:pt x="51" y="38"/>
                      <a:pt x="49" y="39"/>
                      <a:pt x="49" y="42"/>
                    </a:cubicBezTo>
                    <a:cubicBezTo>
                      <a:pt x="49" y="76"/>
                      <a:pt x="49" y="76"/>
                      <a:pt x="49" y="76"/>
                    </a:cubicBezTo>
                    <a:cubicBezTo>
                      <a:pt x="15" y="76"/>
                      <a:pt x="15" y="76"/>
                      <a:pt x="15" y="76"/>
                    </a:cubicBezTo>
                    <a:cubicBezTo>
                      <a:pt x="13" y="76"/>
                      <a:pt x="11" y="78"/>
                      <a:pt x="11" y="80"/>
                    </a:cubicBezTo>
                    <a:cubicBezTo>
                      <a:pt x="11" y="234"/>
                      <a:pt x="11" y="234"/>
                      <a:pt x="11" y="234"/>
                    </a:cubicBezTo>
                    <a:cubicBezTo>
                      <a:pt x="4" y="234"/>
                      <a:pt x="4" y="234"/>
                      <a:pt x="4" y="234"/>
                    </a:cubicBezTo>
                    <a:cubicBezTo>
                      <a:pt x="2" y="234"/>
                      <a:pt x="0" y="236"/>
                      <a:pt x="0" y="238"/>
                    </a:cubicBezTo>
                    <a:cubicBezTo>
                      <a:pt x="0" y="240"/>
                      <a:pt x="2" y="242"/>
                      <a:pt x="4" y="242"/>
                    </a:cubicBezTo>
                    <a:cubicBezTo>
                      <a:pt x="217" y="242"/>
                      <a:pt x="217" y="242"/>
                      <a:pt x="217" y="242"/>
                    </a:cubicBezTo>
                    <a:cubicBezTo>
                      <a:pt x="219" y="242"/>
                      <a:pt x="221" y="240"/>
                      <a:pt x="221" y="238"/>
                    </a:cubicBezTo>
                    <a:cubicBezTo>
                      <a:pt x="221" y="236"/>
                      <a:pt x="219" y="234"/>
                      <a:pt x="217" y="234"/>
                    </a:cubicBezTo>
                    <a:moveTo>
                      <a:pt x="133" y="24"/>
                    </a:moveTo>
                    <a:cubicBezTo>
                      <a:pt x="202" y="24"/>
                      <a:pt x="202" y="24"/>
                      <a:pt x="202" y="24"/>
                    </a:cubicBezTo>
                    <a:cubicBezTo>
                      <a:pt x="202" y="234"/>
                      <a:pt x="202" y="234"/>
                      <a:pt x="202" y="234"/>
                    </a:cubicBezTo>
                    <a:cubicBezTo>
                      <a:pt x="172" y="234"/>
                      <a:pt x="172" y="234"/>
                      <a:pt x="172" y="234"/>
                    </a:cubicBezTo>
                    <a:cubicBezTo>
                      <a:pt x="172" y="129"/>
                      <a:pt x="172" y="129"/>
                      <a:pt x="172" y="129"/>
                    </a:cubicBezTo>
                    <a:cubicBezTo>
                      <a:pt x="172" y="124"/>
                      <a:pt x="172" y="124"/>
                      <a:pt x="172" y="124"/>
                    </a:cubicBezTo>
                    <a:cubicBezTo>
                      <a:pt x="172" y="121"/>
                      <a:pt x="170" y="119"/>
                      <a:pt x="168" y="119"/>
                    </a:cubicBezTo>
                    <a:cubicBezTo>
                      <a:pt x="165" y="119"/>
                      <a:pt x="163" y="121"/>
                      <a:pt x="163" y="124"/>
                    </a:cubicBezTo>
                    <a:cubicBezTo>
                      <a:pt x="163" y="125"/>
                      <a:pt x="163" y="125"/>
                      <a:pt x="163" y="125"/>
                    </a:cubicBezTo>
                    <a:cubicBezTo>
                      <a:pt x="155" y="125"/>
                      <a:pt x="155" y="125"/>
                      <a:pt x="155" y="125"/>
                    </a:cubicBezTo>
                    <a:cubicBezTo>
                      <a:pt x="155" y="124"/>
                      <a:pt x="155" y="124"/>
                      <a:pt x="155" y="124"/>
                    </a:cubicBezTo>
                    <a:cubicBezTo>
                      <a:pt x="155" y="121"/>
                      <a:pt x="153" y="119"/>
                      <a:pt x="151" y="119"/>
                    </a:cubicBezTo>
                    <a:cubicBezTo>
                      <a:pt x="149" y="119"/>
                      <a:pt x="147" y="121"/>
                      <a:pt x="147" y="124"/>
                    </a:cubicBezTo>
                    <a:cubicBezTo>
                      <a:pt x="147" y="125"/>
                      <a:pt x="147" y="125"/>
                      <a:pt x="147" y="125"/>
                    </a:cubicBezTo>
                    <a:cubicBezTo>
                      <a:pt x="133" y="125"/>
                      <a:pt x="133" y="125"/>
                      <a:pt x="133" y="125"/>
                    </a:cubicBezTo>
                    <a:cubicBezTo>
                      <a:pt x="133" y="42"/>
                      <a:pt x="133" y="42"/>
                      <a:pt x="133" y="42"/>
                    </a:cubicBezTo>
                    <a:lnTo>
                      <a:pt x="133" y="24"/>
                    </a:lnTo>
                    <a:close/>
                    <a:moveTo>
                      <a:pt x="73" y="24"/>
                    </a:moveTo>
                    <a:cubicBezTo>
                      <a:pt x="109" y="24"/>
                      <a:pt x="109" y="24"/>
                      <a:pt x="109" y="24"/>
                    </a:cubicBezTo>
                    <a:cubicBezTo>
                      <a:pt x="109" y="38"/>
                      <a:pt x="109" y="38"/>
                      <a:pt x="109" y="38"/>
                    </a:cubicBezTo>
                    <a:cubicBezTo>
                      <a:pt x="73" y="38"/>
                      <a:pt x="73" y="38"/>
                      <a:pt x="73" y="38"/>
                    </a:cubicBezTo>
                    <a:lnTo>
                      <a:pt x="73" y="24"/>
                    </a:lnTo>
                    <a:close/>
                    <a:moveTo>
                      <a:pt x="57" y="46"/>
                    </a:moveTo>
                    <a:cubicBezTo>
                      <a:pt x="125" y="46"/>
                      <a:pt x="125" y="46"/>
                      <a:pt x="125" y="46"/>
                    </a:cubicBezTo>
                    <a:cubicBezTo>
                      <a:pt x="125" y="125"/>
                      <a:pt x="125" y="125"/>
                      <a:pt x="125" y="125"/>
                    </a:cubicBezTo>
                    <a:cubicBezTo>
                      <a:pt x="95" y="125"/>
                      <a:pt x="95" y="125"/>
                      <a:pt x="95" y="125"/>
                    </a:cubicBezTo>
                    <a:cubicBezTo>
                      <a:pt x="95" y="111"/>
                      <a:pt x="95" y="111"/>
                      <a:pt x="95" y="111"/>
                    </a:cubicBezTo>
                    <a:cubicBezTo>
                      <a:pt x="108" y="111"/>
                      <a:pt x="108" y="111"/>
                      <a:pt x="108" y="111"/>
                    </a:cubicBezTo>
                    <a:cubicBezTo>
                      <a:pt x="110" y="111"/>
                      <a:pt x="112" y="109"/>
                      <a:pt x="112" y="107"/>
                    </a:cubicBezTo>
                    <a:cubicBezTo>
                      <a:pt x="112" y="105"/>
                      <a:pt x="110" y="103"/>
                      <a:pt x="108" y="103"/>
                    </a:cubicBezTo>
                    <a:cubicBezTo>
                      <a:pt x="95" y="103"/>
                      <a:pt x="95" y="103"/>
                      <a:pt x="95" y="103"/>
                    </a:cubicBezTo>
                    <a:cubicBezTo>
                      <a:pt x="95" y="89"/>
                      <a:pt x="95" y="89"/>
                      <a:pt x="95" y="89"/>
                    </a:cubicBezTo>
                    <a:cubicBezTo>
                      <a:pt x="108" y="89"/>
                      <a:pt x="108" y="89"/>
                      <a:pt x="108" y="89"/>
                    </a:cubicBezTo>
                    <a:cubicBezTo>
                      <a:pt x="110" y="89"/>
                      <a:pt x="112" y="88"/>
                      <a:pt x="112" y="85"/>
                    </a:cubicBezTo>
                    <a:cubicBezTo>
                      <a:pt x="112" y="83"/>
                      <a:pt x="110" y="81"/>
                      <a:pt x="108" y="81"/>
                    </a:cubicBezTo>
                    <a:cubicBezTo>
                      <a:pt x="95" y="81"/>
                      <a:pt x="95" y="81"/>
                      <a:pt x="95" y="81"/>
                    </a:cubicBezTo>
                    <a:cubicBezTo>
                      <a:pt x="95" y="80"/>
                      <a:pt x="95" y="80"/>
                      <a:pt x="95" y="80"/>
                    </a:cubicBezTo>
                    <a:cubicBezTo>
                      <a:pt x="95" y="78"/>
                      <a:pt x="93" y="76"/>
                      <a:pt x="91" y="76"/>
                    </a:cubicBezTo>
                    <a:cubicBezTo>
                      <a:pt x="57" y="76"/>
                      <a:pt x="57" y="76"/>
                      <a:pt x="57" y="76"/>
                    </a:cubicBezTo>
                    <a:lnTo>
                      <a:pt x="57" y="46"/>
                    </a:lnTo>
                    <a:close/>
                    <a:moveTo>
                      <a:pt x="19" y="84"/>
                    </a:moveTo>
                    <a:cubicBezTo>
                      <a:pt x="87" y="84"/>
                      <a:pt x="87" y="84"/>
                      <a:pt x="87" y="84"/>
                    </a:cubicBezTo>
                    <a:cubicBezTo>
                      <a:pt x="87" y="129"/>
                      <a:pt x="87" y="129"/>
                      <a:pt x="87" y="129"/>
                    </a:cubicBezTo>
                    <a:cubicBezTo>
                      <a:pt x="87" y="136"/>
                      <a:pt x="87" y="136"/>
                      <a:pt x="87" y="136"/>
                    </a:cubicBezTo>
                    <a:cubicBezTo>
                      <a:pt x="87" y="234"/>
                      <a:pt x="87" y="234"/>
                      <a:pt x="87" y="234"/>
                    </a:cubicBezTo>
                    <a:cubicBezTo>
                      <a:pt x="68" y="234"/>
                      <a:pt x="68" y="234"/>
                      <a:pt x="68" y="234"/>
                    </a:cubicBezTo>
                    <a:cubicBezTo>
                      <a:pt x="68" y="216"/>
                      <a:pt x="68" y="216"/>
                      <a:pt x="68" y="216"/>
                    </a:cubicBezTo>
                    <a:cubicBezTo>
                      <a:pt x="68" y="214"/>
                      <a:pt x="66" y="212"/>
                      <a:pt x="64" y="212"/>
                    </a:cubicBezTo>
                    <a:cubicBezTo>
                      <a:pt x="42" y="212"/>
                      <a:pt x="42" y="212"/>
                      <a:pt x="42" y="212"/>
                    </a:cubicBezTo>
                    <a:cubicBezTo>
                      <a:pt x="40" y="212"/>
                      <a:pt x="38" y="214"/>
                      <a:pt x="38" y="216"/>
                    </a:cubicBezTo>
                    <a:cubicBezTo>
                      <a:pt x="38" y="234"/>
                      <a:pt x="38" y="234"/>
                      <a:pt x="38" y="234"/>
                    </a:cubicBezTo>
                    <a:cubicBezTo>
                      <a:pt x="19" y="234"/>
                      <a:pt x="19" y="234"/>
                      <a:pt x="19" y="234"/>
                    </a:cubicBezTo>
                    <a:lnTo>
                      <a:pt x="19" y="84"/>
                    </a:lnTo>
                    <a:close/>
                    <a:moveTo>
                      <a:pt x="57" y="234"/>
                    </a:moveTo>
                    <a:cubicBezTo>
                      <a:pt x="57" y="227"/>
                      <a:pt x="57" y="227"/>
                      <a:pt x="57" y="227"/>
                    </a:cubicBezTo>
                    <a:cubicBezTo>
                      <a:pt x="57" y="225"/>
                      <a:pt x="55" y="223"/>
                      <a:pt x="53" y="223"/>
                    </a:cubicBezTo>
                    <a:cubicBezTo>
                      <a:pt x="51" y="223"/>
                      <a:pt x="49" y="225"/>
                      <a:pt x="49" y="227"/>
                    </a:cubicBezTo>
                    <a:cubicBezTo>
                      <a:pt x="49" y="234"/>
                      <a:pt x="49" y="234"/>
                      <a:pt x="49" y="234"/>
                    </a:cubicBezTo>
                    <a:cubicBezTo>
                      <a:pt x="46" y="234"/>
                      <a:pt x="46" y="234"/>
                      <a:pt x="46" y="234"/>
                    </a:cubicBezTo>
                    <a:cubicBezTo>
                      <a:pt x="46" y="220"/>
                      <a:pt x="46" y="220"/>
                      <a:pt x="46" y="220"/>
                    </a:cubicBezTo>
                    <a:cubicBezTo>
                      <a:pt x="60" y="220"/>
                      <a:pt x="60" y="220"/>
                      <a:pt x="60" y="220"/>
                    </a:cubicBezTo>
                    <a:cubicBezTo>
                      <a:pt x="60" y="234"/>
                      <a:pt x="60" y="234"/>
                      <a:pt x="60" y="234"/>
                    </a:cubicBezTo>
                    <a:lnTo>
                      <a:pt x="57" y="234"/>
                    </a:lnTo>
                    <a:close/>
                    <a:moveTo>
                      <a:pt x="95" y="234"/>
                    </a:moveTo>
                    <a:cubicBezTo>
                      <a:pt x="95" y="136"/>
                      <a:pt x="95" y="136"/>
                      <a:pt x="95" y="136"/>
                    </a:cubicBezTo>
                    <a:cubicBezTo>
                      <a:pt x="95" y="133"/>
                      <a:pt x="95" y="133"/>
                      <a:pt x="95" y="133"/>
                    </a:cubicBezTo>
                    <a:cubicBezTo>
                      <a:pt x="163" y="133"/>
                      <a:pt x="163" y="133"/>
                      <a:pt x="163" y="133"/>
                    </a:cubicBezTo>
                    <a:cubicBezTo>
                      <a:pt x="163" y="234"/>
                      <a:pt x="163" y="234"/>
                      <a:pt x="163" y="234"/>
                    </a:cubicBezTo>
                    <a:lnTo>
                      <a:pt x="95" y="2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34" name="Freeform 7"/>
              <p:cNvSpPr>
                <a:spLocks/>
              </p:cNvSpPr>
              <p:nvPr/>
            </p:nvSpPr>
            <p:spPr bwMode="auto">
              <a:xfrm>
                <a:off x="2630538" y="2659997"/>
                <a:ext cx="13458" cy="142369"/>
              </a:xfrm>
              <a:custGeom>
                <a:avLst/>
                <a:gdLst>
                  <a:gd name="T0" fmla="*/ 4 w 8"/>
                  <a:gd name="T1" fmla="*/ 0 h 85"/>
                  <a:gd name="T2" fmla="*/ 0 w 8"/>
                  <a:gd name="T3" fmla="*/ 4 h 85"/>
                  <a:gd name="T4" fmla="*/ 0 w 8"/>
                  <a:gd name="T5" fmla="*/ 81 h 85"/>
                  <a:gd name="T6" fmla="*/ 4 w 8"/>
                  <a:gd name="T7" fmla="*/ 85 h 85"/>
                  <a:gd name="T8" fmla="*/ 8 w 8"/>
                  <a:gd name="T9" fmla="*/ 81 h 85"/>
                  <a:gd name="T10" fmla="*/ 8 w 8"/>
                  <a:gd name="T11" fmla="*/ 4 h 85"/>
                  <a:gd name="T12" fmla="*/ 4 w 8"/>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8" h="85">
                    <a:moveTo>
                      <a:pt x="4" y="0"/>
                    </a:moveTo>
                    <a:cubicBezTo>
                      <a:pt x="2" y="0"/>
                      <a:pt x="0" y="2"/>
                      <a:pt x="0" y="4"/>
                    </a:cubicBezTo>
                    <a:cubicBezTo>
                      <a:pt x="0" y="81"/>
                      <a:pt x="0" y="81"/>
                      <a:pt x="0" y="81"/>
                    </a:cubicBezTo>
                    <a:cubicBezTo>
                      <a:pt x="0" y="83"/>
                      <a:pt x="2" y="85"/>
                      <a:pt x="4" y="85"/>
                    </a:cubicBezTo>
                    <a:cubicBezTo>
                      <a:pt x="6" y="85"/>
                      <a:pt x="8" y="83"/>
                      <a:pt x="8" y="81"/>
                    </a:cubicBezTo>
                    <a:cubicBezTo>
                      <a:pt x="8" y="4"/>
                      <a:pt x="8" y="4"/>
                      <a:pt x="8" y="4"/>
                    </a:cubicBezTo>
                    <a:cubicBezTo>
                      <a:pt x="8" y="2"/>
                      <a:pt x="6" y="0"/>
                      <a:pt x="4"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35" name="Freeform 8"/>
              <p:cNvSpPr>
                <a:spLocks/>
              </p:cNvSpPr>
              <p:nvPr/>
            </p:nvSpPr>
            <p:spPr bwMode="auto">
              <a:xfrm>
                <a:off x="2656745" y="2659997"/>
                <a:ext cx="13458" cy="142369"/>
              </a:xfrm>
              <a:custGeom>
                <a:avLst/>
                <a:gdLst>
                  <a:gd name="T0" fmla="*/ 4 w 8"/>
                  <a:gd name="T1" fmla="*/ 0 h 85"/>
                  <a:gd name="T2" fmla="*/ 0 w 8"/>
                  <a:gd name="T3" fmla="*/ 4 h 85"/>
                  <a:gd name="T4" fmla="*/ 0 w 8"/>
                  <a:gd name="T5" fmla="*/ 81 h 85"/>
                  <a:gd name="T6" fmla="*/ 4 w 8"/>
                  <a:gd name="T7" fmla="*/ 85 h 85"/>
                  <a:gd name="T8" fmla="*/ 8 w 8"/>
                  <a:gd name="T9" fmla="*/ 81 h 85"/>
                  <a:gd name="T10" fmla="*/ 8 w 8"/>
                  <a:gd name="T11" fmla="*/ 4 h 85"/>
                  <a:gd name="T12" fmla="*/ 4 w 8"/>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8" h="85">
                    <a:moveTo>
                      <a:pt x="4" y="0"/>
                    </a:moveTo>
                    <a:cubicBezTo>
                      <a:pt x="2" y="0"/>
                      <a:pt x="0" y="2"/>
                      <a:pt x="0" y="4"/>
                    </a:cubicBezTo>
                    <a:cubicBezTo>
                      <a:pt x="0" y="81"/>
                      <a:pt x="0" y="81"/>
                      <a:pt x="0" y="81"/>
                    </a:cubicBezTo>
                    <a:cubicBezTo>
                      <a:pt x="0" y="83"/>
                      <a:pt x="2" y="85"/>
                      <a:pt x="4" y="85"/>
                    </a:cubicBezTo>
                    <a:cubicBezTo>
                      <a:pt x="7" y="85"/>
                      <a:pt x="8" y="83"/>
                      <a:pt x="8" y="81"/>
                    </a:cubicBezTo>
                    <a:cubicBezTo>
                      <a:pt x="8" y="4"/>
                      <a:pt x="8" y="4"/>
                      <a:pt x="8" y="4"/>
                    </a:cubicBezTo>
                    <a:cubicBezTo>
                      <a:pt x="8" y="2"/>
                      <a:pt x="7" y="0"/>
                      <a:pt x="4"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36" name="Freeform 9"/>
              <p:cNvSpPr>
                <a:spLocks/>
              </p:cNvSpPr>
              <p:nvPr/>
            </p:nvSpPr>
            <p:spPr bwMode="auto">
              <a:xfrm>
                <a:off x="2685786" y="2659997"/>
                <a:ext cx="13458" cy="142369"/>
              </a:xfrm>
              <a:custGeom>
                <a:avLst/>
                <a:gdLst>
                  <a:gd name="T0" fmla="*/ 4 w 8"/>
                  <a:gd name="T1" fmla="*/ 0 h 85"/>
                  <a:gd name="T2" fmla="*/ 0 w 8"/>
                  <a:gd name="T3" fmla="*/ 4 h 85"/>
                  <a:gd name="T4" fmla="*/ 0 w 8"/>
                  <a:gd name="T5" fmla="*/ 81 h 85"/>
                  <a:gd name="T6" fmla="*/ 4 w 8"/>
                  <a:gd name="T7" fmla="*/ 85 h 85"/>
                  <a:gd name="T8" fmla="*/ 8 w 8"/>
                  <a:gd name="T9" fmla="*/ 81 h 85"/>
                  <a:gd name="T10" fmla="*/ 8 w 8"/>
                  <a:gd name="T11" fmla="*/ 4 h 85"/>
                  <a:gd name="T12" fmla="*/ 4 w 8"/>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8" h="85">
                    <a:moveTo>
                      <a:pt x="4" y="0"/>
                    </a:moveTo>
                    <a:cubicBezTo>
                      <a:pt x="1" y="0"/>
                      <a:pt x="0" y="2"/>
                      <a:pt x="0" y="4"/>
                    </a:cubicBezTo>
                    <a:cubicBezTo>
                      <a:pt x="0" y="81"/>
                      <a:pt x="0" y="81"/>
                      <a:pt x="0" y="81"/>
                    </a:cubicBezTo>
                    <a:cubicBezTo>
                      <a:pt x="0" y="83"/>
                      <a:pt x="1" y="85"/>
                      <a:pt x="4" y="85"/>
                    </a:cubicBezTo>
                    <a:cubicBezTo>
                      <a:pt x="6" y="85"/>
                      <a:pt x="8" y="83"/>
                      <a:pt x="8" y="81"/>
                    </a:cubicBezTo>
                    <a:cubicBezTo>
                      <a:pt x="8" y="4"/>
                      <a:pt x="8" y="4"/>
                      <a:pt x="8" y="4"/>
                    </a:cubicBezTo>
                    <a:cubicBezTo>
                      <a:pt x="8" y="2"/>
                      <a:pt x="6" y="0"/>
                      <a:pt x="4"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37" name="Freeform 10"/>
              <p:cNvSpPr>
                <a:spLocks/>
              </p:cNvSpPr>
              <p:nvPr/>
            </p:nvSpPr>
            <p:spPr bwMode="auto">
              <a:xfrm>
                <a:off x="2693577" y="2487879"/>
                <a:ext cx="13458" cy="21249"/>
              </a:xfrm>
              <a:custGeom>
                <a:avLst/>
                <a:gdLst>
                  <a:gd name="T0" fmla="*/ 4 w 8"/>
                  <a:gd name="T1" fmla="*/ 13 h 13"/>
                  <a:gd name="T2" fmla="*/ 8 w 8"/>
                  <a:gd name="T3" fmla="*/ 9 h 13"/>
                  <a:gd name="T4" fmla="*/ 8 w 8"/>
                  <a:gd name="T5" fmla="*/ 4 h 13"/>
                  <a:gd name="T6" fmla="*/ 4 w 8"/>
                  <a:gd name="T7" fmla="*/ 0 h 13"/>
                  <a:gd name="T8" fmla="*/ 0 w 8"/>
                  <a:gd name="T9" fmla="*/ 4 h 13"/>
                  <a:gd name="T10" fmla="*/ 0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6" y="13"/>
                      <a:pt x="8" y="11"/>
                      <a:pt x="8" y="9"/>
                    </a:cubicBezTo>
                    <a:cubicBezTo>
                      <a:pt x="8" y="4"/>
                      <a:pt x="8" y="4"/>
                      <a:pt x="8" y="4"/>
                    </a:cubicBezTo>
                    <a:cubicBezTo>
                      <a:pt x="8" y="1"/>
                      <a:pt x="6" y="0"/>
                      <a:pt x="4" y="0"/>
                    </a:cubicBezTo>
                    <a:cubicBezTo>
                      <a:pt x="2" y="0"/>
                      <a:pt x="0" y="1"/>
                      <a:pt x="0" y="4"/>
                    </a:cubicBezTo>
                    <a:cubicBezTo>
                      <a:pt x="0" y="9"/>
                      <a:pt x="0" y="9"/>
                      <a:pt x="0" y="9"/>
                    </a:cubicBezTo>
                    <a:cubicBezTo>
                      <a:pt x="0" y="11"/>
                      <a:pt x="2" y="13"/>
                      <a:pt x="4" y="1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38" name="Freeform 11"/>
              <p:cNvSpPr>
                <a:spLocks/>
              </p:cNvSpPr>
              <p:nvPr/>
            </p:nvSpPr>
            <p:spPr bwMode="auto">
              <a:xfrm>
                <a:off x="2720493" y="2487879"/>
                <a:ext cx="14874" cy="21249"/>
              </a:xfrm>
              <a:custGeom>
                <a:avLst/>
                <a:gdLst>
                  <a:gd name="T0" fmla="*/ 5 w 9"/>
                  <a:gd name="T1" fmla="*/ 13 h 13"/>
                  <a:gd name="T2" fmla="*/ 9 w 9"/>
                  <a:gd name="T3" fmla="*/ 9 h 13"/>
                  <a:gd name="T4" fmla="*/ 9 w 9"/>
                  <a:gd name="T5" fmla="*/ 4 h 13"/>
                  <a:gd name="T6" fmla="*/ 5 w 9"/>
                  <a:gd name="T7" fmla="*/ 0 h 13"/>
                  <a:gd name="T8" fmla="*/ 0 w 9"/>
                  <a:gd name="T9" fmla="*/ 4 h 13"/>
                  <a:gd name="T10" fmla="*/ 0 w 9"/>
                  <a:gd name="T11" fmla="*/ 9 h 13"/>
                  <a:gd name="T12" fmla="*/ 5 w 9"/>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9" h="13">
                    <a:moveTo>
                      <a:pt x="5" y="13"/>
                    </a:moveTo>
                    <a:cubicBezTo>
                      <a:pt x="7" y="13"/>
                      <a:pt x="9" y="11"/>
                      <a:pt x="9" y="9"/>
                    </a:cubicBezTo>
                    <a:cubicBezTo>
                      <a:pt x="9" y="4"/>
                      <a:pt x="9" y="4"/>
                      <a:pt x="9" y="4"/>
                    </a:cubicBezTo>
                    <a:cubicBezTo>
                      <a:pt x="9" y="1"/>
                      <a:pt x="7" y="0"/>
                      <a:pt x="5" y="0"/>
                    </a:cubicBezTo>
                    <a:cubicBezTo>
                      <a:pt x="2" y="0"/>
                      <a:pt x="0" y="1"/>
                      <a:pt x="0" y="4"/>
                    </a:cubicBezTo>
                    <a:cubicBezTo>
                      <a:pt x="0" y="9"/>
                      <a:pt x="0" y="9"/>
                      <a:pt x="0" y="9"/>
                    </a:cubicBezTo>
                    <a:cubicBezTo>
                      <a:pt x="0" y="11"/>
                      <a:pt x="2" y="13"/>
                      <a:pt x="5" y="1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39" name="Freeform 12"/>
              <p:cNvSpPr>
                <a:spLocks/>
              </p:cNvSpPr>
              <p:nvPr/>
            </p:nvSpPr>
            <p:spPr bwMode="auto">
              <a:xfrm>
                <a:off x="2748825" y="2487879"/>
                <a:ext cx="13458" cy="21249"/>
              </a:xfrm>
              <a:custGeom>
                <a:avLst/>
                <a:gdLst>
                  <a:gd name="T0" fmla="*/ 4 w 8"/>
                  <a:gd name="T1" fmla="*/ 13 h 13"/>
                  <a:gd name="T2" fmla="*/ 8 w 8"/>
                  <a:gd name="T3" fmla="*/ 9 h 13"/>
                  <a:gd name="T4" fmla="*/ 8 w 8"/>
                  <a:gd name="T5" fmla="*/ 4 h 13"/>
                  <a:gd name="T6" fmla="*/ 4 w 8"/>
                  <a:gd name="T7" fmla="*/ 0 h 13"/>
                  <a:gd name="T8" fmla="*/ 0 w 8"/>
                  <a:gd name="T9" fmla="*/ 4 h 13"/>
                  <a:gd name="T10" fmla="*/ 0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6" y="13"/>
                      <a:pt x="8" y="11"/>
                      <a:pt x="8" y="9"/>
                    </a:cubicBezTo>
                    <a:cubicBezTo>
                      <a:pt x="8" y="4"/>
                      <a:pt x="8" y="4"/>
                      <a:pt x="8" y="4"/>
                    </a:cubicBezTo>
                    <a:cubicBezTo>
                      <a:pt x="8" y="1"/>
                      <a:pt x="6" y="0"/>
                      <a:pt x="4" y="0"/>
                    </a:cubicBezTo>
                    <a:cubicBezTo>
                      <a:pt x="2" y="0"/>
                      <a:pt x="0" y="1"/>
                      <a:pt x="0" y="4"/>
                    </a:cubicBezTo>
                    <a:cubicBezTo>
                      <a:pt x="0" y="9"/>
                      <a:pt x="0" y="9"/>
                      <a:pt x="0" y="9"/>
                    </a:cubicBezTo>
                    <a:cubicBezTo>
                      <a:pt x="0" y="11"/>
                      <a:pt x="2" y="13"/>
                      <a:pt x="4" y="1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0" name="Freeform 13"/>
              <p:cNvSpPr>
                <a:spLocks/>
              </p:cNvSpPr>
              <p:nvPr/>
            </p:nvSpPr>
            <p:spPr bwMode="auto">
              <a:xfrm>
                <a:off x="2693577" y="2532503"/>
                <a:ext cx="13458" cy="24082"/>
              </a:xfrm>
              <a:custGeom>
                <a:avLst/>
                <a:gdLst>
                  <a:gd name="T0" fmla="*/ 4 w 8"/>
                  <a:gd name="T1" fmla="*/ 14 h 14"/>
                  <a:gd name="T2" fmla="*/ 8 w 8"/>
                  <a:gd name="T3" fmla="*/ 9 h 14"/>
                  <a:gd name="T4" fmla="*/ 8 w 8"/>
                  <a:gd name="T5" fmla="*/ 4 h 14"/>
                  <a:gd name="T6" fmla="*/ 4 w 8"/>
                  <a:gd name="T7" fmla="*/ 0 h 14"/>
                  <a:gd name="T8" fmla="*/ 0 w 8"/>
                  <a:gd name="T9" fmla="*/ 4 h 14"/>
                  <a:gd name="T10" fmla="*/ 0 w 8"/>
                  <a:gd name="T11" fmla="*/ 9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9"/>
                    </a:cubicBezTo>
                    <a:cubicBezTo>
                      <a:pt x="8" y="4"/>
                      <a:pt x="8" y="4"/>
                      <a:pt x="8" y="4"/>
                    </a:cubicBezTo>
                    <a:cubicBezTo>
                      <a:pt x="8" y="2"/>
                      <a:pt x="6" y="0"/>
                      <a:pt x="4" y="0"/>
                    </a:cubicBezTo>
                    <a:cubicBezTo>
                      <a:pt x="2" y="0"/>
                      <a:pt x="0" y="2"/>
                      <a:pt x="0" y="4"/>
                    </a:cubicBezTo>
                    <a:cubicBezTo>
                      <a:pt x="0" y="9"/>
                      <a:pt x="0" y="9"/>
                      <a:pt x="0" y="9"/>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1" name="Freeform 14"/>
              <p:cNvSpPr>
                <a:spLocks/>
              </p:cNvSpPr>
              <p:nvPr/>
            </p:nvSpPr>
            <p:spPr bwMode="auto">
              <a:xfrm>
                <a:off x="2720493" y="2532503"/>
                <a:ext cx="14874" cy="24082"/>
              </a:xfrm>
              <a:custGeom>
                <a:avLst/>
                <a:gdLst>
                  <a:gd name="T0" fmla="*/ 5 w 9"/>
                  <a:gd name="T1" fmla="*/ 14 h 14"/>
                  <a:gd name="T2" fmla="*/ 9 w 9"/>
                  <a:gd name="T3" fmla="*/ 9 h 14"/>
                  <a:gd name="T4" fmla="*/ 9 w 9"/>
                  <a:gd name="T5" fmla="*/ 4 h 14"/>
                  <a:gd name="T6" fmla="*/ 5 w 9"/>
                  <a:gd name="T7" fmla="*/ 0 h 14"/>
                  <a:gd name="T8" fmla="*/ 0 w 9"/>
                  <a:gd name="T9" fmla="*/ 4 h 14"/>
                  <a:gd name="T10" fmla="*/ 0 w 9"/>
                  <a:gd name="T11" fmla="*/ 9 h 14"/>
                  <a:gd name="T12" fmla="*/ 5 w 9"/>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5" y="14"/>
                    </a:moveTo>
                    <a:cubicBezTo>
                      <a:pt x="7" y="14"/>
                      <a:pt x="9" y="12"/>
                      <a:pt x="9" y="9"/>
                    </a:cubicBezTo>
                    <a:cubicBezTo>
                      <a:pt x="9" y="4"/>
                      <a:pt x="9" y="4"/>
                      <a:pt x="9" y="4"/>
                    </a:cubicBezTo>
                    <a:cubicBezTo>
                      <a:pt x="9" y="2"/>
                      <a:pt x="7" y="0"/>
                      <a:pt x="5" y="0"/>
                    </a:cubicBezTo>
                    <a:cubicBezTo>
                      <a:pt x="2" y="0"/>
                      <a:pt x="0" y="2"/>
                      <a:pt x="0" y="4"/>
                    </a:cubicBezTo>
                    <a:cubicBezTo>
                      <a:pt x="0" y="9"/>
                      <a:pt x="0" y="9"/>
                      <a:pt x="0" y="9"/>
                    </a:cubicBezTo>
                    <a:cubicBezTo>
                      <a:pt x="0" y="12"/>
                      <a:pt x="2" y="14"/>
                      <a:pt x="5"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2" name="Freeform 15"/>
              <p:cNvSpPr>
                <a:spLocks/>
              </p:cNvSpPr>
              <p:nvPr/>
            </p:nvSpPr>
            <p:spPr bwMode="auto">
              <a:xfrm>
                <a:off x="2748825" y="2532503"/>
                <a:ext cx="13458" cy="24082"/>
              </a:xfrm>
              <a:custGeom>
                <a:avLst/>
                <a:gdLst>
                  <a:gd name="T0" fmla="*/ 4 w 8"/>
                  <a:gd name="T1" fmla="*/ 14 h 14"/>
                  <a:gd name="T2" fmla="*/ 8 w 8"/>
                  <a:gd name="T3" fmla="*/ 9 h 14"/>
                  <a:gd name="T4" fmla="*/ 8 w 8"/>
                  <a:gd name="T5" fmla="*/ 4 h 14"/>
                  <a:gd name="T6" fmla="*/ 4 w 8"/>
                  <a:gd name="T7" fmla="*/ 0 h 14"/>
                  <a:gd name="T8" fmla="*/ 0 w 8"/>
                  <a:gd name="T9" fmla="*/ 4 h 14"/>
                  <a:gd name="T10" fmla="*/ 0 w 8"/>
                  <a:gd name="T11" fmla="*/ 9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9"/>
                    </a:cubicBezTo>
                    <a:cubicBezTo>
                      <a:pt x="8" y="4"/>
                      <a:pt x="8" y="4"/>
                      <a:pt x="8" y="4"/>
                    </a:cubicBezTo>
                    <a:cubicBezTo>
                      <a:pt x="8" y="2"/>
                      <a:pt x="6" y="0"/>
                      <a:pt x="4" y="0"/>
                    </a:cubicBezTo>
                    <a:cubicBezTo>
                      <a:pt x="2" y="0"/>
                      <a:pt x="0" y="2"/>
                      <a:pt x="0" y="4"/>
                    </a:cubicBezTo>
                    <a:cubicBezTo>
                      <a:pt x="0" y="9"/>
                      <a:pt x="0" y="9"/>
                      <a:pt x="0" y="9"/>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3" name="Freeform 16"/>
              <p:cNvSpPr>
                <a:spLocks/>
              </p:cNvSpPr>
              <p:nvPr/>
            </p:nvSpPr>
            <p:spPr bwMode="auto">
              <a:xfrm>
                <a:off x="2693577" y="2577834"/>
                <a:ext cx="13458" cy="23374"/>
              </a:xfrm>
              <a:custGeom>
                <a:avLst/>
                <a:gdLst>
                  <a:gd name="T0" fmla="*/ 4 w 8"/>
                  <a:gd name="T1" fmla="*/ 14 h 14"/>
                  <a:gd name="T2" fmla="*/ 8 w 8"/>
                  <a:gd name="T3" fmla="*/ 10 h 14"/>
                  <a:gd name="T4" fmla="*/ 8 w 8"/>
                  <a:gd name="T5" fmla="*/ 4 h 14"/>
                  <a:gd name="T6" fmla="*/ 4 w 8"/>
                  <a:gd name="T7" fmla="*/ 0 h 14"/>
                  <a:gd name="T8" fmla="*/ 0 w 8"/>
                  <a:gd name="T9" fmla="*/ 4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10"/>
                    </a:cubicBezTo>
                    <a:cubicBezTo>
                      <a:pt x="8" y="4"/>
                      <a:pt x="8" y="4"/>
                      <a:pt x="8" y="4"/>
                    </a:cubicBezTo>
                    <a:cubicBezTo>
                      <a:pt x="8" y="2"/>
                      <a:pt x="6" y="0"/>
                      <a:pt x="4" y="0"/>
                    </a:cubicBezTo>
                    <a:cubicBezTo>
                      <a:pt x="2" y="0"/>
                      <a:pt x="0" y="2"/>
                      <a:pt x="0" y="4"/>
                    </a:cubicBezTo>
                    <a:cubicBezTo>
                      <a:pt x="0" y="10"/>
                      <a:pt x="0" y="10"/>
                      <a:pt x="0" y="10"/>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4" name="Freeform 17"/>
              <p:cNvSpPr>
                <a:spLocks/>
              </p:cNvSpPr>
              <p:nvPr/>
            </p:nvSpPr>
            <p:spPr bwMode="auto">
              <a:xfrm>
                <a:off x="2720493" y="2577834"/>
                <a:ext cx="14874" cy="23374"/>
              </a:xfrm>
              <a:custGeom>
                <a:avLst/>
                <a:gdLst>
                  <a:gd name="T0" fmla="*/ 5 w 9"/>
                  <a:gd name="T1" fmla="*/ 14 h 14"/>
                  <a:gd name="T2" fmla="*/ 9 w 9"/>
                  <a:gd name="T3" fmla="*/ 10 h 14"/>
                  <a:gd name="T4" fmla="*/ 9 w 9"/>
                  <a:gd name="T5" fmla="*/ 4 h 14"/>
                  <a:gd name="T6" fmla="*/ 5 w 9"/>
                  <a:gd name="T7" fmla="*/ 0 h 14"/>
                  <a:gd name="T8" fmla="*/ 0 w 9"/>
                  <a:gd name="T9" fmla="*/ 4 h 14"/>
                  <a:gd name="T10" fmla="*/ 0 w 9"/>
                  <a:gd name="T11" fmla="*/ 10 h 14"/>
                  <a:gd name="T12" fmla="*/ 5 w 9"/>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5" y="14"/>
                    </a:moveTo>
                    <a:cubicBezTo>
                      <a:pt x="7" y="14"/>
                      <a:pt x="9" y="12"/>
                      <a:pt x="9" y="10"/>
                    </a:cubicBezTo>
                    <a:cubicBezTo>
                      <a:pt x="9" y="4"/>
                      <a:pt x="9" y="4"/>
                      <a:pt x="9" y="4"/>
                    </a:cubicBezTo>
                    <a:cubicBezTo>
                      <a:pt x="9" y="2"/>
                      <a:pt x="7" y="0"/>
                      <a:pt x="5" y="0"/>
                    </a:cubicBezTo>
                    <a:cubicBezTo>
                      <a:pt x="2" y="0"/>
                      <a:pt x="0" y="2"/>
                      <a:pt x="0" y="4"/>
                    </a:cubicBezTo>
                    <a:cubicBezTo>
                      <a:pt x="0" y="10"/>
                      <a:pt x="0" y="10"/>
                      <a:pt x="0" y="10"/>
                    </a:cubicBezTo>
                    <a:cubicBezTo>
                      <a:pt x="0" y="12"/>
                      <a:pt x="2" y="14"/>
                      <a:pt x="5"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5" name="Freeform 18"/>
              <p:cNvSpPr>
                <a:spLocks/>
              </p:cNvSpPr>
              <p:nvPr/>
            </p:nvSpPr>
            <p:spPr bwMode="auto">
              <a:xfrm>
                <a:off x="2748825" y="2577834"/>
                <a:ext cx="13458" cy="23374"/>
              </a:xfrm>
              <a:custGeom>
                <a:avLst/>
                <a:gdLst>
                  <a:gd name="T0" fmla="*/ 4 w 8"/>
                  <a:gd name="T1" fmla="*/ 14 h 14"/>
                  <a:gd name="T2" fmla="*/ 8 w 8"/>
                  <a:gd name="T3" fmla="*/ 10 h 14"/>
                  <a:gd name="T4" fmla="*/ 8 w 8"/>
                  <a:gd name="T5" fmla="*/ 4 h 14"/>
                  <a:gd name="T6" fmla="*/ 4 w 8"/>
                  <a:gd name="T7" fmla="*/ 0 h 14"/>
                  <a:gd name="T8" fmla="*/ 0 w 8"/>
                  <a:gd name="T9" fmla="*/ 4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10"/>
                    </a:cubicBezTo>
                    <a:cubicBezTo>
                      <a:pt x="8" y="4"/>
                      <a:pt x="8" y="4"/>
                      <a:pt x="8" y="4"/>
                    </a:cubicBezTo>
                    <a:cubicBezTo>
                      <a:pt x="8" y="2"/>
                      <a:pt x="6" y="0"/>
                      <a:pt x="4" y="0"/>
                    </a:cubicBezTo>
                    <a:cubicBezTo>
                      <a:pt x="2" y="0"/>
                      <a:pt x="0" y="2"/>
                      <a:pt x="0" y="4"/>
                    </a:cubicBezTo>
                    <a:cubicBezTo>
                      <a:pt x="0" y="10"/>
                      <a:pt x="0" y="10"/>
                      <a:pt x="0" y="10"/>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6" name="Freeform 19"/>
              <p:cNvSpPr>
                <a:spLocks/>
              </p:cNvSpPr>
              <p:nvPr/>
            </p:nvSpPr>
            <p:spPr bwMode="auto">
              <a:xfrm>
                <a:off x="2503043" y="2596250"/>
                <a:ext cx="13458" cy="23374"/>
              </a:xfrm>
              <a:custGeom>
                <a:avLst/>
                <a:gdLst>
                  <a:gd name="T0" fmla="*/ 4 w 8"/>
                  <a:gd name="T1" fmla="*/ 14 h 14"/>
                  <a:gd name="T2" fmla="*/ 8 w 8"/>
                  <a:gd name="T3" fmla="*/ 10 h 14"/>
                  <a:gd name="T4" fmla="*/ 8 w 8"/>
                  <a:gd name="T5" fmla="*/ 4 h 14"/>
                  <a:gd name="T6" fmla="*/ 4 w 8"/>
                  <a:gd name="T7" fmla="*/ 0 h 14"/>
                  <a:gd name="T8" fmla="*/ 0 w 8"/>
                  <a:gd name="T9" fmla="*/ 4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10"/>
                    </a:cubicBezTo>
                    <a:cubicBezTo>
                      <a:pt x="8" y="4"/>
                      <a:pt x="8" y="4"/>
                      <a:pt x="8" y="4"/>
                    </a:cubicBezTo>
                    <a:cubicBezTo>
                      <a:pt x="8" y="2"/>
                      <a:pt x="6" y="0"/>
                      <a:pt x="4" y="0"/>
                    </a:cubicBezTo>
                    <a:cubicBezTo>
                      <a:pt x="1" y="0"/>
                      <a:pt x="0" y="2"/>
                      <a:pt x="0" y="4"/>
                    </a:cubicBezTo>
                    <a:cubicBezTo>
                      <a:pt x="0" y="10"/>
                      <a:pt x="0" y="10"/>
                      <a:pt x="0" y="10"/>
                    </a:cubicBezTo>
                    <a:cubicBezTo>
                      <a:pt x="0" y="12"/>
                      <a:pt x="1"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7" name="Freeform 20"/>
              <p:cNvSpPr>
                <a:spLocks/>
              </p:cNvSpPr>
              <p:nvPr/>
            </p:nvSpPr>
            <p:spPr bwMode="auto">
              <a:xfrm>
                <a:off x="2529959" y="2596250"/>
                <a:ext cx="13458" cy="23374"/>
              </a:xfrm>
              <a:custGeom>
                <a:avLst/>
                <a:gdLst>
                  <a:gd name="T0" fmla="*/ 4 w 8"/>
                  <a:gd name="T1" fmla="*/ 14 h 14"/>
                  <a:gd name="T2" fmla="*/ 8 w 8"/>
                  <a:gd name="T3" fmla="*/ 10 h 14"/>
                  <a:gd name="T4" fmla="*/ 8 w 8"/>
                  <a:gd name="T5" fmla="*/ 4 h 14"/>
                  <a:gd name="T6" fmla="*/ 4 w 8"/>
                  <a:gd name="T7" fmla="*/ 0 h 14"/>
                  <a:gd name="T8" fmla="*/ 0 w 8"/>
                  <a:gd name="T9" fmla="*/ 4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10"/>
                    </a:cubicBezTo>
                    <a:cubicBezTo>
                      <a:pt x="8" y="4"/>
                      <a:pt x="8" y="4"/>
                      <a:pt x="8" y="4"/>
                    </a:cubicBezTo>
                    <a:cubicBezTo>
                      <a:pt x="8" y="2"/>
                      <a:pt x="6" y="0"/>
                      <a:pt x="4" y="0"/>
                    </a:cubicBezTo>
                    <a:cubicBezTo>
                      <a:pt x="2" y="0"/>
                      <a:pt x="0" y="2"/>
                      <a:pt x="0" y="4"/>
                    </a:cubicBezTo>
                    <a:cubicBezTo>
                      <a:pt x="0" y="10"/>
                      <a:pt x="0" y="10"/>
                      <a:pt x="0" y="10"/>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8" name="Freeform 21"/>
              <p:cNvSpPr>
                <a:spLocks/>
              </p:cNvSpPr>
              <p:nvPr/>
            </p:nvSpPr>
            <p:spPr bwMode="auto">
              <a:xfrm>
                <a:off x="2556874" y="2596250"/>
                <a:ext cx="13458" cy="23374"/>
              </a:xfrm>
              <a:custGeom>
                <a:avLst/>
                <a:gdLst>
                  <a:gd name="T0" fmla="*/ 4 w 8"/>
                  <a:gd name="T1" fmla="*/ 14 h 14"/>
                  <a:gd name="T2" fmla="*/ 8 w 8"/>
                  <a:gd name="T3" fmla="*/ 10 h 14"/>
                  <a:gd name="T4" fmla="*/ 8 w 8"/>
                  <a:gd name="T5" fmla="*/ 4 h 14"/>
                  <a:gd name="T6" fmla="*/ 4 w 8"/>
                  <a:gd name="T7" fmla="*/ 0 h 14"/>
                  <a:gd name="T8" fmla="*/ 0 w 8"/>
                  <a:gd name="T9" fmla="*/ 4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7" y="14"/>
                      <a:pt x="8" y="12"/>
                      <a:pt x="8" y="10"/>
                    </a:cubicBezTo>
                    <a:cubicBezTo>
                      <a:pt x="8" y="4"/>
                      <a:pt x="8" y="4"/>
                      <a:pt x="8" y="4"/>
                    </a:cubicBezTo>
                    <a:cubicBezTo>
                      <a:pt x="8" y="2"/>
                      <a:pt x="7" y="0"/>
                      <a:pt x="4" y="0"/>
                    </a:cubicBezTo>
                    <a:cubicBezTo>
                      <a:pt x="2" y="0"/>
                      <a:pt x="0" y="2"/>
                      <a:pt x="0" y="4"/>
                    </a:cubicBezTo>
                    <a:cubicBezTo>
                      <a:pt x="0" y="10"/>
                      <a:pt x="0" y="10"/>
                      <a:pt x="0" y="10"/>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49" name="Freeform 22"/>
              <p:cNvSpPr>
                <a:spLocks/>
              </p:cNvSpPr>
              <p:nvPr/>
            </p:nvSpPr>
            <p:spPr bwMode="auto">
              <a:xfrm>
                <a:off x="2503043" y="2641582"/>
                <a:ext cx="13458" cy="23374"/>
              </a:xfrm>
              <a:custGeom>
                <a:avLst/>
                <a:gdLst>
                  <a:gd name="T0" fmla="*/ 4 w 8"/>
                  <a:gd name="T1" fmla="*/ 14 h 14"/>
                  <a:gd name="T2" fmla="*/ 8 w 8"/>
                  <a:gd name="T3" fmla="*/ 10 h 14"/>
                  <a:gd name="T4" fmla="*/ 8 w 8"/>
                  <a:gd name="T5" fmla="*/ 4 h 14"/>
                  <a:gd name="T6" fmla="*/ 4 w 8"/>
                  <a:gd name="T7" fmla="*/ 0 h 14"/>
                  <a:gd name="T8" fmla="*/ 0 w 8"/>
                  <a:gd name="T9" fmla="*/ 4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10"/>
                    </a:cubicBezTo>
                    <a:cubicBezTo>
                      <a:pt x="8" y="4"/>
                      <a:pt x="8" y="4"/>
                      <a:pt x="8" y="4"/>
                    </a:cubicBezTo>
                    <a:cubicBezTo>
                      <a:pt x="8" y="2"/>
                      <a:pt x="6" y="0"/>
                      <a:pt x="4" y="0"/>
                    </a:cubicBezTo>
                    <a:cubicBezTo>
                      <a:pt x="1" y="0"/>
                      <a:pt x="0" y="2"/>
                      <a:pt x="0" y="4"/>
                    </a:cubicBezTo>
                    <a:cubicBezTo>
                      <a:pt x="0" y="10"/>
                      <a:pt x="0" y="10"/>
                      <a:pt x="0" y="10"/>
                    </a:cubicBezTo>
                    <a:cubicBezTo>
                      <a:pt x="0" y="12"/>
                      <a:pt x="1"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0" name="Freeform 23"/>
              <p:cNvSpPr>
                <a:spLocks/>
              </p:cNvSpPr>
              <p:nvPr/>
            </p:nvSpPr>
            <p:spPr bwMode="auto">
              <a:xfrm>
                <a:off x="2529959" y="2641582"/>
                <a:ext cx="13458" cy="23374"/>
              </a:xfrm>
              <a:custGeom>
                <a:avLst/>
                <a:gdLst>
                  <a:gd name="T0" fmla="*/ 4 w 8"/>
                  <a:gd name="T1" fmla="*/ 14 h 14"/>
                  <a:gd name="T2" fmla="*/ 8 w 8"/>
                  <a:gd name="T3" fmla="*/ 10 h 14"/>
                  <a:gd name="T4" fmla="*/ 8 w 8"/>
                  <a:gd name="T5" fmla="*/ 4 h 14"/>
                  <a:gd name="T6" fmla="*/ 4 w 8"/>
                  <a:gd name="T7" fmla="*/ 0 h 14"/>
                  <a:gd name="T8" fmla="*/ 0 w 8"/>
                  <a:gd name="T9" fmla="*/ 4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10"/>
                    </a:cubicBezTo>
                    <a:cubicBezTo>
                      <a:pt x="8" y="4"/>
                      <a:pt x="8" y="4"/>
                      <a:pt x="8" y="4"/>
                    </a:cubicBezTo>
                    <a:cubicBezTo>
                      <a:pt x="8" y="2"/>
                      <a:pt x="6" y="0"/>
                      <a:pt x="4" y="0"/>
                    </a:cubicBezTo>
                    <a:cubicBezTo>
                      <a:pt x="2" y="0"/>
                      <a:pt x="0" y="2"/>
                      <a:pt x="0" y="4"/>
                    </a:cubicBezTo>
                    <a:cubicBezTo>
                      <a:pt x="0" y="10"/>
                      <a:pt x="0" y="10"/>
                      <a:pt x="0" y="10"/>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1" name="Freeform 24"/>
              <p:cNvSpPr>
                <a:spLocks/>
              </p:cNvSpPr>
              <p:nvPr/>
            </p:nvSpPr>
            <p:spPr bwMode="auto">
              <a:xfrm>
                <a:off x="2556874" y="2641582"/>
                <a:ext cx="13458" cy="23374"/>
              </a:xfrm>
              <a:custGeom>
                <a:avLst/>
                <a:gdLst>
                  <a:gd name="T0" fmla="*/ 4 w 8"/>
                  <a:gd name="T1" fmla="*/ 14 h 14"/>
                  <a:gd name="T2" fmla="*/ 8 w 8"/>
                  <a:gd name="T3" fmla="*/ 10 h 14"/>
                  <a:gd name="T4" fmla="*/ 8 w 8"/>
                  <a:gd name="T5" fmla="*/ 4 h 14"/>
                  <a:gd name="T6" fmla="*/ 4 w 8"/>
                  <a:gd name="T7" fmla="*/ 0 h 14"/>
                  <a:gd name="T8" fmla="*/ 0 w 8"/>
                  <a:gd name="T9" fmla="*/ 4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7" y="14"/>
                      <a:pt x="8" y="12"/>
                      <a:pt x="8" y="10"/>
                    </a:cubicBezTo>
                    <a:cubicBezTo>
                      <a:pt x="8" y="4"/>
                      <a:pt x="8" y="4"/>
                      <a:pt x="8" y="4"/>
                    </a:cubicBezTo>
                    <a:cubicBezTo>
                      <a:pt x="8" y="2"/>
                      <a:pt x="7" y="0"/>
                      <a:pt x="4" y="0"/>
                    </a:cubicBezTo>
                    <a:cubicBezTo>
                      <a:pt x="2" y="0"/>
                      <a:pt x="0" y="2"/>
                      <a:pt x="0" y="4"/>
                    </a:cubicBezTo>
                    <a:cubicBezTo>
                      <a:pt x="0" y="10"/>
                      <a:pt x="0" y="10"/>
                      <a:pt x="0" y="10"/>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2" name="Freeform 25"/>
              <p:cNvSpPr>
                <a:spLocks/>
              </p:cNvSpPr>
              <p:nvPr/>
            </p:nvSpPr>
            <p:spPr bwMode="auto">
              <a:xfrm>
                <a:off x="2503043" y="2688330"/>
                <a:ext cx="13458" cy="21957"/>
              </a:xfrm>
              <a:custGeom>
                <a:avLst/>
                <a:gdLst>
                  <a:gd name="T0" fmla="*/ 4 w 8"/>
                  <a:gd name="T1" fmla="*/ 13 h 13"/>
                  <a:gd name="T2" fmla="*/ 8 w 8"/>
                  <a:gd name="T3" fmla="*/ 9 h 13"/>
                  <a:gd name="T4" fmla="*/ 8 w 8"/>
                  <a:gd name="T5" fmla="*/ 4 h 13"/>
                  <a:gd name="T6" fmla="*/ 4 w 8"/>
                  <a:gd name="T7" fmla="*/ 0 h 13"/>
                  <a:gd name="T8" fmla="*/ 0 w 8"/>
                  <a:gd name="T9" fmla="*/ 4 h 13"/>
                  <a:gd name="T10" fmla="*/ 0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6" y="13"/>
                      <a:pt x="8" y="11"/>
                      <a:pt x="8" y="9"/>
                    </a:cubicBezTo>
                    <a:cubicBezTo>
                      <a:pt x="8" y="4"/>
                      <a:pt x="8" y="4"/>
                      <a:pt x="8" y="4"/>
                    </a:cubicBezTo>
                    <a:cubicBezTo>
                      <a:pt x="8" y="1"/>
                      <a:pt x="6" y="0"/>
                      <a:pt x="4" y="0"/>
                    </a:cubicBezTo>
                    <a:cubicBezTo>
                      <a:pt x="1" y="0"/>
                      <a:pt x="0" y="1"/>
                      <a:pt x="0" y="4"/>
                    </a:cubicBezTo>
                    <a:cubicBezTo>
                      <a:pt x="0" y="9"/>
                      <a:pt x="0" y="9"/>
                      <a:pt x="0" y="9"/>
                    </a:cubicBezTo>
                    <a:cubicBezTo>
                      <a:pt x="0" y="11"/>
                      <a:pt x="1" y="13"/>
                      <a:pt x="4" y="1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3" name="Freeform 26"/>
              <p:cNvSpPr>
                <a:spLocks/>
              </p:cNvSpPr>
              <p:nvPr/>
            </p:nvSpPr>
            <p:spPr bwMode="auto">
              <a:xfrm>
                <a:off x="2529959" y="2688330"/>
                <a:ext cx="13458" cy="21957"/>
              </a:xfrm>
              <a:custGeom>
                <a:avLst/>
                <a:gdLst>
                  <a:gd name="T0" fmla="*/ 4 w 8"/>
                  <a:gd name="T1" fmla="*/ 13 h 13"/>
                  <a:gd name="T2" fmla="*/ 8 w 8"/>
                  <a:gd name="T3" fmla="*/ 9 h 13"/>
                  <a:gd name="T4" fmla="*/ 8 w 8"/>
                  <a:gd name="T5" fmla="*/ 4 h 13"/>
                  <a:gd name="T6" fmla="*/ 4 w 8"/>
                  <a:gd name="T7" fmla="*/ 0 h 13"/>
                  <a:gd name="T8" fmla="*/ 0 w 8"/>
                  <a:gd name="T9" fmla="*/ 4 h 13"/>
                  <a:gd name="T10" fmla="*/ 0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6" y="13"/>
                      <a:pt x="8" y="11"/>
                      <a:pt x="8" y="9"/>
                    </a:cubicBezTo>
                    <a:cubicBezTo>
                      <a:pt x="8" y="4"/>
                      <a:pt x="8" y="4"/>
                      <a:pt x="8" y="4"/>
                    </a:cubicBezTo>
                    <a:cubicBezTo>
                      <a:pt x="8" y="1"/>
                      <a:pt x="6" y="0"/>
                      <a:pt x="4" y="0"/>
                    </a:cubicBezTo>
                    <a:cubicBezTo>
                      <a:pt x="2" y="0"/>
                      <a:pt x="0" y="1"/>
                      <a:pt x="0" y="4"/>
                    </a:cubicBezTo>
                    <a:cubicBezTo>
                      <a:pt x="0" y="9"/>
                      <a:pt x="0" y="9"/>
                      <a:pt x="0" y="9"/>
                    </a:cubicBezTo>
                    <a:cubicBezTo>
                      <a:pt x="0" y="11"/>
                      <a:pt x="2" y="13"/>
                      <a:pt x="4" y="1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4" name="Freeform 27"/>
              <p:cNvSpPr>
                <a:spLocks/>
              </p:cNvSpPr>
              <p:nvPr/>
            </p:nvSpPr>
            <p:spPr bwMode="auto">
              <a:xfrm>
                <a:off x="2556874" y="2688330"/>
                <a:ext cx="13458" cy="21957"/>
              </a:xfrm>
              <a:custGeom>
                <a:avLst/>
                <a:gdLst>
                  <a:gd name="T0" fmla="*/ 4 w 8"/>
                  <a:gd name="T1" fmla="*/ 13 h 13"/>
                  <a:gd name="T2" fmla="*/ 8 w 8"/>
                  <a:gd name="T3" fmla="*/ 9 h 13"/>
                  <a:gd name="T4" fmla="*/ 8 w 8"/>
                  <a:gd name="T5" fmla="*/ 4 h 13"/>
                  <a:gd name="T6" fmla="*/ 4 w 8"/>
                  <a:gd name="T7" fmla="*/ 0 h 13"/>
                  <a:gd name="T8" fmla="*/ 0 w 8"/>
                  <a:gd name="T9" fmla="*/ 4 h 13"/>
                  <a:gd name="T10" fmla="*/ 0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7" y="13"/>
                      <a:pt x="8" y="11"/>
                      <a:pt x="8" y="9"/>
                    </a:cubicBezTo>
                    <a:cubicBezTo>
                      <a:pt x="8" y="4"/>
                      <a:pt x="8" y="4"/>
                      <a:pt x="8" y="4"/>
                    </a:cubicBezTo>
                    <a:cubicBezTo>
                      <a:pt x="8" y="1"/>
                      <a:pt x="7" y="0"/>
                      <a:pt x="4" y="0"/>
                    </a:cubicBezTo>
                    <a:cubicBezTo>
                      <a:pt x="2" y="0"/>
                      <a:pt x="0" y="1"/>
                      <a:pt x="0" y="4"/>
                    </a:cubicBezTo>
                    <a:cubicBezTo>
                      <a:pt x="0" y="9"/>
                      <a:pt x="0" y="9"/>
                      <a:pt x="0" y="9"/>
                    </a:cubicBezTo>
                    <a:cubicBezTo>
                      <a:pt x="0" y="11"/>
                      <a:pt x="2" y="13"/>
                      <a:pt x="4" y="1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5" name="Freeform 28"/>
              <p:cNvSpPr>
                <a:spLocks/>
              </p:cNvSpPr>
              <p:nvPr/>
            </p:nvSpPr>
            <p:spPr bwMode="auto">
              <a:xfrm>
                <a:off x="2503043" y="2733661"/>
                <a:ext cx="13458" cy="21957"/>
              </a:xfrm>
              <a:custGeom>
                <a:avLst/>
                <a:gdLst>
                  <a:gd name="T0" fmla="*/ 8 w 8"/>
                  <a:gd name="T1" fmla="*/ 9 h 13"/>
                  <a:gd name="T2" fmla="*/ 8 w 8"/>
                  <a:gd name="T3" fmla="*/ 4 h 13"/>
                  <a:gd name="T4" fmla="*/ 4 w 8"/>
                  <a:gd name="T5" fmla="*/ 0 h 13"/>
                  <a:gd name="T6" fmla="*/ 0 w 8"/>
                  <a:gd name="T7" fmla="*/ 4 h 13"/>
                  <a:gd name="T8" fmla="*/ 0 w 8"/>
                  <a:gd name="T9" fmla="*/ 9 h 13"/>
                  <a:gd name="T10" fmla="*/ 4 w 8"/>
                  <a:gd name="T11" fmla="*/ 13 h 13"/>
                  <a:gd name="T12" fmla="*/ 8 w 8"/>
                  <a:gd name="T13" fmla="*/ 9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8" y="9"/>
                    </a:moveTo>
                    <a:cubicBezTo>
                      <a:pt x="8" y="4"/>
                      <a:pt x="8" y="4"/>
                      <a:pt x="8" y="4"/>
                    </a:cubicBezTo>
                    <a:cubicBezTo>
                      <a:pt x="8" y="2"/>
                      <a:pt x="6" y="0"/>
                      <a:pt x="4" y="0"/>
                    </a:cubicBezTo>
                    <a:cubicBezTo>
                      <a:pt x="1" y="0"/>
                      <a:pt x="0" y="2"/>
                      <a:pt x="0" y="4"/>
                    </a:cubicBezTo>
                    <a:cubicBezTo>
                      <a:pt x="0" y="9"/>
                      <a:pt x="0" y="9"/>
                      <a:pt x="0" y="9"/>
                    </a:cubicBezTo>
                    <a:cubicBezTo>
                      <a:pt x="0" y="12"/>
                      <a:pt x="1" y="13"/>
                      <a:pt x="4" y="13"/>
                    </a:cubicBezTo>
                    <a:cubicBezTo>
                      <a:pt x="6" y="13"/>
                      <a:pt x="8" y="12"/>
                      <a:pt x="8"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6" name="Freeform 29"/>
              <p:cNvSpPr>
                <a:spLocks/>
              </p:cNvSpPr>
              <p:nvPr/>
            </p:nvSpPr>
            <p:spPr bwMode="auto">
              <a:xfrm>
                <a:off x="2529959" y="2733661"/>
                <a:ext cx="13458" cy="21957"/>
              </a:xfrm>
              <a:custGeom>
                <a:avLst/>
                <a:gdLst>
                  <a:gd name="T0" fmla="*/ 4 w 8"/>
                  <a:gd name="T1" fmla="*/ 13 h 13"/>
                  <a:gd name="T2" fmla="*/ 8 w 8"/>
                  <a:gd name="T3" fmla="*/ 9 h 13"/>
                  <a:gd name="T4" fmla="*/ 8 w 8"/>
                  <a:gd name="T5" fmla="*/ 4 h 13"/>
                  <a:gd name="T6" fmla="*/ 4 w 8"/>
                  <a:gd name="T7" fmla="*/ 0 h 13"/>
                  <a:gd name="T8" fmla="*/ 0 w 8"/>
                  <a:gd name="T9" fmla="*/ 4 h 13"/>
                  <a:gd name="T10" fmla="*/ 0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6" y="13"/>
                      <a:pt x="8" y="12"/>
                      <a:pt x="8" y="9"/>
                    </a:cubicBezTo>
                    <a:cubicBezTo>
                      <a:pt x="8" y="4"/>
                      <a:pt x="8" y="4"/>
                      <a:pt x="8" y="4"/>
                    </a:cubicBezTo>
                    <a:cubicBezTo>
                      <a:pt x="8" y="2"/>
                      <a:pt x="6" y="0"/>
                      <a:pt x="4" y="0"/>
                    </a:cubicBezTo>
                    <a:cubicBezTo>
                      <a:pt x="2" y="0"/>
                      <a:pt x="0" y="2"/>
                      <a:pt x="0" y="4"/>
                    </a:cubicBezTo>
                    <a:cubicBezTo>
                      <a:pt x="0" y="9"/>
                      <a:pt x="0" y="9"/>
                      <a:pt x="0" y="9"/>
                    </a:cubicBezTo>
                    <a:cubicBezTo>
                      <a:pt x="0" y="12"/>
                      <a:pt x="2" y="13"/>
                      <a:pt x="4" y="1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7" name="Freeform 30"/>
              <p:cNvSpPr>
                <a:spLocks/>
              </p:cNvSpPr>
              <p:nvPr/>
            </p:nvSpPr>
            <p:spPr bwMode="auto">
              <a:xfrm>
                <a:off x="2556874" y="2733661"/>
                <a:ext cx="13458" cy="21957"/>
              </a:xfrm>
              <a:custGeom>
                <a:avLst/>
                <a:gdLst>
                  <a:gd name="T0" fmla="*/ 4 w 8"/>
                  <a:gd name="T1" fmla="*/ 13 h 13"/>
                  <a:gd name="T2" fmla="*/ 8 w 8"/>
                  <a:gd name="T3" fmla="*/ 9 h 13"/>
                  <a:gd name="T4" fmla="*/ 8 w 8"/>
                  <a:gd name="T5" fmla="*/ 4 h 13"/>
                  <a:gd name="T6" fmla="*/ 4 w 8"/>
                  <a:gd name="T7" fmla="*/ 0 h 13"/>
                  <a:gd name="T8" fmla="*/ 0 w 8"/>
                  <a:gd name="T9" fmla="*/ 4 h 13"/>
                  <a:gd name="T10" fmla="*/ 0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7" y="13"/>
                      <a:pt x="8" y="12"/>
                      <a:pt x="8" y="9"/>
                    </a:cubicBezTo>
                    <a:cubicBezTo>
                      <a:pt x="8" y="4"/>
                      <a:pt x="8" y="4"/>
                      <a:pt x="8" y="4"/>
                    </a:cubicBezTo>
                    <a:cubicBezTo>
                      <a:pt x="8" y="2"/>
                      <a:pt x="7" y="0"/>
                      <a:pt x="4" y="0"/>
                    </a:cubicBezTo>
                    <a:cubicBezTo>
                      <a:pt x="2" y="0"/>
                      <a:pt x="0" y="2"/>
                      <a:pt x="0" y="4"/>
                    </a:cubicBezTo>
                    <a:cubicBezTo>
                      <a:pt x="0" y="9"/>
                      <a:pt x="0" y="9"/>
                      <a:pt x="0" y="9"/>
                    </a:cubicBezTo>
                    <a:cubicBezTo>
                      <a:pt x="0" y="12"/>
                      <a:pt x="2" y="13"/>
                      <a:pt x="4" y="1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8" name="Freeform 31"/>
              <p:cNvSpPr>
                <a:spLocks/>
              </p:cNvSpPr>
              <p:nvPr/>
            </p:nvSpPr>
            <p:spPr bwMode="auto">
              <a:xfrm>
                <a:off x="2748825" y="2623166"/>
                <a:ext cx="13458" cy="23374"/>
              </a:xfrm>
              <a:custGeom>
                <a:avLst/>
                <a:gdLst>
                  <a:gd name="T0" fmla="*/ 4 w 8"/>
                  <a:gd name="T1" fmla="*/ 14 h 14"/>
                  <a:gd name="T2" fmla="*/ 8 w 8"/>
                  <a:gd name="T3" fmla="*/ 10 h 14"/>
                  <a:gd name="T4" fmla="*/ 8 w 8"/>
                  <a:gd name="T5" fmla="*/ 5 h 14"/>
                  <a:gd name="T6" fmla="*/ 4 w 8"/>
                  <a:gd name="T7" fmla="*/ 0 h 14"/>
                  <a:gd name="T8" fmla="*/ 0 w 8"/>
                  <a:gd name="T9" fmla="*/ 5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10"/>
                    </a:cubicBezTo>
                    <a:cubicBezTo>
                      <a:pt x="8" y="5"/>
                      <a:pt x="8" y="5"/>
                      <a:pt x="8" y="5"/>
                    </a:cubicBezTo>
                    <a:cubicBezTo>
                      <a:pt x="8" y="2"/>
                      <a:pt x="6" y="0"/>
                      <a:pt x="4" y="0"/>
                    </a:cubicBezTo>
                    <a:cubicBezTo>
                      <a:pt x="2" y="0"/>
                      <a:pt x="0" y="2"/>
                      <a:pt x="0" y="5"/>
                    </a:cubicBezTo>
                    <a:cubicBezTo>
                      <a:pt x="0" y="10"/>
                      <a:pt x="0" y="10"/>
                      <a:pt x="0" y="10"/>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59" name="Freeform 32"/>
              <p:cNvSpPr>
                <a:spLocks/>
              </p:cNvSpPr>
              <p:nvPr/>
            </p:nvSpPr>
            <p:spPr bwMode="auto">
              <a:xfrm>
                <a:off x="2748825" y="2669914"/>
                <a:ext cx="13458" cy="21957"/>
              </a:xfrm>
              <a:custGeom>
                <a:avLst/>
                <a:gdLst>
                  <a:gd name="T0" fmla="*/ 4 w 8"/>
                  <a:gd name="T1" fmla="*/ 13 h 13"/>
                  <a:gd name="T2" fmla="*/ 8 w 8"/>
                  <a:gd name="T3" fmla="*/ 9 h 13"/>
                  <a:gd name="T4" fmla="*/ 8 w 8"/>
                  <a:gd name="T5" fmla="*/ 4 h 13"/>
                  <a:gd name="T6" fmla="*/ 4 w 8"/>
                  <a:gd name="T7" fmla="*/ 0 h 13"/>
                  <a:gd name="T8" fmla="*/ 0 w 8"/>
                  <a:gd name="T9" fmla="*/ 4 h 13"/>
                  <a:gd name="T10" fmla="*/ 0 w 8"/>
                  <a:gd name="T11" fmla="*/ 9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cubicBezTo>
                      <a:pt x="6" y="13"/>
                      <a:pt x="8" y="11"/>
                      <a:pt x="8" y="9"/>
                    </a:cubicBezTo>
                    <a:cubicBezTo>
                      <a:pt x="8" y="4"/>
                      <a:pt x="8" y="4"/>
                      <a:pt x="8" y="4"/>
                    </a:cubicBezTo>
                    <a:cubicBezTo>
                      <a:pt x="8" y="2"/>
                      <a:pt x="6" y="0"/>
                      <a:pt x="4" y="0"/>
                    </a:cubicBezTo>
                    <a:cubicBezTo>
                      <a:pt x="2" y="0"/>
                      <a:pt x="0" y="2"/>
                      <a:pt x="0" y="4"/>
                    </a:cubicBezTo>
                    <a:cubicBezTo>
                      <a:pt x="0" y="9"/>
                      <a:pt x="0" y="9"/>
                      <a:pt x="0" y="9"/>
                    </a:cubicBezTo>
                    <a:cubicBezTo>
                      <a:pt x="0" y="11"/>
                      <a:pt x="2" y="13"/>
                      <a:pt x="4" y="1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60" name="Freeform 33"/>
              <p:cNvSpPr>
                <a:spLocks/>
              </p:cNvSpPr>
              <p:nvPr/>
            </p:nvSpPr>
            <p:spPr bwMode="auto">
              <a:xfrm>
                <a:off x="2748825" y="2715245"/>
                <a:ext cx="13458" cy="23374"/>
              </a:xfrm>
              <a:custGeom>
                <a:avLst/>
                <a:gdLst>
                  <a:gd name="T0" fmla="*/ 4 w 8"/>
                  <a:gd name="T1" fmla="*/ 14 h 14"/>
                  <a:gd name="T2" fmla="*/ 8 w 8"/>
                  <a:gd name="T3" fmla="*/ 9 h 14"/>
                  <a:gd name="T4" fmla="*/ 8 w 8"/>
                  <a:gd name="T5" fmla="*/ 4 h 14"/>
                  <a:gd name="T6" fmla="*/ 4 w 8"/>
                  <a:gd name="T7" fmla="*/ 0 h 14"/>
                  <a:gd name="T8" fmla="*/ 0 w 8"/>
                  <a:gd name="T9" fmla="*/ 4 h 14"/>
                  <a:gd name="T10" fmla="*/ 0 w 8"/>
                  <a:gd name="T11" fmla="*/ 9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9"/>
                    </a:cubicBezTo>
                    <a:cubicBezTo>
                      <a:pt x="8" y="4"/>
                      <a:pt x="8" y="4"/>
                      <a:pt x="8" y="4"/>
                    </a:cubicBezTo>
                    <a:cubicBezTo>
                      <a:pt x="8" y="2"/>
                      <a:pt x="6" y="0"/>
                      <a:pt x="4" y="0"/>
                    </a:cubicBezTo>
                    <a:cubicBezTo>
                      <a:pt x="2" y="0"/>
                      <a:pt x="0" y="2"/>
                      <a:pt x="0" y="4"/>
                    </a:cubicBezTo>
                    <a:cubicBezTo>
                      <a:pt x="0" y="9"/>
                      <a:pt x="0" y="9"/>
                      <a:pt x="0" y="9"/>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61" name="Freeform 34"/>
              <p:cNvSpPr>
                <a:spLocks/>
              </p:cNvSpPr>
              <p:nvPr/>
            </p:nvSpPr>
            <p:spPr bwMode="auto">
              <a:xfrm>
                <a:off x="2748825" y="2760577"/>
                <a:ext cx="13458" cy="23374"/>
              </a:xfrm>
              <a:custGeom>
                <a:avLst/>
                <a:gdLst>
                  <a:gd name="T0" fmla="*/ 4 w 8"/>
                  <a:gd name="T1" fmla="*/ 14 h 14"/>
                  <a:gd name="T2" fmla="*/ 8 w 8"/>
                  <a:gd name="T3" fmla="*/ 10 h 14"/>
                  <a:gd name="T4" fmla="*/ 8 w 8"/>
                  <a:gd name="T5" fmla="*/ 4 h 14"/>
                  <a:gd name="T6" fmla="*/ 4 w 8"/>
                  <a:gd name="T7" fmla="*/ 0 h 14"/>
                  <a:gd name="T8" fmla="*/ 0 w 8"/>
                  <a:gd name="T9" fmla="*/ 4 h 14"/>
                  <a:gd name="T10" fmla="*/ 0 w 8"/>
                  <a:gd name="T11" fmla="*/ 10 h 14"/>
                  <a:gd name="T12" fmla="*/ 4 w 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 h="14">
                    <a:moveTo>
                      <a:pt x="4" y="14"/>
                    </a:moveTo>
                    <a:cubicBezTo>
                      <a:pt x="6" y="14"/>
                      <a:pt x="8" y="12"/>
                      <a:pt x="8" y="10"/>
                    </a:cubicBezTo>
                    <a:cubicBezTo>
                      <a:pt x="8" y="4"/>
                      <a:pt x="8" y="4"/>
                      <a:pt x="8" y="4"/>
                    </a:cubicBezTo>
                    <a:cubicBezTo>
                      <a:pt x="8" y="2"/>
                      <a:pt x="6" y="0"/>
                      <a:pt x="4" y="0"/>
                    </a:cubicBezTo>
                    <a:cubicBezTo>
                      <a:pt x="2" y="0"/>
                      <a:pt x="0" y="2"/>
                      <a:pt x="0" y="4"/>
                    </a:cubicBezTo>
                    <a:cubicBezTo>
                      <a:pt x="0" y="10"/>
                      <a:pt x="0" y="10"/>
                      <a:pt x="0" y="10"/>
                    </a:cubicBezTo>
                    <a:cubicBezTo>
                      <a:pt x="0" y="12"/>
                      <a:pt x="2" y="14"/>
                      <a:pt x="4"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62" name="Freeform 35"/>
              <p:cNvSpPr>
                <a:spLocks/>
              </p:cNvSpPr>
              <p:nvPr/>
            </p:nvSpPr>
            <p:spPr bwMode="auto">
              <a:xfrm>
                <a:off x="2566791" y="2522586"/>
                <a:ext cx="68706" cy="15583"/>
              </a:xfrm>
              <a:custGeom>
                <a:avLst/>
                <a:gdLst>
                  <a:gd name="T0" fmla="*/ 41 w 41"/>
                  <a:gd name="T1" fmla="*/ 5 h 9"/>
                  <a:gd name="T2" fmla="*/ 37 w 41"/>
                  <a:gd name="T3" fmla="*/ 0 h 9"/>
                  <a:gd name="T4" fmla="*/ 4 w 41"/>
                  <a:gd name="T5" fmla="*/ 0 h 9"/>
                  <a:gd name="T6" fmla="*/ 0 w 41"/>
                  <a:gd name="T7" fmla="*/ 5 h 9"/>
                  <a:gd name="T8" fmla="*/ 4 w 41"/>
                  <a:gd name="T9" fmla="*/ 9 h 9"/>
                  <a:gd name="T10" fmla="*/ 37 w 41"/>
                  <a:gd name="T11" fmla="*/ 9 h 9"/>
                  <a:gd name="T12" fmla="*/ 41 w 41"/>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41" h="9">
                    <a:moveTo>
                      <a:pt x="41" y="5"/>
                    </a:moveTo>
                    <a:cubicBezTo>
                      <a:pt x="41" y="2"/>
                      <a:pt x="39" y="0"/>
                      <a:pt x="37" y="0"/>
                    </a:cubicBezTo>
                    <a:cubicBezTo>
                      <a:pt x="4" y="0"/>
                      <a:pt x="4" y="0"/>
                      <a:pt x="4" y="0"/>
                    </a:cubicBezTo>
                    <a:cubicBezTo>
                      <a:pt x="2" y="0"/>
                      <a:pt x="0" y="2"/>
                      <a:pt x="0" y="5"/>
                    </a:cubicBezTo>
                    <a:cubicBezTo>
                      <a:pt x="0" y="7"/>
                      <a:pt x="2" y="9"/>
                      <a:pt x="4" y="9"/>
                    </a:cubicBezTo>
                    <a:cubicBezTo>
                      <a:pt x="37" y="9"/>
                      <a:pt x="37" y="9"/>
                      <a:pt x="37" y="9"/>
                    </a:cubicBezTo>
                    <a:cubicBezTo>
                      <a:pt x="39" y="9"/>
                      <a:pt x="41" y="7"/>
                      <a:pt x="41" y="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grpSp>
        <p:nvGrpSpPr>
          <p:cNvPr id="4" name="Group 263"/>
          <p:cNvGrpSpPr/>
          <p:nvPr/>
        </p:nvGrpSpPr>
        <p:grpSpPr>
          <a:xfrm>
            <a:off x="3394948" y="3318873"/>
            <a:ext cx="585870" cy="585871"/>
            <a:chOff x="3541131" y="2268560"/>
            <a:chExt cx="770091" cy="770092"/>
          </a:xfrm>
          <a:solidFill>
            <a:srgbClr val="FFFFFF"/>
          </a:solidFill>
        </p:grpSpPr>
        <p:sp>
          <p:nvSpPr>
            <p:cNvPr id="1864" name="Oval 1863"/>
            <p:cNvSpPr/>
            <p:nvPr/>
          </p:nvSpPr>
          <p:spPr>
            <a:xfrm>
              <a:off x="3541131" y="22685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mj-lt"/>
                <a:ea typeface="+mn-ea"/>
                <a:cs typeface="+mn-cs"/>
              </a:endParaRPr>
            </a:p>
          </p:txBody>
        </p:sp>
        <p:grpSp>
          <p:nvGrpSpPr>
            <p:cNvPr id="6" name="Group 141"/>
            <p:cNvGrpSpPr/>
            <p:nvPr/>
          </p:nvGrpSpPr>
          <p:grpSpPr>
            <a:xfrm>
              <a:off x="3810723" y="2408533"/>
              <a:ext cx="230907" cy="490147"/>
              <a:chOff x="3828281" y="2393675"/>
              <a:chExt cx="230907" cy="490147"/>
            </a:xfrm>
            <a:grpFill/>
          </p:grpSpPr>
          <p:sp>
            <p:nvSpPr>
              <p:cNvPr id="1866" name="Freeform 36"/>
              <p:cNvSpPr>
                <a:spLocks noEditPoints="1"/>
              </p:cNvSpPr>
              <p:nvPr/>
            </p:nvSpPr>
            <p:spPr bwMode="auto">
              <a:xfrm>
                <a:off x="3828281" y="2393675"/>
                <a:ext cx="230907" cy="490147"/>
              </a:xfrm>
              <a:custGeom>
                <a:avLst/>
                <a:gdLst>
                  <a:gd name="T0" fmla="*/ 69 w 138"/>
                  <a:gd name="T1" fmla="*/ 293 h 293"/>
                  <a:gd name="T2" fmla="*/ 68 w 138"/>
                  <a:gd name="T3" fmla="*/ 293 h 293"/>
                  <a:gd name="T4" fmla="*/ 20 w 138"/>
                  <a:gd name="T5" fmla="*/ 273 h 293"/>
                  <a:gd name="T6" fmla="*/ 0 w 138"/>
                  <a:gd name="T7" fmla="*/ 225 h 293"/>
                  <a:gd name="T8" fmla="*/ 26 w 138"/>
                  <a:gd name="T9" fmla="*/ 171 h 293"/>
                  <a:gd name="T10" fmla="*/ 26 w 138"/>
                  <a:gd name="T11" fmla="*/ 43 h 293"/>
                  <a:gd name="T12" fmla="*/ 69 w 138"/>
                  <a:gd name="T13" fmla="*/ 0 h 293"/>
                  <a:gd name="T14" fmla="*/ 113 w 138"/>
                  <a:gd name="T15" fmla="*/ 43 h 293"/>
                  <a:gd name="T16" fmla="*/ 113 w 138"/>
                  <a:gd name="T17" fmla="*/ 171 h 293"/>
                  <a:gd name="T18" fmla="*/ 138 w 138"/>
                  <a:gd name="T19" fmla="*/ 224 h 293"/>
                  <a:gd name="T20" fmla="*/ 118 w 138"/>
                  <a:gd name="T21" fmla="*/ 273 h 293"/>
                  <a:gd name="T22" fmla="*/ 69 w 138"/>
                  <a:gd name="T23" fmla="*/ 293 h 293"/>
                  <a:gd name="T24" fmla="*/ 69 w 138"/>
                  <a:gd name="T25" fmla="*/ 12 h 293"/>
                  <a:gd name="T26" fmla="*/ 38 w 138"/>
                  <a:gd name="T27" fmla="*/ 43 h 293"/>
                  <a:gd name="T28" fmla="*/ 38 w 138"/>
                  <a:gd name="T29" fmla="*/ 174 h 293"/>
                  <a:gd name="T30" fmla="*/ 35 w 138"/>
                  <a:gd name="T31" fmla="*/ 179 h 293"/>
                  <a:gd name="T32" fmla="*/ 12 w 138"/>
                  <a:gd name="T33" fmla="*/ 225 h 293"/>
                  <a:gd name="T34" fmla="*/ 68 w 138"/>
                  <a:gd name="T35" fmla="*/ 281 h 293"/>
                  <a:gd name="T36" fmla="*/ 109 w 138"/>
                  <a:gd name="T37" fmla="*/ 265 h 293"/>
                  <a:gd name="T38" fmla="*/ 126 w 138"/>
                  <a:gd name="T39" fmla="*/ 224 h 293"/>
                  <a:gd name="T40" fmla="*/ 103 w 138"/>
                  <a:gd name="T41" fmla="*/ 179 h 293"/>
                  <a:gd name="T42" fmla="*/ 101 w 138"/>
                  <a:gd name="T43" fmla="*/ 174 h 293"/>
                  <a:gd name="T44" fmla="*/ 101 w 138"/>
                  <a:gd name="T45" fmla="*/ 43 h 293"/>
                  <a:gd name="T46" fmla="*/ 69 w 138"/>
                  <a:gd name="T47" fmla="*/ 1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8" h="293">
                    <a:moveTo>
                      <a:pt x="69" y="293"/>
                    </a:moveTo>
                    <a:cubicBezTo>
                      <a:pt x="69" y="293"/>
                      <a:pt x="69" y="293"/>
                      <a:pt x="68" y="293"/>
                    </a:cubicBezTo>
                    <a:cubicBezTo>
                      <a:pt x="50" y="293"/>
                      <a:pt x="33" y="286"/>
                      <a:pt x="20" y="273"/>
                    </a:cubicBezTo>
                    <a:cubicBezTo>
                      <a:pt x="8" y="260"/>
                      <a:pt x="0" y="243"/>
                      <a:pt x="0" y="225"/>
                    </a:cubicBezTo>
                    <a:cubicBezTo>
                      <a:pt x="0" y="204"/>
                      <a:pt x="9" y="184"/>
                      <a:pt x="26" y="171"/>
                    </a:cubicBezTo>
                    <a:cubicBezTo>
                      <a:pt x="26" y="43"/>
                      <a:pt x="26" y="43"/>
                      <a:pt x="26" y="43"/>
                    </a:cubicBezTo>
                    <a:cubicBezTo>
                      <a:pt x="26" y="19"/>
                      <a:pt x="45" y="0"/>
                      <a:pt x="69" y="0"/>
                    </a:cubicBezTo>
                    <a:cubicBezTo>
                      <a:pt x="93" y="0"/>
                      <a:pt x="113" y="19"/>
                      <a:pt x="113" y="43"/>
                    </a:cubicBezTo>
                    <a:cubicBezTo>
                      <a:pt x="113" y="171"/>
                      <a:pt x="113" y="171"/>
                      <a:pt x="113" y="171"/>
                    </a:cubicBezTo>
                    <a:cubicBezTo>
                      <a:pt x="129" y="184"/>
                      <a:pt x="138" y="204"/>
                      <a:pt x="138" y="224"/>
                    </a:cubicBezTo>
                    <a:cubicBezTo>
                      <a:pt x="138" y="243"/>
                      <a:pt x="131" y="260"/>
                      <a:pt x="118" y="273"/>
                    </a:cubicBezTo>
                    <a:cubicBezTo>
                      <a:pt x="105" y="286"/>
                      <a:pt x="87" y="293"/>
                      <a:pt x="69" y="293"/>
                    </a:cubicBezTo>
                    <a:moveTo>
                      <a:pt x="69" y="12"/>
                    </a:moveTo>
                    <a:cubicBezTo>
                      <a:pt x="52" y="12"/>
                      <a:pt x="38" y="26"/>
                      <a:pt x="38" y="43"/>
                    </a:cubicBezTo>
                    <a:cubicBezTo>
                      <a:pt x="38" y="174"/>
                      <a:pt x="38" y="174"/>
                      <a:pt x="38" y="174"/>
                    </a:cubicBezTo>
                    <a:cubicBezTo>
                      <a:pt x="38" y="176"/>
                      <a:pt x="37" y="177"/>
                      <a:pt x="35" y="179"/>
                    </a:cubicBezTo>
                    <a:cubicBezTo>
                      <a:pt x="20" y="189"/>
                      <a:pt x="12" y="207"/>
                      <a:pt x="12" y="225"/>
                    </a:cubicBezTo>
                    <a:cubicBezTo>
                      <a:pt x="13" y="256"/>
                      <a:pt x="38" y="281"/>
                      <a:pt x="68" y="281"/>
                    </a:cubicBezTo>
                    <a:cubicBezTo>
                      <a:pt x="84" y="282"/>
                      <a:pt x="98" y="276"/>
                      <a:pt x="109" y="265"/>
                    </a:cubicBezTo>
                    <a:cubicBezTo>
                      <a:pt x="120" y="254"/>
                      <a:pt x="126" y="240"/>
                      <a:pt x="126" y="224"/>
                    </a:cubicBezTo>
                    <a:cubicBezTo>
                      <a:pt x="126" y="206"/>
                      <a:pt x="118" y="189"/>
                      <a:pt x="103" y="179"/>
                    </a:cubicBezTo>
                    <a:cubicBezTo>
                      <a:pt x="102" y="177"/>
                      <a:pt x="101" y="176"/>
                      <a:pt x="101" y="174"/>
                    </a:cubicBezTo>
                    <a:cubicBezTo>
                      <a:pt x="101" y="43"/>
                      <a:pt x="101" y="43"/>
                      <a:pt x="101" y="43"/>
                    </a:cubicBezTo>
                    <a:cubicBezTo>
                      <a:pt x="101" y="26"/>
                      <a:pt x="87" y="12"/>
                      <a:pt x="69" y="1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67" name="Freeform 38"/>
              <p:cNvSpPr>
                <a:spLocks noEditPoints="1"/>
              </p:cNvSpPr>
              <p:nvPr/>
            </p:nvSpPr>
            <p:spPr bwMode="auto">
              <a:xfrm>
                <a:off x="3868654" y="2596250"/>
                <a:ext cx="150161" cy="247907"/>
              </a:xfrm>
              <a:custGeom>
                <a:avLst/>
                <a:gdLst>
                  <a:gd name="T0" fmla="*/ 45 w 90"/>
                  <a:gd name="T1" fmla="*/ 148 h 148"/>
                  <a:gd name="T2" fmla="*/ 45 w 90"/>
                  <a:gd name="T3" fmla="*/ 148 h 148"/>
                  <a:gd name="T4" fmla="*/ 0 w 90"/>
                  <a:gd name="T5" fmla="*/ 104 h 148"/>
                  <a:gd name="T6" fmla="*/ 18 w 90"/>
                  <a:gd name="T7" fmla="*/ 67 h 148"/>
                  <a:gd name="T8" fmla="*/ 26 w 90"/>
                  <a:gd name="T9" fmla="*/ 62 h 148"/>
                  <a:gd name="T10" fmla="*/ 26 w 90"/>
                  <a:gd name="T11" fmla="*/ 6 h 148"/>
                  <a:gd name="T12" fmla="*/ 32 w 90"/>
                  <a:gd name="T13" fmla="*/ 0 h 148"/>
                  <a:gd name="T14" fmla="*/ 59 w 90"/>
                  <a:gd name="T15" fmla="*/ 0 h 148"/>
                  <a:gd name="T16" fmla="*/ 65 w 90"/>
                  <a:gd name="T17" fmla="*/ 6 h 148"/>
                  <a:gd name="T18" fmla="*/ 65 w 90"/>
                  <a:gd name="T19" fmla="*/ 62 h 148"/>
                  <a:gd name="T20" fmla="*/ 72 w 90"/>
                  <a:gd name="T21" fmla="*/ 67 h 148"/>
                  <a:gd name="T22" fmla="*/ 72 w 90"/>
                  <a:gd name="T23" fmla="*/ 67 h 148"/>
                  <a:gd name="T24" fmla="*/ 90 w 90"/>
                  <a:gd name="T25" fmla="*/ 103 h 148"/>
                  <a:gd name="T26" fmla="*/ 77 w 90"/>
                  <a:gd name="T27" fmla="*/ 135 h 148"/>
                  <a:gd name="T28" fmla="*/ 45 w 90"/>
                  <a:gd name="T29" fmla="*/ 148 h 148"/>
                  <a:gd name="T30" fmla="*/ 38 w 90"/>
                  <a:gd name="T31" fmla="*/ 12 h 148"/>
                  <a:gd name="T32" fmla="*/ 38 w 90"/>
                  <a:gd name="T33" fmla="*/ 65 h 148"/>
                  <a:gd name="T34" fmla="*/ 35 w 90"/>
                  <a:gd name="T35" fmla="*/ 70 h 148"/>
                  <a:gd name="T36" fmla="*/ 26 w 90"/>
                  <a:gd name="T37" fmla="*/ 77 h 148"/>
                  <a:gd name="T38" fmla="*/ 12 w 90"/>
                  <a:gd name="T39" fmla="*/ 104 h 148"/>
                  <a:gd name="T40" fmla="*/ 45 w 90"/>
                  <a:gd name="T41" fmla="*/ 136 h 148"/>
                  <a:gd name="T42" fmla="*/ 45 w 90"/>
                  <a:gd name="T43" fmla="*/ 136 h 148"/>
                  <a:gd name="T44" fmla="*/ 69 w 90"/>
                  <a:gd name="T45" fmla="*/ 127 h 148"/>
                  <a:gd name="T46" fmla="*/ 78 w 90"/>
                  <a:gd name="T47" fmla="*/ 103 h 148"/>
                  <a:gd name="T48" fmla="*/ 65 w 90"/>
                  <a:gd name="T49" fmla="*/ 77 h 148"/>
                  <a:gd name="T50" fmla="*/ 55 w 90"/>
                  <a:gd name="T51" fmla="*/ 70 h 148"/>
                  <a:gd name="T52" fmla="*/ 53 w 90"/>
                  <a:gd name="T53" fmla="*/ 65 h 148"/>
                  <a:gd name="T54" fmla="*/ 53 w 90"/>
                  <a:gd name="T55" fmla="*/ 12 h 148"/>
                  <a:gd name="T56" fmla="*/ 38 w 90"/>
                  <a:gd name="T57"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0" h="148">
                    <a:moveTo>
                      <a:pt x="45" y="148"/>
                    </a:moveTo>
                    <a:cubicBezTo>
                      <a:pt x="45" y="148"/>
                      <a:pt x="45" y="148"/>
                      <a:pt x="45" y="148"/>
                    </a:cubicBezTo>
                    <a:cubicBezTo>
                      <a:pt x="20" y="148"/>
                      <a:pt x="1" y="128"/>
                      <a:pt x="0" y="104"/>
                    </a:cubicBezTo>
                    <a:cubicBezTo>
                      <a:pt x="0" y="90"/>
                      <a:pt x="7" y="76"/>
                      <a:pt x="18" y="67"/>
                    </a:cubicBezTo>
                    <a:cubicBezTo>
                      <a:pt x="26" y="62"/>
                      <a:pt x="26" y="62"/>
                      <a:pt x="26" y="62"/>
                    </a:cubicBezTo>
                    <a:cubicBezTo>
                      <a:pt x="26" y="6"/>
                      <a:pt x="26" y="6"/>
                      <a:pt x="26" y="6"/>
                    </a:cubicBezTo>
                    <a:cubicBezTo>
                      <a:pt x="26" y="3"/>
                      <a:pt x="28" y="0"/>
                      <a:pt x="32" y="0"/>
                    </a:cubicBezTo>
                    <a:cubicBezTo>
                      <a:pt x="59" y="0"/>
                      <a:pt x="59" y="0"/>
                      <a:pt x="59" y="0"/>
                    </a:cubicBezTo>
                    <a:cubicBezTo>
                      <a:pt x="62" y="0"/>
                      <a:pt x="65" y="3"/>
                      <a:pt x="65" y="6"/>
                    </a:cubicBezTo>
                    <a:cubicBezTo>
                      <a:pt x="65" y="62"/>
                      <a:pt x="65" y="62"/>
                      <a:pt x="65" y="62"/>
                    </a:cubicBezTo>
                    <a:cubicBezTo>
                      <a:pt x="72" y="67"/>
                      <a:pt x="72" y="67"/>
                      <a:pt x="72" y="67"/>
                    </a:cubicBezTo>
                    <a:cubicBezTo>
                      <a:pt x="72" y="67"/>
                      <a:pt x="72" y="67"/>
                      <a:pt x="72" y="67"/>
                    </a:cubicBezTo>
                    <a:cubicBezTo>
                      <a:pt x="84" y="76"/>
                      <a:pt x="90" y="89"/>
                      <a:pt x="90" y="103"/>
                    </a:cubicBezTo>
                    <a:cubicBezTo>
                      <a:pt x="90" y="115"/>
                      <a:pt x="85" y="127"/>
                      <a:pt x="77" y="135"/>
                    </a:cubicBezTo>
                    <a:cubicBezTo>
                      <a:pt x="68" y="144"/>
                      <a:pt x="57" y="148"/>
                      <a:pt x="45" y="148"/>
                    </a:cubicBezTo>
                    <a:moveTo>
                      <a:pt x="38" y="12"/>
                    </a:moveTo>
                    <a:cubicBezTo>
                      <a:pt x="38" y="65"/>
                      <a:pt x="38" y="65"/>
                      <a:pt x="38" y="65"/>
                    </a:cubicBezTo>
                    <a:cubicBezTo>
                      <a:pt x="38" y="67"/>
                      <a:pt x="37" y="68"/>
                      <a:pt x="35" y="70"/>
                    </a:cubicBezTo>
                    <a:cubicBezTo>
                      <a:pt x="26" y="77"/>
                      <a:pt x="26" y="77"/>
                      <a:pt x="26" y="77"/>
                    </a:cubicBezTo>
                    <a:cubicBezTo>
                      <a:pt x="17" y="83"/>
                      <a:pt x="12" y="93"/>
                      <a:pt x="12" y="104"/>
                    </a:cubicBezTo>
                    <a:cubicBezTo>
                      <a:pt x="12" y="122"/>
                      <a:pt x="27" y="136"/>
                      <a:pt x="45" y="136"/>
                    </a:cubicBezTo>
                    <a:cubicBezTo>
                      <a:pt x="45" y="136"/>
                      <a:pt x="45" y="136"/>
                      <a:pt x="45" y="136"/>
                    </a:cubicBezTo>
                    <a:cubicBezTo>
                      <a:pt x="54" y="136"/>
                      <a:pt x="62" y="133"/>
                      <a:pt x="69" y="127"/>
                    </a:cubicBezTo>
                    <a:cubicBezTo>
                      <a:pt x="75" y="120"/>
                      <a:pt x="78" y="112"/>
                      <a:pt x="78" y="103"/>
                    </a:cubicBezTo>
                    <a:cubicBezTo>
                      <a:pt x="78" y="93"/>
                      <a:pt x="73" y="83"/>
                      <a:pt x="65" y="77"/>
                    </a:cubicBezTo>
                    <a:cubicBezTo>
                      <a:pt x="55" y="70"/>
                      <a:pt x="55" y="70"/>
                      <a:pt x="55" y="70"/>
                    </a:cubicBezTo>
                    <a:cubicBezTo>
                      <a:pt x="54" y="68"/>
                      <a:pt x="53" y="67"/>
                      <a:pt x="53" y="65"/>
                    </a:cubicBezTo>
                    <a:cubicBezTo>
                      <a:pt x="53" y="12"/>
                      <a:pt x="53" y="12"/>
                      <a:pt x="53" y="12"/>
                    </a:cubicBezTo>
                    <a:cubicBezTo>
                      <a:pt x="38" y="12"/>
                      <a:pt x="38" y="12"/>
                      <a:pt x="38"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68" name="Freeform 40"/>
              <p:cNvSpPr>
                <a:spLocks/>
              </p:cNvSpPr>
              <p:nvPr/>
            </p:nvSpPr>
            <p:spPr bwMode="auto">
              <a:xfrm>
                <a:off x="3908319" y="2556585"/>
                <a:ext cx="72247" cy="19833"/>
              </a:xfrm>
              <a:custGeom>
                <a:avLst/>
                <a:gdLst>
                  <a:gd name="T0" fmla="*/ 37 w 43"/>
                  <a:gd name="T1" fmla="*/ 12 h 12"/>
                  <a:gd name="T2" fmla="*/ 6 w 43"/>
                  <a:gd name="T3" fmla="*/ 12 h 12"/>
                  <a:gd name="T4" fmla="*/ 0 w 43"/>
                  <a:gd name="T5" fmla="*/ 6 h 12"/>
                  <a:gd name="T6" fmla="*/ 6 w 43"/>
                  <a:gd name="T7" fmla="*/ 0 h 12"/>
                  <a:gd name="T8" fmla="*/ 37 w 43"/>
                  <a:gd name="T9" fmla="*/ 0 h 12"/>
                  <a:gd name="T10" fmla="*/ 43 w 43"/>
                  <a:gd name="T11" fmla="*/ 6 h 12"/>
                  <a:gd name="T12" fmla="*/ 37 w 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12"/>
                    </a:moveTo>
                    <a:cubicBezTo>
                      <a:pt x="6" y="12"/>
                      <a:pt x="6" y="12"/>
                      <a:pt x="6" y="12"/>
                    </a:cubicBezTo>
                    <a:cubicBezTo>
                      <a:pt x="2" y="12"/>
                      <a:pt x="0" y="10"/>
                      <a:pt x="0" y="6"/>
                    </a:cubicBezTo>
                    <a:cubicBezTo>
                      <a:pt x="0" y="3"/>
                      <a:pt x="2" y="0"/>
                      <a:pt x="6" y="0"/>
                    </a:cubicBezTo>
                    <a:cubicBezTo>
                      <a:pt x="37" y="0"/>
                      <a:pt x="37" y="0"/>
                      <a:pt x="37" y="0"/>
                    </a:cubicBezTo>
                    <a:cubicBezTo>
                      <a:pt x="40" y="0"/>
                      <a:pt x="43" y="3"/>
                      <a:pt x="43" y="6"/>
                    </a:cubicBezTo>
                    <a:cubicBezTo>
                      <a:pt x="43" y="10"/>
                      <a:pt x="40" y="12"/>
                      <a:pt x="37" y="1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69" name="Freeform 42"/>
              <p:cNvSpPr>
                <a:spLocks/>
              </p:cNvSpPr>
              <p:nvPr/>
            </p:nvSpPr>
            <p:spPr bwMode="auto">
              <a:xfrm>
                <a:off x="3908319" y="2516212"/>
                <a:ext cx="72247" cy="19833"/>
              </a:xfrm>
              <a:custGeom>
                <a:avLst/>
                <a:gdLst>
                  <a:gd name="T0" fmla="*/ 37 w 43"/>
                  <a:gd name="T1" fmla="*/ 12 h 12"/>
                  <a:gd name="T2" fmla="*/ 6 w 43"/>
                  <a:gd name="T3" fmla="*/ 12 h 12"/>
                  <a:gd name="T4" fmla="*/ 0 w 43"/>
                  <a:gd name="T5" fmla="*/ 6 h 12"/>
                  <a:gd name="T6" fmla="*/ 6 w 43"/>
                  <a:gd name="T7" fmla="*/ 0 h 12"/>
                  <a:gd name="T8" fmla="*/ 37 w 43"/>
                  <a:gd name="T9" fmla="*/ 0 h 12"/>
                  <a:gd name="T10" fmla="*/ 43 w 43"/>
                  <a:gd name="T11" fmla="*/ 6 h 12"/>
                  <a:gd name="T12" fmla="*/ 37 w 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12"/>
                    </a:moveTo>
                    <a:cubicBezTo>
                      <a:pt x="6" y="12"/>
                      <a:pt x="6" y="12"/>
                      <a:pt x="6" y="12"/>
                    </a:cubicBezTo>
                    <a:cubicBezTo>
                      <a:pt x="2" y="12"/>
                      <a:pt x="0" y="10"/>
                      <a:pt x="0" y="6"/>
                    </a:cubicBezTo>
                    <a:cubicBezTo>
                      <a:pt x="0" y="3"/>
                      <a:pt x="2" y="0"/>
                      <a:pt x="6" y="0"/>
                    </a:cubicBezTo>
                    <a:cubicBezTo>
                      <a:pt x="37" y="0"/>
                      <a:pt x="37" y="0"/>
                      <a:pt x="37" y="0"/>
                    </a:cubicBezTo>
                    <a:cubicBezTo>
                      <a:pt x="40" y="0"/>
                      <a:pt x="43" y="3"/>
                      <a:pt x="43" y="6"/>
                    </a:cubicBezTo>
                    <a:cubicBezTo>
                      <a:pt x="43" y="10"/>
                      <a:pt x="40" y="12"/>
                      <a:pt x="37" y="1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70" name="Freeform 44"/>
              <p:cNvSpPr>
                <a:spLocks/>
              </p:cNvSpPr>
              <p:nvPr/>
            </p:nvSpPr>
            <p:spPr bwMode="auto">
              <a:xfrm>
                <a:off x="3908319" y="2475838"/>
                <a:ext cx="72247" cy="19833"/>
              </a:xfrm>
              <a:custGeom>
                <a:avLst/>
                <a:gdLst>
                  <a:gd name="T0" fmla="*/ 37 w 43"/>
                  <a:gd name="T1" fmla="*/ 12 h 12"/>
                  <a:gd name="T2" fmla="*/ 6 w 43"/>
                  <a:gd name="T3" fmla="*/ 12 h 12"/>
                  <a:gd name="T4" fmla="*/ 0 w 43"/>
                  <a:gd name="T5" fmla="*/ 6 h 12"/>
                  <a:gd name="T6" fmla="*/ 6 w 43"/>
                  <a:gd name="T7" fmla="*/ 0 h 12"/>
                  <a:gd name="T8" fmla="*/ 37 w 43"/>
                  <a:gd name="T9" fmla="*/ 0 h 12"/>
                  <a:gd name="T10" fmla="*/ 43 w 43"/>
                  <a:gd name="T11" fmla="*/ 6 h 12"/>
                  <a:gd name="T12" fmla="*/ 37 w 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3" h="12">
                    <a:moveTo>
                      <a:pt x="37" y="12"/>
                    </a:moveTo>
                    <a:cubicBezTo>
                      <a:pt x="6" y="12"/>
                      <a:pt x="6" y="12"/>
                      <a:pt x="6" y="12"/>
                    </a:cubicBezTo>
                    <a:cubicBezTo>
                      <a:pt x="2" y="12"/>
                      <a:pt x="0" y="10"/>
                      <a:pt x="0" y="6"/>
                    </a:cubicBezTo>
                    <a:cubicBezTo>
                      <a:pt x="0" y="3"/>
                      <a:pt x="2" y="0"/>
                      <a:pt x="6" y="0"/>
                    </a:cubicBezTo>
                    <a:cubicBezTo>
                      <a:pt x="37" y="0"/>
                      <a:pt x="37" y="0"/>
                      <a:pt x="37" y="0"/>
                    </a:cubicBezTo>
                    <a:cubicBezTo>
                      <a:pt x="40" y="0"/>
                      <a:pt x="43" y="3"/>
                      <a:pt x="43" y="6"/>
                    </a:cubicBezTo>
                    <a:cubicBezTo>
                      <a:pt x="43" y="10"/>
                      <a:pt x="40" y="12"/>
                      <a:pt x="37" y="1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71" name="Freeform 46"/>
              <p:cNvSpPr>
                <a:spLocks/>
              </p:cNvSpPr>
              <p:nvPr/>
            </p:nvSpPr>
            <p:spPr bwMode="auto">
              <a:xfrm>
                <a:off x="3933818" y="2768368"/>
                <a:ext cx="45331" cy="35415"/>
              </a:xfrm>
              <a:custGeom>
                <a:avLst/>
                <a:gdLst>
                  <a:gd name="T0" fmla="*/ 6 w 27"/>
                  <a:gd name="T1" fmla="*/ 21 h 21"/>
                  <a:gd name="T2" fmla="*/ 6 w 27"/>
                  <a:gd name="T3" fmla="*/ 21 h 21"/>
                  <a:gd name="T4" fmla="*/ 0 w 27"/>
                  <a:gd name="T5" fmla="*/ 15 h 21"/>
                  <a:gd name="T6" fmla="*/ 6 w 27"/>
                  <a:gd name="T7" fmla="*/ 9 h 21"/>
                  <a:gd name="T8" fmla="*/ 6 w 27"/>
                  <a:gd name="T9" fmla="*/ 9 h 21"/>
                  <a:gd name="T10" fmla="*/ 6 w 27"/>
                  <a:gd name="T11" fmla="*/ 9 h 21"/>
                  <a:gd name="T12" fmla="*/ 13 w 27"/>
                  <a:gd name="T13" fmla="*/ 7 h 21"/>
                  <a:gd name="T14" fmla="*/ 14 w 27"/>
                  <a:gd name="T15" fmla="*/ 4 h 21"/>
                  <a:gd name="T16" fmla="*/ 22 w 27"/>
                  <a:gd name="T17" fmla="*/ 1 h 21"/>
                  <a:gd name="T18" fmla="*/ 25 w 27"/>
                  <a:gd name="T19" fmla="*/ 10 h 21"/>
                  <a:gd name="T20" fmla="*/ 21 w 27"/>
                  <a:gd name="T21" fmla="*/ 15 h 21"/>
                  <a:gd name="T22" fmla="*/ 6 w 27"/>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1">
                    <a:moveTo>
                      <a:pt x="6" y="21"/>
                    </a:moveTo>
                    <a:cubicBezTo>
                      <a:pt x="6" y="21"/>
                      <a:pt x="6" y="21"/>
                      <a:pt x="6" y="21"/>
                    </a:cubicBezTo>
                    <a:cubicBezTo>
                      <a:pt x="3" y="21"/>
                      <a:pt x="0" y="19"/>
                      <a:pt x="0" y="15"/>
                    </a:cubicBezTo>
                    <a:cubicBezTo>
                      <a:pt x="0" y="12"/>
                      <a:pt x="3" y="9"/>
                      <a:pt x="6" y="9"/>
                    </a:cubicBezTo>
                    <a:cubicBezTo>
                      <a:pt x="6" y="9"/>
                      <a:pt x="6" y="9"/>
                      <a:pt x="6" y="9"/>
                    </a:cubicBezTo>
                    <a:cubicBezTo>
                      <a:pt x="6" y="9"/>
                      <a:pt x="6" y="9"/>
                      <a:pt x="6" y="9"/>
                    </a:cubicBezTo>
                    <a:cubicBezTo>
                      <a:pt x="9" y="9"/>
                      <a:pt x="11" y="8"/>
                      <a:pt x="13" y="7"/>
                    </a:cubicBezTo>
                    <a:cubicBezTo>
                      <a:pt x="13" y="6"/>
                      <a:pt x="14" y="5"/>
                      <a:pt x="14" y="4"/>
                    </a:cubicBezTo>
                    <a:cubicBezTo>
                      <a:pt x="16" y="1"/>
                      <a:pt x="19" y="0"/>
                      <a:pt x="22" y="1"/>
                    </a:cubicBezTo>
                    <a:cubicBezTo>
                      <a:pt x="25" y="3"/>
                      <a:pt x="27" y="7"/>
                      <a:pt x="25" y="10"/>
                    </a:cubicBezTo>
                    <a:cubicBezTo>
                      <a:pt x="24" y="12"/>
                      <a:pt x="23" y="14"/>
                      <a:pt x="21" y="15"/>
                    </a:cubicBezTo>
                    <a:cubicBezTo>
                      <a:pt x="17" y="19"/>
                      <a:pt x="12" y="21"/>
                      <a:pt x="6"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72" name="Freeform 48"/>
              <p:cNvSpPr>
                <a:spLocks/>
              </p:cNvSpPr>
              <p:nvPr/>
            </p:nvSpPr>
            <p:spPr bwMode="auto">
              <a:xfrm>
                <a:off x="3947276" y="2737203"/>
                <a:ext cx="24791" cy="23374"/>
              </a:xfrm>
              <a:custGeom>
                <a:avLst/>
                <a:gdLst>
                  <a:gd name="T0" fmla="*/ 8 w 15"/>
                  <a:gd name="T1" fmla="*/ 14 h 14"/>
                  <a:gd name="T2" fmla="*/ 4 w 15"/>
                  <a:gd name="T3" fmla="*/ 12 h 14"/>
                  <a:gd name="T4" fmla="*/ 3 w 15"/>
                  <a:gd name="T5" fmla="*/ 12 h 14"/>
                  <a:gd name="T6" fmla="*/ 2 w 15"/>
                  <a:gd name="T7" fmla="*/ 4 h 14"/>
                  <a:gd name="T8" fmla="*/ 11 w 15"/>
                  <a:gd name="T9" fmla="*/ 2 h 14"/>
                  <a:gd name="T10" fmla="*/ 12 w 15"/>
                  <a:gd name="T11" fmla="*/ 3 h 14"/>
                  <a:gd name="T12" fmla="*/ 12 w 15"/>
                  <a:gd name="T13" fmla="*/ 12 h 14"/>
                  <a:gd name="T14" fmla="*/ 8 w 15"/>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4">
                    <a:moveTo>
                      <a:pt x="8" y="14"/>
                    </a:moveTo>
                    <a:cubicBezTo>
                      <a:pt x="6" y="14"/>
                      <a:pt x="5" y="13"/>
                      <a:pt x="4" y="12"/>
                    </a:cubicBezTo>
                    <a:cubicBezTo>
                      <a:pt x="4" y="12"/>
                      <a:pt x="4" y="12"/>
                      <a:pt x="3" y="12"/>
                    </a:cubicBezTo>
                    <a:cubicBezTo>
                      <a:pt x="1" y="10"/>
                      <a:pt x="0" y="6"/>
                      <a:pt x="2" y="4"/>
                    </a:cubicBezTo>
                    <a:cubicBezTo>
                      <a:pt x="4" y="1"/>
                      <a:pt x="8" y="0"/>
                      <a:pt x="11" y="2"/>
                    </a:cubicBezTo>
                    <a:cubicBezTo>
                      <a:pt x="11" y="3"/>
                      <a:pt x="11" y="3"/>
                      <a:pt x="12" y="3"/>
                    </a:cubicBezTo>
                    <a:cubicBezTo>
                      <a:pt x="14" y="5"/>
                      <a:pt x="15" y="9"/>
                      <a:pt x="12" y="12"/>
                    </a:cubicBezTo>
                    <a:cubicBezTo>
                      <a:pt x="11" y="13"/>
                      <a:pt x="9" y="14"/>
                      <a:pt x="8" y="1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grpSp>
        <p:nvGrpSpPr>
          <p:cNvPr id="7" name="Group 273"/>
          <p:cNvGrpSpPr/>
          <p:nvPr/>
        </p:nvGrpSpPr>
        <p:grpSpPr>
          <a:xfrm>
            <a:off x="614243" y="3035390"/>
            <a:ext cx="585870" cy="585871"/>
            <a:chOff x="6124431" y="2268560"/>
            <a:chExt cx="770091" cy="770092"/>
          </a:xfrm>
          <a:solidFill>
            <a:srgbClr val="FFFFFF"/>
          </a:solidFill>
        </p:grpSpPr>
        <p:sp>
          <p:nvSpPr>
            <p:cNvPr id="1874" name="Oval 1873"/>
            <p:cNvSpPr/>
            <p:nvPr/>
          </p:nvSpPr>
          <p:spPr>
            <a:xfrm>
              <a:off x="6124431" y="22685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algn="ctr"/>
              <a:endParaRPr lang="en-US" sz="1500" dirty="0">
                <a:solidFill>
                  <a:srgbClr val="FFFFFF"/>
                </a:solidFill>
                <a:latin typeface="+mj-lt"/>
                <a:ea typeface="+mn-ea"/>
              </a:endParaRPr>
            </a:p>
          </p:txBody>
        </p:sp>
        <p:grpSp>
          <p:nvGrpSpPr>
            <p:cNvPr id="8" name="Group 143"/>
            <p:cNvGrpSpPr/>
            <p:nvPr/>
          </p:nvGrpSpPr>
          <p:grpSpPr>
            <a:xfrm>
              <a:off x="6299464" y="2356843"/>
              <a:ext cx="420024" cy="567352"/>
              <a:chOff x="6322928" y="2356843"/>
              <a:chExt cx="420024" cy="567352"/>
            </a:xfrm>
            <a:grpFill/>
          </p:grpSpPr>
          <p:sp>
            <p:nvSpPr>
              <p:cNvPr id="1876" name="Oval 50"/>
              <p:cNvSpPr>
                <a:spLocks noChangeArrowheads="1"/>
              </p:cNvSpPr>
              <p:nvPr/>
            </p:nvSpPr>
            <p:spPr bwMode="auto">
              <a:xfrm>
                <a:off x="6498588" y="2553043"/>
                <a:ext cx="68706" cy="70122"/>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77" name="Freeform 51"/>
              <p:cNvSpPr>
                <a:spLocks noEditPoints="1"/>
              </p:cNvSpPr>
              <p:nvPr/>
            </p:nvSpPr>
            <p:spPr bwMode="auto">
              <a:xfrm>
                <a:off x="6493630" y="2356843"/>
                <a:ext cx="78622" cy="202575"/>
              </a:xfrm>
              <a:custGeom>
                <a:avLst/>
                <a:gdLst>
                  <a:gd name="T0" fmla="*/ 47 w 47"/>
                  <a:gd name="T1" fmla="*/ 121 h 121"/>
                  <a:gd name="T2" fmla="*/ 41 w 47"/>
                  <a:gd name="T3" fmla="*/ 116 h 121"/>
                  <a:gd name="T4" fmla="*/ 23 w 47"/>
                  <a:gd name="T5" fmla="*/ 110 h 121"/>
                  <a:gd name="T6" fmla="*/ 6 w 47"/>
                  <a:gd name="T7" fmla="*/ 116 h 121"/>
                  <a:gd name="T8" fmla="*/ 0 w 47"/>
                  <a:gd name="T9" fmla="*/ 120 h 121"/>
                  <a:gd name="T10" fmla="*/ 1 w 47"/>
                  <a:gd name="T11" fmla="*/ 113 h 121"/>
                  <a:gd name="T12" fmla="*/ 23 w 47"/>
                  <a:gd name="T13" fmla="*/ 0 h 121"/>
                  <a:gd name="T14" fmla="*/ 46 w 47"/>
                  <a:gd name="T15" fmla="*/ 113 h 121"/>
                  <a:gd name="T16" fmla="*/ 47 w 47"/>
                  <a:gd name="T17" fmla="*/ 121 h 121"/>
                  <a:gd name="T18" fmla="*/ 23 w 47"/>
                  <a:gd name="T19" fmla="*/ 7 h 121"/>
                  <a:gd name="T20" fmla="*/ 7 w 47"/>
                  <a:gd name="T21" fmla="*/ 108 h 121"/>
                  <a:gd name="T22" fmla="*/ 39 w 47"/>
                  <a:gd name="T23" fmla="*/ 108 h 121"/>
                  <a:gd name="T24" fmla="*/ 23 w 47"/>
                  <a:gd name="T25" fmla="*/ 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121">
                    <a:moveTo>
                      <a:pt x="47" y="121"/>
                    </a:moveTo>
                    <a:cubicBezTo>
                      <a:pt x="41" y="116"/>
                      <a:pt x="41" y="116"/>
                      <a:pt x="41" y="116"/>
                    </a:cubicBezTo>
                    <a:cubicBezTo>
                      <a:pt x="36" y="112"/>
                      <a:pt x="30" y="110"/>
                      <a:pt x="23" y="110"/>
                    </a:cubicBezTo>
                    <a:cubicBezTo>
                      <a:pt x="17" y="110"/>
                      <a:pt x="11" y="112"/>
                      <a:pt x="6" y="116"/>
                    </a:cubicBezTo>
                    <a:cubicBezTo>
                      <a:pt x="0" y="120"/>
                      <a:pt x="0" y="120"/>
                      <a:pt x="0" y="120"/>
                    </a:cubicBezTo>
                    <a:cubicBezTo>
                      <a:pt x="1" y="113"/>
                      <a:pt x="1" y="113"/>
                      <a:pt x="1" y="113"/>
                    </a:cubicBezTo>
                    <a:cubicBezTo>
                      <a:pt x="12" y="0"/>
                      <a:pt x="19" y="0"/>
                      <a:pt x="23" y="0"/>
                    </a:cubicBezTo>
                    <a:cubicBezTo>
                      <a:pt x="27" y="0"/>
                      <a:pt x="35" y="0"/>
                      <a:pt x="46" y="113"/>
                    </a:cubicBezTo>
                    <a:lnTo>
                      <a:pt x="47" y="121"/>
                    </a:lnTo>
                    <a:close/>
                    <a:moveTo>
                      <a:pt x="23" y="7"/>
                    </a:moveTo>
                    <a:cubicBezTo>
                      <a:pt x="20" y="13"/>
                      <a:pt x="14" y="42"/>
                      <a:pt x="7" y="108"/>
                    </a:cubicBezTo>
                    <a:cubicBezTo>
                      <a:pt x="17" y="103"/>
                      <a:pt x="30" y="103"/>
                      <a:pt x="39" y="108"/>
                    </a:cubicBezTo>
                    <a:cubicBezTo>
                      <a:pt x="33" y="46"/>
                      <a:pt x="27" y="13"/>
                      <a:pt x="23"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78" name="Freeform 52"/>
              <p:cNvSpPr>
                <a:spLocks noEditPoints="1"/>
              </p:cNvSpPr>
              <p:nvPr/>
            </p:nvSpPr>
            <p:spPr bwMode="auto">
              <a:xfrm>
                <a:off x="6322928" y="2569334"/>
                <a:ext cx="420024" cy="354861"/>
              </a:xfrm>
              <a:custGeom>
                <a:avLst/>
                <a:gdLst>
                  <a:gd name="T0" fmla="*/ 125 w 251"/>
                  <a:gd name="T1" fmla="*/ 212 h 212"/>
                  <a:gd name="T2" fmla="*/ 102 w 251"/>
                  <a:gd name="T3" fmla="*/ 200 h 212"/>
                  <a:gd name="T4" fmla="*/ 102 w 251"/>
                  <a:gd name="T5" fmla="*/ 199 h 212"/>
                  <a:gd name="T6" fmla="*/ 111 w 251"/>
                  <a:gd name="T7" fmla="*/ 52 h 212"/>
                  <a:gd name="T8" fmla="*/ 12 w 251"/>
                  <a:gd name="T9" fmla="*/ 83 h 212"/>
                  <a:gd name="T10" fmla="*/ 6 w 251"/>
                  <a:gd name="T11" fmla="*/ 80 h 212"/>
                  <a:gd name="T12" fmla="*/ 93 w 251"/>
                  <a:gd name="T13" fmla="*/ 4 h 212"/>
                  <a:gd name="T14" fmla="*/ 99 w 251"/>
                  <a:gd name="T15" fmla="*/ 0 h 212"/>
                  <a:gd name="T16" fmla="*/ 98 w 251"/>
                  <a:gd name="T17" fmla="*/ 7 h 212"/>
                  <a:gd name="T18" fmla="*/ 97 w 251"/>
                  <a:gd name="T19" fmla="*/ 11 h 212"/>
                  <a:gd name="T20" fmla="*/ 125 w 251"/>
                  <a:gd name="T21" fmla="*/ 39 h 212"/>
                  <a:gd name="T22" fmla="*/ 154 w 251"/>
                  <a:gd name="T23" fmla="*/ 11 h 212"/>
                  <a:gd name="T24" fmla="*/ 153 w 251"/>
                  <a:gd name="T25" fmla="*/ 7 h 212"/>
                  <a:gd name="T26" fmla="*/ 152 w 251"/>
                  <a:gd name="T27" fmla="*/ 0 h 212"/>
                  <a:gd name="T28" fmla="*/ 158 w 251"/>
                  <a:gd name="T29" fmla="*/ 4 h 212"/>
                  <a:gd name="T30" fmla="*/ 245 w 251"/>
                  <a:gd name="T31" fmla="*/ 80 h 212"/>
                  <a:gd name="T32" fmla="*/ 238 w 251"/>
                  <a:gd name="T33" fmla="*/ 83 h 212"/>
                  <a:gd name="T34" fmla="*/ 238 w 251"/>
                  <a:gd name="T35" fmla="*/ 83 h 212"/>
                  <a:gd name="T36" fmla="*/ 140 w 251"/>
                  <a:gd name="T37" fmla="*/ 52 h 212"/>
                  <a:gd name="T38" fmla="*/ 149 w 251"/>
                  <a:gd name="T39" fmla="*/ 199 h 212"/>
                  <a:gd name="T40" fmla="*/ 149 w 251"/>
                  <a:gd name="T41" fmla="*/ 200 h 212"/>
                  <a:gd name="T42" fmla="*/ 125 w 251"/>
                  <a:gd name="T43" fmla="*/ 212 h 212"/>
                  <a:gd name="T44" fmla="*/ 108 w 251"/>
                  <a:gd name="T45" fmla="*/ 198 h 212"/>
                  <a:gd name="T46" fmla="*/ 125 w 251"/>
                  <a:gd name="T47" fmla="*/ 206 h 212"/>
                  <a:gd name="T48" fmla="*/ 143 w 251"/>
                  <a:gd name="T49" fmla="*/ 198 h 212"/>
                  <a:gd name="T50" fmla="*/ 134 w 251"/>
                  <a:gd name="T51" fmla="*/ 44 h 212"/>
                  <a:gd name="T52" fmla="*/ 118 w 251"/>
                  <a:gd name="T53" fmla="*/ 44 h 212"/>
                  <a:gd name="T54" fmla="*/ 108 w 251"/>
                  <a:gd name="T55" fmla="*/ 198 h 212"/>
                  <a:gd name="T56" fmla="*/ 137 w 251"/>
                  <a:gd name="T57" fmla="*/ 43 h 212"/>
                  <a:gd name="T58" fmla="*/ 138 w 251"/>
                  <a:gd name="T59" fmla="*/ 44 h 212"/>
                  <a:gd name="T60" fmla="*/ 238 w 251"/>
                  <a:gd name="T61" fmla="*/ 77 h 212"/>
                  <a:gd name="T62" fmla="*/ 239 w 251"/>
                  <a:gd name="T63" fmla="*/ 77 h 212"/>
                  <a:gd name="T64" fmla="*/ 160 w 251"/>
                  <a:gd name="T65" fmla="*/ 13 h 212"/>
                  <a:gd name="T66" fmla="*/ 137 w 251"/>
                  <a:gd name="T67" fmla="*/ 43 h 212"/>
                  <a:gd name="T68" fmla="*/ 11 w 251"/>
                  <a:gd name="T69" fmla="*/ 77 h 212"/>
                  <a:gd name="T70" fmla="*/ 12 w 251"/>
                  <a:gd name="T71" fmla="*/ 77 h 212"/>
                  <a:gd name="T72" fmla="*/ 114 w 251"/>
                  <a:gd name="T73" fmla="*/ 44 h 212"/>
                  <a:gd name="T74" fmla="*/ 115 w 251"/>
                  <a:gd name="T75" fmla="*/ 44 h 212"/>
                  <a:gd name="T76" fmla="*/ 91 w 251"/>
                  <a:gd name="T77" fmla="*/ 13 h 212"/>
                  <a:gd name="T78" fmla="*/ 11 w 251"/>
                  <a:gd name="T79" fmla="*/ 7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1" h="212">
                    <a:moveTo>
                      <a:pt x="125" y="212"/>
                    </a:moveTo>
                    <a:cubicBezTo>
                      <a:pt x="108" y="212"/>
                      <a:pt x="102" y="200"/>
                      <a:pt x="102" y="200"/>
                    </a:cubicBezTo>
                    <a:cubicBezTo>
                      <a:pt x="102" y="199"/>
                      <a:pt x="102" y="199"/>
                      <a:pt x="102" y="199"/>
                    </a:cubicBezTo>
                    <a:cubicBezTo>
                      <a:pt x="111" y="52"/>
                      <a:pt x="111" y="52"/>
                      <a:pt x="111" y="52"/>
                    </a:cubicBezTo>
                    <a:cubicBezTo>
                      <a:pt x="84" y="63"/>
                      <a:pt x="29" y="83"/>
                      <a:pt x="12" y="83"/>
                    </a:cubicBezTo>
                    <a:cubicBezTo>
                      <a:pt x="10" y="83"/>
                      <a:pt x="7" y="83"/>
                      <a:pt x="6" y="80"/>
                    </a:cubicBezTo>
                    <a:cubicBezTo>
                      <a:pt x="4" y="77"/>
                      <a:pt x="0" y="70"/>
                      <a:pt x="93" y="4"/>
                    </a:cubicBezTo>
                    <a:cubicBezTo>
                      <a:pt x="99" y="0"/>
                      <a:pt x="99" y="0"/>
                      <a:pt x="99" y="0"/>
                    </a:cubicBezTo>
                    <a:cubicBezTo>
                      <a:pt x="98" y="7"/>
                      <a:pt x="98" y="7"/>
                      <a:pt x="98" y="7"/>
                    </a:cubicBezTo>
                    <a:cubicBezTo>
                      <a:pt x="97" y="8"/>
                      <a:pt x="97" y="10"/>
                      <a:pt x="97" y="11"/>
                    </a:cubicBezTo>
                    <a:cubicBezTo>
                      <a:pt x="97" y="27"/>
                      <a:pt x="110" y="39"/>
                      <a:pt x="125" y="39"/>
                    </a:cubicBezTo>
                    <a:cubicBezTo>
                      <a:pt x="141" y="39"/>
                      <a:pt x="154" y="27"/>
                      <a:pt x="154" y="11"/>
                    </a:cubicBezTo>
                    <a:cubicBezTo>
                      <a:pt x="154" y="10"/>
                      <a:pt x="154" y="8"/>
                      <a:pt x="153" y="7"/>
                    </a:cubicBezTo>
                    <a:cubicBezTo>
                      <a:pt x="152" y="0"/>
                      <a:pt x="152" y="0"/>
                      <a:pt x="152" y="0"/>
                    </a:cubicBezTo>
                    <a:cubicBezTo>
                      <a:pt x="158" y="4"/>
                      <a:pt x="158" y="4"/>
                      <a:pt x="158" y="4"/>
                    </a:cubicBezTo>
                    <a:cubicBezTo>
                      <a:pt x="251" y="70"/>
                      <a:pt x="247" y="77"/>
                      <a:pt x="245" y="80"/>
                    </a:cubicBezTo>
                    <a:cubicBezTo>
                      <a:pt x="244" y="83"/>
                      <a:pt x="241" y="83"/>
                      <a:pt x="238" y="83"/>
                    </a:cubicBezTo>
                    <a:cubicBezTo>
                      <a:pt x="238" y="83"/>
                      <a:pt x="238" y="83"/>
                      <a:pt x="238" y="83"/>
                    </a:cubicBezTo>
                    <a:cubicBezTo>
                      <a:pt x="222" y="83"/>
                      <a:pt x="168" y="64"/>
                      <a:pt x="140" y="52"/>
                    </a:cubicBezTo>
                    <a:cubicBezTo>
                      <a:pt x="149" y="199"/>
                      <a:pt x="149" y="199"/>
                      <a:pt x="149" y="199"/>
                    </a:cubicBezTo>
                    <a:cubicBezTo>
                      <a:pt x="149" y="200"/>
                      <a:pt x="149" y="200"/>
                      <a:pt x="149" y="200"/>
                    </a:cubicBezTo>
                    <a:cubicBezTo>
                      <a:pt x="149" y="200"/>
                      <a:pt x="143" y="212"/>
                      <a:pt x="125" y="212"/>
                    </a:cubicBezTo>
                    <a:close/>
                    <a:moveTo>
                      <a:pt x="108" y="198"/>
                    </a:moveTo>
                    <a:cubicBezTo>
                      <a:pt x="109" y="200"/>
                      <a:pt x="114" y="206"/>
                      <a:pt x="125" y="206"/>
                    </a:cubicBezTo>
                    <a:cubicBezTo>
                      <a:pt x="137" y="206"/>
                      <a:pt x="142" y="199"/>
                      <a:pt x="143" y="198"/>
                    </a:cubicBezTo>
                    <a:cubicBezTo>
                      <a:pt x="134" y="44"/>
                      <a:pt x="134" y="44"/>
                      <a:pt x="134" y="44"/>
                    </a:cubicBezTo>
                    <a:cubicBezTo>
                      <a:pt x="129" y="46"/>
                      <a:pt x="123" y="46"/>
                      <a:pt x="118" y="44"/>
                    </a:cubicBezTo>
                    <a:lnTo>
                      <a:pt x="108" y="198"/>
                    </a:lnTo>
                    <a:close/>
                    <a:moveTo>
                      <a:pt x="137" y="43"/>
                    </a:moveTo>
                    <a:cubicBezTo>
                      <a:pt x="138" y="44"/>
                      <a:pt x="138" y="44"/>
                      <a:pt x="138" y="44"/>
                    </a:cubicBezTo>
                    <a:cubicBezTo>
                      <a:pt x="166" y="57"/>
                      <a:pt x="223" y="77"/>
                      <a:pt x="238" y="77"/>
                    </a:cubicBezTo>
                    <a:cubicBezTo>
                      <a:pt x="239" y="77"/>
                      <a:pt x="239" y="77"/>
                      <a:pt x="239" y="77"/>
                    </a:cubicBezTo>
                    <a:cubicBezTo>
                      <a:pt x="236" y="71"/>
                      <a:pt x="214" y="51"/>
                      <a:pt x="160" y="13"/>
                    </a:cubicBezTo>
                    <a:cubicBezTo>
                      <a:pt x="159" y="27"/>
                      <a:pt x="149" y="39"/>
                      <a:pt x="137" y="43"/>
                    </a:cubicBezTo>
                    <a:close/>
                    <a:moveTo>
                      <a:pt x="11" y="77"/>
                    </a:moveTo>
                    <a:cubicBezTo>
                      <a:pt x="12" y="77"/>
                      <a:pt x="12" y="77"/>
                      <a:pt x="12" y="77"/>
                    </a:cubicBezTo>
                    <a:cubicBezTo>
                      <a:pt x="28" y="77"/>
                      <a:pt x="86" y="57"/>
                      <a:pt x="114" y="44"/>
                    </a:cubicBezTo>
                    <a:cubicBezTo>
                      <a:pt x="115" y="44"/>
                      <a:pt x="115" y="44"/>
                      <a:pt x="115" y="44"/>
                    </a:cubicBezTo>
                    <a:cubicBezTo>
                      <a:pt x="102" y="39"/>
                      <a:pt x="92" y="27"/>
                      <a:pt x="91" y="13"/>
                    </a:cubicBezTo>
                    <a:cubicBezTo>
                      <a:pt x="37" y="51"/>
                      <a:pt x="15" y="71"/>
                      <a:pt x="11" y="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grpSp>
        <p:nvGrpSpPr>
          <p:cNvPr id="9" name="Group 279"/>
          <p:cNvGrpSpPr/>
          <p:nvPr/>
        </p:nvGrpSpPr>
        <p:grpSpPr>
          <a:xfrm>
            <a:off x="2756360" y="3972397"/>
            <a:ext cx="585870" cy="585871"/>
            <a:chOff x="4186956" y="3119460"/>
            <a:chExt cx="770091" cy="770092"/>
          </a:xfrm>
          <a:solidFill>
            <a:srgbClr val="FFFFFF"/>
          </a:solidFill>
        </p:grpSpPr>
        <p:sp>
          <p:nvSpPr>
            <p:cNvPr id="1880" name="Oval 1879"/>
            <p:cNvSpPr/>
            <p:nvPr/>
          </p:nvSpPr>
          <p:spPr>
            <a:xfrm>
              <a:off x="4186956" y="31194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algn="ctr"/>
              <a:endParaRPr lang="en-US" sz="1500" dirty="0">
                <a:solidFill>
                  <a:srgbClr val="FFFFFF"/>
                </a:solidFill>
                <a:latin typeface="+mj-lt"/>
                <a:ea typeface="+mn-ea"/>
              </a:endParaRPr>
            </a:p>
          </p:txBody>
        </p:sp>
        <p:grpSp>
          <p:nvGrpSpPr>
            <p:cNvPr id="10" name="Group 146"/>
            <p:cNvGrpSpPr/>
            <p:nvPr/>
          </p:nvGrpSpPr>
          <p:grpSpPr>
            <a:xfrm>
              <a:off x="4379697" y="3312201"/>
              <a:ext cx="384609" cy="384610"/>
              <a:chOff x="4420423" y="3287556"/>
              <a:chExt cx="384609" cy="384610"/>
            </a:xfrm>
            <a:grpFill/>
          </p:grpSpPr>
          <p:sp>
            <p:nvSpPr>
              <p:cNvPr id="1882" name="Freeform 55"/>
              <p:cNvSpPr>
                <a:spLocks noEditPoints="1"/>
              </p:cNvSpPr>
              <p:nvPr/>
            </p:nvSpPr>
            <p:spPr bwMode="auto">
              <a:xfrm>
                <a:off x="4420423" y="3287556"/>
                <a:ext cx="384609" cy="384610"/>
              </a:xfrm>
              <a:custGeom>
                <a:avLst/>
                <a:gdLst>
                  <a:gd name="T0" fmla="*/ 115 w 230"/>
                  <a:gd name="T1" fmla="*/ 230 h 230"/>
                  <a:gd name="T2" fmla="*/ 0 w 230"/>
                  <a:gd name="T3" fmla="*/ 115 h 230"/>
                  <a:gd name="T4" fmla="*/ 115 w 230"/>
                  <a:gd name="T5" fmla="*/ 0 h 230"/>
                  <a:gd name="T6" fmla="*/ 230 w 230"/>
                  <a:gd name="T7" fmla="*/ 115 h 230"/>
                  <a:gd name="T8" fmla="*/ 115 w 230"/>
                  <a:gd name="T9" fmla="*/ 230 h 230"/>
                  <a:gd name="T10" fmla="*/ 115 w 230"/>
                  <a:gd name="T11" fmla="*/ 9 h 230"/>
                  <a:gd name="T12" fmla="*/ 10 w 230"/>
                  <a:gd name="T13" fmla="*/ 115 h 230"/>
                  <a:gd name="T14" fmla="*/ 115 w 230"/>
                  <a:gd name="T15" fmla="*/ 220 h 230"/>
                  <a:gd name="T16" fmla="*/ 221 w 230"/>
                  <a:gd name="T17" fmla="*/ 115 h 230"/>
                  <a:gd name="T18" fmla="*/ 115 w 230"/>
                  <a:gd name="T19" fmla="*/ 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115" y="230"/>
                    </a:moveTo>
                    <a:cubicBezTo>
                      <a:pt x="52" y="230"/>
                      <a:pt x="0" y="178"/>
                      <a:pt x="0" y="115"/>
                    </a:cubicBezTo>
                    <a:cubicBezTo>
                      <a:pt x="0" y="51"/>
                      <a:pt x="52" y="0"/>
                      <a:pt x="115" y="0"/>
                    </a:cubicBezTo>
                    <a:cubicBezTo>
                      <a:pt x="179" y="0"/>
                      <a:pt x="230" y="51"/>
                      <a:pt x="230" y="115"/>
                    </a:cubicBezTo>
                    <a:cubicBezTo>
                      <a:pt x="230" y="178"/>
                      <a:pt x="179" y="230"/>
                      <a:pt x="115" y="230"/>
                    </a:cubicBezTo>
                    <a:moveTo>
                      <a:pt x="115" y="9"/>
                    </a:moveTo>
                    <a:cubicBezTo>
                      <a:pt x="57" y="9"/>
                      <a:pt x="10" y="57"/>
                      <a:pt x="10" y="115"/>
                    </a:cubicBezTo>
                    <a:cubicBezTo>
                      <a:pt x="10" y="173"/>
                      <a:pt x="57" y="220"/>
                      <a:pt x="115" y="220"/>
                    </a:cubicBezTo>
                    <a:cubicBezTo>
                      <a:pt x="173" y="220"/>
                      <a:pt x="221" y="173"/>
                      <a:pt x="221" y="115"/>
                    </a:cubicBezTo>
                    <a:cubicBezTo>
                      <a:pt x="221" y="57"/>
                      <a:pt x="173" y="9"/>
                      <a:pt x="115"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83" name="Freeform 56"/>
              <p:cNvSpPr>
                <a:spLocks noEditPoints="1"/>
              </p:cNvSpPr>
              <p:nvPr/>
            </p:nvSpPr>
            <p:spPr bwMode="auto">
              <a:xfrm>
                <a:off x="4581208" y="3447633"/>
                <a:ext cx="63747" cy="63747"/>
              </a:xfrm>
              <a:custGeom>
                <a:avLst/>
                <a:gdLst>
                  <a:gd name="T0" fmla="*/ 19 w 38"/>
                  <a:gd name="T1" fmla="*/ 38 h 38"/>
                  <a:gd name="T2" fmla="*/ 0 w 38"/>
                  <a:gd name="T3" fmla="*/ 19 h 38"/>
                  <a:gd name="T4" fmla="*/ 19 w 38"/>
                  <a:gd name="T5" fmla="*/ 0 h 38"/>
                  <a:gd name="T6" fmla="*/ 38 w 38"/>
                  <a:gd name="T7" fmla="*/ 19 h 38"/>
                  <a:gd name="T8" fmla="*/ 19 w 38"/>
                  <a:gd name="T9" fmla="*/ 38 h 38"/>
                  <a:gd name="T10" fmla="*/ 19 w 38"/>
                  <a:gd name="T11" fmla="*/ 9 h 38"/>
                  <a:gd name="T12" fmla="*/ 10 w 38"/>
                  <a:gd name="T13" fmla="*/ 19 h 38"/>
                  <a:gd name="T14" fmla="*/ 19 w 38"/>
                  <a:gd name="T15" fmla="*/ 28 h 38"/>
                  <a:gd name="T16" fmla="*/ 29 w 38"/>
                  <a:gd name="T17" fmla="*/ 19 h 38"/>
                  <a:gd name="T18" fmla="*/ 19 w 38"/>
                  <a:gd name="T19" fmla="*/ 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8">
                    <a:moveTo>
                      <a:pt x="19" y="38"/>
                    </a:moveTo>
                    <a:cubicBezTo>
                      <a:pt x="9" y="38"/>
                      <a:pt x="0" y="29"/>
                      <a:pt x="0" y="19"/>
                    </a:cubicBezTo>
                    <a:cubicBezTo>
                      <a:pt x="0" y="8"/>
                      <a:pt x="9" y="0"/>
                      <a:pt x="19" y="0"/>
                    </a:cubicBezTo>
                    <a:cubicBezTo>
                      <a:pt x="30" y="0"/>
                      <a:pt x="38" y="8"/>
                      <a:pt x="38" y="19"/>
                    </a:cubicBezTo>
                    <a:cubicBezTo>
                      <a:pt x="38" y="29"/>
                      <a:pt x="30" y="38"/>
                      <a:pt x="19" y="38"/>
                    </a:cubicBezTo>
                    <a:moveTo>
                      <a:pt x="19" y="9"/>
                    </a:moveTo>
                    <a:cubicBezTo>
                      <a:pt x="14" y="9"/>
                      <a:pt x="10" y="13"/>
                      <a:pt x="10" y="19"/>
                    </a:cubicBezTo>
                    <a:cubicBezTo>
                      <a:pt x="10" y="24"/>
                      <a:pt x="14" y="28"/>
                      <a:pt x="19" y="28"/>
                    </a:cubicBezTo>
                    <a:cubicBezTo>
                      <a:pt x="24" y="28"/>
                      <a:pt x="29" y="24"/>
                      <a:pt x="29" y="19"/>
                    </a:cubicBezTo>
                    <a:cubicBezTo>
                      <a:pt x="29" y="13"/>
                      <a:pt x="24" y="9"/>
                      <a:pt x="19"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84" name="Freeform 57"/>
              <p:cNvSpPr>
                <a:spLocks noEditPoints="1"/>
              </p:cNvSpPr>
              <p:nvPr/>
            </p:nvSpPr>
            <p:spPr bwMode="auto">
              <a:xfrm>
                <a:off x="4452297" y="3322263"/>
                <a:ext cx="321570" cy="222408"/>
              </a:xfrm>
              <a:custGeom>
                <a:avLst/>
                <a:gdLst>
                  <a:gd name="T0" fmla="*/ 178 w 192"/>
                  <a:gd name="T1" fmla="*/ 133 h 133"/>
                  <a:gd name="T2" fmla="*/ 158 w 192"/>
                  <a:gd name="T3" fmla="*/ 119 h 133"/>
                  <a:gd name="T4" fmla="*/ 182 w 192"/>
                  <a:gd name="T5" fmla="*/ 124 h 133"/>
                  <a:gd name="T6" fmla="*/ 180 w 192"/>
                  <a:gd name="T7" fmla="*/ 133 h 133"/>
                  <a:gd name="T8" fmla="*/ 8 w 192"/>
                  <a:gd name="T9" fmla="*/ 130 h 133"/>
                  <a:gd name="T10" fmla="*/ 28 w 192"/>
                  <a:gd name="T11" fmla="*/ 117 h 133"/>
                  <a:gd name="T12" fmla="*/ 32 w 192"/>
                  <a:gd name="T13" fmla="*/ 126 h 133"/>
                  <a:gd name="T14" fmla="*/ 12 w 192"/>
                  <a:gd name="T15" fmla="*/ 133 h 133"/>
                  <a:gd name="T16" fmla="*/ 5 w 192"/>
                  <a:gd name="T17" fmla="*/ 100 h 133"/>
                  <a:gd name="T18" fmla="*/ 5 w 192"/>
                  <a:gd name="T19" fmla="*/ 91 h 133"/>
                  <a:gd name="T20" fmla="*/ 29 w 192"/>
                  <a:gd name="T21" fmla="*/ 95 h 133"/>
                  <a:gd name="T22" fmla="*/ 187 w 192"/>
                  <a:gd name="T23" fmla="*/ 99 h 133"/>
                  <a:gd name="T24" fmla="*/ 163 w 192"/>
                  <a:gd name="T25" fmla="*/ 94 h 133"/>
                  <a:gd name="T26" fmla="*/ 187 w 192"/>
                  <a:gd name="T27" fmla="*/ 89 h 133"/>
                  <a:gd name="T28" fmla="*/ 187 w 192"/>
                  <a:gd name="T29" fmla="*/ 99 h 133"/>
                  <a:gd name="T30" fmla="*/ 103 w 192"/>
                  <a:gd name="T31" fmla="*/ 87 h 133"/>
                  <a:gd name="T32" fmla="*/ 150 w 192"/>
                  <a:gd name="T33" fmla="*/ 33 h 133"/>
                  <a:gd name="T34" fmla="*/ 157 w 192"/>
                  <a:gd name="T35" fmla="*/ 39 h 133"/>
                  <a:gd name="T36" fmla="*/ 106 w 192"/>
                  <a:gd name="T37" fmla="*/ 88 h 133"/>
                  <a:gd name="T38" fmla="*/ 28 w 192"/>
                  <a:gd name="T39" fmla="*/ 71 h 133"/>
                  <a:gd name="T40" fmla="*/ 8 w 192"/>
                  <a:gd name="T41" fmla="*/ 57 h 133"/>
                  <a:gd name="T42" fmla="*/ 32 w 192"/>
                  <a:gd name="T43" fmla="*/ 62 h 133"/>
                  <a:gd name="T44" fmla="*/ 30 w 192"/>
                  <a:gd name="T45" fmla="*/ 71 h 133"/>
                  <a:gd name="T46" fmla="*/ 158 w 192"/>
                  <a:gd name="T47" fmla="*/ 68 h 133"/>
                  <a:gd name="T48" fmla="*/ 179 w 192"/>
                  <a:gd name="T49" fmla="*/ 54 h 133"/>
                  <a:gd name="T50" fmla="*/ 182 w 192"/>
                  <a:gd name="T51" fmla="*/ 63 h 133"/>
                  <a:gd name="T52" fmla="*/ 163 w 192"/>
                  <a:gd name="T53" fmla="*/ 71 h 133"/>
                  <a:gd name="T54" fmla="*/ 42 w 192"/>
                  <a:gd name="T55" fmla="*/ 46 h 133"/>
                  <a:gd name="T56" fmla="*/ 28 w 192"/>
                  <a:gd name="T57" fmla="*/ 26 h 133"/>
                  <a:gd name="T58" fmla="*/ 49 w 192"/>
                  <a:gd name="T59" fmla="*/ 39 h 133"/>
                  <a:gd name="T60" fmla="*/ 45 w 192"/>
                  <a:gd name="T61" fmla="*/ 48 h 133"/>
                  <a:gd name="T62" fmla="*/ 64 w 192"/>
                  <a:gd name="T63" fmla="*/ 29 h 133"/>
                  <a:gd name="T64" fmla="*/ 60 w 192"/>
                  <a:gd name="T65" fmla="*/ 5 h 133"/>
                  <a:gd name="T66" fmla="*/ 73 w 192"/>
                  <a:gd name="T67" fmla="*/ 25 h 133"/>
                  <a:gd name="T68" fmla="*/ 69 w 192"/>
                  <a:gd name="T69" fmla="*/ 32 h 133"/>
                  <a:gd name="T70" fmla="*/ 122 w 192"/>
                  <a:gd name="T71" fmla="*/ 32 h 133"/>
                  <a:gd name="T72" fmla="*/ 127 w 192"/>
                  <a:gd name="T73" fmla="*/ 8 h 133"/>
                  <a:gd name="T74" fmla="*/ 135 w 192"/>
                  <a:gd name="T75" fmla="*/ 11 h 133"/>
                  <a:gd name="T76" fmla="*/ 124 w 192"/>
                  <a:gd name="T77" fmla="*/ 32 h 133"/>
                  <a:gd name="T78" fmla="*/ 91 w 192"/>
                  <a:gd name="T79" fmla="*/ 24 h 133"/>
                  <a:gd name="T80" fmla="*/ 96 w 192"/>
                  <a:gd name="T81" fmla="*/ 0 h 133"/>
                  <a:gd name="T82" fmla="*/ 100 w 192"/>
                  <a:gd name="T83" fmla="*/ 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2" h="133">
                    <a:moveTo>
                      <a:pt x="180" y="133"/>
                    </a:moveTo>
                    <a:cubicBezTo>
                      <a:pt x="180" y="133"/>
                      <a:pt x="179" y="133"/>
                      <a:pt x="178" y="133"/>
                    </a:cubicBezTo>
                    <a:cubicBezTo>
                      <a:pt x="161" y="126"/>
                      <a:pt x="161" y="126"/>
                      <a:pt x="161" y="126"/>
                    </a:cubicBezTo>
                    <a:cubicBezTo>
                      <a:pt x="158" y="125"/>
                      <a:pt x="157" y="122"/>
                      <a:pt x="158" y="119"/>
                    </a:cubicBezTo>
                    <a:cubicBezTo>
                      <a:pt x="159" y="117"/>
                      <a:pt x="162" y="116"/>
                      <a:pt x="164" y="117"/>
                    </a:cubicBezTo>
                    <a:cubicBezTo>
                      <a:pt x="182" y="124"/>
                      <a:pt x="182" y="124"/>
                      <a:pt x="182" y="124"/>
                    </a:cubicBezTo>
                    <a:cubicBezTo>
                      <a:pt x="185" y="125"/>
                      <a:pt x="186" y="128"/>
                      <a:pt x="185" y="130"/>
                    </a:cubicBezTo>
                    <a:cubicBezTo>
                      <a:pt x="184" y="132"/>
                      <a:pt x="182" y="133"/>
                      <a:pt x="180" y="133"/>
                    </a:cubicBezTo>
                    <a:moveTo>
                      <a:pt x="12" y="133"/>
                    </a:moveTo>
                    <a:cubicBezTo>
                      <a:pt x="10" y="133"/>
                      <a:pt x="8" y="132"/>
                      <a:pt x="8" y="130"/>
                    </a:cubicBezTo>
                    <a:cubicBezTo>
                      <a:pt x="7" y="128"/>
                      <a:pt x="8" y="125"/>
                      <a:pt x="10" y="124"/>
                    </a:cubicBezTo>
                    <a:cubicBezTo>
                      <a:pt x="28" y="117"/>
                      <a:pt x="28" y="117"/>
                      <a:pt x="28" y="117"/>
                    </a:cubicBezTo>
                    <a:cubicBezTo>
                      <a:pt x="30" y="116"/>
                      <a:pt x="33" y="117"/>
                      <a:pt x="34" y="119"/>
                    </a:cubicBezTo>
                    <a:cubicBezTo>
                      <a:pt x="35" y="122"/>
                      <a:pt x="34" y="125"/>
                      <a:pt x="32" y="126"/>
                    </a:cubicBezTo>
                    <a:cubicBezTo>
                      <a:pt x="14" y="133"/>
                      <a:pt x="14" y="133"/>
                      <a:pt x="14" y="133"/>
                    </a:cubicBezTo>
                    <a:cubicBezTo>
                      <a:pt x="13" y="133"/>
                      <a:pt x="13" y="133"/>
                      <a:pt x="12" y="133"/>
                    </a:cubicBezTo>
                    <a:moveTo>
                      <a:pt x="24" y="100"/>
                    </a:moveTo>
                    <a:cubicBezTo>
                      <a:pt x="5" y="100"/>
                      <a:pt x="5" y="100"/>
                      <a:pt x="5" y="100"/>
                    </a:cubicBezTo>
                    <a:cubicBezTo>
                      <a:pt x="2" y="100"/>
                      <a:pt x="0" y="98"/>
                      <a:pt x="0" y="95"/>
                    </a:cubicBezTo>
                    <a:cubicBezTo>
                      <a:pt x="0" y="93"/>
                      <a:pt x="2" y="91"/>
                      <a:pt x="5" y="91"/>
                    </a:cubicBezTo>
                    <a:cubicBezTo>
                      <a:pt x="24" y="91"/>
                      <a:pt x="24" y="91"/>
                      <a:pt x="24" y="91"/>
                    </a:cubicBezTo>
                    <a:cubicBezTo>
                      <a:pt x="26" y="91"/>
                      <a:pt x="29" y="93"/>
                      <a:pt x="29" y="95"/>
                    </a:cubicBezTo>
                    <a:cubicBezTo>
                      <a:pt x="29" y="98"/>
                      <a:pt x="26" y="100"/>
                      <a:pt x="24" y="100"/>
                    </a:cubicBezTo>
                    <a:moveTo>
                      <a:pt x="187" y="99"/>
                    </a:moveTo>
                    <a:cubicBezTo>
                      <a:pt x="168" y="99"/>
                      <a:pt x="168" y="99"/>
                      <a:pt x="168" y="99"/>
                    </a:cubicBezTo>
                    <a:cubicBezTo>
                      <a:pt x="165" y="99"/>
                      <a:pt x="163" y="96"/>
                      <a:pt x="163" y="94"/>
                    </a:cubicBezTo>
                    <a:cubicBezTo>
                      <a:pt x="163" y="91"/>
                      <a:pt x="165" y="89"/>
                      <a:pt x="168" y="89"/>
                    </a:cubicBezTo>
                    <a:cubicBezTo>
                      <a:pt x="187" y="89"/>
                      <a:pt x="187" y="89"/>
                      <a:pt x="187" y="89"/>
                    </a:cubicBezTo>
                    <a:cubicBezTo>
                      <a:pt x="190" y="89"/>
                      <a:pt x="192" y="91"/>
                      <a:pt x="192" y="94"/>
                    </a:cubicBezTo>
                    <a:cubicBezTo>
                      <a:pt x="192" y="96"/>
                      <a:pt x="190" y="99"/>
                      <a:pt x="187" y="99"/>
                    </a:cubicBezTo>
                    <a:moveTo>
                      <a:pt x="106" y="88"/>
                    </a:moveTo>
                    <a:cubicBezTo>
                      <a:pt x="105" y="88"/>
                      <a:pt x="104" y="88"/>
                      <a:pt x="103" y="87"/>
                    </a:cubicBezTo>
                    <a:cubicBezTo>
                      <a:pt x="101" y="85"/>
                      <a:pt x="101" y="82"/>
                      <a:pt x="103" y="80"/>
                    </a:cubicBezTo>
                    <a:cubicBezTo>
                      <a:pt x="150" y="33"/>
                      <a:pt x="150" y="33"/>
                      <a:pt x="150" y="33"/>
                    </a:cubicBezTo>
                    <a:cubicBezTo>
                      <a:pt x="152" y="31"/>
                      <a:pt x="155" y="31"/>
                      <a:pt x="157" y="33"/>
                    </a:cubicBezTo>
                    <a:cubicBezTo>
                      <a:pt x="159" y="35"/>
                      <a:pt x="159" y="38"/>
                      <a:pt x="157" y="39"/>
                    </a:cubicBezTo>
                    <a:cubicBezTo>
                      <a:pt x="110" y="87"/>
                      <a:pt x="110" y="87"/>
                      <a:pt x="110" y="87"/>
                    </a:cubicBezTo>
                    <a:cubicBezTo>
                      <a:pt x="109" y="88"/>
                      <a:pt x="108" y="88"/>
                      <a:pt x="106" y="88"/>
                    </a:cubicBezTo>
                    <a:moveTo>
                      <a:pt x="30" y="71"/>
                    </a:moveTo>
                    <a:cubicBezTo>
                      <a:pt x="29" y="71"/>
                      <a:pt x="29" y="71"/>
                      <a:pt x="28" y="71"/>
                    </a:cubicBezTo>
                    <a:cubicBezTo>
                      <a:pt x="10" y="63"/>
                      <a:pt x="10" y="63"/>
                      <a:pt x="10" y="63"/>
                    </a:cubicBezTo>
                    <a:cubicBezTo>
                      <a:pt x="8" y="62"/>
                      <a:pt x="7" y="59"/>
                      <a:pt x="8" y="57"/>
                    </a:cubicBezTo>
                    <a:cubicBezTo>
                      <a:pt x="9" y="55"/>
                      <a:pt x="11" y="53"/>
                      <a:pt x="14" y="54"/>
                    </a:cubicBezTo>
                    <a:cubicBezTo>
                      <a:pt x="32" y="62"/>
                      <a:pt x="32" y="62"/>
                      <a:pt x="32" y="62"/>
                    </a:cubicBezTo>
                    <a:cubicBezTo>
                      <a:pt x="34" y="63"/>
                      <a:pt x="35" y="66"/>
                      <a:pt x="34" y="68"/>
                    </a:cubicBezTo>
                    <a:cubicBezTo>
                      <a:pt x="33" y="70"/>
                      <a:pt x="32" y="71"/>
                      <a:pt x="30" y="71"/>
                    </a:cubicBezTo>
                    <a:moveTo>
                      <a:pt x="163" y="71"/>
                    </a:moveTo>
                    <a:cubicBezTo>
                      <a:pt x="161" y="71"/>
                      <a:pt x="159" y="70"/>
                      <a:pt x="158" y="68"/>
                    </a:cubicBezTo>
                    <a:cubicBezTo>
                      <a:pt x="157" y="66"/>
                      <a:pt x="158" y="63"/>
                      <a:pt x="161" y="62"/>
                    </a:cubicBezTo>
                    <a:cubicBezTo>
                      <a:pt x="179" y="54"/>
                      <a:pt x="179" y="54"/>
                      <a:pt x="179" y="54"/>
                    </a:cubicBezTo>
                    <a:cubicBezTo>
                      <a:pt x="181" y="53"/>
                      <a:pt x="184" y="55"/>
                      <a:pt x="185" y="57"/>
                    </a:cubicBezTo>
                    <a:cubicBezTo>
                      <a:pt x="186" y="59"/>
                      <a:pt x="185" y="62"/>
                      <a:pt x="182" y="63"/>
                    </a:cubicBezTo>
                    <a:cubicBezTo>
                      <a:pt x="164" y="71"/>
                      <a:pt x="164" y="71"/>
                      <a:pt x="164" y="71"/>
                    </a:cubicBezTo>
                    <a:cubicBezTo>
                      <a:pt x="164" y="71"/>
                      <a:pt x="163" y="71"/>
                      <a:pt x="163" y="71"/>
                    </a:cubicBezTo>
                    <a:moveTo>
                      <a:pt x="45" y="48"/>
                    </a:moveTo>
                    <a:cubicBezTo>
                      <a:pt x="44" y="48"/>
                      <a:pt x="43" y="47"/>
                      <a:pt x="42" y="46"/>
                    </a:cubicBezTo>
                    <a:cubicBezTo>
                      <a:pt x="28" y="33"/>
                      <a:pt x="28" y="33"/>
                      <a:pt x="28" y="33"/>
                    </a:cubicBezTo>
                    <a:cubicBezTo>
                      <a:pt x="27" y="31"/>
                      <a:pt x="27" y="28"/>
                      <a:pt x="28" y="26"/>
                    </a:cubicBezTo>
                    <a:cubicBezTo>
                      <a:pt x="30" y="24"/>
                      <a:pt x="33" y="24"/>
                      <a:pt x="35" y="26"/>
                    </a:cubicBezTo>
                    <a:cubicBezTo>
                      <a:pt x="49" y="39"/>
                      <a:pt x="49" y="39"/>
                      <a:pt x="49" y="39"/>
                    </a:cubicBezTo>
                    <a:cubicBezTo>
                      <a:pt x="51" y="41"/>
                      <a:pt x="51" y="44"/>
                      <a:pt x="49" y="46"/>
                    </a:cubicBezTo>
                    <a:cubicBezTo>
                      <a:pt x="48" y="47"/>
                      <a:pt x="47" y="48"/>
                      <a:pt x="45" y="48"/>
                    </a:cubicBezTo>
                    <a:moveTo>
                      <a:pt x="69" y="32"/>
                    </a:moveTo>
                    <a:cubicBezTo>
                      <a:pt x="67" y="32"/>
                      <a:pt x="65" y="31"/>
                      <a:pt x="64" y="29"/>
                    </a:cubicBezTo>
                    <a:cubicBezTo>
                      <a:pt x="57" y="11"/>
                      <a:pt x="57" y="11"/>
                      <a:pt x="57" y="11"/>
                    </a:cubicBezTo>
                    <a:cubicBezTo>
                      <a:pt x="56" y="9"/>
                      <a:pt x="57" y="6"/>
                      <a:pt x="60" y="5"/>
                    </a:cubicBezTo>
                    <a:cubicBezTo>
                      <a:pt x="62" y="4"/>
                      <a:pt x="65" y="5"/>
                      <a:pt x="66" y="8"/>
                    </a:cubicBezTo>
                    <a:cubicBezTo>
                      <a:pt x="73" y="25"/>
                      <a:pt x="73" y="25"/>
                      <a:pt x="73" y="25"/>
                    </a:cubicBezTo>
                    <a:cubicBezTo>
                      <a:pt x="74" y="28"/>
                      <a:pt x="73" y="31"/>
                      <a:pt x="71" y="32"/>
                    </a:cubicBezTo>
                    <a:cubicBezTo>
                      <a:pt x="70" y="32"/>
                      <a:pt x="69" y="32"/>
                      <a:pt x="69" y="32"/>
                    </a:cubicBezTo>
                    <a:moveTo>
                      <a:pt x="124" y="32"/>
                    </a:moveTo>
                    <a:cubicBezTo>
                      <a:pt x="123" y="32"/>
                      <a:pt x="122" y="32"/>
                      <a:pt x="122" y="32"/>
                    </a:cubicBezTo>
                    <a:cubicBezTo>
                      <a:pt x="119" y="31"/>
                      <a:pt x="118" y="28"/>
                      <a:pt x="119" y="25"/>
                    </a:cubicBezTo>
                    <a:cubicBezTo>
                      <a:pt x="127" y="8"/>
                      <a:pt x="127" y="8"/>
                      <a:pt x="127" y="8"/>
                    </a:cubicBezTo>
                    <a:cubicBezTo>
                      <a:pt x="128" y="5"/>
                      <a:pt x="130" y="4"/>
                      <a:pt x="133" y="5"/>
                    </a:cubicBezTo>
                    <a:cubicBezTo>
                      <a:pt x="135" y="6"/>
                      <a:pt x="136" y="9"/>
                      <a:pt x="135" y="11"/>
                    </a:cubicBezTo>
                    <a:cubicBezTo>
                      <a:pt x="128" y="29"/>
                      <a:pt x="128" y="29"/>
                      <a:pt x="128" y="29"/>
                    </a:cubicBezTo>
                    <a:cubicBezTo>
                      <a:pt x="127" y="31"/>
                      <a:pt x="126" y="32"/>
                      <a:pt x="124" y="32"/>
                    </a:cubicBezTo>
                    <a:moveTo>
                      <a:pt x="96" y="28"/>
                    </a:moveTo>
                    <a:cubicBezTo>
                      <a:pt x="93" y="28"/>
                      <a:pt x="91" y="26"/>
                      <a:pt x="91" y="24"/>
                    </a:cubicBezTo>
                    <a:cubicBezTo>
                      <a:pt x="91" y="4"/>
                      <a:pt x="91" y="4"/>
                      <a:pt x="91" y="4"/>
                    </a:cubicBezTo>
                    <a:cubicBezTo>
                      <a:pt x="91" y="2"/>
                      <a:pt x="93" y="0"/>
                      <a:pt x="96" y="0"/>
                    </a:cubicBezTo>
                    <a:cubicBezTo>
                      <a:pt x="98" y="0"/>
                      <a:pt x="100" y="2"/>
                      <a:pt x="100" y="4"/>
                    </a:cubicBezTo>
                    <a:cubicBezTo>
                      <a:pt x="100" y="24"/>
                      <a:pt x="100" y="24"/>
                      <a:pt x="100" y="24"/>
                    </a:cubicBezTo>
                    <a:cubicBezTo>
                      <a:pt x="100" y="26"/>
                      <a:pt x="98" y="28"/>
                      <a:pt x="96" y="2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85" name="Freeform 58"/>
              <p:cNvSpPr>
                <a:spLocks noEditPoints="1"/>
              </p:cNvSpPr>
              <p:nvPr/>
            </p:nvSpPr>
            <p:spPr bwMode="auto">
              <a:xfrm>
                <a:off x="4532335" y="3543254"/>
                <a:ext cx="160785" cy="63747"/>
              </a:xfrm>
              <a:custGeom>
                <a:avLst/>
                <a:gdLst>
                  <a:gd name="T0" fmla="*/ 91 w 96"/>
                  <a:gd name="T1" fmla="*/ 38 h 38"/>
                  <a:gd name="T2" fmla="*/ 5 w 96"/>
                  <a:gd name="T3" fmla="*/ 38 h 38"/>
                  <a:gd name="T4" fmla="*/ 0 w 96"/>
                  <a:gd name="T5" fmla="*/ 34 h 38"/>
                  <a:gd name="T6" fmla="*/ 0 w 96"/>
                  <a:gd name="T7" fmla="*/ 5 h 38"/>
                  <a:gd name="T8" fmla="*/ 5 w 96"/>
                  <a:gd name="T9" fmla="*/ 0 h 38"/>
                  <a:gd name="T10" fmla="*/ 91 w 96"/>
                  <a:gd name="T11" fmla="*/ 0 h 38"/>
                  <a:gd name="T12" fmla="*/ 96 w 96"/>
                  <a:gd name="T13" fmla="*/ 5 h 38"/>
                  <a:gd name="T14" fmla="*/ 96 w 96"/>
                  <a:gd name="T15" fmla="*/ 34 h 38"/>
                  <a:gd name="T16" fmla="*/ 91 w 96"/>
                  <a:gd name="T17" fmla="*/ 38 h 38"/>
                  <a:gd name="T18" fmla="*/ 10 w 96"/>
                  <a:gd name="T19" fmla="*/ 29 h 38"/>
                  <a:gd name="T20" fmla="*/ 87 w 96"/>
                  <a:gd name="T21" fmla="*/ 29 h 38"/>
                  <a:gd name="T22" fmla="*/ 87 w 96"/>
                  <a:gd name="T23" fmla="*/ 10 h 38"/>
                  <a:gd name="T24" fmla="*/ 10 w 96"/>
                  <a:gd name="T25" fmla="*/ 10 h 38"/>
                  <a:gd name="T26" fmla="*/ 10 w 96"/>
                  <a:gd name="T27"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38">
                    <a:moveTo>
                      <a:pt x="91" y="38"/>
                    </a:moveTo>
                    <a:cubicBezTo>
                      <a:pt x="5" y="38"/>
                      <a:pt x="5" y="38"/>
                      <a:pt x="5" y="38"/>
                    </a:cubicBezTo>
                    <a:cubicBezTo>
                      <a:pt x="2" y="38"/>
                      <a:pt x="0" y="36"/>
                      <a:pt x="0" y="34"/>
                    </a:cubicBezTo>
                    <a:cubicBezTo>
                      <a:pt x="0" y="5"/>
                      <a:pt x="0" y="5"/>
                      <a:pt x="0" y="5"/>
                    </a:cubicBezTo>
                    <a:cubicBezTo>
                      <a:pt x="0" y="2"/>
                      <a:pt x="2" y="0"/>
                      <a:pt x="5" y="0"/>
                    </a:cubicBezTo>
                    <a:cubicBezTo>
                      <a:pt x="91" y="0"/>
                      <a:pt x="91" y="0"/>
                      <a:pt x="91" y="0"/>
                    </a:cubicBezTo>
                    <a:cubicBezTo>
                      <a:pt x="94" y="0"/>
                      <a:pt x="96" y="2"/>
                      <a:pt x="96" y="5"/>
                    </a:cubicBezTo>
                    <a:cubicBezTo>
                      <a:pt x="96" y="34"/>
                      <a:pt x="96" y="34"/>
                      <a:pt x="96" y="34"/>
                    </a:cubicBezTo>
                    <a:cubicBezTo>
                      <a:pt x="96" y="36"/>
                      <a:pt x="94" y="38"/>
                      <a:pt x="91" y="38"/>
                    </a:cubicBezTo>
                    <a:moveTo>
                      <a:pt x="10" y="29"/>
                    </a:moveTo>
                    <a:cubicBezTo>
                      <a:pt x="87" y="29"/>
                      <a:pt x="87" y="29"/>
                      <a:pt x="87" y="29"/>
                    </a:cubicBezTo>
                    <a:cubicBezTo>
                      <a:pt x="87" y="10"/>
                      <a:pt x="87" y="10"/>
                      <a:pt x="87" y="10"/>
                    </a:cubicBezTo>
                    <a:cubicBezTo>
                      <a:pt x="10" y="10"/>
                      <a:pt x="10" y="10"/>
                      <a:pt x="10" y="10"/>
                    </a:cubicBezTo>
                    <a:lnTo>
                      <a:pt x="10" y="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grpSp>
        <p:nvGrpSpPr>
          <p:cNvPr id="11" name="Group 286"/>
          <p:cNvGrpSpPr/>
          <p:nvPr/>
        </p:nvGrpSpPr>
        <p:grpSpPr>
          <a:xfrm>
            <a:off x="1896427" y="4091539"/>
            <a:ext cx="585870" cy="585871"/>
            <a:chOff x="4832781" y="2268560"/>
            <a:chExt cx="770091" cy="770092"/>
          </a:xfrm>
          <a:solidFill>
            <a:srgbClr val="FFFFFF"/>
          </a:solidFill>
        </p:grpSpPr>
        <p:sp>
          <p:nvSpPr>
            <p:cNvPr id="1887" name="Oval 1886"/>
            <p:cNvSpPr/>
            <p:nvPr/>
          </p:nvSpPr>
          <p:spPr>
            <a:xfrm>
              <a:off x="4832781" y="22685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algn="ctr"/>
              <a:endParaRPr lang="en-US" sz="1500" dirty="0">
                <a:solidFill>
                  <a:srgbClr val="FFFFFF"/>
                </a:solidFill>
                <a:latin typeface="+mj-lt"/>
                <a:ea typeface="+mn-ea"/>
              </a:endParaRPr>
            </a:p>
          </p:txBody>
        </p:sp>
        <p:grpSp>
          <p:nvGrpSpPr>
            <p:cNvPr id="12" name="Group 142"/>
            <p:cNvGrpSpPr/>
            <p:nvPr/>
          </p:nvGrpSpPr>
          <p:grpSpPr>
            <a:xfrm>
              <a:off x="4972753" y="2456006"/>
              <a:ext cx="490146" cy="367610"/>
              <a:chOff x="4992733" y="2456006"/>
              <a:chExt cx="490146" cy="367610"/>
            </a:xfrm>
            <a:grpFill/>
          </p:grpSpPr>
          <p:sp>
            <p:nvSpPr>
              <p:cNvPr id="1889" name="Freeform 59"/>
              <p:cNvSpPr>
                <a:spLocks noEditPoints="1"/>
              </p:cNvSpPr>
              <p:nvPr/>
            </p:nvSpPr>
            <p:spPr bwMode="auto">
              <a:xfrm>
                <a:off x="5319261" y="2659997"/>
                <a:ext cx="163618" cy="163618"/>
              </a:xfrm>
              <a:custGeom>
                <a:avLst/>
                <a:gdLst>
                  <a:gd name="T0" fmla="*/ 42 w 98"/>
                  <a:gd name="T1" fmla="*/ 98 h 98"/>
                  <a:gd name="T2" fmla="*/ 26 w 98"/>
                  <a:gd name="T3" fmla="*/ 88 h 98"/>
                  <a:gd name="T4" fmla="*/ 9 w 98"/>
                  <a:gd name="T5" fmla="*/ 79 h 98"/>
                  <a:gd name="T6" fmla="*/ 5 w 98"/>
                  <a:gd name="T7" fmla="*/ 60 h 98"/>
                  <a:gd name="T8" fmla="*/ 0 w 98"/>
                  <a:gd name="T9" fmla="*/ 42 h 98"/>
                  <a:gd name="T10" fmla="*/ 9 w 98"/>
                  <a:gd name="T11" fmla="*/ 26 h 98"/>
                  <a:gd name="T12" fmla="*/ 19 w 98"/>
                  <a:gd name="T13" fmla="*/ 9 h 98"/>
                  <a:gd name="T14" fmla="*/ 37 w 98"/>
                  <a:gd name="T15" fmla="*/ 5 h 98"/>
                  <a:gd name="T16" fmla="*/ 56 w 98"/>
                  <a:gd name="T17" fmla="*/ 0 h 98"/>
                  <a:gd name="T18" fmla="*/ 72 w 98"/>
                  <a:gd name="T19" fmla="*/ 9 h 98"/>
                  <a:gd name="T20" fmla="*/ 89 w 98"/>
                  <a:gd name="T21" fmla="*/ 19 h 98"/>
                  <a:gd name="T22" fmla="*/ 93 w 98"/>
                  <a:gd name="T23" fmla="*/ 37 h 98"/>
                  <a:gd name="T24" fmla="*/ 98 w 98"/>
                  <a:gd name="T25" fmla="*/ 56 h 98"/>
                  <a:gd name="T26" fmla="*/ 89 w 98"/>
                  <a:gd name="T27" fmla="*/ 72 h 98"/>
                  <a:gd name="T28" fmla="*/ 79 w 98"/>
                  <a:gd name="T29" fmla="*/ 88 h 98"/>
                  <a:gd name="T30" fmla="*/ 61 w 98"/>
                  <a:gd name="T31" fmla="*/ 93 h 98"/>
                  <a:gd name="T32" fmla="*/ 47 w 98"/>
                  <a:gd name="T33" fmla="*/ 88 h 98"/>
                  <a:gd name="T34" fmla="*/ 55 w 98"/>
                  <a:gd name="T35" fmla="*/ 84 h 98"/>
                  <a:gd name="T36" fmla="*/ 75 w 98"/>
                  <a:gd name="T37" fmla="*/ 78 h 98"/>
                  <a:gd name="T38" fmla="*/ 78 w 98"/>
                  <a:gd name="T39" fmla="*/ 70 h 98"/>
                  <a:gd name="T40" fmla="*/ 88 w 98"/>
                  <a:gd name="T41" fmla="*/ 51 h 98"/>
                  <a:gd name="T42" fmla="*/ 84 w 98"/>
                  <a:gd name="T43" fmla="*/ 43 h 98"/>
                  <a:gd name="T44" fmla="*/ 78 w 98"/>
                  <a:gd name="T45" fmla="*/ 23 h 98"/>
                  <a:gd name="T46" fmla="*/ 70 w 98"/>
                  <a:gd name="T47" fmla="*/ 20 h 98"/>
                  <a:gd name="T48" fmla="*/ 51 w 98"/>
                  <a:gd name="T49" fmla="*/ 11 h 98"/>
                  <a:gd name="T50" fmla="*/ 43 w 98"/>
                  <a:gd name="T51" fmla="*/ 14 h 98"/>
                  <a:gd name="T52" fmla="*/ 23 w 98"/>
                  <a:gd name="T53" fmla="*/ 20 h 98"/>
                  <a:gd name="T54" fmla="*/ 20 w 98"/>
                  <a:gd name="T55" fmla="*/ 29 h 98"/>
                  <a:gd name="T56" fmla="*/ 10 w 98"/>
                  <a:gd name="T57" fmla="*/ 47 h 98"/>
                  <a:gd name="T58" fmla="*/ 14 w 98"/>
                  <a:gd name="T59" fmla="*/ 55 h 98"/>
                  <a:gd name="T60" fmla="*/ 20 w 98"/>
                  <a:gd name="T61" fmla="*/ 75 h 98"/>
                  <a:gd name="T62" fmla="*/ 28 w 98"/>
                  <a:gd name="T63" fmla="*/ 78 h 98"/>
                  <a:gd name="T64" fmla="*/ 47 w 98"/>
                  <a:gd name="T65" fmla="*/ 8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98">
                    <a:moveTo>
                      <a:pt x="56" y="98"/>
                    </a:moveTo>
                    <a:cubicBezTo>
                      <a:pt x="42" y="98"/>
                      <a:pt x="42" y="98"/>
                      <a:pt x="42" y="98"/>
                    </a:cubicBezTo>
                    <a:cubicBezTo>
                      <a:pt x="39" y="98"/>
                      <a:pt x="37" y="96"/>
                      <a:pt x="37" y="93"/>
                    </a:cubicBezTo>
                    <a:cubicBezTo>
                      <a:pt x="33" y="92"/>
                      <a:pt x="29" y="90"/>
                      <a:pt x="26" y="88"/>
                    </a:cubicBezTo>
                    <a:cubicBezTo>
                      <a:pt x="24" y="90"/>
                      <a:pt x="21" y="90"/>
                      <a:pt x="19" y="88"/>
                    </a:cubicBezTo>
                    <a:cubicBezTo>
                      <a:pt x="9" y="79"/>
                      <a:pt x="9" y="79"/>
                      <a:pt x="9" y="79"/>
                    </a:cubicBezTo>
                    <a:cubicBezTo>
                      <a:pt x="7" y="77"/>
                      <a:pt x="7" y="74"/>
                      <a:pt x="9" y="72"/>
                    </a:cubicBezTo>
                    <a:cubicBezTo>
                      <a:pt x="7" y="68"/>
                      <a:pt x="6" y="64"/>
                      <a:pt x="5" y="60"/>
                    </a:cubicBezTo>
                    <a:cubicBezTo>
                      <a:pt x="2" y="60"/>
                      <a:pt x="0" y="58"/>
                      <a:pt x="0" y="56"/>
                    </a:cubicBezTo>
                    <a:cubicBezTo>
                      <a:pt x="0" y="42"/>
                      <a:pt x="0" y="42"/>
                      <a:pt x="0" y="42"/>
                    </a:cubicBezTo>
                    <a:cubicBezTo>
                      <a:pt x="0" y="39"/>
                      <a:pt x="2" y="37"/>
                      <a:pt x="5" y="37"/>
                    </a:cubicBezTo>
                    <a:cubicBezTo>
                      <a:pt x="6" y="33"/>
                      <a:pt x="7" y="29"/>
                      <a:pt x="9" y="26"/>
                    </a:cubicBezTo>
                    <a:cubicBezTo>
                      <a:pt x="7" y="24"/>
                      <a:pt x="7" y="21"/>
                      <a:pt x="9" y="19"/>
                    </a:cubicBezTo>
                    <a:cubicBezTo>
                      <a:pt x="19" y="9"/>
                      <a:pt x="19" y="9"/>
                      <a:pt x="19" y="9"/>
                    </a:cubicBezTo>
                    <a:cubicBezTo>
                      <a:pt x="21" y="7"/>
                      <a:pt x="24" y="7"/>
                      <a:pt x="26" y="9"/>
                    </a:cubicBezTo>
                    <a:cubicBezTo>
                      <a:pt x="29" y="7"/>
                      <a:pt x="33" y="6"/>
                      <a:pt x="37" y="5"/>
                    </a:cubicBezTo>
                    <a:cubicBezTo>
                      <a:pt x="37" y="2"/>
                      <a:pt x="39" y="0"/>
                      <a:pt x="42" y="0"/>
                    </a:cubicBezTo>
                    <a:cubicBezTo>
                      <a:pt x="56" y="0"/>
                      <a:pt x="56" y="0"/>
                      <a:pt x="56" y="0"/>
                    </a:cubicBezTo>
                    <a:cubicBezTo>
                      <a:pt x="59" y="0"/>
                      <a:pt x="61" y="2"/>
                      <a:pt x="61" y="5"/>
                    </a:cubicBezTo>
                    <a:cubicBezTo>
                      <a:pt x="65" y="6"/>
                      <a:pt x="69" y="7"/>
                      <a:pt x="72" y="9"/>
                    </a:cubicBezTo>
                    <a:cubicBezTo>
                      <a:pt x="74" y="7"/>
                      <a:pt x="77" y="7"/>
                      <a:pt x="79" y="9"/>
                    </a:cubicBezTo>
                    <a:cubicBezTo>
                      <a:pt x="89" y="19"/>
                      <a:pt x="89" y="19"/>
                      <a:pt x="89" y="19"/>
                    </a:cubicBezTo>
                    <a:cubicBezTo>
                      <a:pt x="91" y="21"/>
                      <a:pt x="91" y="24"/>
                      <a:pt x="89" y="26"/>
                    </a:cubicBezTo>
                    <a:cubicBezTo>
                      <a:pt x="91" y="29"/>
                      <a:pt x="92" y="33"/>
                      <a:pt x="93" y="37"/>
                    </a:cubicBezTo>
                    <a:cubicBezTo>
                      <a:pt x="96" y="37"/>
                      <a:pt x="98" y="39"/>
                      <a:pt x="98" y="42"/>
                    </a:cubicBezTo>
                    <a:cubicBezTo>
                      <a:pt x="98" y="56"/>
                      <a:pt x="98" y="56"/>
                      <a:pt x="98" y="56"/>
                    </a:cubicBezTo>
                    <a:cubicBezTo>
                      <a:pt x="98" y="58"/>
                      <a:pt x="96" y="60"/>
                      <a:pt x="93" y="60"/>
                    </a:cubicBezTo>
                    <a:cubicBezTo>
                      <a:pt x="92" y="64"/>
                      <a:pt x="91" y="68"/>
                      <a:pt x="89" y="72"/>
                    </a:cubicBezTo>
                    <a:cubicBezTo>
                      <a:pt x="91" y="74"/>
                      <a:pt x="91" y="77"/>
                      <a:pt x="89" y="79"/>
                    </a:cubicBezTo>
                    <a:cubicBezTo>
                      <a:pt x="79" y="88"/>
                      <a:pt x="79" y="88"/>
                      <a:pt x="79" y="88"/>
                    </a:cubicBezTo>
                    <a:cubicBezTo>
                      <a:pt x="77" y="90"/>
                      <a:pt x="74" y="90"/>
                      <a:pt x="72" y="88"/>
                    </a:cubicBezTo>
                    <a:cubicBezTo>
                      <a:pt x="69" y="90"/>
                      <a:pt x="65" y="92"/>
                      <a:pt x="61" y="93"/>
                    </a:cubicBezTo>
                    <a:cubicBezTo>
                      <a:pt x="61" y="96"/>
                      <a:pt x="58" y="98"/>
                      <a:pt x="56" y="98"/>
                    </a:cubicBezTo>
                    <a:moveTo>
                      <a:pt x="47" y="88"/>
                    </a:moveTo>
                    <a:cubicBezTo>
                      <a:pt x="51" y="88"/>
                      <a:pt x="51" y="88"/>
                      <a:pt x="51" y="88"/>
                    </a:cubicBezTo>
                    <a:cubicBezTo>
                      <a:pt x="51" y="86"/>
                      <a:pt x="53" y="84"/>
                      <a:pt x="55" y="84"/>
                    </a:cubicBezTo>
                    <a:cubicBezTo>
                      <a:pt x="60" y="83"/>
                      <a:pt x="65" y="81"/>
                      <a:pt x="70" y="78"/>
                    </a:cubicBezTo>
                    <a:cubicBezTo>
                      <a:pt x="71" y="77"/>
                      <a:pt x="73" y="77"/>
                      <a:pt x="75" y="78"/>
                    </a:cubicBezTo>
                    <a:cubicBezTo>
                      <a:pt x="78" y="75"/>
                      <a:pt x="78" y="75"/>
                      <a:pt x="78" y="75"/>
                    </a:cubicBezTo>
                    <a:cubicBezTo>
                      <a:pt x="77" y="74"/>
                      <a:pt x="77" y="71"/>
                      <a:pt x="78" y="70"/>
                    </a:cubicBezTo>
                    <a:cubicBezTo>
                      <a:pt x="81" y="65"/>
                      <a:pt x="83" y="60"/>
                      <a:pt x="84" y="55"/>
                    </a:cubicBezTo>
                    <a:cubicBezTo>
                      <a:pt x="84" y="53"/>
                      <a:pt x="86" y="52"/>
                      <a:pt x="88" y="51"/>
                    </a:cubicBezTo>
                    <a:cubicBezTo>
                      <a:pt x="88" y="47"/>
                      <a:pt x="88" y="47"/>
                      <a:pt x="88" y="47"/>
                    </a:cubicBezTo>
                    <a:cubicBezTo>
                      <a:pt x="86" y="47"/>
                      <a:pt x="84" y="45"/>
                      <a:pt x="84" y="43"/>
                    </a:cubicBezTo>
                    <a:cubicBezTo>
                      <a:pt x="83" y="38"/>
                      <a:pt x="81" y="33"/>
                      <a:pt x="78" y="29"/>
                    </a:cubicBezTo>
                    <a:cubicBezTo>
                      <a:pt x="77" y="27"/>
                      <a:pt x="77" y="25"/>
                      <a:pt x="78" y="23"/>
                    </a:cubicBezTo>
                    <a:cubicBezTo>
                      <a:pt x="75" y="20"/>
                      <a:pt x="75" y="20"/>
                      <a:pt x="75" y="20"/>
                    </a:cubicBezTo>
                    <a:cubicBezTo>
                      <a:pt x="73" y="21"/>
                      <a:pt x="71" y="21"/>
                      <a:pt x="70" y="20"/>
                    </a:cubicBezTo>
                    <a:cubicBezTo>
                      <a:pt x="65" y="17"/>
                      <a:pt x="60" y="15"/>
                      <a:pt x="55" y="14"/>
                    </a:cubicBezTo>
                    <a:cubicBezTo>
                      <a:pt x="53" y="14"/>
                      <a:pt x="51" y="13"/>
                      <a:pt x="51" y="11"/>
                    </a:cubicBezTo>
                    <a:cubicBezTo>
                      <a:pt x="47" y="11"/>
                      <a:pt x="47" y="11"/>
                      <a:pt x="47" y="11"/>
                    </a:cubicBezTo>
                    <a:cubicBezTo>
                      <a:pt x="47" y="13"/>
                      <a:pt x="45" y="14"/>
                      <a:pt x="43" y="14"/>
                    </a:cubicBezTo>
                    <a:cubicBezTo>
                      <a:pt x="38" y="15"/>
                      <a:pt x="33" y="17"/>
                      <a:pt x="28" y="20"/>
                    </a:cubicBezTo>
                    <a:cubicBezTo>
                      <a:pt x="27" y="21"/>
                      <a:pt x="25" y="21"/>
                      <a:pt x="23" y="20"/>
                    </a:cubicBezTo>
                    <a:cubicBezTo>
                      <a:pt x="20" y="23"/>
                      <a:pt x="20" y="23"/>
                      <a:pt x="20" y="23"/>
                    </a:cubicBezTo>
                    <a:cubicBezTo>
                      <a:pt x="21" y="25"/>
                      <a:pt x="21" y="27"/>
                      <a:pt x="20" y="29"/>
                    </a:cubicBezTo>
                    <a:cubicBezTo>
                      <a:pt x="17" y="33"/>
                      <a:pt x="15" y="38"/>
                      <a:pt x="14" y="43"/>
                    </a:cubicBezTo>
                    <a:cubicBezTo>
                      <a:pt x="14" y="45"/>
                      <a:pt x="12" y="47"/>
                      <a:pt x="10" y="47"/>
                    </a:cubicBezTo>
                    <a:cubicBezTo>
                      <a:pt x="10" y="51"/>
                      <a:pt x="10" y="51"/>
                      <a:pt x="10" y="51"/>
                    </a:cubicBezTo>
                    <a:cubicBezTo>
                      <a:pt x="12" y="52"/>
                      <a:pt x="14" y="53"/>
                      <a:pt x="14" y="55"/>
                    </a:cubicBezTo>
                    <a:cubicBezTo>
                      <a:pt x="15" y="60"/>
                      <a:pt x="17" y="65"/>
                      <a:pt x="20" y="70"/>
                    </a:cubicBezTo>
                    <a:cubicBezTo>
                      <a:pt x="21" y="71"/>
                      <a:pt x="21" y="74"/>
                      <a:pt x="20" y="75"/>
                    </a:cubicBezTo>
                    <a:cubicBezTo>
                      <a:pt x="23" y="78"/>
                      <a:pt x="23" y="78"/>
                      <a:pt x="23" y="78"/>
                    </a:cubicBezTo>
                    <a:cubicBezTo>
                      <a:pt x="25" y="77"/>
                      <a:pt x="27" y="77"/>
                      <a:pt x="28" y="78"/>
                    </a:cubicBezTo>
                    <a:cubicBezTo>
                      <a:pt x="33" y="81"/>
                      <a:pt x="38" y="83"/>
                      <a:pt x="43" y="84"/>
                    </a:cubicBezTo>
                    <a:cubicBezTo>
                      <a:pt x="45" y="84"/>
                      <a:pt x="47" y="86"/>
                      <a:pt x="47" y="8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0" name="Freeform 60"/>
              <p:cNvSpPr>
                <a:spLocks noEditPoints="1"/>
              </p:cNvSpPr>
              <p:nvPr/>
            </p:nvSpPr>
            <p:spPr bwMode="auto">
              <a:xfrm>
                <a:off x="5361051" y="2700371"/>
                <a:ext cx="80038" cy="81455"/>
              </a:xfrm>
              <a:custGeom>
                <a:avLst/>
                <a:gdLst>
                  <a:gd name="T0" fmla="*/ 24 w 48"/>
                  <a:gd name="T1" fmla="*/ 49 h 49"/>
                  <a:gd name="T2" fmla="*/ 0 w 48"/>
                  <a:gd name="T3" fmla="*/ 25 h 49"/>
                  <a:gd name="T4" fmla="*/ 24 w 48"/>
                  <a:gd name="T5" fmla="*/ 0 h 49"/>
                  <a:gd name="T6" fmla="*/ 48 w 48"/>
                  <a:gd name="T7" fmla="*/ 25 h 49"/>
                  <a:gd name="T8" fmla="*/ 24 w 48"/>
                  <a:gd name="T9" fmla="*/ 49 h 49"/>
                  <a:gd name="T10" fmla="*/ 24 w 48"/>
                  <a:gd name="T11" fmla="*/ 10 h 49"/>
                  <a:gd name="T12" fmla="*/ 9 w 48"/>
                  <a:gd name="T13" fmla="*/ 25 h 49"/>
                  <a:gd name="T14" fmla="*/ 24 w 48"/>
                  <a:gd name="T15" fmla="*/ 39 h 49"/>
                  <a:gd name="T16" fmla="*/ 39 w 48"/>
                  <a:gd name="T17" fmla="*/ 25 h 49"/>
                  <a:gd name="T18" fmla="*/ 24 w 48"/>
                  <a:gd name="T19" fmla="*/ 1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9">
                    <a:moveTo>
                      <a:pt x="24" y="49"/>
                    </a:moveTo>
                    <a:cubicBezTo>
                      <a:pt x="10" y="49"/>
                      <a:pt x="0" y="38"/>
                      <a:pt x="0" y="25"/>
                    </a:cubicBezTo>
                    <a:cubicBezTo>
                      <a:pt x="0" y="11"/>
                      <a:pt x="10" y="0"/>
                      <a:pt x="24" y="0"/>
                    </a:cubicBezTo>
                    <a:cubicBezTo>
                      <a:pt x="38" y="0"/>
                      <a:pt x="48" y="11"/>
                      <a:pt x="48" y="25"/>
                    </a:cubicBezTo>
                    <a:cubicBezTo>
                      <a:pt x="48" y="38"/>
                      <a:pt x="38" y="49"/>
                      <a:pt x="24" y="49"/>
                    </a:cubicBezTo>
                    <a:moveTo>
                      <a:pt x="24" y="10"/>
                    </a:moveTo>
                    <a:cubicBezTo>
                      <a:pt x="16" y="10"/>
                      <a:pt x="9" y="16"/>
                      <a:pt x="9" y="25"/>
                    </a:cubicBezTo>
                    <a:cubicBezTo>
                      <a:pt x="9" y="33"/>
                      <a:pt x="16" y="39"/>
                      <a:pt x="24" y="39"/>
                    </a:cubicBezTo>
                    <a:cubicBezTo>
                      <a:pt x="32" y="39"/>
                      <a:pt x="39" y="33"/>
                      <a:pt x="39" y="25"/>
                    </a:cubicBezTo>
                    <a:cubicBezTo>
                      <a:pt x="39" y="16"/>
                      <a:pt x="32" y="10"/>
                      <a:pt x="24"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1" name="Freeform 61"/>
              <p:cNvSpPr>
                <a:spLocks/>
              </p:cNvSpPr>
              <p:nvPr/>
            </p:nvSpPr>
            <p:spPr bwMode="auto">
              <a:xfrm>
                <a:off x="5287387" y="2626707"/>
                <a:ext cx="195492" cy="163618"/>
              </a:xfrm>
              <a:custGeom>
                <a:avLst/>
                <a:gdLst>
                  <a:gd name="T0" fmla="*/ 9 w 117"/>
                  <a:gd name="T1" fmla="*/ 98 h 98"/>
                  <a:gd name="T2" fmla="*/ 5 w 117"/>
                  <a:gd name="T3" fmla="*/ 95 h 98"/>
                  <a:gd name="T4" fmla="*/ 0 w 117"/>
                  <a:gd name="T5" fmla="*/ 69 h 98"/>
                  <a:gd name="T6" fmla="*/ 68 w 117"/>
                  <a:gd name="T7" fmla="*/ 0 h 98"/>
                  <a:gd name="T8" fmla="*/ 115 w 117"/>
                  <a:gd name="T9" fmla="*/ 19 h 98"/>
                  <a:gd name="T10" fmla="*/ 115 w 117"/>
                  <a:gd name="T11" fmla="*/ 26 h 98"/>
                  <a:gd name="T12" fmla="*/ 109 w 117"/>
                  <a:gd name="T13" fmla="*/ 26 h 98"/>
                  <a:gd name="T14" fmla="*/ 68 w 117"/>
                  <a:gd name="T15" fmla="*/ 10 h 98"/>
                  <a:gd name="T16" fmla="*/ 9 w 117"/>
                  <a:gd name="T17" fmla="*/ 69 h 98"/>
                  <a:gd name="T18" fmla="*/ 14 w 117"/>
                  <a:gd name="T19" fmla="*/ 91 h 98"/>
                  <a:gd name="T20" fmla="*/ 11 w 117"/>
                  <a:gd name="T21" fmla="*/ 98 h 98"/>
                  <a:gd name="T22" fmla="*/ 9 w 117"/>
                  <a:gd name="T23"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98">
                    <a:moveTo>
                      <a:pt x="9" y="98"/>
                    </a:moveTo>
                    <a:cubicBezTo>
                      <a:pt x="7" y="98"/>
                      <a:pt x="5" y="97"/>
                      <a:pt x="5" y="95"/>
                    </a:cubicBezTo>
                    <a:cubicBezTo>
                      <a:pt x="2" y="87"/>
                      <a:pt x="0" y="78"/>
                      <a:pt x="0" y="69"/>
                    </a:cubicBezTo>
                    <a:cubicBezTo>
                      <a:pt x="0" y="31"/>
                      <a:pt x="30" y="0"/>
                      <a:pt x="68" y="0"/>
                    </a:cubicBezTo>
                    <a:cubicBezTo>
                      <a:pt x="86" y="0"/>
                      <a:pt x="103" y="7"/>
                      <a:pt x="115" y="19"/>
                    </a:cubicBezTo>
                    <a:cubicBezTo>
                      <a:pt x="117" y="21"/>
                      <a:pt x="117" y="24"/>
                      <a:pt x="115" y="26"/>
                    </a:cubicBezTo>
                    <a:cubicBezTo>
                      <a:pt x="113" y="28"/>
                      <a:pt x="111" y="28"/>
                      <a:pt x="109" y="26"/>
                    </a:cubicBezTo>
                    <a:cubicBezTo>
                      <a:pt x="98" y="16"/>
                      <a:pt x="83" y="10"/>
                      <a:pt x="68" y="10"/>
                    </a:cubicBezTo>
                    <a:cubicBezTo>
                      <a:pt x="36" y="10"/>
                      <a:pt x="9" y="36"/>
                      <a:pt x="9" y="69"/>
                    </a:cubicBezTo>
                    <a:cubicBezTo>
                      <a:pt x="9" y="77"/>
                      <a:pt x="11" y="84"/>
                      <a:pt x="14" y="91"/>
                    </a:cubicBezTo>
                    <a:cubicBezTo>
                      <a:pt x="15" y="94"/>
                      <a:pt x="14" y="97"/>
                      <a:pt x="11" y="98"/>
                    </a:cubicBezTo>
                    <a:cubicBezTo>
                      <a:pt x="11" y="98"/>
                      <a:pt x="10" y="98"/>
                      <a:pt x="9" y="9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2" name="Freeform 62"/>
              <p:cNvSpPr>
                <a:spLocks noEditPoints="1"/>
              </p:cNvSpPr>
              <p:nvPr/>
            </p:nvSpPr>
            <p:spPr bwMode="auto">
              <a:xfrm>
                <a:off x="4992733" y="2676997"/>
                <a:ext cx="147327" cy="146619"/>
              </a:xfrm>
              <a:custGeom>
                <a:avLst/>
                <a:gdLst>
                  <a:gd name="T0" fmla="*/ 44 w 88"/>
                  <a:gd name="T1" fmla="*/ 88 h 88"/>
                  <a:gd name="T2" fmla="*/ 0 w 88"/>
                  <a:gd name="T3" fmla="*/ 44 h 88"/>
                  <a:gd name="T4" fmla="*/ 44 w 88"/>
                  <a:gd name="T5" fmla="*/ 0 h 88"/>
                  <a:gd name="T6" fmla="*/ 88 w 88"/>
                  <a:gd name="T7" fmla="*/ 44 h 88"/>
                  <a:gd name="T8" fmla="*/ 44 w 88"/>
                  <a:gd name="T9" fmla="*/ 88 h 88"/>
                  <a:gd name="T10" fmla="*/ 44 w 88"/>
                  <a:gd name="T11" fmla="*/ 9 h 88"/>
                  <a:gd name="T12" fmla="*/ 9 w 88"/>
                  <a:gd name="T13" fmla="*/ 44 h 88"/>
                  <a:gd name="T14" fmla="*/ 44 w 88"/>
                  <a:gd name="T15" fmla="*/ 78 h 88"/>
                  <a:gd name="T16" fmla="*/ 78 w 88"/>
                  <a:gd name="T17" fmla="*/ 44 h 88"/>
                  <a:gd name="T18" fmla="*/ 44 w 88"/>
                  <a:gd name="T19" fmla="*/ 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88"/>
                    </a:moveTo>
                    <a:cubicBezTo>
                      <a:pt x="19" y="88"/>
                      <a:pt x="0" y="68"/>
                      <a:pt x="0" y="44"/>
                    </a:cubicBezTo>
                    <a:cubicBezTo>
                      <a:pt x="0" y="19"/>
                      <a:pt x="19" y="0"/>
                      <a:pt x="44" y="0"/>
                    </a:cubicBezTo>
                    <a:cubicBezTo>
                      <a:pt x="68" y="0"/>
                      <a:pt x="88" y="19"/>
                      <a:pt x="88" y="44"/>
                    </a:cubicBezTo>
                    <a:cubicBezTo>
                      <a:pt x="88" y="68"/>
                      <a:pt x="68" y="88"/>
                      <a:pt x="44" y="88"/>
                    </a:cubicBezTo>
                    <a:moveTo>
                      <a:pt x="44" y="9"/>
                    </a:moveTo>
                    <a:cubicBezTo>
                      <a:pt x="25" y="9"/>
                      <a:pt x="9" y="25"/>
                      <a:pt x="9" y="44"/>
                    </a:cubicBezTo>
                    <a:cubicBezTo>
                      <a:pt x="9" y="63"/>
                      <a:pt x="25" y="78"/>
                      <a:pt x="44" y="78"/>
                    </a:cubicBezTo>
                    <a:cubicBezTo>
                      <a:pt x="63" y="78"/>
                      <a:pt x="78" y="63"/>
                      <a:pt x="78" y="44"/>
                    </a:cubicBezTo>
                    <a:cubicBezTo>
                      <a:pt x="78" y="25"/>
                      <a:pt x="63" y="9"/>
                      <a:pt x="44"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3" name="Freeform 63"/>
              <p:cNvSpPr>
                <a:spLocks noEditPoints="1"/>
              </p:cNvSpPr>
              <p:nvPr/>
            </p:nvSpPr>
            <p:spPr bwMode="auto">
              <a:xfrm>
                <a:off x="5118103" y="2718787"/>
                <a:ext cx="187701" cy="46748"/>
              </a:xfrm>
              <a:custGeom>
                <a:avLst/>
                <a:gdLst>
                  <a:gd name="T0" fmla="*/ 106 w 112"/>
                  <a:gd name="T1" fmla="*/ 28 h 28"/>
                  <a:gd name="T2" fmla="*/ 7 w 112"/>
                  <a:gd name="T3" fmla="*/ 28 h 28"/>
                  <a:gd name="T4" fmla="*/ 4 w 112"/>
                  <a:gd name="T5" fmla="*/ 27 h 28"/>
                  <a:gd name="T6" fmla="*/ 3 w 112"/>
                  <a:gd name="T7" fmla="*/ 23 h 28"/>
                  <a:gd name="T8" fmla="*/ 3 w 112"/>
                  <a:gd name="T9" fmla="*/ 19 h 28"/>
                  <a:gd name="T10" fmla="*/ 1 w 112"/>
                  <a:gd name="T11" fmla="*/ 6 h 28"/>
                  <a:gd name="T12" fmla="*/ 1 w 112"/>
                  <a:gd name="T13" fmla="*/ 1 h 28"/>
                  <a:gd name="T14" fmla="*/ 5 w 112"/>
                  <a:gd name="T15" fmla="*/ 0 h 28"/>
                  <a:gd name="T16" fmla="*/ 107 w 112"/>
                  <a:gd name="T17" fmla="*/ 0 h 28"/>
                  <a:gd name="T18" fmla="*/ 111 w 112"/>
                  <a:gd name="T19" fmla="*/ 1 h 28"/>
                  <a:gd name="T20" fmla="*/ 112 w 112"/>
                  <a:gd name="T21" fmla="*/ 5 h 28"/>
                  <a:gd name="T22" fmla="*/ 110 w 112"/>
                  <a:gd name="T23" fmla="*/ 14 h 28"/>
                  <a:gd name="T24" fmla="*/ 111 w 112"/>
                  <a:gd name="T25" fmla="*/ 23 h 28"/>
                  <a:gd name="T26" fmla="*/ 110 w 112"/>
                  <a:gd name="T27" fmla="*/ 26 h 28"/>
                  <a:gd name="T28" fmla="*/ 106 w 112"/>
                  <a:gd name="T29" fmla="*/ 28 h 28"/>
                  <a:gd name="T30" fmla="*/ 13 w 112"/>
                  <a:gd name="T31" fmla="*/ 19 h 28"/>
                  <a:gd name="T32" fmla="*/ 101 w 112"/>
                  <a:gd name="T33" fmla="*/ 19 h 28"/>
                  <a:gd name="T34" fmla="*/ 101 w 112"/>
                  <a:gd name="T35" fmla="*/ 14 h 28"/>
                  <a:gd name="T36" fmla="*/ 101 w 112"/>
                  <a:gd name="T37" fmla="*/ 9 h 28"/>
                  <a:gd name="T38" fmla="*/ 12 w 112"/>
                  <a:gd name="T39" fmla="*/ 9 h 28"/>
                  <a:gd name="T40" fmla="*/ 13 w 112"/>
                  <a:gd name="T41"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2" h="28">
                    <a:moveTo>
                      <a:pt x="106" y="28"/>
                    </a:moveTo>
                    <a:cubicBezTo>
                      <a:pt x="7" y="28"/>
                      <a:pt x="7" y="28"/>
                      <a:pt x="7" y="28"/>
                    </a:cubicBezTo>
                    <a:cubicBezTo>
                      <a:pt x="6" y="28"/>
                      <a:pt x="4" y="28"/>
                      <a:pt x="4" y="27"/>
                    </a:cubicBezTo>
                    <a:cubicBezTo>
                      <a:pt x="3" y="26"/>
                      <a:pt x="2" y="24"/>
                      <a:pt x="3" y="23"/>
                    </a:cubicBezTo>
                    <a:cubicBezTo>
                      <a:pt x="3" y="22"/>
                      <a:pt x="3" y="20"/>
                      <a:pt x="3" y="19"/>
                    </a:cubicBezTo>
                    <a:cubicBezTo>
                      <a:pt x="3" y="14"/>
                      <a:pt x="2" y="10"/>
                      <a:pt x="1" y="6"/>
                    </a:cubicBezTo>
                    <a:cubicBezTo>
                      <a:pt x="0" y="4"/>
                      <a:pt x="0" y="2"/>
                      <a:pt x="1" y="1"/>
                    </a:cubicBezTo>
                    <a:cubicBezTo>
                      <a:pt x="2" y="0"/>
                      <a:pt x="4" y="0"/>
                      <a:pt x="5" y="0"/>
                    </a:cubicBezTo>
                    <a:cubicBezTo>
                      <a:pt x="107" y="0"/>
                      <a:pt x="107" y="0"/>
                      <a:pt x="107" y="0"/>
                    </a:cubicBezTo>
                    <a:cubicBezTo>
                      <a:pt x="108" y="0"/>
                      <a:pt x="110" y="0"/>
                      <a:pt x="111" y="1"/>
                    </a:cubicBezTo>
                    <a:cubicBezTo>
                      <a:pt x="112" y="2"/>
                      <a:pt x="112" y="3"/>
                      <a:pt x="112" y="5"/>
                    </a:cubicBezTo>
                    <a:cubicBezTo>
                      <a:pt x="111" y="8"/>
                      <a:pt x="110" y="11"/>
                      <a:pt x="110" y="14"/>
                    </a:cubicBezTo>
                    <a:cubicBezTo>
                      <a:pt x="110" y="17"/>
                      <a:pt x="111" y="20"/>
                      <a:pt x="111" y="23"/>
                    </a:cubicBezTo>
                    <a:cubicBezTo>
                      <a:pt x="111" y="24"/>
                      <a:pt x="111" y="25"/>
                      <a:pt x="110" y="26"/>
                    </a:cubicBezTo>
                    <a:cubicBezTo>
                      <a:pt x="109" y="28"/>
                      <a:pt x="108" y="28"/>
                      <a:pt x="106" y="28"/>
                    </a:cubicBezTo>
                    <a:moveTo>
                      <a:pt x="13" y="19"/>
                    </a:moveTo>
                    <a:cubicBezTo>
                      <a:pt x="101" y="19"/>
                      <a:pt x="101" y="19"/>
                      <a:pt x="101" y="19"/>
                    </a:cubicBezTo>
                    <a:cubicBezTo>
                      <a:pt x="101" y="14"/>
                      <a:pt x="101" y="14"/>
                      <a:pt x="101" y="14"/>
                    </a:cubicBezTo>
                    <a:cubicBezTo>
                      <a:pt x="101" y="9"/>
                      <a:pt x="101" y="9"/>
                      <a:pt x="101" y="9"/>
                    </a:cubicBezTo>
                    <a:cubicBezTo>
                      <a:pt x="12" y="9"/>
                      <a:pt x="12" y="9"/>
                      <a:pt x="12" y="9"/>
                    </a:cubicBezTo>
                    <a:cubicBezTo>
                      <a:pt x="12" y="12"/>
                      <a:pt x="13" y="15"/>
                      <a:pt x="13" y="1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4" name="Freeform 64"/>
              <p:cNvSpPr>
                <a:spLocks/>
              </p:cNvSpPr>
              <p:nvPr/>
            </p:nvSpPr>
            <p:spPr bwMode="auto">
              <a:xfrm>
                <a:off x="5277471" y="2550919"/>
                <a:ext cx="66581" cy="58789"/>
              </a:xfrm>
              <a:custGeom>
                <a:avLst/>
                <a:gdLst>
                  <a:gd name="T0" fmla="*/ 6 w 40"/>
                  <a:gd name="T1" fmla="*/ 35 h 35"/>
                  <a:gd name="T2" fmla="*/ 2 w 40"/>
                  <a:gd name="T3" fmla="*/ 34 h 35"/>
                  <a:gd name="T4" fmla="*/ 2 w 40"/>
                  <a:gd name="T5" fmla="*/ 27 h 35"/>
                  <a:gd name="T6" fmla="*/ 31 w 40"/>
                  <a:gd name="T7" fmla="*/ 2 h 35"/>
                  <a:gd name="T8" fmla="*/ 38 w 40"/>
                  <a:gd name="T9" fmla="*/ 3 h 35"/>
                  <a:gd name="T10" fmla="*/ 38 w 40"/>
                  <a:gd name="T11" fmla="*/ 10 h 35"/>
                  <a:gd name="T12" fmla="*/ 9 w 40"/>
                  <a:gd name="T13" fmla="*/ 34 h 35"/>
                  <a:gd name="T14" fmla="*/ 6 w 40"/>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5">
                    <a:moveTo>
                      <a:pt x="6" y="35"/>
                    </a:moveTo>
                    <a:cubicBezTo>
                      <a:pt x="4" y="35"/>
                      <a:pt x="3" y="35"/>
                      <a:pt x="2" y="34"/>
                    </a:cubicBezTo>
                    <a:cubicBezTo>
                      <a:pt x="0" y="32"/>
                      <a:pt x="0" y="28"/>
                      <a:pt x="2" y="27"/>
                    </a:cubicBezTo>
                    <a:cubicBezTo>
                      <a:pt x="31" y="2"/>
                      <a:pt x="31" y="2"/>
                      <a:pt x="31" y="2"/>
                    </a:cubicBezTo>
                    <a:cubicBezTo>
                      <a:pt x="33" y="0"/>
                      <a:pt x="37" y="1"/>
                      <a:pt x="38" y="3"/>
                    </a:cubicBezTo>
                    <a:cubicBezTo>
                      <a:pt x="40" y="5"/>
                      <a:pt x="40" y="8"/>
                      <a:pt x="38" y="10"/>
                    </a:cubicBezTo>
                    <a:cubicBezTo>
                      <a:pt x="9" y="34"/>
                      <a:pt x="9" y="34"/>
                      <a:pt x="9" y="34"/>
                    </a:cubicBezTo>
                    <a:cubicBezTo>
                      <a:pt x="8" y="35"/>
                      <a:pt x="7" y="35"/>
                      <a:pt x="6" y="3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5" name="Freeform 65"/>
              <p:cNvSpPr>
                <a:spLocks/>
              </p:cNvSpPr>
              <p:nvPr/>
            </p:nvSpPr>
            <p:spPr bwMode="auto">
              <a:xfrm>
                <a:off x="5302262" y="2527544"/>
                <a:ext cx="67289" cy="67289"/>
              </a:xfrm>
              <a:custGeom>
                <a:avLst/>
                <a:gdLst>
                  <a:gd name="T0" fmla="*/ 35 w 40"/>
                  <a:gd name="T1" fmla="*/ 40 h 40"/>
                  <a:gd name="T2" fmla="*/ 31 w 40"/>
                  <a:gd name="T3" fmla="*/ 38 h 40"/>
                  <a:gd name="T4" fmla="*/ 2 w 40"/>
                  <a:gd name="T5" fmla="*/ 9 h 40"/>
                  <a:gd name="T6" fmla="*/ 2 w 40"/>
                  <a:gd name="T7" fmla="*/ 2 h 40"/>
                  <a:gd name="T8" fmla="*/ 9 w 40"/>
                  <a:gd name="T9" fmla="*/ 2 h 40"/>
                  <a:gd name="T10" fmla="*/ 38 w 40"/>
                  <a:gd name="T11" fmla="*/ 31 h 40"/>
                  <a:gd name="T12" fmla="*/ 38 w 40"/>
                  <a:gd name="T13" fmla="*/ 38 h 40"/>
                  <a:gd name="T14" fmla="*/ 35 w 40"/>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5" y="40"/>
                    </a:moveTo>
                    <a:cubicBezTo>
                      <a:pt x="33" y="40"/>
                      <a:pt x="32" y="39"/>
                      <a:pt x="31" y="38"/>
                    </a:cubicBezTo>
                    <a:cubicBezTo>
                      <a:pt x="2" y="9"/>
                      <a:pt x="2" y="9"/>
                      <a:pt x="2" y="9"/>
                    </a:cubicBezTo>
                    <a:cubicBezTo>
                      <a:pt x="0" y="7"/>
                      <a:pt x="0" y="4"/>
                      <a:pt x="2" y="2"/>
                    </a:cubicBezTo>
                    <a:cubicBezTo>
                      <a:pt x="4" y="0"/>
                      <a:pt x="7" y="0"/>
                      <a:pt x="9" y="2"/>
                    </a:cubicBezTo>
                    <a:cubicBezTo>
                      <a:pt x="38" y="31"/>
                      <a:pt x="38" y="31"/>
                      <a:pt x="38" y="31"/>
                    </a:cubicBezTo>
                    <a:cubicBezTo>
                      <a:pt x="40" y="33"/>
                      <a:pt x="40" y="36"/>
                      <a:pt x="38" y="38"/>
                    </a:cubicBezTo>
                    <a:cubicBezTo>
                      <a:pt x="37" y="39"/>
                      <a:pt x="36" y="40"/>
                      <a:pt x="35" y="4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6" name="Freeform 66"/>
              <p:cNvSpPr>
                <a:spLocks noEditPoints="1"/>
              </p:cNvSpPr>
              <p:nvPr/>
            </p:nvSpPr>
            <p:spPr bwMode="auto">
              <a:xfrm>
                <a:off x="5384425" y="2521170"/>
                <a:ext cx="65164" cy="130328"/>
              </a:xfrm>
              <a:custGeom>
                <a:avLst/>
                <a:gdLst>
                  <a:gd name="T0" fmla="*/ 34 w 39"/>
                  <a:gd name="T1" fmla="*/ 78 h 78"/>
                  <a:gd name="T2" fmla="*/ 33 w 39"/>
                  <a:gd name="T3" fmla="*/ 77 h 78"/>
                  <a:gd name="T4" fmla="*/ 7 w 39"/>
                  <a:gd name="T5" fmla="*/ 73 h 78"/>
                  <a:gd name="T6" fmla="*/ 6 w 39"/>
                  <a:gd name="T7" fmla="*/ 73 h 78"/>
                  <a:gd name="T8" fmla="*/ 2 w 39"/>
                  <a:gd name="T9" fmla="*/ 72 h 78"/>
                  <a:gd name="T10" fmla="*/ 0 w 39"/>
                  <a:gd name="T11" fmla="*/ 68 h 78"/>
                  <a:gd name="T12" fmla="*/ 6 w 39"/>
                  <a:gd name="T13" fmla="*/ 23 h 78"/>
                  <a:gd name="T14" fmla="*/ 34 w 39"/>
                  <a:gd name="T15" fmla="*/ 0 h 78"/>
                  <a:gd name="T16" fmla="*/ 39 w 39"/>
                  <a:gd name="T17" fmla="*/ 5 h 78"/>
                  <a:gd name="T18" fmla="*/ 39 w 39"/>
                  <a:gd name="T19" fmla="*/ 73 h 78"/>
                  <a:gd name="T20" fmla="*/ 37 w 39"/>
                  <a:gd name="T21" fmla="*/ 77 h 78"/>
                  <a:gd name="T22" fmla="*/ 34 w 39"/>
                  <a:gd name="T23" fmla="*/ 78 h 78"/>
                  <a:gd name="T24" fmla="*/ 11 w 39"/>
                  <a:gd name="T25" fmla="*/ 63 h 78"/>
                  <a:gd name="T26" fmla="*/ 30 w 39"/>
                  <a:gd name="T27" fmla="*/ 66 h 78"/>
                  <a:gd name="T28" fmla="*/ 30 w 39"/>
                  <a:gd name="T29" fmla="*/ 10 h 78"/>
                  <a:gd name="T30" fmla="*/ 16 w 39"/>
                  <a:gd name="T31" fmla="*/ 25 h 78"/>
                  <a:gd name="T32" fmla="*/ 11 w 39"/>
                  <a:gd name="T33" fmla="*/ 6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78">
                    <a:moveTo>
                      <a:pt x="34" y="78"/>
                    </a:moveTo>
                    <a:cubicBezTo>
                      <a:pt x="34" y="78"/>
                      <a:pt x="33" y="78"/>
                      <a:pt x="33" y="77"/>
                    </a:cubicBezTo>
                    <a:cubicBezTo>
                      <a:pt x="24" y="74"/>
                      <a:pt x="15" y="73"/>
                      <a:pt x="7" y="73"/>
                    </a:cubicBezTo>
                    <a:cubicBezTo>
                      <a:pt x="6" y="73"/>
                      <a:pt x="6" y="73"/>
                      <a:pt x="6" y="73"/>
                    </a:cubicBezTo>
                    <a:cubicBezTo>
                      <a:pt x="4" y="73"/>
                      <a:pt x="3" y="73"/>
                      <a:pt x="2" y="72"/>
                    </a:cubicBezTo>
                    <a:cubicBezTo>
                      <a:pt x="1" y="71"/>
                      <a:pt x="0" y="69"/>
                      <a:pt x="0" y="68"/>
                    </a:cubicBezTo>
                    <a:cubicBezTo>
                      <a:pt x="6" y="23"/>
                      <a:pt x="6" y="23"/>
                      <a:pt x="6" y="23"/>
                    </a:cubicBezTo>
                    <a:cubicBezTo>
                      <a:pt x="9" y="10"/>
                      <a:pt x="21" y="0"/>
                      <a:pt x="34" y="0"/>
                    </a:cubicBezTo>
                    <a:cubicBezTo>
                      <a:pt x="37" y="0"/>
                      <a:pt x="39" y="2"/>
                      <a:pt x="39" y="5"/>
                    </a:cubicBezTo>
                    <a:cubicBezTo>
                      <a:pt x="39" y="73"/>
                      <a:pt x="39" y="73"/>
                      <a:pt x="39" y="73"/>
                    </a:cubicBezTo>
                    <a:cubicBezTo>
                      <a:pt x="39" y="75"/>
                      <a:pt x="38" y="76"/>
                      <a:pt x="37" y="77"/>
                    </a:cubicBezTo>
                    <a:cubicBezTo>
                      <a:pt x="36" y="77"/>
                      <a:pt x="35" y="78"/>
                      <a:pt x="34" y="78"/>
                    </a:cubicBezTo>
                    <a:moveTo>
                      <a:pt x="11" y="63"/>
                    </a:moveTo>
                    <a:cubicBezTo>
                      <a:pt x="18" y="63"/>
                      <a:pt x="24" y="64"/>
                      <a:pt x="30" y="66"/>
                    </a:cubicBezTo>
                    <a:cubicBezTo>
                      <a:pt x="30" y="10"/>
                      <a:pt x="30" y="10"/>
                      <a:pt x="30" y="10"/>
                    </a:cubicBezTo>
                    <a:cubicBezTo>
                      <a:pt x="23" y="12"/>
                      <a:pt x="17" y="17"/>
                      <a:pt x="16" y="25"/>
                    </a:cubicBezTo>
                    <a:lnTo>
                      <a:pt x="11" y="6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7" name="Freeform 67"/>
              <p:cNvSpPr>
                <a:spLocks noEditPoints="1"/>
              </p:cNvSpPr>
              <p:nvPr/>
            </p:nvSpPr>
            <p:spPr bwMode="auto">
              <a:xfrm>
                <a:off x="5140060" y="2512670"/>
                <a:ext cx="48165" cy="155827"/>
              </a:xfrm>
              <a:custGeom>
                <a:avLst/>
                <a:gdLst>
                  <a:gd name="T0" fmla="*/ 24 w 29"/>
                  <a:gd name="T1" fmla="*/ 93 h 93"/>
                  <a:gd name="T2" fmla="*/ 4 w 29"/>
                  <a:gd name="T3" fmla="*/ 93 h 93"/>
                  <a:gd name="T4" fmla="*/ 0 w 29"/>
                  <a:gd name="T5" fmla="*/ 88 h 93"/>
                  <a:gd name="T6" fmla="*/ 0 w 29"/>
                  <a:gd name="T7" fmla="*/ 5 h 93"/>
                  <a:gd name="T8" fmla="*/ 4 w 29"/>
                  <a:gd name="T9" fmla="*/ 0 h 93"/>
                  <a:gd name="T10" fmla="*/ 24 w 29"/>
                  <a:gd name="T11" fmla="*/ 0 h 93"/>
                  <a:gd name="T12" fmla="*/ 29 w 29"/>
                  <a:gd name="T13" fmla="*/ 5 h 93"/>
                  <a:gd name="T14" fmla="*/ 29 w 29"/>
                  <a:gd name="T15" fmla="*/ 88 h 93"/>
                  <a:gd name="T16" fmla="*/ 24 w 29"/>
                  <a:gd name="T17" fmla="*/ 93 h 93"/>
                  <a:gd name="T18" fmla="*/ 9 w 29"/>
                  <a:gd name="T19" fmla="*/ 83 h 93"/>
                  <a:gd name="T20" fmla="*/ 19 w 29"/>
                  <a:gd name="T21" fmla="*/ 83 h 93"/>
                  <a:gd name="T22" fmla="*/ 19 w 29"/>
                  <a:gd name="T23" fmla="*/ 10 h 93"/>
                  <a:gd name="T24" fmla="*/ 9 w 29"/>
                  <a:gd name="T25" fmla="*/ 10 h 93"/>
                  <a:gd name="T26" fmla="*/ 9 w 29"/>
                  <a:gd name="T27" fmla="*/ 8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93">
                    <a:moveTo>
                      <a:pt x="24" y="93"/>
                    </a:moveTo>
                    <a:cubicBezTo>
                      <a:pt x="4" y="93"/>
                      <a:pt x="4" y="93"/>
                      <a:pt x="4" y="93"/>
                    </a:cubicBezTo>
                    <a:cubicBezTo>
                      <a:pt x="2" y="93"/>
                      <a:pt x="0" y="91"/>
                      <a:pt x="0" y="88"/>
                    </a:cubicBezTo>
                    <a:cubicBezTo>
                      <a:pt x="0" y="5"/>
                      <a:pt x="0" y="5"/>
                      <a:pt x="0" y="5"/>
                    </a:cubicBezTo>
                    <a:cubicBezTo>
                      <a:pt x="0" y="2"/>
                      <a:pt x="2" y="0"/>
                      <a:pt x="4" y="0"/>
                    </a:cubicBezTo>
                    <a:cubicBezTo>
                      <a:pt x="24" y="0"/>
                      <a:pt x="24" y="0"/>
                      <a:pt x="24" y="0"/>
                    </a:cubicBezTo>
                    <a:cubicBezTo>
                      <a:pt x="27" y="0"/>
                      <a:pt x="29" y="2"/>
                      <a:pt x="29" y="5"/>
                    </a:cubicBezTo>
                    <a:cubicBezTo>
                      <a:pt x="29" y="88"/>
                      <a:pt x="29" y="88"/>
                      <a:pt x="29" y="88"/>
                    </a:cubicBezTo>
                    <a:cubicBezTo>
                      <a:pt x="29" y="91"/>
                      <a:pt x="27" y="93"/>
                      <a:pt x="24" y="93"/>
                    </a:cubicBezTo>
                    <a:moveTo>
                      <a:pt x="9" y="83"/>
                    </a:moveTo>
                    <a:cubicBezTo>
                      <a:pt x="19" y="83"/>
                      <a:pt x="19" y="83"/>
                      <a:pt x="19" y="83"/>
                    </a:cubicBezTo>
                    <a:cubicBezTo>
                      <a:pt x="19" y="10"/>
                      <a:pt x="19" y="10"/>
                      <a:pt x="19" y="10"/>
                    </a:cubicBezTo>
                    <a:cubicBezTo>
                      <a:pt x="9" y="10"/>
                      <a:pt x="9" y="10"/>
                      <a:pt x="9" y="10"/>
                    </a:cubicBezTo>
                    <a:lnTo>
                      <a:pt x="9" y="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8" name="Freeform 68"/>
              <p:cNvSpPr>
                <a:spLocks/>
              </p:cNvSpPr>
              <p:nvPr/>
            </p:nvSpPr>
            <p:spPr bwMode="auto">
              <a:xfrm>
                <a:off x="5154934" y="2456006"/>
                <a:ext cx="41790" cy="73664"/>
              </a:xfrm>
              <a:custGeom>
                <a:avLst/>
                <a:gdLst>
                  <a:gd name="T0" fmla="*/ 5 w 25"/>
                  <a:gd name="T1" fmla="*/ 44 h 44"/>
                  <a:gd name="T2" fmla="*/ 0 w 25"/>
                  <a:gd name="T3" fmla="*/ 39 h 44"/>
                  <a:gd name="T4" fmla="*/ 0 w 25"/>
                  <a:gd name="T5" fmla="*/ 19 h 44"/>
                  <a:gd name="T6" fmla="*/ 20 w 25"/>
                  <a:gd name="T7" fmla="*/ 0 h 44"/>
                  <a:gd name="T8" fmla="*/ 25 w 25"/>
                  <a:gd name="T9" fmla="*/ 5 h 44"/>
                  <a:gd name="T10" fmla="*/ 20 w 25"/>
                  <a:gd name="T11" fmla="*/ 9 h 44"/>
                  <a:gd name="T12" fmla="*/ 10 w 25"/>
                  <a:gd name="T13" fmla="*/ 19 h 44"/>
                  <a:gd name="T14" fmla="*/ 10 w 25"/>
                  <a:gd name="T15" fmla="*/ 39 h 44"/>
                  <a:gd name="T16" fmla="*/ 5 w 25"/>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44">
                    <a:moveTo>
                      <a:pt x="5" y="44"/>
                    </a:moveTo>
                    <a:cubicBezTo>
                      <a:pt x="2" y="44"/>
                      <a:pt x="0" y="42"/>
                      <a:pt x="0" y="39"/>
                    </a:cubicBezTo>
                    <a:cubicBezTo>
                      <a:pt x="0" y="19"/>
                      <a:pt x="0" y="19"/>
                      <a:pt x="0" y="19"/>
                    </a:cubicBezTo>
                    <a:cubicBezTo>
                      <a:pt x="0" y="8"/>
                      <a:pt x="9" y="0"/>
                      <a:pt x="20" y="0"/>
                    </a:cubicBezTo>
                    <a:cubicBezTo>
                      <a:pt x="23" y="0"/>
                      <a:pt x="25" y="2"/>
                      <a:pt x="25" y="5"/>
                    </a:cubicBezTo>
                    <a:cubicBezTo>
                      <a:pt x="25" y="7"/>
                      <a:pt x="23" y="9"/>
                      <a:pt x="20" y="9"/>
                    </a:cubicBezTo>
                    <a:cubicBezTo>
                      <a:pt x="15" y="9"/>
                      <a:pt x="10" y="14"/>
                      <a:pt x="10" y="19"/>
                    </a:cubicBezTo>
                    <a:cubicBezTo>
                      <a:pt x="10" y="39"/>
                      <a:pt x="10" y="39"/>
                      <a:pt x="10" y="39"/>
                    </a:cubicBezTo>
                    <a:cubicBezTo>
                      <a:pt x="10" y="42"/>
                      <a:pt x="8" y="44"/>
                      <a:pt x="5" y="4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899" name="Freeform 69"/>
              <p:cNvSpPr>
                <a:spLocks noEditPoints="1"/>
              </p:cNvSpPr>
              <p:nvPr/>
            </p:nvSpPr>
            <p:spPr bwMode="auto">
              <a:xfrm>
                <a:off x="5016107" y="2618207"/>
                <a:ext cx="310946" cy="115454"/>
              </a:xfrm>
              <a:custGeom>
                <a:avLst/>
                <a:gdLst>
                  <a:gd name="T0" fmla="*/ 167 w 186"/>
                  <a:gd name="T1" fmla="*/ 69 h 69"/>
                  <a:gd name="T2" fmla="*/ 66 w 186"/>
                  <a:gd name="T3" fmla="*/ 69 h 69"/>
                  <a:gd name="T4" fmla="*/ 61 w 186"/>
                  <a:gd name="T5" fmla="*/ 66 h 69"/>
                  <a:gd name="T6" fmla="*/ 30 w 186"/>
                  <a:gd name="T7" fmla="*/ 44 h 69"/>
                  <a:gd name="T8" fmla="*/ 8 w 186"/>
                  <a:gd name="T9" fmla="*/ 52 h 69"/>
                  <a:gd name="T10" fmla="*/ 3 w 186"/>
                  <a:gd name="T11" fmla="*/ 52 h 69"/>
                  <a:gd name="T12" fmla="*/ 0 w 186"/>
                  <a:gd name="T13" fmla="*/ 48 h 69"/>
                  <a:gd name="T14" fmla="*/ 0 w 186"/>
                  <a:gd name="T15" fmla="*/ 5 h 69"/>
                  <a:gd name="T16" fmla="*/ 5 w 186"/>
                  <a:gd name="T17" fmla="*/ 0 h 69"/>
                  <a:gd name="T18" fmla="*/ 78 w 186"/>
                  <a:gd name="T19" fmla="*/ 0 h 69"/>
                  <a:gd name="T20" fmla="*/ 83 w 186"/>
                  <a:gd name="T21" fmla="*/ 5 h 69"/>
                  <a:gd name="T22" fmla="*/ 83 w 186"/>
                  <a:gd name="T23" fmla="*/ 20 h 69"/>
                  <a:gd name="T24" fmla="*/ 93 w 186"/>
                  <a:gd name="T25" fmla="*/ 20 h 69"/>
                  <a:gd name="T26" fmla="*/ 93 w 186"/>
                  <a:gd name="T27" fmla="*/ 5 h 69"/>
                  <a:gd name="T28" fmla="*/ 98 w 186"/>
                  <a:gd name="T29" fmla="*/ 0 h 69"/>
                  <a:gd name="T30" fmla="*/ 152 w 186"/>
                  <a:gd name="T31" fmla="*/ 0 h 69"/>
                  <a:gd name="T32" fmla="*/ 157 w 186"/>
                  <a:gd name="T33" fmla="*/ 5 h 69"/>
                  <a:gd name="T34" fmla="*/ 180 w 186"/>
                  <a:gd name="T35" fmla="*/ 30 h 69"/>
                  <a:gd name="T36" fmla="*/ 185 w 186"/>
                  <a:gd name="T37" fmla="*/ 33 h 69"/>
                  <a:gd name="T38" fmla="*/ 184 w 186"/>
                  <a:gd name="T39" fmla="*/ 38 h 69"/>
                  <a:gd name="T40" fmla="*/ 172 w 186"/>
                  <a:gd name="T41" fmla="*/ 64 h 69"/>
                  <a:gd name="T42" fmla="*/ 167 w 186"/>
                  <a:gd name="T43" fmla="*/ 69 h 69"/>
                  <a:gd name="T44" fmla="*/ 69 w 186"/>
                  <a:gd name="T45" fmla="*/ 59 h 69"/>
                  <a:gd name="T46" fmla="*/ 164 w 186"/>
                  <a:gd name="T47" fmla="*/ 59 h 69"/>
                  <a:gd name="T48" fmla="*/ 172 w 186"/>
                  <a:gd name="T49" fmla="*/ 38 h 69"/>
                  <a:gd name="T50" fmla="*/ 147 w 186"/>
                  <a:gd name="T51" fmla="*/ 10 h 69"/>
                  <a:gd name="T52" fmla="*/ 103 w 186"/>
                  <a:gd name="T53" fmla="*/ 10 h 69"/>
                  <a:gd name="T54" fmla="*/ 103 w 186"/>
                  <a:gd name="T55" fmla="*/ 25 h 69"/>
                  <a:gd name="T56" fmla="*/ 98 w 186"/>
                  <a:gd name="T57" fmla="*/ 30 h 69"/>
                  <a:gd name="T58" fmla="*/ 78 w 186"/>
                  <a:gd name="T59" fmla="*/ 30 h 69"/>
                  <a:gd name="T60" fmla="*/ 74 w 186"/>
                  <a:gd name="T61" fmla="*/ 25 h 69"/>
                  <a:gd name="T62" fmla="*/ 74 w 186"/>
                  <a:gd name="T63" fmla="*/ 10 h 69"/>
                  <a:gd name="T64" fmla="*/ 10 w 186"/>
                  <a:gd name="T65" fmla="*/ 10 h 69"/>
                  <a:gd name="T66" fmla="*/ 10 w 186"/>
                  <a:gd name="T67" fmla="*/ 39 h 69"/>
                  <a:gd name="T68" fmla="*/ 30 w 186"/>
                  <a:gd name="T69" fmla="*/ 35 h 69"/>
                  <a:gd name="T70" fmla="*/ 69 w 186"/>
                  <a:gd name="T71" fmla="*/ 5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6" h="69">
                    <a:moveTo>
                      <a:pt x="167" y="69"/>
                    </a:moveTo>
                    <a:cubicBezTo>
                      <a:pt x="66" y="69"/>
                      <a:pt x="66" y="69"/>
                      <a:pt x="66" y="69"/>
                    </a:cubicBezTo>
                    <a:cubicBezTo>
                      <a:pt x="64" y="69"/>
                      <a:pt x="62" y="68"/>
                      <a:pt x="61" y="66"/>
                    </a:cubicBezTo>
                    <a:cubicBezTo>
                      <a:pt x="56" y="53"/>
                      <a:pt x="44" y="44"/>
                      <a:pt x="30" y="44"/>
                    </a:cubicBezTo>
                    <a:cubicBezTo>
                      <a:pt x="22" y="44"/>
                      <a:pt x="14" y="47"/>
                      <a:pt x="8" y="52"/>
                    </a:cubicBezTo>
                    <a:cubicBezTo>
                      <a:pt x="7" y="53"/>
                      <a:pt x="5" y="53"/>
                      <a:pt x="3" y="52"/>
                    </a:cubicBezTo>
                    <a:cubicBezTo>
                      <a:pt x="1" y="52"/>
                      <a:pt x="0" y="50"/>
                      <a:pt x="0" y="48"/>
                    </a:cubicBezTo>
                    <a:cubicBezTo>
                      <a:pt x="0" y="5"/>
                      <a:pt x="0" y="5"/>
                      <a:pt x="0" y="5"/>
                    </a:cubicBezTo>
                    <a:cubicBezTo>
                      <a:pt x="0" y="2"/>
                      <a:pt x="2" y="0"/>
                      <a:pt x="5" y="0"/>
                    </a:cubicBezTo>
                    <a:cubicBezTo>
                      <a:pt x="78" y="0"/>
                      <a:pt x="78" y="0"/>
                      <a:pt x="78" y="0"/>
                    </a:cubicBezTo>
                    <a:cubicBezTo>
                      <a:pt x="81" y="0"/>
                      <a:pt x="83" y="2"/>
                      <a:pt x="83" y="5"/>
                    </a:cubicBezTo>
                    <a:cubicBezTo>
                      <a:pt x="83" y="20"/>
                      <a:pt x="83" y="20"/>
                      <a:pt x="83" y="20"/>
                    </a:cubicBezTo>
                    <a:cubicBezTo>
                      <a:pt x="93" y="20"/>
                      <a:pt x="93" y="20"/>
                      <a:pt x="93" y="20"/>
                    </a:cubicBezTo>
                    <a:cubicBezTo>
                      <a:pt x="93" y="5"/>
                      <a:pt x="93" y="5"/>
                      <a:pt x="93" y="5"/>
                    </a:cubicBezTo>
                    <a:cubicBezTo>
                      <a:pt x="93" y="2"/>
                      <a:pt x="95" y="0"/>
                      <a:pt x="98" y="0"/>
                    </a:cubicBezTo>
                    <a:cubicBezTo>
                      <a:pt x="152" y="0"/>
                      <a:pt x="152" y="0"/>
                      <a:pt x="152" y="0"/>
                    </a:cubicBezTo>
                    <a:cubicBezTo>
                      <a:pt x="155" y="0"/>
                      <a:pt x="157" y="2"/>
                      <a:pt x="157" y="5"/>
                    </a:cubicBezTo>
                    <a:cubicBezTo>
                      <a:pt x="157" y="18"/>
                      <a:pt x="167" y="29"/>
                      <a:pt x="180" y="30"/>
                    </a:cubicBezTo>
                    <a:cubicBezTo>
                      <a:pt x="182" y="30"/>
                      <a:pt x="184" y="31"/>
                      <a:pt x="185" y="33"/>
                    </a:cubicBezTo>
                    <a:cubicBezTo>
                      <a:pt x="186" y="34"/>
                      <a:pt x="185" y="36"/>
                      <a:pt x="184" y="38"/>
                    </a:cubicBezTo>
                    <a:cubicBezTo>
                      <a:pt x="178" y="45"/>
                      <a:pt x="174" y="55"/>
                      <a:pt x="172" y="64"/>
                    </a:cubicBezTo>
                    <a:cubicBezTo>
                      <a:pt x="172" y="67"/>
                      <a:pt x="170" y="69"/>
                      <a:pt x="167" y="69"/>
                    </a:cubicBezTo>
                    <a:moveTo>
                      <a:pt x="69" y="59"/>
                    </a:moveTo>
                    <a:cubicBezTo>
                      <a:pt x="164" y="59"/>
                      <a:pt x="164" y="59"/>
                      <a:pt x="164" y="59"/>
                    </a:cubicBezTo>
                    <a:cubicBezTo>
                      <a:pt x="165" y="52"/>
                      <a:pt x="168" y="44"/>
                      <a:pt x="172" y="38"/>
                    </a:cubicBezTo>
                    <a:cubicBezTo>
                      <a:pt x="159" y="34"/>
                      <a:pt x="149" y="23"/>
                      <a:pt x="147" y="10"/>
                    </a:cubicBezTo>
                    <a:cubicBezTo>
                      <a:pt x="103" y="10"/>
                      <a:pt x="103" y="10"/>
                      <a:pt x="103" y="10"/>
                    </a:cubicBezTo>
                    <a:cubicBezTo>
                      <a:pt x="103" y="25"/>
                      <a:pt x="103" y="25"/>
                      <a:pt x="103" y="25"/>
                    </a:cubicBezTo>
                    <a:cubicBezTo>
                      <a:pt x="103" y="28"/>
                      <a:pt x="101" y="30"/>
                      <a:pt x="98" y="30"/>
                    </a:cubicBezTo>
                    <a:cubicBezTo>
                      <a:pt x="78" y="30"/>
                      <a:pt x="78" y="30"/>
                      <a:pt x="78" y="30"/>
                    </a:cubicBezTo>
                    <a:cubicBezTo>
                      <a:pt x="76" y="30"/>
                      <a:pt x="74" y="28"/>
                      <a:pt x="74" y="25"/>
                    </a:cubicBezTo>
                    <a:cubicBezTo>
                      <a:pt x="74" y="10"/>
                      <a:pt x="74" y="10"/>
                      <a:pt x="74" y="10"/>
                    </a:cubicBezTo>
                    <a:cubicBezTo>
                      <a:pt x="10" y="10"/>
                      <a:pt x="10" y="10"/>
                      <a:pt x="10" y="10"/>
                    </a:cubicBezTo>
                    <a:cubicBezTo>
                      <a:pt x="10" y="39"/>
                      <a:pt x="10" y="39"/>
                      <a:pt x="10" y="39"/>
                    </a:cubicBezTo>
                    <a:cubicBezTo>
                      <a:pt x="16" y="36"/>
                      <a:pt x="23" y="35"/>
                      <a:pt x="30" y="35"/>
                    </a:cubicBezTo>
                    <a:cubicBezTo>
                      <a:pt x="47" y="35"/>
                      <a:pt x="61" y="44"/>
                      <a:pt x="69" y="5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00" name="Freeform 70"/>
              <p:cNvSpPr>
                <a:spLocks noEditPoints="1"/>
              </p:cNvSpPr>
              <p:nvPr/>
            </p:nvSpPr>
            <p:spPr bwMode="auto">
              <a:xfrm>
                <a:off x="5016107" y="2569334"/>
                <a:ext cx="138828" cy="65872"/>
              </a:xfrm>
              <a:custGeom>
                <a:avLst/>
                <a:gdLst>
                  <a:gd name="T0" fmla="*/ 78 w 83"/>
                  <a:gd name="T1" fmla="*/ 39 h 39"/>
                  <a:gd name="T2" fmla="*/ 5 w 83"/>
                  <a:gd name="T3" fmla="*/ 39 h 39"/>
                  <a:gd name="T4" fmla="*/ 0 w 83"/>
                  <a:gd name="T5" fmla="*/ 34 h 39"/>
                  <a:gd name="T6" fmla="*/ 0 w 83"/>
                  <a:gd name="T7" fmla="*/ 24 h 39"/>
                  <a:gd name="T8" fmla="*/ 25 w 83"/>
                  <a:gd name="T9" fmla="*/ 0 h 39"/>
                  <a:gd name="T10" fmla="*/ 78 w 83"/>
                  <a:gd name="T11" fmla="*/ 0 h 39"/>
                  <a:gd name="T12" fmla="*/ 83 w 83"/>
                  <a:gd name="T13" fmla="*/ 5 h 39"/>
                  <a:gd name="T14" fmla="*/ 83 w 83"/>
                  <a:gd name="T15" fmla="*/ 34 h 39"/>
                  <a:gd name="T16" fmla="*/ 78 w 83"/>
                  <a:gd name="T17" fmla="*/ 39 h 39"/>
                  <a:gd name="T18" fmla="*/ 10 w 83"/>
                  <a:gd name="T19" fmla="*/ 29 h 39"/>
                  <a:gd name="T20" fmla="*/ 74 w 83"/>
                  <a:gd name="T21" fmla="*/ 29 h 39"/>
                  <a:gd name="T22" fmla="*/ 74 w 83"/>
                  <a:gd name="T23" fmla="*/ 10 h 39"/>
                  <a:gd name="T24" fmla="*/ 25 w 83"/>
                  <a:gd name="T25" fmla="*/ 10 h 39"/>
                  <a:gd name="T26" fmla="*/ 10 w 83"/>
                  <a:gd name="T27" fmla="*/ 24 h 39"/>
                  <a:gd name="T28" fmla="*/ 10 w 83"/>
                  <a:gd name="T2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39">
                    <a:moveTo>
                      <a:pt x="78" y="39"/>
                    </a:moveTo>
                    <a:cubicBezTo>
                      <a:pt x="5" y="39"/>
                      <a:pt x="5" y="39"/>
                      <a:pt x="5" y="39"/>
                    </a:cubicBezTo>
                    <a:cubicBezTo>
                      <a:pt x="2" y="39"/>
                      <a:pt x="0" y="37"/>
                      <a:pt x="0" y="34"/>
                    </a:cubicBezTo>
                    <a:cubicBezTo>
                      <a:pt x="0" y="24"/>
                      <a:pt x="0" y="24"/>
                      <a:pt x="0" y="24"/>
                    </a:cubicBezTo>
                    <a:cubicBezTo>
                      <a:pt x="0" y="11"/>
                      <a:pt x="11" y="0"/>
                      <a:pt x="25" y="0"/>
                    </a:cubicBezTo>
                    <a:cubicBezTo>
                      <a:pt x="78" y="0"/>
                      <a:pt x="78" y="0"/>
                      <a:pt x="78" y="0"/>
                    </a:cubicBezTo>
                    <a:cubicBezTo>
                      <a:pt x="81" y="0"/>
                      <a:pt x="83" y="2"/>
                      <a:pt x="83" y="5"/>
                    </a:cubicBezTo>
                    <a:cubicBezTo>
                      <a:pt x="83" y="34"/>
                      <a:pt x="83" y="34"/>
                      <a:pt x="83" y="34"/>
                    </a:cubicBezTo>
                    <a:cubicBezTo>
                      <a:pt x="83" y="37"/>
                      <a:pt x="81" y="39"/>
                      <a:pt x="78" y="39"/>
                    </a:cubicBezTo>
                    <a:moveTo>
                      <a:pt x="10" y="29"/>
                    </a:moveTo>
                    <a:cubicBezTo>
                      <a:pt x="74" y="29"/>
                      <a:pt x="74" y="29"/>
                      <a:pt x="74" y="29"/>
                    </a:cubicBezTo>
                    <a:cubicBezTo>
                      <a:pt x="74" y="10"/>
                      <a:pt x="74" y="10"/>
                      <a:pt x="74" y="10"/>
                    </a:cubicBezTo>
                    <a:cubicBezTo>
                      <a:pt x="25" y="10"/>
                      <a:pt x="25" y="10"/>
                      <a:pt x="25" y="10"/>
                    </a:cubicBezTo>
                    <a:cubicBezTo>
                      <a:pt x="16" y="10"/>
                      <a:pt x="10" y="16"/>
                      <a:pt x="10" y="24"/>
                    </a:cubicBezTo>
                    <a:lnTo>
                      <a:pt x="10" y="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01" name="Freeform 71"/>
              <p:cNvSpPr>
                <a:spLocks noEditPoints="1"/>
              </p:cNvSpPr>
              <p:nvPr/>
            </p:nvSpPr>
            <p:spPr bwMode="auto">
              <a:xfrm>
                <a:off x="5171934" y="2569334"/>
                <a:ext cx="121828" cy="65872"/>
              </a:xfrm>
              <a:custGeom>
                <a:avLst/>
                <a:gdLst>
                  <a:gd name="T0" fmla="*/ 69 w 73"/>
                  <a:gd name="T1" fmla="*/ 39 h 39"/>
                  <a:gd name="T2" fmla="*/ 5 w 73"/>
                  <a:gd name="T3" fmla="*/ 39 h 39"/>
                  <a:gd name="T4" fmla="*/ 0 w 73"/>
                  <a:gd name="T5" fmla="*/ 34 h 39"/>
                  <a:gd name="T6" fmla="*/ 0 w 73"/>
                  <a:gd name="T7" fmla="*/ 5 h 39"/>
                  <a:gd name="T8" fmla="*/ 5 w 73"/>
                  <a:gd name="T9" fmla="*/ 0 h 39"/>
                  <a:gd name="T10" fmla="*/ 69 w 73"/>
                  <a:gd name="T11" fmla="*/ 0 h 39"/>
                  <a:gd name="T12" fmla="*/ 73 w 73"/>
                  <a:gd name="T13" fmla="*/ 5 h 39"/>
                  <a:gd name="T14" fmla="*/ 73 w 73"/>
                  <a:gd name="T15" fmla="*/ 34 h 39"/>
                  <a:gd name="T16" fmla="*/ 69 w 73"/>
                  <a:gd name="T17" fmla="*/ 39 h 39"/>
                  <a:gd name="T18" fmla="*/ 10 w 73"/>
                  <a:gd name="T19" fmla="*/ 29 h 39"/>
                  <a:gd name="T20" fmla="*/ 64 w 73"/>
                  <a:gd name="T21" fmla="*/ 29 h 39"/>
                  <a:gd name="T22" fmla="*/ 64 w 73"/>
                  <a:gd name="T23" fmla="*/ 10 h 39"/>
                  <a:gd name="T24" fmla="*/ 10 w 73"/>
                  <a:gd name="T25" fmla="*/ 10 h 39"/>
                  <a:gd name="T26" fmla="*/ 10 w 73"/>
                  <a:gd name="T27"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39">
                    <a:moveTo>
                      <a:pt x="69" y="39"/>
                    </a:moveTo>
                    <a:cubicBezTo>
                      <a:pt x="5" y="39"/>
                      <a:pt x="5" y="39"/>
                      <a:pt x="5" y="39"/>
                    </a:cubicBezTo>
                    <a:cubicBezTo>
                      <a:pt x="2" y="39"/>
                      <a:pt x="0" y="37"/>
                      <a:pt x="0" y="34"/>
                    </a:cubicBezTo>
                    <a:cubicBezTo>
                      <a:pt x="0" y="5"/>
                      <a:pt x="0" y="5"/>
                      <a:pt x="0" y="5"/>
                    </a:cubicBezTo>
                    <a:cubicBezTo>
                      <a:pt x="0" y="2"/>
                      <a:pt x="2" y="0"/>
                      <a:pt x="5" y="0"/>
                    </a:cubicBezTo>
                    <a:cubicBezTo>
                      <a:pt x="69" y="0"/>
                      <a:pt x="69" y="0"/>
                      <a:pt x="69" y="0"/>
                    </a:cubicBezTo>
                    <a:cubicBezTo>
                      <a:pt x="72" y="0"/>
                      <a:pt x="73" y="2"/>
                      <a:pt x="73" y="5"/>
                    </a:cubicBezTo>
                    <a:cubicBezTo>
                      <a:pt x="73" y="34"/>
                      <a:pt x="73" y="34"/>
                      <a:pt x="73" y="34"/>
                    </a:cubicBezTo>
                    <a:cubicBezTo>
                      <a:pt x="73" y="37"/>
                      <a:pt x="72" y="39"/>
                      <a:pt x="69" y="39"/>
                    </a:cubicBezTo>
                    <a:moveTo>
                      <a:pt x="10" y="29"/>
                    </a:moveTo>
                    <a:cubicBezTo>
                      <a:pt x="64" y="29"/>
                      <a:pt x="64" y="29"/>
                      <a:pt x="64" y="29"/>
                    </a:cubicBezTo>
                    <a:cubicBezTo>
                      <a:pt x="64" y="10"/>
                      <a:pt x="64" y="10"/>
                      <a:pt x="64" y="10"/>
                    </a:cubicBezTo>
                    <a:cubicBezTo>
                      <a:pt x="10" y="10"/>
                      <a:pt x="10" y="10"/>
                      <a:pt x="10" y="10"/>
                    </a:cubicBezTo>
                    <a:lnTo>
                      <a:pt x="10" y="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02" name="Freeform 72"/>
              <p:cNvSpPr>
                <a:spLocks noEditPoints="1"/>
              </p:cNvSpPr>
              <p:nvPr/>
            </p:nvSpPr>
            <p:spPr bwMode="auto">
              <a:xfrm>
                <a:off x="5033106" y="2716662"/>
                <a:ext cx="65164" cy="65164"/>
              </a:xfrm>
              <a:custGeom>
                <a:avLst/>
                <a:gdLst>
                  <a:gd name="T0" fmla="*/ 20 w 39"/>
                  <a:gd name="T1" fmla="*/ 39 h 39"/>
                  <a:gd name="T2" fmla="*/ 0 w 39"/>
                  <a:gd name="T3" fmla="*/ 20 h 39"/>
                  <a:gd name="T4" fmla="*/ 20 w 39"/>
                  <a:gd name="T5" fmla="*/ 0 h 39"/>
                  <a:gd name="T6" fmla="*/ 39 w 39"/>
                  <a:gd name="T7" fmla="*/ 20 h 39"/>
                  <a:gd name="T8" fmla="*/ 20 w 39"/>
                  <a:gd name="T9" fmla="*/ 39 h 39"/>
                  <a:gd name="T10" fmla="*/ 20 w 39"/>
                  <a:gd name="T11" fmla="*/ 10 h 39"/>
                  <a:gd name="T12" fmla="*/ 10 w 39"/>
                  <a:gd name="T13" fmla="*/ 20 h 39"/>
                  <a:gd name="T14" fmla="*/ 20 w 39"/>
                  <a:gd name="T15" fmla="*/ 29 h 39"/>
                  <a:gd name="T16" fmla="*/ 29 w 39"/>
                  <a:gd name="T17" fmla="*/ 20 h 39"/>
                  <a:gd name="T18" fmla="*/ 20 w 39"/>
                  <a:gd name="T19"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39">
                    <a:moveTo>
                      <a:pt x="20" y="39"/>
                    </a:moveTo>
                    <a:cubicBezTo>
                      <a:pt x="9" y="39"/>
                      <a:pt x="0" y="30"/>
                      <a:pt x="0" y="20"/>
                    </a:cubicBezTo>
                    <a:cubicBezTo>
                      <a:pt x="0" y="9"/>
                      <a:pt x="9" y="0"/>
                      <a:pt x="20" y="0"/>
                    </a:cubicBezTo>
                    <a:cubicBezTo>
                      <a:pt x="30" y="0"/>
                      <a:pt x="39" y="9"/>
                      <a:pt x="39" y="20"/>
                    </a:cubicBezTo>
                    <a:cubicBezTo>
                      <a:pt x="39" y="30"/>
                      <a:pt x="30" y="39"/>
                      <a:pt x="20" y="39"/>
                    </a:cubicBezTo>
                    <a:moveTo>
                      <a:pt x="20" y="10"/>
                    </a:moveTo>
                    <a:cubicBezTo>
                      <a:pt x="14" y="10"/>
                      <a:pt x="10" y="14"/>
                      <a:pt x="10" y="20"/>
                    </a:cubicBezTo>
                    <a:cubicBezTo>
                      <a:pt x="10" y="25"/>
                      <a:pt x="14" y="29"/>
                      <a:pt x="20" y="29"/>
                    </a:cubicBezTo>
                    <a:cubicBezTo>
                      <a:pt x="25" y="29"/>
                      <a:pt x="29" y="25"/>
                      <a:pt x="29" y="20"/>
                    </a:cubicBezTo>
                    <a:cubicBezTo>
                      <a:pt x="29" y="14"/>
                      <a:pt x="25" y="10"/>
                      <a:pt x="20"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03" name="Freeform 73"/>
              <p:cNvSpPr>
                <a:spLocks/>
              </p:cNvSpPr>
              <p:nvPr/>
            </p:nvSpPr>
            <p:spPr bwMode="auto">
              <a:xfrm>
                <a:off x="5205224" y="2651498"/>
                <a:ext cx="48873" cy="16999"/>
              </a:xfrm>
              <a:custGeom>
                <a:avLst/>
                <a:gdLst>
                  <a:gd name="T0" fmla="*/ 24 w 29"/>
                  <a:gd name="T1" fmla="*/ 10 h 10"/>
                  <a:gd name="T2" fmla="*/ 5 w 29"/>
                  <a:gd name="T3" fmla="*/ 10 h 10"/>
                  <a:gd name="T4" fmla="*/ 0 w 29"/>
                  <a:gd name="T5" fmla="*/ 5 h 10"/>
                  <a:gd name="T6" fmla="*/ 5 w 29"/>
                  <a:gd name="T7" fmla="*/ 0 h 10"/>
                  <a:gd name="T8" fmla="*/ 24 w 29"/>
                  <a:gd name="T9" fmla="*/ 0 h 10"/>
                  <a:gd name="T10" fmla="*/ 29 w 29"/>
                  <a:gd name="T11" fmla="*/ 5 h 10"/>
                  <a:gd name="T12" fmla="*/ 24 w 2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29" h="10">
                    <a:moveTo>
                      <a:pt x="24" y="10"/>
                    </a:moveTo>
                    <a:cubicBezTo>
                      <a:pt x="5" y="10"/>
                      <a:pt x="5" y="10"/>
                      <a:pt x="5" y="10"/>
                    </a:cubicBezTo>
                    <a:cubicBezTo>
                      <a:pt x="2" y="10"/>
                      <a:pt x="0" y="8"/>
                      <a:pt x="0" y="5"/>
                    </a:cubicBezTo>
                    <a:cubicBezTo>
                      <a:pt x="0" y="2"/>
                      <a:pt x="2" y="0"/>
                      <a:pt x="5" y="0"/>
                    </a:cubicBezTo>
                    <a:cubicBezTo>
                      <a:pt x="24" y="0"/>
                      <a:pt x="24" y="0"/>
                      <a:pt x="24" y="0"/>
                    </a:cubicBezTo>
                    <a:cubicBezTo>
                      <a:pt x="27" y="0"/>
                      <a:pt x="29" y="2"/>
                      <a:pt x="29" y="5"/>
                    </a:cubicBezTo>
                    <a:cubicBezTo>
                      <a:pt x="29" y="8"/>
                      <a:pt x="27" y="10"/>
                      <a:pt x="24"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04" name="Freeform 74"/>
              <p:cNvSpPr>
                <a:spLocks/>
              </p:cNvSpPr>
              <p:nvPr/>
            </p:nvSpPr>
            <p:spPr bwMode="auto">
              <a:xfrm>
                <a:off x="5188225" y="2676997"/>
                <a:ext cx="82163" cy="14874"/>
              </a:xfrm>
              <a:custGeom>
                <a:avLst/>
                <a:gdLst>
                  <a:gd name="T0" fmla="*/ 44 w 49"/>
                  <a:gd name="T1" fmla="*/ 9 h 9"/>
                  <a:gd name="T2" fmla="*/ 5 w 49"/>
                  <a:gd name="T3" fmla="*/ 9 h 9"/>
                  <a:gd name="T4" fmla="*/ 0 w 49"/>
                  <a:gd name="T5" fmla="*/ 4 h 9"/>
                  <a:gd name="T6" fmla="*/ 5 w 49"/>
                  <a:gd name="T7" fmla="*/ 0 h 9"/>
                  <a:gd name="T8" fmla="*/ 44 w 49"/>
                  <a:gd name="T9" fmla="*/ 0 h 9"/>
                  <a:gd name="T10" fmla="*/ 49 w 49"/>
                  <a:gd name="T11" fmla="*/ 4 h 9"/>
                  <a:gd name="T12" fmla="*/ 44 w 4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4" y="9"/>
                    </a:moveTo>
                    <a:cubicBezTo>
                      <a:pt x="5" y="9"/>
                      <a:pt x="5" y="9"/>
                      <a:pt x="5" y="9"/>
                    </a:cubicBezTo>
                    <a:cubicBezTo>
                      <a:pt x="2" y="9"/>
                      <a:pt x="0" y="7"/>
                      <a:pt x="0" y="4"/>
                    </a:cubicBezTo>
                    <a:cubicBezTo>
                      <a:pt x="0" y="2"/>
                      <a:pt x="2" y="0"/>
                      <a:pt x="5" y="0"/>
                    </a:cubicBezTo>
                    <a:cubicBezTo>
                      <a:pt x="44" y="0"/>
                      <a:pt x="44" y="0"/>
                      <a:pt x="44" y="0"/>
                    </a:cubicBezTo>
                    <a:cubicBezTo>
                      <a:pt x="47" y="0"/>
                      <a:pt x="49" y="2"/>
                      <a:pt x="49" y="4"/>
                    </a:cubicBezTo>
                    <a:cubicBezTo>
                      <a:pt x="49" y="7"/>
                      <a:pt x="47" y="9"/>
                      <a:pt x="44" y="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05" name="Oval 75"/>
              <p:cNvSpPr>
                <a:spLocks noChangeArrowheads="1"/>
              </p:cNvSpPr>
              <p:nvPr/>
            </p:nvSpPr>
            <p:spPr bwMode="auto">
              <a:xfrm>
                <a:off x="5081271" y="2651498"/>
                <a:ext cx="16999" cy="1699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06" name="Oval 76"/>
              <p:cNvSpPr>
                <a:spLocks noChangeArrowheads="1"/>
              </p:cNvSpPr>
              <p:nvPr/>
            </p:nvSpPr>
            <p:spPr bwMode="auto">
              <a:xfrm>
                <a:off x="5049397" y="2651498"/>
                <a:ext cx="16999" cy="1699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07" name="Freeform 77"/>
              <p:cNvSpPr>
                <a:spLocks noEditPoints="1"/>
              </p:cNvSpPr>
              <p:nvPr/>
            </p:nvSpPr>
            <p:spPr bwMode="auto">
              <a:xfrm>
                <a:off x="5057897" y="2536044"/>
                <a:ext cx="48873" cy="50290"/>
              </a:xfrm>
              <a:custGeom>
                <a:avLst/>
                <a:gdLst>
                  <a:gd name="T0" fmla="*/ 24 w 29"/>
                  <a:gd name="T1" fmla="*/ 30 h 30"/>
                  <a:gd name="T2" fmla="*/ 5 w 29"/>
                  <a:gd name="T3" fmla="*/ 30 h 30"/>
                  <a:gd name="T4" fmla="*/ 0 w 29"/>
                  <a:gd name="T5" fmla="*/ 25 h 30"/>
                  <a:gd name="T6" fmla="*/ 0 w 29"/>
                  <a:gd name="T7" fmla="*/ 5 h 30"/>
                  <a:gd name="T8" fmla="*/ 5 w 29"/>
                  <a:gd name="T9" fmla="*/ 0 h 30"/>
                  <a:gd name="T10" fmla="*/ 24 w 29"/>
                  <a:gd name="T11" fmla="*/ 0 h 30"/>
                  <a:gd name="T12" fmla="*/ 29 w 29"/>
                  <a:gd name="T13" fmla="*/ 5 h 30"/>
                  <a:gd name="T14" fmla="*/ 29 w 29"/>
                  <a:gd name="T15" fmla="*/ 25 h 30"/>
                  <a:gd name="T16" fmla="*/ 24 w 29"/>
                  <a:gd name="T17" fmla="*/ 30 h 30"/>
                  <a:gd name="T18" fmla="*/ 9 w 29"/>
                  <a:gd name="T19" fmla="*/ 20 h 30"/>
                  <a:gd name="T20" fmla="*/ 19 w 29"/>
                  <a:gd name="T21" fmla="*/ 20 h 30"/>
                  <a:gd name="T22" fmla="*/ 19 w 29"/>
                  <a:gd name="T23" fmla="*/ 10 h 30"/>
                  <a:gd name="T24" fmla="*/ 9 w 29"/>
                  <a:gd name="T25" fmla="*/ 10 h 30"/>
                  <a:gd name="T26" fmla="*/ 9 w 29"/>
                  <a:gd name="T27"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30">
                    <a:moveTo>
                      <a:pt x="24" y="30"/>
                    </a:moveTo>
                    <a:cubicBezTo>
                      <a:pt x="5" y="30"/>
                      <a:pt x="5" y="30"/>
                      <a:pt x="5" y="30"/>
                    </a:cubicBezTo>
                    <a:cubicBezTo>
                      <a:pt x="2" y="30"/>
                      <a:pt x="0" y="28"/>
                      <a:pt x="0" y="25"/>
                    </a:cubicBezTo>
                    <a:cubicBezTo>
                      <a:pt x="0" y="5"/>
                      <a:pt x="0" y="5"/>
                      <a:pt x="0" y="5"/>
                    </a:cubicBezTo>
                    <a:cubicBezTo>
                      <a:pt x="0" y="2"/>
                      <a:pt x="2" y="0"/>
                      <a:pt x="5" y="0"/>
                    </a:cubicBezTo>
                    <a:cubicBezTo>
                      <a:pt x="24" y="0"/>
                      <a:pt x="24" y="0"/>
                      <a:pt x="24" y="0"/>
                    </a:cubicBezTo>
                    <a:cubicBezTo>
                      <a:pt x="27" y="0"/>
                      <a:pt x="29" y="2"/>
                      <a:pt x="29" y="5"/>
                    </a:cubicBezTo>
                    <a:cubicBezTo>
                      <a:pt x="29" y="25"/>
                      <a:pt x="29" y="25"/>
                      <a:pt x="29" y="25"/>
                    </a:cubicBezTo>
                    <a:cubicBezTo>
                      <a:pt x="29" y="28"/>
                      <a:pt x="27" y="30"/>
                      <a:pt x="24" y="30"/>
                    </a:cubicBezTo>
                    <a:moveTo>
                      <a:pt x="9" y="20"/>
                    </a:moveTo>
                    <a:cubicBezTo>
                      <a:pt x="19" y="20"/>
                      <a:pt x="19" y="20"/>
                      <a:pt x="19" y="20"/>
                    </a:cubicBezTo>
                    <a:cubicBezTo>
                      <a:pt x="19" y="10"/>
                      <a:pt x="19" y="10"/>
                      <a:pt x="19" y="10"/>
                    </a:cubicBezTo>
                    <a:cubicBezTo>
                      <a:pt x="9" y="10"/>
                      <a:pt x="9" y="10"/>
                      <a:pt x="9" y="10"/>
                    </a:cubicBezTo>
                    <a:lnTo>
                      <a:pt x="9"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08" name="Freeform 78"/>
              <p:cNvSpPr>
                <a:spLocks noEditPoints="1"/>
              </p:cNvSpPr>
              <p:nvPr/>
            </p:nvSpPr>
            <p:spPr bwMode="auto">
              <a:xfrm>
                <a:off x="5041606" y="2504170"/>
                <a:ext cx="81455" cy="48873"/>
              </a:xfrm>
              <a:custGeom>
                <a:avLst/>
                <a:gdLst>
                  <a:gd name="T0" fmla="*/ 34 w 49"/>
                  <a:gd name="T1" fmla="*/ 29 h 29"/>
                  <a:gd name="T2" fmla="*/ 15 w 49"/>
                  <a:gd name="T3" fmla="*/ 29 h 29"/>
                  <a:gd name="T4" fmla="*/ 0 w 49"/>
                  <a:gd name="T5" fmla="*/ 15 h 29"/>
                  <a:gd name="T6" fmla="*/ 15 w 49"/>
                  <a:gd name="T7" fmla="*/ 0 h 29"/>
                  <a:gd name="T8" fmla="*/ 34 w 49"/>
                  <a:gd name="T9" fmla="*/ 0 h 29"/>
                  <a:gd name="T10" fmla="*/ 49 w 49"/>
                  <a:gd name="T11" fmla="*/ 15 h 29"/>
                  <a:gd name="T12" fmla="*/ 34 w 49"/>
                  <a:gd name="T13" fmla="*/ 29 h 29"/>
                  <a:gd name="T14" fmla="*/ 15 w 49"/>
                  <a:gd name="T15" fmla="*/ 10 h 29"/>
                  <a:gd name="T16" fmla="*/ 10 w 49"/>
                  <a:gd name="T17" fmla="*/ 15 h 29"/>
                  <a:gd name="T18" fmla="*/ 15 w 49"/>
                  <a:gd name="T19" fmla="*/ 19 h 29"/>
                  <a:gd name="T20" fmla="*/ 34 w 49"/>
                  <a:gd name="T21" fmla="*/ 19 h 29"/>
                  <a:gd name="T22" fmla="*/ 39 w 49"/>
                  <a:gd name="T23" fmla="*/ 15 h 29"/>
                  <a:gd name="T24" fmla="*/ 34 w 49"/>
                  <a:gd name="T25" fmla="*/ 10 h 29"/>
                  <a:gd name="T26" fmla="*/ 15 w 49"/>
                  <a:gd name="T27"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29">
                    <a:moveTo>
                      <a:pt x="34" y="29"/>
                    </a:moveTo>
                    <a:cubicBezTo>
                      <a:pt x="15" y="29"/>
                      <a:pt x="15" y="29"/>
                      <a:pt x="15" y="29"/>
                    </a:cubicBezTo>
                    <a:cubicBezTo>
                      <a:pt x="6" y="29"/>
                      <a:pt x="0" y="23"/>
                      <a:pt x="0" y="15"/>
                    </a:cubicBezTo>
                    <a:cubicBezTo>
                      <a:pt x="0" y="6"/>
                      <a:pt x="6" y="0"/>
                      <a:pt x="15" y="0"/>
                    </a:cubicBezTo>
                    <a:cubicBezTo>
                      <a:pt x="34" y="0"/>
                      <a:pt x="34" y="0"/>
                      <a:pt x="34" y="0"/>
                    </a:cubicBezTo>
                    <a:cubicBezTo>
                      <a:pt x="42" y="0"/>
                      <a:pt x="49" y="6"/>
                      <a:pt x="49" y="15"/>
                    </a:cubicBezTo>
                    <a:cubicBezTo>
                      <a:pt x="49" y="23"/>
                      <a:pt x="42" y="29"/>
                      <a:pt x="34" y="29"/>
                    </a:cubicBezTo>
                    <a:moveTo>
                      <a:pt x="15" y="10"/>
                    </a:moveTo>
                    <a:cubicBezTo>
                      <a:pt x="12" y="10"/>
                      <a:pt x="10" y="12"/>
                      <a:pt x="10" y="15"/>
                    </a:cubicBezTo>
                    <a:cubicBezTo>
                      <a:pt x="10" y="18"/>
                      <a:pt x="12" y="19"/>
                      <a:pt x="15" y="19"/>
                    </a:cubicBezTo>
                    <a:cubicBezTo>
                      <a:pt x="34" y="19"/>
                      <a:pt x="34" y="19"/>
                      <a:pt x="34" y="19"/>
                    </a:cubicBezTo>
                    <a:cubicBezTo>
                      <a:pt x="37" y="19"/>
                      <a:pt x="39" y="18"/>
                      <a:pt x="39" y="15"/>
                    </a:cubicBezTo>
                    <a:cubicBezTo>
                      <a:pt x="39" y="12"/>
                      <a:pt x="37" y="10"/>
                      <a:pt x="34" y="10"/>
                    </a:cubicBezTo>
                    <a:lnTo>
                      <a:pt x="15"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grpSp>
        <p:nvGrpSpPr>
          <p:cNvPr id="13" name="Group 309"/>
          <p:cNvGrpSpPr/>
          <p:nvPr/>
        </p:nvGrpSpPr>
        <p:grpSpPr>
          <a:xfrm>
            <a:off x="3589114" y="2459699"/>
            <a:ext cx="585870" cy="585871"/>
            <a:chOff x="2895306" y="3119460"/>
            <a:chExt cx="770091" cy="770092"/>
          </a:xfrm>
          <a:solidFill>
            <a:srgbClr val="FFFFFF"/>
          </a:solidFill>
        </p:grpSpPr>
        <p:sp>
          <p:nvSpPr>
            <p:cNvPr id="1910" name="Oval 1909"/>
            <p:cNvSpPr/>
            <p:nvPr/>
          </p:nvSpPr>
          <p:spPr>
            <a:xfrm>
              <a:off x="2895306" y="31194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algn="ctr"/>
              <a:endParaRPr lang="en-US" sz="1500" dirty="0">
                <a:solidFill>
                  <a:srgbClr val="FFFFFF"/>
                </a:solidFill>
                <a:latin typeface="+mj-lt"/>
                <a:ea typeface="+mn-ea"/>
              </a:endParaRPr>
            </a:p>
          </p:txBody>
        </p:sp>
        <p:grpSp>
          <p:nvGrpSpPr>
            <p:cNvPr id="14" name="Group 147"/>
            <p:cNvGrpSpPr/>
            <p:nvPr/>
          </p:nvGrpSpPr>
          <p:grpSpPr>
            <a:xfrm>
              <a:off x="3093005" y="3274307"/>
              <a:ext cx="374693" cy="460398"/>
              <a:chOff x="3098727" y="3248599"/>
              <a:chExt cx="374693" cy="460398"/>
            </a:xfrm>
            <a:grpFill/>
          </p:grpSpPr>
          <p:sp>
            <p:nvSpPr>
              <p:cNvPr id="1912" name="Freeform 79"/>
              <p:cNvSpPr>
                <a:spLocks noEditPoints="1"/>
              </p:cNvSpPr>
              <p:nvPr/>
            </p:nvSpPr>
            <p:spPr bwMode="auto">
              <a:xfrm>
                <a:off x="3236138" y="3507838"/>
                <a:ext cx="99871" cy="201159"/>
              </a:xfrm>
              <a:custGeom>
                <a:avLst/>
                <a:gdLst>
                  <a:gd name="T0" fmla="*/ 111 w 141"/>
                  <a:gd name="T1" fmla="*/ 0 h 284"/>
                  <a:gd name="T2" fmla="*/ 30 w 141"/>
                  <a:gd name="T3" fmla="*/ 0 h 284"/>
                  <a:gd name="T4" fmla="*/ 30 w 141"/>
                  <a:gd name="T5" fmla="*/ 263 h 284"/>
                  <a:gd name="T6" fmla="*/ 0 w 141"/>
                  <a:gd name="T7" fmla="*/ 263 h 284"/>
                  <a:gd name="T8" fmla="*/ 0 w 141"/>
                  <a:gd name="T9" fmla="*/ 284 h 284"/>
                  <a:gd name="T10" fmla="*/ 141 w 141"/>
                  <a:gd name="T11" fmla="*/ 284 h 284"/>
                  <a:gd name="T12" fmla="*/ 141 w 141"/>
                  <a:gd name="T13" fmla="*/ 263 h 284"/>
                  <a:gd name="T14" fmla="*/ 111 w 141"/>
                  <a:gd name="T15" fmla="*/ 263 h 284"/>
                  <a:gd name="T16" fmla="*/ 111 w 141"/>
                  <a:gd name="T17" fmla="*/ 0 h 284"/>
                  <a:gd name="T18" fmla="*/ 92 w 141"/>
                  <a:gd name="T19" fmla="*/ 263 h 284"/>
                  <a:gd name="T20" fmla="*/ 49 w 141"/>
                  <a:gd name="T21" fmla="*/ 263 h 284"/>
                  <a:gd name="T22" fmla="*/ 49 w 141"/>
                  <a:gd name="T23" fmla="*/ 222 h 284"/>
                  <a:gd name="T24" fmla="*/ 92 w 141"/>
                  <a:gd name="T25" fmla="*/ 222 h 284"/>
                  <a:gd name="T26" fmla="*/ 92 w 141"/>
                  <a:gd name="T27" fmla="*/ 263 h 284"/>
                  <a:gd name="T28" fmla="*/ 92 w 141"/>
                  <a:gd name="T29" fmla="*/ 204 h 284"/>
                  <a:gd name="T30" fmla="*/ 49 w 141"/>
                  <a:gd name="T31" fmla="*/ 204 h 284"/>
                  <a:gd name="T32" fmla="*/ 49 w 141"/>
                  <a:gd name="T33" fmla="*/ 19 h 284"/>
                  <a:gd name="T34" fmla="*/ 92 w 141"/>
                  <a:gd name="T35" fmla="*/ 19 h 284"/>
                  <a:gd name="T36" fmla="*/ 92 w 141"/>
                  <a:gd name="T37" fmla="*/ 20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1" h="284">
                    <a:moveTo>
                      <a:pt x="111" y="0"/>
                    </a:moveTo>
                    <a:lnTo>
                      <a:pt x="30" y="0"/>
                    </a:lnTo>
                    <a:lnTo>
                      <a:pt x="30" y="263"/>
                    </a:lnTo>
                    <a:lnTo>
                      <a:pt x="0" y="263"/>
                    </a:lnTo>
                    <a:lnTo>
                      <a:pt x="0" y="284"/>
                    </a:lnTo>
                    <a:lnTo>
                      <a:pt x="141" y="284"/>
                    </a:lnTo>
                    <a:lnTo>
                      <a:pt x="141" y="263"/>
                    </a:lnTo>
                    <a:lnTo>
                      <a:pt x="111" y="263"/>
                    </a:lnTo>
                    <a:lnTo>
                      <a:pt x="111" y="0"/>
                    </a:lnTo>
                    <a:close/>
                    <a:moveTo>
                      <a:pt x="92" y="263"/>
                    </a:moveTo>
                    <a:lnTo>
                      <a:pt x="49" y="263"/>
                    </a:lnTo>
                    <a:lnTo>
                      <a:pt x="49" y="222"/>
                    </a:lnTo>
                    <a:lnTo>
                      <a:pt x="92" y="222"/>
                    </a:lnTo>
                    <a:lnTo>
                      <a:pt x="92" y="263"/>
                    </a:lnTo>
                    <a:close/>
                    <a:moveTo>
                      <a:pt x="92" y="204"/>
                    </a:moveTo>
                    <a:lnTo>
                      <a:pt x="49" y="204"/>
                    </a:lnTo>
                    <a:lnTo>
                      <a:pt x="49" y="19"/>
                    </a:lnTo>
                    <a:lnTo>
                      <a:pt x="92" y="19"/>
                    </a:lnTo>
                    <a:lnTo>
                      <a:pt x="92" y="20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13" name="Freeform 80"/>
              <p:cNvSpPr>
                <a:spLocks/>
              </p:cNvSpPr>
              <p:nvPr/>
            </p:nvSpPr>
            <p:spPr bwMode="auto">
              <a:xfrm>
                <a:off x="3257387" y="3471007"/>
                <a:ext cx="57373" cy="29040"/>
              </a:xfrm>
              <a:custGeom>
                <a:avLst/>
                <a:gdLst>
                  <a:gd name="T0" fmla="*/ 31 w 81"/>
                  <a:gd name="T1" fmla="*/ 22 h 41"/>
                  <a:gd name="T2" fmla="*/ 0 w 81"/>
                  <a:gd name="T3" fmla="*/ 22 h 41"/>
                  <a:gd name="T4" fmla="*/ 0 w 81"/>
                  <a:gd name="T5" fmla="*/ 41 h 41"/>
                  <a:gd name="T6" fmla="*/ 81 w 81"/>
                  <a:gd name="T7" fmla="*/ 41 h 41"/>
                  <a:gd name="T8" fmla="*/ 81 w 81"/>
                  <a:gd name="T9" fmla="*/ 22 h 41"/>
                  <a:gd name="T10" fmla="*/ 50 w 81"/>
                  <a:gd name="T11" fmla="*/ 22 h 41"/>
                  <a:gd name="T12" fmla="*/ 50 w 81"/>
                  <a:gd name="T13" fmla="*/ 0 h 41"/>
                  <a:gd name="T14" fmla="*/ 31 w 81"/>
                  <a:gd name="T15" fmla="*/ 0 h 41"/>
                  <a:gd name="T16" fmla="*/ 31 w 81"/>
                  <a:gd name="T17"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31" y="22"/>
                    </a:moveTo>
                    <a:lnTo>
                      <a:pt x="0" y="22"/>
                    </a:lnTo>
                    <a:lnTo>
                      <a:pt x="0" y="41"/>
                    </a:lnTo>
                    <a:lnTo>
                      <a:pt x="81" y="41"/>
                    </a:lnTo>
                    <a:lnTo>
                      <a:pt x="81" y="22"/>
                    </a:lnTo>
                    <a:lnTo>
                      <a:pt x="50" y="22"/>
                    </a:lnTo>
                    <a:lnTo>
                      <a:pt x="50" y="0"/>
                    </a:lnTo>
                    <a:lnTo>
                      <a:pt x="31" y="0"/>
                    </a:lnTo>
                    <a:lnTo>
                      <a:pt x="31"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14" name="Rectangle 81"/>
              <p:cNvSpPr>
                <a:spLocks noChangeArrowheads="1"/>
              </p:cNvSpPr>
              <p:nvPr/>
            </p:nvSpPr>
            <p:spPr bwMode="auto">
              <a:xfrm>
                <a:off x="3279345" y="3305972"/>
                <a:ext cx="13458" cy="15866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15" name="Freeform 82"/>
              <p:cNvSpPr>
                <a:spLocks noEditPoints="1"/>
              </p:cNvSpPr>
              <p:nvPr/>
            </p:nvSpPr>
            <p:spPr bwMode="auto">
              <a:xfrm>
                <a:off x="3357966" y="3248599"/>
                <a:ext cx="115454" cy="72247"/>
              </a:xfrm>
              <a:custGeom>
                <a:avLst/>
                <a:gdLst>
                  <a:gd name="T0" fmla="*/ 0 w 69"/>
                  <a:gd name="T1" fmla="*/ 0 h 43"/>
                  <a:gd name="T2" fmla="*/ 0 w 69"/>
                  <a:gd name="T3" fmla="*/ 9 h 43"/>
                  <a:gd name="T4" fmla="*/ 9 w 69"/>
                  <a:gd name="T5" fmla="*/ 9 h 43"/>
                  <a:gd name="T6" fmla="*/ 9 w 69"/>
                  <a:gd name="T7" fmla="*/ 21 h 43"/>
                  <a:gd name="T8" fmla="*/ 13 w 69"/>
                  <a:gd name="T9" fmla="*/ 21 h 43"/>
                  <a:gd name="T10" fmla="*/ 39 w 69"/>
                  <a:gd name="T11" fmla="*/ 43 h 43"/>
                  <a:gd name="T12" fmla="*/ 64 w 69"/>
                  <a:gd name="T13" fmla="*/ 21 h 43"/>
                  <a:gd name="T14" fmla="*/ 69 w 69"/>
                  <a:gd name="T15" fmla="*/ 21 h 43"/>
                  <a:gd name="T16" fmla="*/ 69 w 69"/>
                  <a:gd name="T17" fmla="*/ 0 h 43"/>
                  <a:gd name="T18" fmla="*/ 0 w 69"/>
                  <a:gd name="T19" fmla="*/ 0 h 43"/>
                  <a:gd name="T20" fmla="*/ 39 w 69"/>
                  <a:gd name="T21" fmla="*/ 35 h 43"/>
                  <a:gd name="T22" fmla="*/ 22 w 69"/>
                  <a:gd name="T23" fmla="*/ 21 h 43"/>
                  <a:gd name="T24" fmla="*/ 56 w 69"/>
                  <a:gd name="T25" fmla="*/ 21 h 43"/>
                  <a:gd name="T26" fmla="*/ 39 w 69"/>
                  <a:gd name="T27" fmla="*/ 35 h 43"/>
                  <a:gd name="T28" fmla="*/ 17 w 69"/>
                  <a:gd name="T29" fmla="*/ 9 h 43"/>
                  <a:gd name="T30" fmla="*/ 61 w 69"/>
                  <a:gd name="T31" fmla="*/ 9 h 43"/>
                  <a:gd name="T32" fmla="*/ 61 w 69"/>
                  <a:gd name="T33" fmla="*/ 13 h 43"/>
                  <a:gd name="T34" fmla="*/ 17 w 69"/>
                  <a:gd name="T35" fmla="*/ 13 h 43"/>
                  <a:gd name="T36" fmla="*/ 17 w 69"/>
                  <a:gd name="T3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 h="43">
                    <a:moveTo>
                      <a:pt x="0" y="0"/>
                    </a:moveTo>
                    <a:cubicBezTo>
                      <a:pt x="0" y="9"/>
                      <a:pt x="0" y="9"/>
                      <a:pt x="0" y="9"/>
                    </a:cubicBezTo>
                    <a:cubicBezTo>
                      <a:pt x="9" y="9"/>
                      <a:pt x="9" y="9"/>
                      <a:pt x="9" y="9"/>
                    </a:cubicBezTo>
                    <a:cubicBezTo>
                      <a:pt x="9" y="21"/>
                      <a:pt x="9" y="21"/>
                      <a:pt x="9" y="21"/>
                    </a:cubicBezTo>
                    <a:cubicBezTo>
                      <a:pt x="13" y="21"/>
                      <a:pt x="13" y="21"/>
                      <a:pt x="13" y="21"/>
                    </a:cubicBezTo>
                    <a:cubicBezTo>
                      <a:pt x="15" y="34"/>
                      <a:pt x="26" y="43"/>
                      <a:pt x="39" y="43"/>
                    </a:cubicBezTo>
                    <a:cubicBezTo>
                      <a:pt x="52" y="43"/>
                      <a:pt x="62" y="34"/>
                      <a:pt x="64" y="21"/>
                    </a:cubicBezTo>
                    <a:cubicBezTo>
                      <a:pt x="69" y="21"/>
                      <a:pt x="69" y="21"/>
                      <a:pt x="69" y="21"/>
                    </a:cubicBezTo>
                    <a:cubicBezTo>
                      <a:pt x="69" y="0"/>
                      <a:pt x="69" y="0"/>
                      <a:pt x="69" y="0"/>
                    </a:cubicBezTo>
                    <a:lnTo>
                      <a:pt x="0" y="0"/>
                    </a:lnTo>
                    <a:close/>
                    <a:moveTo>
                      <a:pt x="39" y="35"/>
                    </a:moveTo>
                    <a:cubicBezTo>
                      <a:pt x="31" y="35"/>
                      <a:pt x="24" y="29"/>
                      <a:pt x="22" y="21"/>
                    </a:cubicBezTo>
                    <a:cubicBezTo>
                      <a:pt x="56" y="21"/>
                      <a:pt x="56" y="21"/>
                      <a:pt x="56" y="21"/>
                    </a:cubicBezTo>
                    <a:cubicBezTo>
                      <a:pt x="54" y="29"/>
                      <a:pt x="47" y="35"/>
                      <a:pt x="39" y="35"/>
                    </a:cubicBezTo>
                    <a:moveTo>
                      <a:pt x="17" y="9"/>
                    </a:moveTo>
                    <a:cubicBezTo>
                      <a:pt x="61" y="9"/>
                      <a:pt x="61" y="9"/>
                      <a:pt x="61" y="9"/>
                    </a:cubicBezTo>
                    <a:cubicBezTo>
                      <a:pt x="61" y="13"/>
                      <a:pt x="61" y="13"/>
                      <a:pt x="61" y="13"/>
                    </a:cubicBezTo>
                    <a:cubicBezTo>
                      <a:pt x="17" y="13"/>
                      <a:pt x="17" y="13"/>
                      <a:pt x="17" y="13"/>
                    </a:cubicBezTo>
                    <a:lnTo>
                      <a:pt x="17"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16" name="Freeform 83"/>
              <p:cNvSpPr>
                <a:spLocks/>
              </p:cNvSpPr>
              <p:nvPr/>
            </p:nvSpPr>
            <p:spPr bwMode="auto">
              <a:xfrm>
                <a:off x="3221264" y="3248599"/>
                <a:ext cx="130328" cy="43915"/>
              </a:xfrm>
              <a:custGeom>
                <a:avLst/>
                <a:gdLst>
                  <a:gd name="T0" fmla="*/ 39 w 78"/>
                  <a:gd name="T1" fmla="*/ 12 h 26"/>
                  <a:gd name="T2" fmla="*/ 17 w 78"/>
                  <a:gd name="T3" fmla="*/ 0 h 26"/>
                  <a:gd name="T4" fmla="*/ 0 w 78"/>
                  <a:gd name="T5" fmla="*/ 0 h 26"/>
                  <a:gd name="T6" fmla="*/ 0 w 78"/>
                  <a:gd name="T7" fmla="*/ 9 h 26"/>
                  <a:gd name="T8" fmla="*/ 17 w 78"/>
                  <a:gd name="T9" fmla="*/ 9 h 26"/>
                  <a:gd name="T10" fmla="*/ 35 w 78"/>
                  <a:gd name="T11" fmla="*/ 26 h 26"/>
                  <a:gd name="T12" fmla="*/ 43 w 78"/>
                  <a:gd name="T13" fmla="*/ 26 h 26"/>
                  <a:gd name="T14" fmla="*/ 61 w 78"/>
                  <a:gd name="T15" fmla="*/ 9 h 26"/>
                  <a:gd name="T16" fmla="*/ 78 w 78"/>
                  <a:gd name="T17" fmla="*/ 9 h 26"/>
                  <a:gd name="T18" fmla="*/ 78 w 78"/>
                  <a:gd name="T19" fmla="*/ 0 h 26"/>
                  <a:gd name="T20" fmla="*/ 61 w 78"/>
                  <a:gd name="T21" fmla="*/ 0 h 26"/>
                  <a:gd name="T22" fmla="*/ 39 w 78"/>
                  <a:gd name="T2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26">
                    <a:moveTo>
                      <a:pt x="39" y="12"/>
                    </a:moveTo>
                    <a:cubicBezTo>
                      <a:pt x="34" y="5"/>
                      <a:pt x="26" y="0"/>
                      <a:pt x="17" y="0"/>
                    </a:cubicBezTo>
                    <a:cubicBezTo>
                      <a:pt x="0" y="0"/>
                      <a:pt x="0" y="0"/>
                      <a:pt x="0" y="0"/>
                    </a:cubicBezTo>
                    <a:cubicBezTo>
                      <a:pt x="0" y="9"/>
                      <a:pt x="0" y="9"/>
                      <a:pt x="0" y="9"/>
                    </a:cubicBezTo>
                    <a:cubicBezTo>
                      <a:pt x="17" y="9"/>
                      <a:pt x="17" y="9"/>
                      <a:pt x="17" y="9"/>
                    </a:cubicBezTo>
                    <a:cubicBezTo>
                      <a:pt x="27" y="9"/>
                      <a:pt x="35" y="16"/>
                      <a:pt x="35" y="26"/>
                    </a:cubicBezTo>
                    <a:cubicBezTo>
                      <a:pt x="43" y="26"/>
                      <a:pt x="43" y="26"/>
                      <a:pt x="43" y="26"/>
                    </a:cubicBezTo>
                    <a:cubicBezTo>
                      <a:pt x="43" y="16"/>
                      <a:pt x="51" y="9"/>
                      <a:pt x="61" y="9"/>
                    </a:cubicBezTo>
                    <a:cubicBezTo>
                      <a:pt x="78" y="9"/>
                      <a:pt x="78" y="9"/>
                      <a:pt x="78" y="9"/>
                    </a:cubicBezTo>
                    <a:cubicBezTo>
                      <a:pt x="78" y="0"/>
                      <a:pt x="78" y="0"/>
                      <a:pt x="78" y="0"/>
                    </a:cubicBezTo>
                    <a:cubicBezTo>
                      <a:pt x="61" y="0"/>
                      <a:pt x="61" y="0"/>
                      <a:pt x="61" y="0"/>
                    </a:cubicBezTo>
                    <a:cubicBezTo>
                      <a:pt x="52" y="0"/>
                      <a:pt x="44" y="5"/>
                      <a:pt x="39" y="1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17" name="Freeform 84"/>
              <p:cNvSpPr>
                <a:spLocks noEditPoints="1"/>
              </p:cNvSpPr>
              <p:nvPr/>
            </p:nvSpPr>
            <p:spPr bwMode="auto">
              <a:xfrm>
                <a:off x="3098727" y="3248599"/>
                <a:ext cx="115454" cy="72247"/>
              </a:xfrm>
              <a:custGeom>
                <a:avLst/>
                <a:gdLst>
                  <a:gd name="T0" fmla="*/ 0 w 69"/>
                  <a:gd name="T1" fmla="*/ 21 h 43"/>
                  <a:gd name="T2" fmla="*/ 5 w 69"/>
                  <a:gd name="T3" fmla="*/ 21 h 43"/>
                  <a:gd name="T4" fmla="*/ 30 w 69"/>
                  <a:gd name="T5" fmla="*/ 43 h 43"/>
                  <a:gd name="T6" fmla="*/ 56 w 69"/>
                  <a:gd name="T7" fmla="*/ 21 h 43"/>
                  <a:gd name="T8" fmla="*/ 60 w 69"/>
                  <a:gd name="T9" fmla="*/ 21 h 43"/>
                  <a:gd name="T10" fmla="*/ 60 w 69"/>
                  <a:gd name="T11" fmla="*/ 9 h 43"/>
                  <a:gd name="T12" fmla="*/ 69 w 69"/>
                  <a:gd name="T13" fmla="*/ 9 h 43"/>
                  <a:gd name="T14" fmla="*/ 69 w 69"/>
                  <a:gd name="T15" fmla="*/ 0 h 43"/>
                  <a:gd name="T16" fmla="*/ 0 w 69"/>
                  <a:gd name="T17" fmla="*/ 0 h 43"/>
                  <a:gd name="T18" fmla="*/ 0 w 69"/>
                  <a:gd name="T19" fmla="*/ 21 h 43"/>
                  <a:gd name="T20" fmla="*/ 30 w 69"/>
                  <a:gd name="T21" fmla="*/ 35 h 43"/>
                  <a:gd name="T22" fmla="*/ 13 w 69"/>
                  <a:gd name="T23" fmla="*/ 21 h 43"/>
                  <a:gd name="T24" fmla="*/ 47 w 69"/>
                  <a:gd name="T25" fmla="*/ 21 h 43"/>
                  <a:gd name="T26" fmla="*/ 30 w 69"/>
                  <a:gd name="T27" fmla="*/ 35 h 43"/>
                  <a:gd name="T28" fmla="*/ 8 w 69"/>
                  <a:gd name="T29" fmla="*/ 9 h 43"/>
                  <a:gd name="T30" fmla="*/ 52 w 69"/>
                  <a:gd name="T31" fmla="*/ 9 h 43"/>
                  <a:gd name="T32" fmla="*/ 52 w 69"/>
                  <a:gd name="T33" fmla="*/ 13 h 43"/>
                  <a:gd name="T34" fmla="*/ 8 w 69"/>
                  <a:gd name="T35" fmla="*/ 13 h 43"/>
                  <a:gd name="T36" fmla="*/ 8 w 69"/>
                  <a:gd name="T37" fmla="*/ 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 h="43">
                    <a:moveTo>
                      <a:pt x="0" y="21"/>
                    </a:moveTo>
                    <a:cubicBezTo>
                      <a:pt x="5" y="21"/>
                      <a:pt x="5" y="21"/>
                      <a:pt x="5" y="21"/>
                    </a:cubicBezTo>
                    <a:cubicBezTo>
                      <a:pt x="7" y="34"/>
                      <a:pt x="17" y="43"/>
                      <a:pt x="30" y="43"/>
                    </a:cubicBezTo>
                    <a:cubicBezTo>
                      <a:pt x="43" y="43"/>
                      <a:pt x="54" y="34"/>
                      <a:pt x="56" y="21"/>
                    </a:cubicBezTo>
                    <a:cubicBezTo>
                      <a:pt x="60" y="21"/>
                      <a:pt x="60" y="21"/>
                      <a:pt x="60" y="21"/>
                    </a:cubicBezTo>
                    <a:cubicBezTo>
                      <a:pt x="60" y="9"/>
                      <a:pt x="60" y="9"/>
                      <a:pt x="60" y="9"/>
                    </a:cubicBezTo>
                    <a:cubicBezTo>
                      <a:pt x="69" y="9"/>
                      <a:pt x="69" y="9"/>
                      <a:pt x="69" y="9"/>
                    </a:cubicBezTo>
                    <a:cubicBezTo>
                      <a:pt x="69" y="0"/>
                      <a:pt x="69" y="0"/>
                      <a:pt x="69" y="0"/>
                    </a:cubicBezTo>
                    <a:cubicBezTo>
                      <a:pt x="0" y="0"/>
                      <a:pt x="0" y="0"/>
                      <a:pt x="0" y="0"/>
                    </a:cubicBezTo>
                    <a:lnTo>
                      <a:pt x="0" y="21"/>
                    </a:lnTo>
                    <a:close/>
                    <a:moveTo>
                      <a:pt x="30" y="35"/>
                    </a:moveTo>
                    <a:cubicBezTo>
                      <a:pt x="22" y="35"/>
                      <a:pt x="15" y="29"/>
                      <a:pt x="13" y="21"/>
                    </a:cubicBezTo>
                    <a:cubicBezTo>
                      <a:pt x="47" y="21"/>
                      <a:pt x="47" y="21"/>
                      <a:pt x="47" y="21"/>
                    </a:cubicBezTo>
                    <a:cubicBezTo>
                      <a:pt x="45" y="29"/>
                      <a:pt x="38" y="35"/>
                      <a:pt x="30" y="35"/>
                    </a:cubicBezTo>
                    <a:moveTo>
                      <a:pt x="8" y="9"/>
                    </a:moveTo>
                    <a:cubicBezTo>
                      <a:pt x="52" y="9"/>
                      <a:pt x="52" y="9"/>
                      <a:pt x="52" y="9"/>
                    </a:cubicBezTo>
                    <a:cubicBezTo>
                      <a:pt x="52" y="13"/>
                      <a:pt x="52" y="13"/>
                      <a:pt x="52" y="13"/>
                    </a:cubicBezTo>
                    <a:cubicBezTo>
                      <a:pt x="8" y="13"/>
                      <a:pt x="8" y="13"/>
                      <a:pt x="8" y="13"/>
                    </a:cubicBezTo>
                    <a:lnTo>
                      <a:pt x="8"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grpSp>
        <p:nvGrpSpPr>
          <p:cNvPr id="15" name="Group 318"/>
          <p:cNvGrpSpPr/>
          <p:nvPr/>
        </p:nvGrpSpPr>
        <p:grpSpPr>
          <a:xfrm>
            <a:off x="2570487" y="1204729"/>
            <a:ext cx="585870" cy="585871"/>
            <a:chOff x="1603656" y="3119460"/>
            <a:chExt cx="770091" cy="770092"/>
          </a:xfrm>
          <a:solidFill>
            <a:srgbClr val="FFFFFF"/>
          </a:solidFill>
        </p:grpSpPr>
        <p:sp>
          <p:nvSpPr>
            <p:cNvPr id="1919" name="Oval 1918"/>
            <p:cNvSpPr/>
            <p:nvPr/>
          </p:nvSpPr>
          <p:spPr>
            <a:xfrm>
              <a:off x="1603656" y="31194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mj-lt"/>
                <a:ea typeface="+mn-ea"/>
                <a:cs typeface="+mn-cs"/>
              </a:endParaRPr>
            </a:p>
          </p:txBody>
        </p:sp>
        <p:grpSp>
          <p:nvGrpSpPr>
            <p:cNvPr id="16" name="Group 148"/>
            <p:cNvGrpSpPr/>
            <p:nvPr/>
          </p:nvGrpSpPr>
          <p:grpSpPr>
            <a:xfrm>
              <a:off x="1781522" y="3265598"/>
              <a:ext cx="414358" cy="415067"/>
              <a:chOff x="1738783" y="3265598"/>
              <a:chExt cx="414358" cy="415067"/>
            </a:xfrm>
            <a:grpFill/>
          </p:grpSpPr>
          <p:sp>
            <p:nvSpPr>
              <p:cNvPr id="1921" name="Freeform 85"/>
              <p:cNvSpPr>
                <a:spLocks noEditPoints="1"/>
              </p:cNvSpPr>
              <p:nvPr/>
            </p:nvSpPr>
            <p:spPr bwMode="auto">
              <a:xfrm>
                <a:off x="1738783" y="3395926"/>
                <a:ext cx="304571" cy="229491"/>
              </a:xfrm>
              <a:custGeom>
                <a:avLst/>
                <a:gdLst>
                  <a:gd name="T0" fmla="*/ 169 w 182"/>
                  <a:gd name="T1" fmla="*/ 137 h 137"/>
                  <a:gd name="T2" fmla="*/ 12 w 182"/>
                  <a:gd name="T3" fmla="*/ 137 h 137"/>
                  <a:gd name="T4" fmla="*/ 0 w 182"/>
                  <a:gd name="T5" fmla="*/ 124 h 137"/>
                  <a:gd name="T6" fmla="*/ 0 w 182"/>
                  <a:gd name="T7" fmla="*/ 79 h 137"/>
                  <a:gd name="T8" fmla="*/ 12 w 182"/>
                  <a:gd name="T9" fmla="*/ 66 h 137"/>
                  <a:gd name="T10" fmla="*/ 14 w 182"/>
                  <a:gd name="T11" fmla="*/ 66 h 137"/>
                  <a:gd name="T12" fmla="*/ 18 w 182"/>
                  <a:gd name="T13" fmla="*/ 63 h 137"/>
                  <a:gd name="T14" fmla="*/ 33 w 182"/>
                  <a:gd name="T15" fmla="*/ 13 h 137"/>
                  <a:gd name="T16" fmla="*/ 33 w 182"/>
                  <a:gd name="T17" fmla="*/ 13 h 137"/>
                  <a:gd name="T18" fmla="*/ 52 w 182"/>
                  <a:gd name="T19" fmla="*/ 0 h 137"/>
                  <a:gd name="T20" fmla="*/ 129 w 182"/>
                  <a:gd name="T21" fmla="*/ 0 h 137"/>
                  <a:gd name="T22" fmla="*/ 148 w 182"/>
                  <a:gd name="T23" fmla="*/ 13 h 137"/>
                  <a:gd name="T24" fmla="*/ 148 w 182"/>
                  <a:gd name="T25" fmla="*/ 13 h 137"/>
                  <a:gd name="T26" fmla="*/ 163 w 182"/>
                  <a:gd name="T27" fmla="*/ 63 h 137"/>
                  <a:gd name="T28" fmla="*/ 167 w 182"/>
                  <a:gd name="T29" fmla="*/ 66 h 137"/>
                  <a:gd name="T30" fmla="*/ 169 w 182"/>
                  <a:gd name="T31" fmla="*/ 66 h 137"/>
                  <a:gd name="T32" fmla="*/ 182 w 182"/>
                  <a:gd name="T33" fmla="*/ 79 h 137"/>
                  <a:gd name="T34" fmla="*/ 182 w 182"/>
                  <a:gd name="T35" fmla="*/ 124 h 137"/>
                  <a:gd name="T36" fmla="*/ 169 w 182"/>
                  <a:gd name="T37" fmla="*/ 137 h 137"/>
                  <a:gd name="T38" fmla="*/ 12 w 182"/>
                  <a:gd name="T39" fmla="*/ 75 h 137"/>
                  <a:gd name="T40" fmla="*/ 8 w 182"/>
                  <a:gd name="T41" fmla="*/ 79 h 137"/>
                  <a:gd name="T42" fmla="*/ 8 w 182"/>
                  <a:gd name="T43" fmla="*/ 124 h 137"/>
                  <a:gd name="T44" fmla="*/ 12 w 182"/>
                  <a:gd name="T45" fmla="*/ 128 h 137"/>
                  <a:gd name="T46" fmla="*/ 169 w 182"/>
                  <a:gd name="T47" fmla="*/ 128 h 137"/>
                  <a:gd name="T48" fmla="*/ 173 w 182"/>
                  <a:gd name="T49" fmla="*/ 124 h 137"/>
                  <a:gd name="T50" fmla="*/ 173 w 182"/>
                  <a:gd name="T51" fmla="*/ 79 h 137"/>
                  <a:gd name="T52" fmla="*/ 169 w 182"/>
                  <a:gd name="T53" fmla="*/ 75 h 137"/>
                  <a:gd name="T54" fmla="*/ 167 w 182"/>
                  <a:gd name="T55" fmla="*/ 75 h 137"/>
                  <a:gd name="T56" fmla="*/ 155 w 182"/>
                  <a:gd name="T57" fmla="*/ 66 h 137"/>
                  <a:gd name="T58" fmla="*/ 141 w 182"/>
                  <a:gd name="T59" fmla="*/ 16 h 137"/>
                  <a:gd name="T60" fmla="*/ 129 w 182"/>
                  <a:gd name="T61" fmla="*/ 9 h 137"/>
                  <a:gd name="T62" fmla="*/ 52 w 182"/>
                  <a:gd name="T63" fmla="*/ 9 h 137"/>
                  <a:gd name="T64" fmla="*/ 41 w 182"/>
                  <a:gd name="T65" fmla="*/ 16 h 137"/>
                  <a:gd name="T66" fmla="*/ 26 w 182"/>
                  <a:gd name="T67" fmla="*/ 66 h 137"/>
                  <a:gd name="T68" fmla="*/ 14 w 182"/>
                  <a:gd name="T69" fmla="*/ 75 h 137"/>
                  <a:gd name="T70" fmla="*/ 12 w 182"/>
                  <a:gd name="T71" fmla="*/ 7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137">
                    <a:moveTo>
                      <a:pt x="169" y="137"/>
                    </a:moveTo>
                    <a:cubicBezTo>
                      <a:pt x="12" y="137"/>
                      <a:pt x="12" y="137"/>
                      <a:pt x="12" y="137"/>
                    </a:cubicBezTo>
                    <a:cubicBezTo>
                      <a:pt x="5" y="137"/>
                      <a:pt x="0" y="131"/>
                      <a:pt x="0" y="124"/>
                    </a:cubicBezTo>
                    <a:cubicBezTo>
                      <a:pt x="0" y="79"/>
                      <a:pt x="0" y="79"/>
                      <a:pt x="0" y="79"/>
                    </a:cubicBezTo>
                    <a:cubicBezTo>
                      <a:pt x="0" y="72"/>
                      <a:pt x="5" y="66"/>
                      <a:pt x="12" y="66"/>
                    </a:cubicBezTo>
                    <a:cubicBezTo>
                      <a:pt x="14" y="66"/>
                      <a:pt x="14" y="66"/>
                      <a:pt x="14" y="66"/>
                    </a:cubicBezTo>
                    <a:cubicBezTo>
                      <a:pt x="16" y="66"/>
                      <a:pt x="17" y="65"/>
                      <a:pt x="18" y="63"/>
                    </a:cubicBezTo>
                    <a:cubicBezTo>
                      <a:pt x="33" y="13"/>
                      <a:pt x="33" y="13"/>
                      <a:pt x="33" y="13"/>
                    </a:cubicBezTo>
                    <a:cubicBezTo>
                      <a:pt x="33" y="13"/>
                      <a:pt x="33" y="13"/>
                      <a:pt x="33" y="13"/>
                    </a:cubicBezTo>
                    <a:cubicBezTo>
                      <a:pt x="36" y="5"/>
                      <a:pt x="44" y="0"/>
                      <a:pt x="52" y="0"/>
                    </a:cubicBezTo>
                    <a:cubicBezTo>
                      <a:pt x="129" y="0"/>
                      <a:pt x="129" y="0"/>
                      <a:pt x="129" y="0"/>
                    </a:cubicBezTo>
                    <a:cubicBezTo>
                      <a:pt x="138" y="0"/>
                      <a:pt x="145" y="5"/>
                      <a:pt x="148" y="13"/>
                    </a:cubicBezTo>
                    <a:cubicBezTo>
                      <a:pt x="148" y="13"/>
                      <a:pt x="148" y="13"/>
                      <a:pt x="148" y="13"/>
                    </a:cubicBezTo>
                    <a:cubicBezTo>
                      <a:pt x="163" y="63"/>
                      <a:pt x="163" y="63"/>
                      <a:pt x="163" y="63"/>
                    </a:cubicBezTo>
                    <a:cubicBezTo>
                      <a:pt x="163" y="65"/>
                      <a:pt x="165" y="66"/>
                      <a:pt x="167" y="66"/>
                    </a:cubicBezTo>
                    <a:cubicBezTo>
                      <a:pt x="169" y="66"/>
                      <a:pt x="169" y="66"/>
                      <a:pt x="169" y="66"/>
                    </a:cubicBezTo>
                    <a:cubicBezTo>
                      <a:pt x="176" y="66"/>
                      <a:pt x="182" y="72"/>
                      <a:pt x="182" y="79"/>
                    </a:cubicBezTo>
                    <a:cubicBezTo>
                      <a:pt x="182" y="124"/>
                      <a:pt x="182" y="124"/>
                      <a:pt x="182" y="124"/>
                    </a:cubicBezTo>
                    <a:cubicBezTo>
                      <a:pt x="182" y="131"/>
                      <a:pt x="176" y="137"/>
                      <a:pt x="169" y="137"/>
                    </a:cubicBezTo>
                    <a:moveTo>
                      <a:pt x="12" y="75"/>
                    </a:moveTo>
                    <a:cubicBezTo>
                      <a:pt x="10" y="75"/>
                      <a:pt x="8" y="76"/>
                      <a:pt x="8" y="79"/>
                    </a:cubicBezTo>
                    <a:cubicBezTo>
                      <a:pt x="8" y="124"/>
                      <a:pt x="8" y="124"/>
                      <a:pt x="8" y="124"/>
                    </a:cubicBezTo>
                    <a:cubicBezTo>
                      <a:pt x="8" y="127"/>
                      <a:pt x="10" y="128"/>
                      <a:pt x="12" y="128"/>
                    </a:cubicBezTo>
                    <a:cubicBezTo>
                      <a:pt x="169" y="128"/>
                      <a:pt x="169" y="128"/>
                      <a:pt x="169" y="128"/>
                    </a:cubicBezTo>
                    <a:cubicBezTo>
                      <a:pt x="172" y="128"/>
                      <a:pt x="173" y="127"/>
                      <a:pt x="173" y="124"/>
                    </a:cubicBezTo>
                    <a:cubicBezTo>
                      <a:pt x="173" y="79"/>
                      <a:pt x="173" y="79"/>
                      <a:pt x="173" y="79"/>
                    </a:cubicBezTo>
                    <a:cubicBezTo>
                      <a:pt x="173" y="76"/>
                      <a:pt x="172" y="75"/>
                      <a:pt x="169" y="75"/>
                    </a:cubicBezTo>
                    <a:cubicBezTo>
                      <a:pt x="167" y="75"/>
                      <a:pt x="167" y="75"/>
                      <a:pt x="167" y="75"/>
                    </a:cubicBezTo>
                    <a:cubicBezTo>
                      <a:pt x="162" y="75"/>
                      <a:pt x="157" y="71"/>
                      <a:pt x="155" y="66"/>
                    </a:cubicBezTo>
                    <a:cubicBezTo>
                      <a:pt x="141" y="16"/>
                      <a:pt x="141" y="16"/>
                      <a:pt x="141" y="16"/>
                    </a:cubicBezTo>
                    <a:cubicBezTo>
                      <a:pt x="139" y="11"/>
                      <a:pt x="134" y="9"/>
                      <a:pt x="129" y="9"/>
                    </a:cubicBezTo>
                    <a:cubicBezTo>
                      <a:pt x="52" y="9"/>
                      <a:pt x="52" y="9"/>
                      <a:pt x="52" y="9"/>
                    </a:cubicBezTo>
                    <a:cubicBezTo>
                      <a:pt x="47" y="9"/>
                      <a:pt x="43" y="11"/>
                      <a:pt x="41" y="16"/>
                    </a:cubicBezTo>
                    <a:cubicBezTo>
                      <a:pt x="26" y="66"/>
                      <a:pt x="26" y="66"/>
                      <a:pt x="26" y="66"/>
                    </a:cubicBezTo>
                    <a:cubicBezTo>
                      <a:pt x="24" y="71"/>
                      <a:pt x="20" y="75"/>
                      <a:pt x="14" y="75"/>
                    </a:cubicBezTo>
                    <a:lnTo>
                      <a:pt x="12"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22" name="Freeform 86"/>
              <p:cNvSpPr>
                <a:spLocks noEditPoints="1"/>
              </p:cNvSpPr>
              <p:nvPr/>
            </p:nvSpPr>
            <p:spPr bwMode="auto">
              <a:xfrm>
                <a:off x="1758615" y="3609834"/>
                <a:ext cx="55248" cy="70830"/>
              </a:xfrm>
              <a:custGeom>
                <a:avLst/>
                <a:gdLst>
                  <a:gd name="T0" fmla="*/ 21 w 33"/>
                  <a:gd name="T1" fmla="*/ 42 h 42"/>
                  <a:gd name="T2" fmla="*/ 12 w 33"/>
                  <a:gd name="T3" fmla="*/ 42 h 42"/>
                  <a:gd name="T4" fmla="*/ 0 w 33"/>
                  <a:gd name="T5" fmla="*/ 29 h 42"/>
                  <a:gd name="T6" fmla="*/ 0 w 33"/>
                  <a:gd name="T7" fmla="*/ 5 h 42"/>
                  <a:gd name="T8" fmla="*/ 4 w 33"/>
                  <a:gd name="T9" fmla="*/ 0 h 42"/>
                  <a:gd name="T10" fmla="*/ 29 w 33"/>
                  <a:gd name="T11" fmla="*/ 0 h 42"/>
                  <a:gd name="T12" fmla="*/ 33 w 33"/>
                  <a:gd name="T13" fmla="*/ 5 h 42"/>
                  <a:gd name="T14" fmla="*/ 33 w 33"/>
                  <a:gd name="T15" fmla="*/ 29 h 42"/>
                  <a:gd name="T16" fmla="*/ 21 w 33"/>
                  <a:gd name="T17" fmla="*/ 42 h 42"/>
                  <a:gd name="T18" fmla="*/ 8 w 33"/>
                  <a:gd name="T19" fmla="*/ 9 h 42"/>
                  <a:gd name="T20" fmla="*/ 8 w 33"/>
                  <a:gd name="T21" fmla="*/ 29 h 42"/>
                  <a:gd name="T22" fmla="*/ 12 w 33"/>
                  <a:gd name="T23" fmla="*/ 33 h 42"/>
                  <a:gd name="T24" fmla="*/ 21 w 33"/>
                  <a:gd name="T25" fmla="*/ 33 h 42"/>
                  <a:gd name="T26" fmla="*/ 25 w 33"/>
                  <a:gd name="T27" fmla="*/ 29 h 42"/>
                  <a:gd name="T28" fmla="*/ 25 w 33"/>
                  <a:gd name="T29" fmla="*/ 9 h 42"/>
                  <a:gd name="T30" fmla="*/ 8 w 33"/>
                  <a:gd name="T31"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42">
                    <a:moveTo>
                      <a:pt x="21" y="42"/>
                    </a:moveTo>
                    <a:cubicBezTo>
                      <a:pt x="12" y="42"/>
                      <a:pt x="12" y="42"/>
                      <a:pt x="12" y="42"/>
                    </a:cubicBezTo>
                    <a:cubicBezTo>
                      <a:pt x="5" y="42"/>
                      <a:pt x="0" y="36"/>
                      <a:pt x="0" y="29"/>
                    </a:cubicBezTo>
                    <a:cubicBezTo>
                      <a:pt x="0" y="5"/>
                      <a:pt x="0" y="5"/>
                      <a:pt x="0" y="5"/>
                    </a:cubicBezTo>
                    <a:cubicBezTo>
                      <a:pt x="0" y="2"/>
                      <a:pt x="2" y="0"/>
                      <a:pt x="4" y="0"/>
                    </a:cubicBezTo>
                    <a:cubicBezTo>
                      <a:pt x="29" y="0"/>
                      <a:pt x="29" y="0"/>
                      <a:pt x="29" y="0"/>
                    </a:cubicBezTo>
                    <a:cubicBezTo>
                      <a:pt x="32" y="0"/>
                      <a:pt x="33" y="2"/>
                      <a:pt x="33" y="5"/>
                    </a:cubicBezTo>
                    <a:cubicBezTo>
                      <a:pt x="33" y="29"/>
                      <a:pt x="33" y="29"/>
                      <a:pt x="33" y="29"/>
                    </a:cubicBezTo>
                    <a:cubicBezTo>
                      <a:pt x="33" y="36"/>
                      <a:pt x="28" y="42"/>
                      <a:pt x="21" y="42"/>
                    </a:cubicBezTo>
                    <a:moveTo>
                      <a:pt x="8" y="9"/>
                    </a:moveTo>
                    <a:cubicBezTo>
                      <a:pt x="8" y="29"/>
                      <a:pt x="8" y="29"/>
                      <a:pt x="8" y="29"/>
                    </a:cubicBezTo>
                    <a:cubicBezTo>
                      <a:pt x="8" y="32"/>
                      <a:pt x="10" y="33"/>
                      <a:pt x="12" y="33"/>
                    </a:cubicBezTo>
                    <a:cubicBezTo>
                      <a:pt x="21" y="33"/>
                      <a:pt x="21" y="33"/>
                      <a:pt x="21" y="33"/>
                    </a:cubicBezTo>
                    <a:cubicBezTo>
                      <a:pt x="23" y="33"/>
                      <a:pt x="25" y="32"/>
                      <a:pt x="25" y="29"/>
                    </a:cubicBezTo>
                    <a:cubicBezTo>
                      <a:pt x="25" y="9"/>
                      <a:pt x="25" y="9"/>
                      <a:pt x="25" y="9"/>
                    </a:cubicBezTo>
                    <a:lnTo>
                      <a:pt x="8"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23" name="Freeform 87"/>
              <p:cNvSpPr>
                <a:spLocks noEditPoints="1"/>
              </p:cNvSpPr>
              <p:nvPr/>
            </p:nvSpPr>
            <p:spPr bwMode="auto">
              <a:xfrm>
                <a:off x="1966149" y="3609834"/>
                <a:ext cx="55248" cy="70830"/>
              </a:xfrm>
              <a:custGeom>
                <a:avLst/>
                <a:gdLst>
                  <a:gd name="T0" fmla="*/ 21 w 33"/>
                  <a:gd name="T1" fmla="*/ 42 h 42"/>
                  <a:gd name="T2" fmla="*/ 12 w 33"/>
                  <a:gd name="T3" fmla="*/ 42 h 42"/>
                  <a:gd name="T4" fmla="*/ 0 w 33"/>
                  <a:gd name="T5" fmla="*/ 29 h 42"/>
                  <a:gd name="T6" fmla="*/ 0 w 33"/>
                  <a:gd name="T7" fmla="*/ 5 h 42"/>
                  <a:gd name="T8" fmla="*/ 4 w 33"/>
                  <a:gd name="T9" fmla="*/ 0 h 42"/>
                  <a:gd name="T10" fmla="*/ 29 w 33"/>
                  <a:gd name="T11" fmla="*/ 0 h 42"/>
                  <a:gd name="T12" fmla="*/ 33 w 33"/>
                  <a:gd name="T13" fmla="*/ 5 h 42"/>
                  <a:gd name="T14" fmla="*/ 33 w 33"/>
                  <a:gd name="T15" fmla="*/ 29 h 42"/>
                  <a:gd name="T16" fmla="*/ 21 w 33"/>
                  <a:gd name="T17" fmla="*/ 42 h 42"/>
                  <a:gd name="T18" fmla="*/ 8 w 33"/>
                  <a:gd name="T19" fmla="*/ 9 h 42"/>
                  <a:gd name="T20" fmla="*/ 8 w 33"/>
                  <a:gd name="T21" fmla="*/ 29 h 42"/>
                  <a:gd name="T22" fmla="*/ 12 w 33"/>
                  <a:gd name="T23" fmla="*/ 33 h 42"/>
                  <a:gd name="T24" fmla="*/ 21 w 33"/>
                  <a:gd name="T25" fmla="*/ 33 h 42"/>
                  <a:gd name="T26" fmla="*/ 25 w 33"/>
                  <a:gd name="T27" fmla="*/ 29 h 42"/>
                  <a:gd name="T28" fmla="*/ 25 w 33"/>
                  <a:gd name="T29" fmla="*/ 9 h 42"/>
                  <a:gd name="T30" fmla="*/ 8 w 33"/>
                  <a:gd name="T31"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42">
                    <a:moveTo>
                      <a:pt x="21" y="42"/>
                    </a:moveTo>
                    <a:cubicBezTo>
                      <a:pt x="12" y="42"/>
                      <a:pt x="12" y="42"/>
                      <a:pt x="12" y="42"/>
                    </a:cubicBezTo>
                    <a:cubicBezTo>
                      <a:pt x="5" y="42"/>
                      <a:pt x="0" y="36"/>
                      <a:pt x="0" y="29"/>
                    </a:cubicBezTo>
                    <a:cubicBezTo>
                      <a:pt x="0" y="5"/>
                      <a:pt x="0" y="5"/>
                      <a:pt x="0" y="5"/>
                    </a:cubicBezTo>
                    <a:cubicBezTo>
                      <a:pt x="0" y="2"/>
                      <a:pt x="2" y="0"/>
                      <a:pt x="4" y="0"/>
                    </a:cubicBezTo>
                    <a:cubicBezTo>
                      <a:pt x="29" y="0"/>
                      <a:pt x="29" y="0"/>
                      <a:pt x="29" y="0"/>
                    </a:cubicBezTo>
                    <a:cubicBezTo>
                      <a:pt x="32" y="0"/>
                      <a:pt x="33" y="2"/>
                      <a:pt x="33" y="5"/>
                    </a:cubicBezTo>
                    <a:cubicBezTo>
                      <a:pt x="33" y="29"/>
                      <a:pt x="33" y="29"/>
                      <a:pt x="33" y="29"/>
                    </a:cubicBezTo>
                    <a:cubicBezTo>
                      <a:pt x="33" y="36"/>
                      <a:pt x="28" y="42"/>
                      <a:pt x="21" y="42"/>
                    </a:cubicBezTo>
                    <a:moveTo>
                      <a:pt x="8" y="9"/>
                    </a:moveTo>
                    <a:cubicBezTo>
                      <a:pt x="8" y="29"/>
                      <a:pt x="8" y="29"/>
                      <a:pt x="8" y="29"/>
                    </a:cubicBezTo>
                    <a:cubicBezTo>
                      <a:pt x="8" y="32"/>
                      <a:pt x="10" y="33"/>
                      <a:pt x="12" y="33"/>
                    </a:cubicBezTo>
                    <a:cubicBezTo>
                      <a:pt x="21" y="33"/>
                      <a:pt x="21" y="33"/>
                      <a:pt x="21" y="33"/>
                    </a:cubicBezTo>
                    <a:cubicBezTo>
                      <a:pt x="23" y="33"/>
                      <a:pt x="25" y="32"/>
                      <a:pt x="25" y="29"/>
                    </a:cubicBezTo>
                    <a:cubicBezTo>
                      <a:pt x="25" y="9"/>
                      <a:pt x="25" y="9"/>
                      <a:pt x="25" y="9"/>
                    </a:cubicBezTo>
                    <a:lnTo>
                      <a:pt x="8" y="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24" name="Freeform 88"/>
              <p:cNvSpPr>
                <a:spLocks noEditPoints="1"/>
              </p:cNvSpPr>
              <p:nvPr/>
            </p:nvSpPr>
            <p:spPr bwMode="auto">
              <a:xfrm>
                <a:off x="1772073" y="3534754"/>
                <a:ext cx="55248" cy="55248"/>
              </a:xfrm>
              <a:custGeom>
                <a:avLst/>
                <a:gdLst>
                  <a:gd name="T0" fmla="*/ 17 w 33"/>
                  <a:gd name="T1" fmla="*/ 33 h 33"/>
                  <a:gd name="T2" fmla="*/ 0 w 33"/>
                  <a:gd name="T3" fmla="*/ 16 h 33"/>
                  <a:gd name="T4" fmla="*/ 17 w 33"/>
                  <a:gd name="T5" fmla="*/ 0 h 33"/>
                  <a:gd name="T6" fmla="*/ 33 w 33"/>
                  <a:gd name="T7" fmla="*/ 16 h 33"/>
                  <a:gd name="T8" fmla="*/ 17 w 33"/>
                  <a:gd name="T9" fmla="*/ 33 h 33"/>
                  <a:gd name="T10" fmla="*/ 17 w 33"/>
                  <a:gd name="T11" fmla="*/ 8 h 33"/>
                  <a:gd name="T12" fmla="*/ 9 w 33"/>
                  <a:gd name="T13" fmla="*/ 16 h 33"/>
                  <a:gd name="T14" fmla="*/ 17 w 33"/>
                  <a:gd name="T15" fmla="*/ 25 h 33"/>
                  <a:gd name="T16" fmla="*/ 25 w 33"/>
                  <a:gd name="T17" fmla="*/ 16 h 33"/>
                  <a:gd name="T18" fmla="*/ 17 w 33"/>
                  <a:gd name="T1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7" y="33"/>
                    </a:moveTo>
                    <a:cubicBezTo>
                      <a:pt x="8" y="33"/>
                      <a:pt x="0" y="26"/>
                      <a:pt x="0" y="16"/>
                    </a:cubicBezTo>
                    <a:cubicBezTo>
                      <a:pt x="0" y="7"/>
                      <a:pt x="8" y="0"/>
                      <a:pt x="17" y="0"/>
                    </a:cubicBezTo>
                    <a:cubicBezTo>
                      <a:pt x="26" y="0"/>
                      <a:pt x="33" y="7"/>
                      <a:pt x="33" y="16"/>
                    </a:cubicBezTo>
                    <a:cubicBezTo>
                      <a:pt x="33" y="26"/>
                      <a:pt x="26" y="33"/>
                      <a:pt x="17" y="33"/>
                    </a:cubicBezTo>
                    <a:moveTo>
                      <a:pt x="17" y="8"/>
                    </a:moveTo>
                    <a:cubicBezTo>
                      <a:pt x="12" y="8"/>
                      <a:pt x="9" y="12"/>
                      <a:pt x="9" y="16"/>
                    </a:cubicBezTo>
                    <a:cubicBezTo>
                      <a:pt x="9" y="21"/>
                      <a:pt x="12" y="25"/>
                      <a:pt x="17" y="25"/>
                    </a:cubicBezTo>
                    <a:cubicBezTo>
                      <a:pt x="21" y="25"/>
                      <a:pt x="25" y="21"/>
                      <a:pt x="25" y="16"/>
                    </a:cubicBezTo>
                    <a:cubicBezTo>
                      <a:pt x="25" y="12"/>
                      <a:pt x="21" y="8"/>
                      <a:pt x="17" y="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25" name="Freeform 89"/>
              <p:cNvSpPr>
                <a:spLocks noEditPoints="1"/>
              </p:cNvSpPr>
              <p:nvPr/>
            </p:nvSpPr>
            <p:spPr bwMode="auto">
              <a:xfrm>
                <a:off x="1952691" y="3534754"/>
                <a:ext cx="55248" cy="55248"/>
              </a:xfrm>
              <a:custGeom>
                <a:avLst/>
                <a:gdLst>
                  <a:gd name="T0" fmla="*/ 16 w 33"/>
                  <a:gd name="T1" fmla="*/ 33 h 33"/>
                  <a:gd name="T2" fmla="*/ 0 w 33"/>
                  <a:gd name="T3" fmla="*/ 16 h 33"/>
                  <a:gd name="T4" fmla="*/ 16 w 33"/>
                  <a:gd name="T5" fmla="*/ 0 h 33"/>
                  <a:gd name="T6" fmla="*/ 33 w 33"/>
                  <a:gd name="T7" fmla="*/ 16 h 33"/>
                  <a:gd name="T8" fmla="*/ 16 w 33"/>
                  <a:gd name="T9" fmla="*/ 33 h 33"/>
                  <a:gd name="T10" fmla="*/ 16 w 33"/>
                  <a:gd name="T11" fmla="*/ 8 h 33"/>
                  <a:gd name="T12" fmla="*/ 8 w 33"/>
                  <a:gd name="T13" fmla="*/ 16 h 33"/>
                  <a:gd name="T14" fmla="*/ 16 w 33"/>
                  <a:gd name="T15" fmla="*/ 25 h 33"/>
                  <a:gd name="T16" fmla="*/ 25 w 33"/>
                  <a:gd name="T17" fmla="*/ 16 h 33"/>
                  <a:gd name="T18" fmla="*/ 16 w 33"/>
                  <a:gd name="T1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3">
                    <a:moveTo>
                      <a:pt x="16" y="33"/>
                    </a:moveTo>
                    <a:cubicBezTo>
                      <a:pt x="7" y="33"/>
                      <a:pt x="0" y="26"/>
                      <a:pt x="0" y="16"/>
                    </a:cubicBezTo>
                    <a:cubicBezTo>
                      <a:pt x="0" y="7"/>
                      <a:pt x="7" y="0"/>
                      <a:pt x="16" y="0"/>
                    </a:cubicBezTo>
                    <a:cubicBezTo>
                      <a:pt x="25" y="0"/>
                      <a:pt x="33" y="7"/>
                      <a:pt x="33" y="16"/>
                    </a:cubicBezTo>
                    <a:cubicBezTo>
                      <a:pt x="33" y="26"/>
                      <a:pt x="25" y="33"/>
                      <a:pt x="16" y="33"/>
                    </a:cubicBezTo>
                    <a:moveTo>
                      <a:pt x="16" y="8"/>
                    </a:moveTo>
                    <a:cubicBezTo>
                      <a:pt x="12" y="8"/>
                      <a:pt x="8" y="12"/>
                      <a:pt x="8" y="16"/>
                    </a:cubicBezTo>
                    <a:cubicBezTo>
                      <a:pt x="8" y="21"/>
                      <a:pt x="12" y="25"/>
                      <a:pt x="16" y="25"/>
                    </a:cubicBezTo>
                    <a:cubicBezTo>
                      <a:pt x="21" y="25"/>
                      <a:pt x="25" y="21"/>
                      <a:pt x="25" y="16"/>
                    </a:cubicBezTo>
                    <a:cubicBezTo>
                      <a:pt x="25" y="12"/>
                      <a:pt x="21" y="8"/>
                      <a:pt x="16" y="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26" name="Freeform 90"/>
              <p:cNvSpPr>
                <a:spLocks/>
              </p:cNvSpPr>
              <p:nvPr/>
            </p:nvSpPr>
            <p:spPr bwMode="auto">
              <a:xfrm>
                <a:off x="1869111" y="3570169"/>
                <a:ext cx="41790" cy="13458"/>
              </a:xfrm>
              <a:custGeom>
                <a:avLst/>
                <a:gdLst>
                  <a:gd name="T0" fmla="*/ 21 w 25"/>
                  <a:gd name="T1" fmla="*/ 8 h 8"/>
                  <a:gd name="T2" fmla="*/ 4 w 25"/>
                  <a:gd name="T3" fmla="*/ 8 h 8"/>
                  <a:gd name="T4" fmla="*/ 0 w 25"/>
                  <a:gd name="T5" fmla="*/ 4 h 8"/>
                  <a:gd name="T6" fmla="*/ 4 w 25"/>
                  <a:gd name="T7" fmla="*/ 0 h 8"/>
                  <a:gd name="T8" fmla="*/ 21 w 25"/>
                  <a:gd name="T9" fmla="*/ 0 h 8"/>
                  <a:gd name="T10" fmla="*/ 25 w 25"/>
                  <a:gd name="T11" fmla="*/ 4 h 8"/>
                  <a:gd name="T12" fmla="*/ 21 w 25"/>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5" h="8">
                    <a:moveTo>
                      <a:pt x="21" y="8"/>
                    </a:moveTo>
                    <a:cubicBezTo>
                      <a:pt x="4" y="8"/>
                      <a:pt x="4" y="8"/>
                      <a:pt x="4" y="8"/>
                    </a:cubicBezTo>
                    <a:cubicBezTo>
                      <a:pt x="2" y="8"/>
                      <a:pt x="0" y="6"/>
                      <a:pt x="0" y="4"/>
                    </a:cubicBezTo>
                    <a:cubicBezTo>
                      <a:pt x="0" y="1"/>
                      <a:pt x="2" y="0"/>
                      <a:pt x="4" y="0"/>
                    </a:cubicBezTo>
                    <a:cubicBezTo>
                      <a:pt x="21" y="0"/>
                      <a:pt x="21" y="0"/>
                      <a:pt x="21" y="0"/>
                    </a:cubicBezTo>
                    <a:cubicBezTo>
                      <a:pt x="23" y="0"/>
                      <a:pt x="25" y="1"/>
                      <a:pt x="25" y="4"/>
                    </a:cubicBezTo>
                    <a:cubicBezTo>
                      <a:pt x="25" y="6"/>
                      <a:pt x="23" y="8"/>
                      <a:pt x="21" y="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27" name="Freeform 91"/>
              <p:cNvSpPr>
                <a:spLocks/>
              </p:cNvSpPr>
              <p:nvPr/>
            </p:nvSpPr>
            <p:spPr bwMode="auto">
              <a:xfrm>
                <a:off x="1855653" y="3541837"/>
                <a:ext cx="68706" cy="13458"/>
              </a:xfrm>
              <a:custGeom>
                <a:avLst/>
                <a:gdLst>
                  <a:gd name="T0" fmla="*/ 37 w 41"/>
                  <a:gd name="T1" fmla="*/ 8 h 8"/>
                  <a:gd name="T2" fmla="*/ 4 w 41"/>
                  <a:gd name="T3" fmla="*/ 8 h 8"/>
                  <a:gd name="T4" fmla="*/ 0 w 41"/>
                  <a:gd name="T5" fmla="*/ 4 h 8"/>
                  <a:gd name="T6" fmla="*/ 4 w 41"/>
                  <a:gd name="T7" fmla="*/ 0 h 8"/>
                  <a:gd name="T8" fmla="*/ 37 w 41"/>
                  <a:gd name="T9" fmla="*/ 0 h 8"/>
                  <a:gd name="T10" fmla="*/ 41 w 41"/>
                  <a:gd name="T11" fmla="*/ 4 h 8"/>
                  <a:gd name="T12" fmla="*/ 37 w 41"/>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1" h="8">
                    <a:moveTo>
                      <a:pt x="37" y="8"/>
                    </a:moveTo>
                    <a:cubicBezTo>
                      <a:pt x="4" y="8"/>
                      <a:pt x="4" y="8"/>
                      <a:pt x="4" y="8"/>
                    </a:cubicBezTo>
                    <a:cubicBezTo>
                      <a:pt x="2" y="8"/>
                      <a:pt x="0" y="7"/>
                      <a:pt x="0" y="4"/>
                    </a:cubicBezTo>
                    <a:cubicBezTo>
                      <a:pt x="0" y="2"/>
                      <a:pt x="2" y="0"/>
                      <a:pt x="4" y="0"/>
                    </a:cubicBezTo>
                    <a:cubicBezTo>
                      <a:pt x="37" y="0"/>
                      <a:pt x="37" y="0"/>
                      <a:pt x="37" y="0"/>
                    </a:cubicBezTo>
                    <a:cubicBezTo>
                      <a:pt x="40" y="0"/>
                      <a:pt x="41" y="2"/>
                      <a:pt x="41" y="4"/>
                    </a:cubicBezTo>
                    <a:cubicBezTo>
                      <a:pt x="41" y="7"/>
                      <a:pt x="40" y="8"/>
                      <a:pt x="37" y="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28" name="Freeform 92"/>
              <p:cNvSpPr>
                <a:spLocks noEditPoints="1"/>
              </p:cNvSpPr>
              <p:nvPr/>
            </p:nvSpPr>
            <p:spPr bwMode="auto">
              <a:xfrm>
                <a:off x="1808905" y="3424258"/>
                <a:ext cx="162202" cy="82163"/>
              </a:xfrm>
              <a:custGeom>
                <a:avLst/>
                <a:gdLst>
                  <a:gd name="T0" fmla="*/ 89 w 97"/>
                  <a:gd name="T1" fmla="*/ 49 h 49"/>
                  <a:gd name="T2" fmla="*/ 9 w 97"/>
                  <a:gd name="T3" fmla="*/ 49 h 49"/>
                  <a:gd name="T4" fmla="*/ 2 w 97"/>
                  <a:gd name="T5" fmla="*/ 46 h 49"/>
                  <a:gd name="T6" fmla="*/ 1 w 97"/>
                  <a:gd name="T7" fmla="*/ 39 h 49"/>
                  <a:gd name="T8" fmla="*/ 11 w 97"/>
                  <a:gd name="T9" fmla="*/ 6 h 49"/>
                  <a:gd name="T10" fmla="*/ 19 w 97"/>
                  <a:gd name="T11" fmla="*/ 0 h 49"/>
                  <a:gd name="T12" fmla="*/ 79 w 97"/>
                  <a:gd name="T13" fmla="*/ 0 h 49"/>
                  <a:gd name="T14" fmla="*/ 87 w 97"/>
                  <a:gd name="T15" fmla="*/ 6 h 49"/>
                  <a:gd name="T16" fmla="*/ 97 w 97"/>
                  <a:gd name="T17" fmla="*/ 39 h 49"/>
                  <a:gd name="T18" fmla="*/ 95 w 97"/>
                  <a:gd name="T19" fmla="*/ 46 h 49"/>
                  <a:gd name="T20" fmla="*/ 89 w 97"/>
                  <a:gd name="T21" fmla="*/ 49 h 49"/>
                  <a:gd name="T22" fmla="*/ 19 w 97"/>
                  <a:gd name="T23" fmla="*/ 8 h 49"/>
                  <a:gd name="T24" fmla="*/ 9 w 97"/>
                  <a:gd name="T25" fmla="*/ 41 h 49"/>
                  <a:gd name="T26" fmla="*/ 89 w 97"/>
                  <a:gd name="T27" fmla="*/ 41 h 49"/>
                  <a:gd name="T28" fmla="*/ 79 w 97"/>
                  <a:gd name="T29" fmla="*/ 8 h 49"/>
                  <a:gd name="T30" fmla="*/ 19 w 97"/>
                  <a:gd name="T31"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7" h="49">
                    <a:moveTo>
                      <a:pt x="89" y="49"/>
                    </a:moveTo>
                    <a:cubicBezTo>
                      <a:pt x="9" y="49"/>
                      <a:pt x="9" y="49"/>
                      <a:pt x="9" y="49"/>
                    </a:cubicBezTo>
                    <a:cubicBezTo>
                      <a:pt x="6" y="49"/>
                      <a:pt x="4" y="48"/>
                      <a:pt x="2" y="46"/>
                    </a:cubicBezTo>
                    <a:cubicBezTo>
                      <a:pt x="1" y="44"/>
                      <a:pt x="0" y="41"/>
                      <a:pt x="1" y="39"/>
                    </a:cubicBezTo>
                    <a:cubicBezTo>
                      <a:pt x="11" y="6"/>
                      <a:pt x="11" y="6"/>
                      <a:pt x="11" y="6"/>
                    </a:cubicBezTo>
                    <a:cubicBezTo>
                      <a:pt x="12" y="2"/>
                      <a:pt x="15" y="0"/>
                      <a:pt x="19" y="0"/>
                    </a:cubicBezTo>
                    <a:cubicBezTo>
                      <a:pt x="79" y="0"/>
                      <a:pt x="79" y="0"/>
                      <a:pt x="79" y="0"/>
                    </a:cubicBezTo>
                    <a:cubicBezTo>
                      <a:pt x="83" y="0"/>
                      <a:pt x="86" y="2"/>
                      <a:pt x="87" y="6"/>
                    </a:cubicBezTo>
                    <a:cubicBezTo>
                      <a:pt x="97" y="39"/>
                      <a:pt x="97" y="39"/>
                      <a:pt x="97" y="39"/>
                    </a:cubicBezTo>
                    <a:cubicBezTo>
                      <a:pt x="97" y="41"/>
                      <a:pt x="97" y="44"/>
                      <a:pt x="95" y="46"/>
                    </a:cubicBezTo>
                    <a:cubicBezTo>
                      <a:pt x="94" y="48"/>
                      <a:pt x="91" y="49"/>
                      <a:pt x="89" y="49"/>
                    </a:cubicBezTo>
                    <a:moveTo>
                      <a:pt x="19" y="8"/>
                    </a:moveTo>
                    <a:cubicBezTo>
                      <a:pt x="9" y="41"/>
                      <a:pt x="9" y="41"/>
                      <a:pt x="9" y="41"/>
                    </a:cubicBezTo>
                    <a:cubicBezTo>
                      <a:pt x="89" y="41"/>
                      <a:pt x="89" y="41"/>
                      <a:pt x="89" y="41"/>
                    </a:cubicBezTo>
                    <a:cubicBezTo>
                      <a:pt x="79" y="8"/>
                      <a:pt x="79" y="8"/>
                      <a:pt x="79" y="8"/>
                    </a:cubicBezTo>
                    <a:lnTo>
                      <a:pt x="19"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29" name="Freeform 93"/>
              <p:cNvSpPr>
                <a:spLocks noEditPoints="1"/>
              </p:cNvSpPr>
              <p:nvPr/>
            </p:nvSpPr>
            <p:spPr bwMode="auto">
              <a:xfrm>
                <a:off x="2034854" y="3638875"/>
                <a:ext cx="97038" cy="41790"/>
              </a:xfrm>
              <a:custGeom>
                <a:avLst/>
                <a:gdLst>
                  <a:gd name="T0" fmla="*/ 54 w 58"/>
                  <a:gd name="T1" fmla="*/ 25 h 25"/>
                  <a:gd name="T2" fmla="*/ 5 w 58"/>
                  <a:gd name="T3" fmla="*/ 25 h 25"/>
                  <a:gd name="T4" fmla="*/ 0 w 58"/>
                  <a:gd name="T5" fmla="*/ 21 h 25"/>
                  <a:gd name="T6" fmla="*/ 0 w 58"/>
                  <a:gd name="T7" fmla="*/ 4 h 25"/>
                  <a:gd name="T8" fmla="*/ 5 w 58"/>
                  <a:gd name="T9" fmla="*/ 0 h 25"/>
                  <a:gd name="T10" fmla="*/ 54 w 58"/>
                  <a:gd name="T11" fmla="*/ 0 h 25"/>
                  <a:gd name="T12" fmla="*/ 58 w 58"/>
                  <a:gd name="T13" fmla="*/ 4 h 25"/>
                  <a:gd name="T14" fmla="*/ 58 w 58"/>
                  <a:gd name="T15" fmla="*/ 21 h 25"/>
                  <a:gd name="T16" fmla="*/ 54 w 58"/>
                  <a:gd name="T17" fmla="*/ 25 h 25"/>
                  <a:gd name="T18" fmla="*/ 9 w 58"/>
                  <a:gd name="T19" fmla="*/ 16 h 25"/>
                  <a:gd name="T20" fmla="*/ 50 w 58"/>
                  <a:gd name="T21" fmla="*/ 16 h 25"/>
                  <a:gd name="T22" fmla="*/ 50 w 58"/>
                  <a:gd name="T23" fmla="*/ 8 h 25"/>
                  <a:gd name="T24" fmla="*/ 9 w 58"/>
                  <a:gd name="T25" fmla="*/ 8 h 25"/>
                  <a:gd name="T26" fmla="*/ 9 w 58"/>
                  <a:gd name="T2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25">
                    <a:moveTo>
                      <a:pt x="54" y="25"/>
                    </a:moveTo>
                    <a:cubicBezTo>
                      <a:pt x="5" y="25"/>
                      <a:pt x="5" y="25"/>
                      <a:pt x="5" y="25"/>
                    </a:cubicBezTo>
                    <a:cubicBezTo>
                      <a:pt x="2" y="25"/>
                      <a:pt x="0" y="23"/>
                      <a:pt x="0" y="21"/>
                    </a:cubicBezTo>
                    <a:cubicBezTo>
                      <a:pt x="0" y="4"/>
                      <a:pt x="0" y="4"/>
                      <a:pt x="0" y="4"/>
                    </a:cubicBezTo>
                    <a:cubicBezTo>
                      <a:pt x="0" y="2"/>
                      <a:pt x="2" y="0"/>
                      <a:pt x="5" y="0"/>
                    </a:cubicBezTo>
                    <a:cubicBezTo>
                      <a:pt x="54" y="0"/>
                      <a:pt x="54" y="0"/>
                      <a:pt x="54" y="0"/>
                    </a:cubicBezTo>
                    <a:cubicBezTo>
                      <a:pt x="57" y="0"/>
                      <a:pt x="58" y="2"/>
                      <a:pt x="58" y="4"/>
                    </a:cubicBezTo>
                    <a:cubicBezTo>
                      <a:pt x="58" y="21"/>
                      <a:pt x="58" y="21"/>
                      <a:pt x="58" y="21"/>
                    </a:cubicBezTo>
                    <a:cubicBezTo>
                      <a:pt x="58" y="23"/>
                      <a:pt x="57" y="25"/>
                      <a:pt x="54" y="25"/>
                    </a:cubicBezTo>
                    <a:moveTo>
                      <a:pt x="9" y="16"/>
                    </a:moveTo>
                    <a:cubicBezTo>
                      <a:pt x="50" y="16"/>
                      <a:pt x="50" y="16"/>
                      <a:pt x="50" y="16"/>
                    </a:cubicBezTo>
                    <a:cubicBezTo>
                      <a:pt x="50" y="8"/>
                      <a:pt x="50" y="8"/>
                      <a:pt x="50" y="8"/>
                    </a:cubicBezTo>
                    <a:cubicBezTo>
                      <a:pt x="9" y="8"/>
                      <a:pt x="9" y="8"/>
                      <a:pt x="9" y="8"/>
                    </a:cubicBezTo>
                    <a:lnTo>
                      <a:pt x="9"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30" name="Freeform 94"/>
              <p:cNvSpPr>
                <a:spLocks noEditPoints="1"/>
              </p:cNvSpPr>
              <p:nvPr/>
            </p:nvSpPr>
            <p:spPr bwMode="auto">
              <a:xfrm>
                <a:off x="2056103" y="3609834"/>
                <a:ext cx="55248" cy="42498"/>
              </a:xfrm>
              <a:custGeom>
                <a:avLst/>
                <a:gdLst>
                  <a:gd name="T0" fmla="*/ 29 w 33"/>
                  <a:gd name="T1" fmla="*/ 25 h 25"/>
                  <a:gd name="T2" fmla="*/ 4 w 33"/>
                  <a:gd name="T3" fmla="*/ 25 h 25"/>
                  <a:gd name="T4" fmla="*/ 0 w 33"/>
                  <a:gd name="T5" fmla="*/ 21 h 25"/>
                  <a:gd name="T6" fmla="*/ 0 w 33"/>
                  <a:gd name="T7" fmla="*/ 5 h 25"/>
                  <a:gd name="T8" fmla="*/ 4 w 33"/>
                  <a:gd name="T9" fmla="*/ 0 h 25"/>
                  <a:gd name="T10" fmla="*/ 29 w 33"/>
                  <a:gd name="T11" fmla="*/ 0 h 25"/>
                  <a:gd name="T12" fmla="*/ 33 w 33"/>
                  <a:gd name="T13" fmla="*/ 5 h 25"/>
                  <a:gd name="T14" fmla="*/ 33 w 33"/>
                  <a:gd name="T15" fmla="*/ 21 h 25"/>
                  <a:gd name="T16" fmla="*/ 29 w 33"/>
                  <a:gd name="T17" fmla="*/ 25 h 25"/>
                  <a:gd name="T18" fmla="*/ 8 w 33"/>
                  <a:gd name="T19" fmla="*/ 17 h 25"/>
                  <a:gd name="T20" fmla="*/ 25 w 33"/>
                  <a:gd name="T21" fmla="*/ 17 h 25"/>
                  <a:gd name="T22" fmla="*/ 25 w 33"/>
                  <a:gd name="T23" fmla="*/ 9 h 25"/>
                  <a:gd name="T24" fmla="*/ 8 w 33"/>
                  <a:gd name="T25" fmla="*/ 9 h 25"/>
                  <a:gd name="T26" fmla="*/ 8 w 33"/>
                  <a:gd name="T2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29" y="25"/>
                    </a:moveTo>
                    <a:cubicBezTo>
                      <a:pt x="4" y="25"/>
                      <a:pt x="4" y="25"/>
                      <a:pt x="4" y="25"/>
                    </a:cubicBezTo>
                    <a:cubicBezTo>
                      <a:pt x="1" y="25"/>
                      <a:pt x="0" y="24"/>
                      <a:pt x="0" y="21"/>
                    </a:cubicBezTo>
                    <a:cubicBezTo>
                      <a:pt x="0" y="5"/>
                      <a:pt x="0" y="5"/>
                      <a:pt x="0" y="5"/>
                    </a:cubicBezTo>
                    <a:cubicBezTo>
                      <a:pt x="0" y="2"/>
                      <a:pt x="1" y="0"/>
                      <a:pt x="4" y="0"/>
                    </a:cubicBezTo>
                    <a:cubicBezTo>
                      <a:pt x="29" y="0"/>
                      <a:pt x="29" y="0"/>
                      <a:pt x="29" y="0"/>
                    </a:cubicBezTo>
                    <a:cubicBezTo>
                      <a:pt x="31" y="0"/>
                      <a:pt x="33" y="2"/>
                      <a:pt x="33" y="5"/>
                    </a:cubicBezTo>
                    <a:cubicBezTo>
                      <a:pt x="33" y="21"/>
                      <a:pt x="33" y="21"/>
                      <a:pt x="33" y="21"/>
                    </a:cubicBezTo>
                    <a:cubicBezTo>
                      <a:pt x="33" y="24"/>
                      <a:pt x="31" y="25"/>
                      <a:pt x="29" y="25"/>
                    </a:cubicBezTo>
                    <a:moveTo>
                      <a:pt x="8" y="17"/>
                    </a:moveTo>
                    <a:cubicBezTo>
                      <a:pt x="25" y="17"/>
                      <a:pt x="25" y="17"/>
                      <a:pt x="25" y="17"/>
                    </a:cubicBezTo>
                    <a:cubicBezTo>
                      <a:pt x="25" y="9"/>
                      <a:pt x="25" y="9"/>
                      <a:pt x="25" y="9"/>
                    </a:cubicBezTo>
                    <a:cubicBezTo>
                      <a:pt x="8" y="9"/>
                      <a:pt x="8" y="9"/>
                      <a:pt x="8" y="9"/>
                    </a:cubicBezTo>
                    <a:lnTo>
                      <a:pt x="8"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31" name="Freeform 95"/>
              <p:cNvSpPr>
                <a:spLocks/>
              </p:cNvSpPr>
              <p:nvPr/>
            </p:nvSpPr>
            <p:spPr bwMode="auto">
              <a:xfrm>
                <a:off x="2076644" y="3382468"/>
                <a:ext cx="13458" cy="242949"/>
              </a:xfrm>
              <a:custGeom>
                <a:avLst/>
                <a:gdLst>
                  <a:gd name="T0" fmla="*/ 4 w 8"/>
                  <a:gd name="T1" fmla="*/ 145 h 145"/>
                  <a:gd name="T2" fmla="*/ 0 w 8"/>
                  <a:gd name="T3" fmla="*/ 141 h 145"/>
                  <a:gd name="T4" fmla="*/ 0 w 8"/>
                  <a:gd name="T5" fmla="*/ 4 h 145"/>
                  <a:gd name="T6" fmla="*/ 4 w 8"/>
                  <a:gd name="T7" fmla="*/ 0 h 145"/>
                  <a:gd name="T8" fmla="*/ 8 w 8"/>
                  <a:gd name="T9" fmla="*/ 4 h 145"/>
                  <a:gd name="T10" fmla="*/ 8 w 8"/>
                  <a:gd name="T11" fmla="*/ 141 h 145"/>
                  <a:gd name="T12" fmla="*/ 4 w 8"/>
                  <a:gd name="T13" fmla="*/ 145 h 145"/>
                </a:gdLst>
                <a:ahLst/>
                <a:cxnLst>
                  <a:cxn ang="0">
                    <a:pos x="T0" y="T1"/>
                  </a:cxn>
                  <a:cxn ang="0">
                    <a:pos x="T2" y="T3"/>
                  </a:cxn>
                  <a:cxn ang="0">
                    <a:pos x="T4" y="T5"/>
                  </a:cxn>
                  <a:cxn ang="0">
                    <a:pos x="T6" y="T7"/>
                  </a:cxn>
                  <a:cxn ang="0">
                    <a:pos x="T8" y="T9"/>
                  </a:cxn>
                  <a:cxn ang="0">
                    <a:pos x="T10" y="T11"/>
                  </a:cxn>
                  <a:cxn ang="0">
                    <a:pos x="T12" y="T13"/>
                  </a:cxn>
                </a:cxnLst>
                <a:rect l="0" t="0" r="r" b="b"/>
                <a:pathLst>
                  <a:path w="8" h="145">
                    <a:moveTo>
                      <a:pt x="4" y="145"/>
                    </a:moveTo>
                    <a:cubicBezTo>
                      <a:pt x="2" y="145"/>
                      <a:pt x="0" y="143"/>
                      <a:pt x="0" y="141"/>
                    </a:cubicBezTo>
                    <a:cubicBezTo>
                      <a:pt x="0" y="4"/>
                      <a:pt x="0" y="4"/>
                      <a:pt x="0" y="4"/>
                    </a:cubicBezTo>
                    <a:cubicBezTo>
                      <a:pt x="0" y="2"/>
                      <a:pt x="2" y="0"/>
                      <a:pt x="4" y="0"/>
                    </a:cubicBezTo>
                    <a:cubicBezTo>
                      <a:pt x="7" y="0"/>
                      <a:pt x="8" y="2"/>
                      <a:pt x="8" y="4"/>
                    </a:cubicBezTo>
                    <a:cubicBezTo>
                      <a:pt x="8" y="141"/>
                      <a:pt x="8" y="141"/>
                      <a:pt x="8" y="141"/>
                    </a:cubicBezTo>
                    <a:cubicBezTo>
                      <a:pt x="8" y="143"/>
                      <a:pt x="7" y="145"/>
                      <a:pt x="4" y="14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32" name="Freeform 96"/>
              <p:cNvSpPr>
                <a:spLocks noEditPoints="1"/>
              </p:cNvSpPr>
              <p:nvPr/>
            </p:nvSpPr>
            <p:spPr bwMode="auto">
              <a:xfrm>
                <a:off x="2021396" y="3265598"/>
                <a:ext cx="131745" cy="130328"/>
              </a:xfrm>
              <a:custGeom>
                <a:avLst/>
                <a:gdLst>
                  <a:gd name="T0" fmla="*/ 75 w 79"/>
                  <a:gd name="T1" fmla="*/ 78 h 78"/>
                  <a:gd name="T2" fmla="*/ 4 w 79"/>
                  <a:gd name="T3" fmla="*/ 78 h 78"/>
                  <a:gd name="T4" fmla="*/ 0 w 79"/>
                  <a:gd name="T5" fmla="*/ 74 h 78"/>
                  <a:gd name="T6" fmla="*/ 0 w 79"/>
                  <a:gd name="T7" fmla="*/ 4 h 78"/>
                  <a:gd name="T8" fmla="*/ 4 w 79"/>
                  <a:gd name="T9" fmla="*/ 0 h 78"/>
                  <a:gd name="T10" fmla="*/ 75 w 79"/>
                  <a:gd name="T11" fmla="*/ 0 h 78"/>
                  <a:gd name="T12" fmla="*/ 79 w 79"/>
                  <a:gd name="T13" fmla="*/ 4 h 78"/>
                  <a:gd name="T14" fmla="*/ 79 w 79"/>
                  <a:gd name="T15" fmla="*/ 74 h 78"/>
                  <a:gd name="T16" fmla="*/ 75 w 79"/>
                  <a:gd name="T17" fmla="*/ 78 h 78"/>
                  <a:gd name="T18" fmla="*/ 8 w 79"/>
                  <a:gd name="T19" fmla="*/ 70 h 78"/>
                  <a:gd name="T20" fmla="*/ 70 w 79"/>
                  <a:gd name="T21" fmla="*/ 70 h 78"/>
                  <a:gd name="T22" fmla="*/ 70 w 79"/>
                  <a:gd name="T23" fmla="*/ 8 h 78"/>
                  <a:gd name="T24" fmla="*/ 8 w 79"/>
                  <a:gd name="T25" fmla="*/ 8 h 78"/>
                  <a:gd name="T26" fmla="*/ 8 w 79"/>
                  <a:gd name="T27"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78">
                    <a:moveTo>
                      <a:pt x="75" y="78"/>
                    </a:moveTo>
                    <a:cubicBezTo>
                      <a:pt x="4" y="78"/>
                      <a:pt x="4" y="78"/>
                      <a:pt x="4" y="78"/>
                    </a:cubicBezTo>
                    <a:cubicBezTo>
                      <a:pt x="2" y="78"/>
                      <a:pt x="0" y="77"/>
                      <a:pt x="0" y="74"/>
                    </a:cubicBezTo>
                    <a:cubicBezTo>
                      <a:pt x="0" y="4"/>
                      <a:pt x="0" y="4"/>
                      <a:pt x="0" y="4"/>
                    </a:cubicBezTo>
                    <a:cubicBezTo>
                      <a:pt x="0" y="1"/>
                      <a:pt x="2" y="0"/>
                      <a:pt x="4" y="0"/>
                    </a:cubicBezTo>
                    <a:cubicBezTo>
                      <a:pt x="75" y="0"/>
                      <a:pt x="75" y="0"/>
                      <a:pt x="75" y="0"/>
                    </a:cubicBezTo>
                    <a:cubicBezTo>
                      <a:pt x="77" y="0"/>
                      <a:pt x="79" y="1"/>
                      <a:pt x="79" y="4"/>
                    </a:cubicBezTo>
                    <a:cubicBezTo>
                      <a:pt x="79" y="74"/>
                      <a:pt x="79" y="74"/>
                      <a:pt x="79" y="74"/>
                    </a:cubicBezTo>
                    <a:cubicBezTo>
                      <a:pt x="79" y="77"/>
                      <a:pt x="77" y="78"/>
                      <a:pt x="75" y="78"/>
                    </a:cubicBezTo>
                    <a:moveTo>
                      <a:pt x="8" y="70"/>
                    </a:moveTo>
                    <a:cubicBezTo>
                      <a:pt x="70" y="70"/>
                      <a:pt x="70" y="70"/>
                      <a:pt x="70" y="70"/>
                    </a:cubicBezTo>
                    <a:cubicBezTo>
                      <a:pt x="70" y="8"/>
                      <a:pt x="70" y="8"/>
                      <a:pt x="70" y="8"/>
                    </a:cubicBezTo>
                    <a:cubicBezTo>
                      <a:pt x="8" y="8"/>
                      <a:pt x="8" y="8"/>
                      <a:pt x="8" y="8"/>
                    </a:cubicBezTo>
                    <a:lnTo>
                      <a:pt x="8"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33" name="Freeform 97"/>
              <p:cNvSpPr>
                <a:spLocks/>
              </p:cNvSpPr>
              <p:nvPr/>
            </p:nvSpPr>
            <p:spPr bwMode="auto">
              <a:xfrm>
                <a:off x="2069561" y="3292514"/>
                <a:ext cx="13458" cy="76497"/>
              </a:xfrm>
              <a:custGeom>
                <a:avLst/>
                <a:gdLst>
                  <a:gd name="T0" fmla="*/ 4 w 8"/>
                  <a:gd name="T1" fmla="*/ 46 h 46"/>
                  <a:gd name="T2" fmla="*/ 0 w 8"/>
                  <a:gd name="T3" fmla="*/ 42 h 46"/>
                  <a:gd name="T4" fmla="*/ 0 w 8"/>
                  <a:gd name="T5" fmla="*/ 4 h 46"/>
                  <a:gd name="T6" fmla="*/ 4 w 8"/>
                  <a:gd name="T7" fmla="*/ 0 h 46"/>
                  <a:gd name="T8" fmla="*/ 8 w 8"/>
                  <a:gd name="T9" fmla="*/ 4 h 46"/>
                  <a:gd name="T10" fmla="*/ 8 w 8"/>
                  <a:gd name="T11" fmla="*/ 42 h 46"/>
                  <a:gd name="T12" fmla="*/ 4 w 8"/>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8" h="46">
                    <a:moveTo>
                      <a:pt x="4" y="46"/>
                    </a:moveTo>
                    <a:cubicBezTo>
                      <a:pt x="2" y="46"/>
                      <a:pt x="0" y="44"/>
                      <a:pt x="0" y="42"/>
                    </a:cubicBezTo>
                    <a:cubicBezTo>
                      <a:pt x="0" y="4"/>
                      <a:pt x="0" y="4"/>
                      <a:pt x="0" y="4"/>
                    </a:cubicBezTo>
                    <a:cubicBezTo>
                      <a:pt x="0" y="2"/>
                      <a:pt x="2" y="0"/>
                      <a:pt x="4" y="0"/>
                    </a:cubicBezTo>
                    <a:cubicBezTo>
                      <a:pt x="7" y="0"/>
                      <a:pt x="8" y="2"/>
                      <a:pt x="8" y="4"/>
                    </a:cubicBezTo>
                    <a:cubicBezTo>
                      <a:pt x="8" y="42"/>
                      <a:pt x="8" y="42"/>
                      <a:pt x="8" y="42"/>
                    </a:cubicBezTo>
                    <a:cubicBezTo>
                      <a:pt x="8" y="44"/>
                      <a:pt x="7" y="46"/>
                      <a:pt x="4" y="4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34" name="Freeform 98"/>
              <p:cNvSpPr>
                <a:spLocks noEditPoints="1"/>
              </p:cNvSpPr>
              <p:nvPr/>
            </p:nvSpPr>
            <p:spPr bwMode="auto">
              <a:xfrm>
                <a:off x="2069561" y="3292514"/>
                <a:ext cx="48873" cy="55248"/>
              </a:xfrm>
              <a:custGeom>
                <a:avLst/>
                <a:gdLst>
                  <a:gd name="T0" fmla="*/ 12 w 29"/>
                  <a:gd name="T1" fmla="*/ 33 h 33"/>
                  <a:gd name="T2" fmla="*/ 4 w 29"/>
                  <a:gd name="T3" fmla="*/ 33 h 33"/>
                  <a:gd name="T4" fmla="*/ 0 w 29"/>
                  <a:gd name="T5" fmla="*/ 29 h 33"/>
                  <a:gd name="T6" fmla="*/ 0 w 29"/>
                  <a:gd name="T7" fmla="*/ 4 h 33"/>
                  <a:gd name="T8" fmla="*/ 4 w 29"/>
                  <a:gd name="T9" fmla="*/ 0 h 33"/>
                  <a:gd name="T10" fmla="*/ 12 w 29"/>
                  <a:gd name="T11" fmla="*/ 0 h 33"/>
                  <a:gd name="T12" fmla="*/ 29 w 29"/>
                  <a:gd name="T13" fmla="*/ 17 h 33"/>
                  <a:gd name="T14" fmla="*/ 12 w 29"/>
                  <a:gd name="T15" fmla="*/ 33 h 33"/>
                  <a:gd name="T16" fmla="*/ 8 w 29"/>
                  <a:gd name="T17" fmla="*/ 25 h 33"/>
                  <a:gd name="T18" fmla="*/ 12 w 29"/>
                  <a:gd name="T19" fmla="*/ 25 h 33"/>
                  <a:gd name="T20" fmla="*/ 21 w 29"/>
                  <a:gd name="T21" fmla="*/ 17 h 33"/>
                  <a:gd name="T22" fmla="*/ 12 w 29"/>
                  <a:gd name="T23" fmla="*/ 9 h 33"/>
                  <a:gd name="T24" fmla="*/ 8 w 29"/>
                  <a:gd name="T25" fmla="*/ 9 h 33"/>
                  <a:gd name="T26" fmla="*/ 8 w 29"/>
                  <a:gd name="T2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33">
                    <a:moveTo>
                      <a:pt x="12" y="33"/>
                    </a:moveTo>
                    <a:cubicBezTo>
                      <a:pt x="4" y="33"/>
                      <a:pt x="4" y="33"/>
                      <a:pt x="4" y="33"/>
                    </a:cubicBezTo>
                    <a:cubicBezTo>
                      <a:pt x="2" y="33"/>
                      <a:pt x="0" y="32"/>
                      <a:pt x="0" y="29"/>
                    </a:cubicBezTo>
                    <a:cubicBezTo>
                      <a:pt x="0" y="4"/>
                      <a:pt x="0" y="4"/>
                      <a:pt x="0" y="4"/>
                    </a:cubicBezTo>
                    <a:cubicBezTo>
                      <a:pt x="0" y="2"/>
                      <a:pt x="2" y="0"/>
                      <a:pt x="4" y="0"/>
                    </a:cubicBezTo>
                    <a:cubicBezTo>
                      <a:pt x="12" y="0"/>
                      <a:pt x="12" y="0"/>
                      <a:pt x="12" y="0"/>
                    </a:cubicBezTo>
                    <a:cubicBezTo>
                      <a:pt x="22" y="0"/>
                      <a:pt x="29" y="8"/>
                      <a:pt x="29" y="17"/>
                    </a:cubicBezTo>
                    <a:cubicBezTo>
                      <a:pt x="29" y="26"/>
                      <a:pt x="22" y="33"/>
                      <a:pt x="12" y="33"/>
                    </a:cubicBezTo>
                    <a:moveTo>
                      <a:pt x="8" y="25"/>
                    </a:moveTo>
                    <a:cubicBezTo>
                      <a:pt x="12" y="25"/>
                      <a:pt x="12" y="25"/>
                      <a:pt x="12" y="25"/>
                    </a:cubicBezTo>
                    <a:cubicBezTo>
                      <a:pt x="17" y="25"/>
                      <a:pt x="21" y="21"/>
                      <a:pt x="21" y="17"/>
                    </a:cubicBezTo>
                    <a:cubicBezTo>
                      <a:pt x="21" y="12"/>
                      <a:pt x="17" y="9"/>
                      <a:pt x="12" y="9"/>
                    </a:cubicBezTo>
                    <a:cubicBezTo>
                      <a:pt x="8" y="9"/>
                      <a:pt x="8" y="9"/>
                      <a:pt x="8" y="9"/>
                    </a:cubicBezTo>
                    <a:lnTo>
                      <a:pt x="8"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grpSp>
        <p:nvGrpSpPr>
          <p:cNvPr id="17" name="Group 335"/>
          <p:cNvGrpSpPr/>
          <p:nvPr/>
        </p:nvGrpSpPr>
        <p:grpSpPr>
          <a:xfrm>
            <a:off x="597912" y="2200775"/>
            <a:ext cx="585870" cy="585871"/>
            <a:chOff x="6770256" y="3119460"/>
            <a:chExt cx="770091" cy="770092"/>
          </a:xfrm>
          <a:solidFill>
            <a:srgbClr val="FFFFFF"/>
          </a:solidFill>
        </p:grpSpPr>
        <p:sp>
          <p:nvSpPr>
            <p:cNvPr id="1936" name="Oval 1935"/>
            <p:cNvSpPr/>
            <p:nvPr/>
          </p:nvSpPr>
          <p:spPr>
            <a:xfrm>
              <a:off x="6770256" y="31194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algn="ctr"/>
              <a:endParaRPr lang="en-US" sz="1500" dirty="0">
                <a:solidFill>
                  <a:srgbClr val="FFFFFF"/>
                </a:solidFill>
                <a:latin typeface="+mj-lt"/>
                <a:ea typeface="+mn-ea"/>
              </a:endParaRPr>
            </a:p>
          </p:txBody>
        </p:sp>
        <p:grpSp>
          <p:nvGrpSpPr>
            <p:cNvPr id="18" name="Group 145"/>
            <p:cNvGrpSpPr/>
            <p:nvPr/>
          </p:nvGrpSpPr>
          <p:grpSpPr>
            <a:xfrm>
              <a:off x="6991329" y="3302639"/>
              <a:ext cx="327945" cy="403734"/>
              <a:chOff x="7104188" y="3276931"/>
              <a:chExt cx="327945" cy="403734"/>
            </a:xfrm>
            <a:grpFill/>
          </p:grpSpPr>
          <p:sp>
            <p:nvSpPr>
              <p:cNvPr id="1938" name="Freeform 99"/>
              <p:cNvSpPr>
                <a:spLocks noEditPoints="1"/>
              </p:cNvSpPr>
              <p:nvPr/>
            </p:nvSpPr>
            <p:spPr bwMode="auto">
              <a:xfrm>
                <a:off x="7104188" y="3276931"/>
                <a:ext cx="327945" cy="403734"/>
              </a:xfrm>
              <a:custGeom>
                <a:avLst/>
                <a:gdLst>
                  <a:gd name="T0" fmla="*/ 192 w 196"/>
                  <a:gd name="T1" fmla="*/ 45 h 241"/>
                  <a:gd name="T2" fmla="*/ 188 w 196"/>
                  <a:gd name="T3" fmla="*/ 45 h 241"/>
                  <a:gd name="T4" fmla="*/ 188 w 196"/>
                  <a:gd name="T5" fmla="*/ 38 h 241"/>
                  <a:gd name="T6" fmla="*/ 177 w 196"/>
                  <a:gd name="T7" fmla="*/ 26 h 241"/>
                  <a:gd name="T8" fmla="*/ 135 w 196"/>
                  <a:gd name="T9" fmla="*/ 26 h 241"/>
                  <a:gd name="T10" fmla="*/ 129 w 196"/>
                  <a:gd name="T11" fmla="*/ 8 h 241"/>
                  <a:gd name="T12" fmla="*/ 118 w 196"/>
                  <a:gd name="T13" fmla="*/ 0 h 241"/>
                  <a:gd name="T14" fmla="*/ 77 w 196"/>
                  <a:gd name="T15" fmla="*/ 0 h 241"/>
                  <a:gd name="T16" fmla="*/ 66 w 196"/>
                  <a:gd name="T17" fmla="*/ 8 h 241"/>
                  <a:gd name="T18" fmla="*/ 61 w 196"/>
                  <a:gd name="T19" fmla="*/ 26 h 241"/>
                  <a:gd name="T20" fmla="*/ 19 w 196"/>
                  <a:gd name="T21" fmla="*/ 26 h 241"/>
                  <a:gd name="T22" fmla="*/ 7 w 196"/>
                  <a:gd name="T23" fmla="*/ 38 h 241"/>
                  <a:gd name="T24" fmla="*/ 7 w 196"/>
                  <a:gd name="T25" fmla="*/ 45 h 241"/>
                  <a:gd name="T26" fmla="*/ 4 w 196"/>
                  <a:gd name="T27" fmla="*/ 45 h 241"/>
                  <a:gd name="T28" fmla="*/ 0 w 196"/>
                  <a:gd name="T29" fmla="*/ 49 h 241"/>
                  <a:gd name="T30" fmla="*/ 4 w 196"/>
                  <a:gd name="T31" fmla="*/ 53 h 241"/>
                  <a:gd name="T32" fmla="*/ 11 w 196"/>
                  <a:gd name="T33" fmla="*/ 53 h 241"/>
                  <a:gd name="T34" fmla="*/ 25 w 196"/>
                  <a:gd name="T35" fmla="*/ 224 h 241"/>
                  <a:gd name="T36" fmla="*/ 44 w 196"/>
                  <a:gd name="T37" fmla="*/ 241 h 241"/>
                  <a:gd name="T38" fmla="*/ 152 w 196"/>
                  <a:gd name="T39" fmla="*/ 241 h 241"/>
                  <a:gd name="T40" fmla="*/ 170 w 196"/>
                  <a:gd name="T41" fmla="*/ 224 h 241"/>
                  <a:gd name="T42" fmla="*/ 184 w 196"/>
                  <a:gd name="T43" fmla="*/ 53 h 241"/>
                  <a:gd name="T44" fmla="*/ 192 w 196"/>
                  <a:gd name="T45" fmla="*/ 53 h 241"/>
                  <a:gd name="T46" fmla="*/ 196 w 196"/>
                  <a:gd name="T47" fmla="*/ 49 h 241"/>
                  <a:gd name="T48" fmla="*/ 192 w 196"/>
                  <a:gd name="T49" fmla="*/ 45 h 241"/>
                  <a:gd name="T50" fmla="*/ 74 w 196"/>
                  <a:gd name="T51" fmla="*/ 11 h 241"/>
                  <a:gd name="T52" fmla="*/ 77 w 196"/>
                  <a:gd name="T53" fmla="*/ 8 h 241"/>
                  <a:gd name="T54" fmla="*/ 118 w 196"/>
                  <a:gd name="T55" fmla="*/ 8 h 241"/>
                  <a:gd name="T56" fmla="*/ 122 w 196"/>
                  <a:gd name="T57" fmla="*/ 11 h 241"/>
                  <a:gd name="T58" fmla="*/ 126 w 196"/>
                  <a:gd name="T59" fmla="*/ 26 h 241"/>
                  <a:gd name="T60" fmla="*/ 69 w 196"/>
                  <a:gd name="T61" fmla="*/ 26 h 241"/>
                  <a:gd name="T62" fmla="*/ 74 w 196"/>
                  <a:gd name="T63" fmla="*/ 11 h 241"/>
                  <a:gd name="T64" fmla="*/ 19 w 196"/>
                  <a:gd name="T65" fmla="*/ 34 h 241"/>
                  <a:gd name="T66" fmla="*/ 132 w 196"/>
                  <a:gd name="T67" fmla="*/ 34 h 241"/>
                  <a:gd name="T68" fmla="*/ 132 w 196"/>
                  <a:gd name="T69" fmla="*/ 34 h 241"/>
                  <a:gd name="T70" fmla="*/ 132 w 196"/>
                  <a:gd name="T71" fmla="*/ 34 h 241"/>
                  <a:gd name="T72" fmla="*/ 177 w 196"/>
                  <a:gd name="T73" fmla="*/ 34 h 241"/>
                  <a:gd name="T74" fmla="*/ 180 w 196"/>
                  <a:gd name="T75" fmla="*/ 38 h 241"/>
                  <a:gd name="T76" fmla="*/ 180 w 196"/>
                  <a:gd name="T77" fmla="*/ 45 h 241"/>
                  <a:gd name="T78" fmla="*/ 15 w 196"/>
                  <a:gd name="T79" fmla="*/ 45 h 241"/>
                  <a:gd name="T80" fmla="*/ 15 w 196"/>
                  <a:gd name="T81" fmla="*/ 38 h 241"/>
                  <a:gd name="T82" fmla="*/ 19 w 196"/>
                  <a:gd name="T83" fmla="*/ 34 h 241"/>
                  <a:gd name="T84" fmla="*/ 163 w 196"/>
                  <a:gd name="T85" fmla="*/ 223 h 241"/>
                  <a:gd name="T86" fmla="*/ 152 w 196"/>
                  <a:gd name="T87" fmla="*/ 233 h 241"/>
                  <a:gd name="T88" fmla="*/ 44 w 196"/>
                  <a:gd name="T89" fmla="*/ 233 h 241"/>
                  <a:gd name="T90" fmla="*/ 33 w 196"/>
                  <a:gd name="T91" fmla="*/ 223 h 241"/>
                  <a:gd name="T92" fmla="*/ 19 w 196"/>
                  <a:gd name="T93" fmla="*/ 53 h 241"/>
                  <a:gd name="T94" fmla="*/ 176 w 196"/>
                  <a:gd name="T95" fmla="*/ 53 h 241"/>
                  <a:gd name="T96" fmla="*/ 163 w 196"/>
                  <a:gd name="T97" fmla="*/ 22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241">
                    <a:moveTo>
                      <a:pt x="192" y="45"/>
                    </a:moveTo>
                    <a:cubicBezTo>
                      <a:pt x="188" y="45"/>
                      <a:pt x="188" y="45"/>
                      <a:pt x="188" y="45"/>
                    </a:cubicBezTo>
                    <a:cubicBezTo>
                      <a:pt x="188" y="38"/>
                      <a:pt x="188" y="38"/>
                      <a:pt x="188" y="38"/>
                    </a:cubicBezTo>
                    <a:cubicBezTo>
                      <a:pt x="188" y="32"/>
                      <a:pt x="183" y="26"/>
                      <a:pt x="177" y="26"/>
                    </a:cubicBezTo>
                    <a:cubicBezTo>
                      <a:pt x="135" y="26"/>
                      <a:pt x="135" y="26"/>
                      <a:pt x="135" y="26"/>
                    </a:cubicBezTo>
                    <a:cubicBezTo>
                      <a:pt x="129" y="8"/>
                      <a:pt x="129" y="8"/>
                      <a:pt x="129" y="8"/>
                    </a:cubicBezTo>
                    <a:cubicBezTo>
                      <a:pt x="128" y="4"/>
                      <a:pt x="123" y="0"/>
                      <a:pt x="118" y="0"/>
                    </a:cubicBezTo>
                    <a:cubicBezTo>
                      <a:pt x="77" y="0"/>
                      <a:pt x="77" y="0"/>
                      <a:pt x="77" y="0"/>
                    </a:cubicBezTo>
                    <a:cubicBezTo>
                      <a:pt x="72" y="0"/>
                      <a:pt x="67" y="4"/>
                      <a:pt x="66" y="8"/>
                    </a:cubicBezTo>
                    <a:cubicBezTo>
                      <a:pt x="61" y="26"/>
                      <a:pt x="61" y="26"/>
                      <a:pt x="61" y="26"/>
                    </a:cubicBezTo>
                    <a:cubicBezTo>
                      <a:pt x="19" y="26"/>
                      <a:pt x="19" y="26"/>
                      <a:pt x="19" y="26"/>
                    </a:cubicBezTo>
                    <a:cubicBezTo>
                      <a:pt x="12" y="26"/>
                      <a:pt x="7" y="32"/>
                      <a:pt x="7" y="38"/>
                    </a:cubicBezTo>
                    <a:cubicBezTo>
                      <a:pt x="7" y="45"/>
                      <a:pt x="7" y="45"/>
                      <a:pt x="7" y="45"/>
                    </a:cubicBezTo>
                    <a:cubicBezTo>
                      <a:pt x="4" y="45"/>
                      <a:pt x="4" y="45"/>
                      <a:pt x="4" y="45"/>
                    </a:cubicBezTo>
                    <a:cubicBezTo>
                      <a:pt x="1" y="45"/>
                      <a:pt x="0" y="47"/>
                      <a:pt x="0" y="49"/>
                    </a:cubicBezTo>
                    <a:cubicBezTo>
                      <a:pt x="0" y="51"/>
                      <a:pt x="1" y="53"/>
                      <a:pt x="4" y="53"/>
                    </a:cubicBezTo>
                    <a:cubicBezTo>
                      <a:pt x="11" y="53"/>
                      <a:pt x="11" y="53"/>
                      <a:pt x="11" y="53"/>
                    </a:cubicBezTo>
                    <a:cubicBezTo>
                      <a:pt x="25" y="224"/>
                      <a:pt x="25" y="224"/>
                      <a:pt x="25" y="224"/>
                    </a:cubicBezTo>
                    <a:cubicBezTo>
                      <a:pt x="26" y="234"/>
                      <a:pt x="34" y="241"/>
                      <a:pt x="44" y="241"/>
                    </a:cubicBezTo>
                    <a:cubicBezTo>
                      <a:pt x="152" y="241"/>
                      <a:pt x="152" y="241"/>
                      <a:pt x="152" y="241"/>
                    </a:cubicBezTo>
                    <a:cubicBezTo>
                      <a:pt x="161" y="241"/>
                      <a:pt x="170" y="234"/>
                      <a:pt x="170" y="224"/>
                    </a:cubicBezTo>
                    <a:cubicBezTo>
                      <a:pt x="184" y="53"/>
                      <a:pt x="184" y="53"/>
                      <a:pt x="184" y="53"/>
                    </a:cubicBezTo>
                    <a:cubicBezTo>
                      <a:pt x="192" y="53"/>
                      <a:pt x="192" y="53"/>
                      <a:pt x="192" y="53"/>
                    </a:cubicBezTo>
                    <a:cubicBezTo>
                      <a:pt x="194" y="53"/>
                      <a:pt x="196" y="51"/>
                      <a:pt x="196" y="49"/>
                    </a:cubicBezTo>
                    <a:cubicBezTo>
                      <a:pt x="196" y="47"/>
                      <a:pt x="194" y="45"/>
                      <a:pt x="192" y="45"/>
                    </a:cubicBezTo>
                    <a:moveTo>
                      <a:pt x="74" y="11"/>
                    </a:moveTo>
                    <a:cubicBezTo>
                      <a:pt x="74" y="9"/>
                      <a:pt x="75" y="8"/>
                      <a:pt x="77" y="8"/>
                    </a:cubicBezTo>
                    <a:cubicBezTo>
                      <a:pt x="118" y="8"/>
                      <a:pt x="118" y="8"/>
                      <a:pt x="118" y="8"/>
                    </a:cubicBezTo>
                    <a:cubicBezTo>
                      <a:pt x="120" y="8"/>
                      <a:pt x="121" y="9"/>
                      <a:pt x="122" y="11"/>
                    </a:cubicBezTo>
                    <a:cubicBezTo>
                      <a:pt x="126" y="26"/>
                      <a:pt x="126" y="26"/>
                      <a:pt x="126" y="26"/>
                    </a:cubicBezTo>
                    <a:cubicBezTo>
                      <a:pt x="69" y="26"/>
                      <a:pt x="69" y="26"/>
                      <a:pt x="69" y="26"/>
                    </a:cubicBezTo>
                    <a:lnTo>
                      <a:pt x="74" y="11"/>
                    </a:lnTo>
                    <a:close/>
                    <a:moveTo>
                      <a:pt x="19" y="34"/>
                    </a:moveTo>
                    <a:cubicBezTo>
                      <a:pt x="132" y="34"/>
                      <a:pt x="132" y="34"/>
                      <a:pt x="132" y="34"/>
                    </a:cubicBezTo>
                    <a:cubicBezTo>
                      <a:pt x="132" y="34"/>
                      <a:pt x="132" y="34"/>
                      <a:pt x="132" y="34"/>
                    </a:cubicBezTo>
                    <a:cubicBezTo>
                      <a:pt x="132" y="34"/>
                      <a:pt x="132" y="34"/>
                      <a:pt x="132" y="34"/>
                    </a:cubicBezTo>
                    <a:cubicBezTo>
                      <a:pt x="177" y="34"/>
                      <a:pt x="177" y="34"/>
                      <a:pt x="177" y="34"/>
                    </a:cubicBezTo>
                    <a:cubicBezTo>
                      <a:pt x="179" y="34"/>
                      <a:pt x="180" y="36"/>
                      <a:pt x="180" y="38"/>
                    </a:cubicBezTo>
                    <a:cubicBezTo>
                      <a:pt x="180" y="45"/>
                      <a:pt x="180" y="45"/>
                      <a:pt x="180" y="45"/>
                    </a:cubicBezTo>
                    <a:cubicBezTo>
                      <a:pt x="15" y="45"/>
                      <a:pt x="15" y="45"/>
                      <a:pt x="15" y="45"/>
                    </a:cubicBezTo>
                    <a:cubicBezTo>
                      <a:pt x="15" y="38"/>
                      <a:pt x="15" y="38"/>
                      <a:pt x="15" y="38"/>
                    </a:cubicBezTo>
                    <a:cubicBezTo>
                      <a:pt x="15" y="36"/>
                      <a:pt x="17" y="34"/>
                      <a:pt x="19" y="34"/>
                    </a:cubicBezTo>
                    <a:moveTo>
                      <a:pt x="163" y="223"/>
                    </a:moveTo>
                    <a:cubicBezTo>
                      <a:pt x="162" y="229"/>
                      <a:pt x="157" y="233"/>
                      <a:pt x="152" y="233"/>
                    </a:cubicBezTo>
                    <a:cubicBezTo>
                      <a:pt x="44" y="233"/>
                      <a:pt x="44" y="233"/>
                      <a:pt x="44" y="233"/>
                    </a:cubicBezTo>
                    <a:cubicBezTo>
                      <a:pt x="38" y="233"/>
                      <a:pt x="33" y="229"/>
                      <a:pt x="33" y="223"/>
                    </a:cubicBezTo>
                    <a:cubicBezTo>
                      <a:pt x="19" y="53"/>
                      <a:pt x="19" y="53"/>
                      <a:pt x="19" y="53"/>
                    </a:cubicBezTo>
                    <a:cubicBezTo>
                      <a:pt x="176" y="53"/>
                      <a:pt x="176" y="53"/>
                      <a:pt x="176" y="53"/>
                    </a:cubicBezTo>
                    <a:lnTo>
                      <a:pt x="163" y="2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39" name="Freeform 100"/>
              <p:cNvSpPr>
                <a:spLocks/>
              </p:cNvSpPr>
              <p:nvPr/>
            </p:nvSpPr>
            <p:spPr bwMode="auto">
              <a:xfrm>
                <a:off x="7261431" y="3390968"/>
                <a:ext cx="13458" cy="257823"/>
              </a:xfrm>
              <a:custGeom>
                <a:avLst/>
                <a:gdLst>
                  <a:gd name="T0" fmla="*/ 4 w 8"/>
                  <a:gd name="T1" fmla="*/ 154 h 154"/>
                  <a:gd name="T2" fmla="*/ 8 w 8"/>
                  <a:gd name="T3" fmla="*/ 151 h 154"/>
                  <a:gd name="T4" fmla="*/ 8 w 8"/>
                  <a:gd name="T5" fmla="*/ 4 h 154"/>
                  <a:gd name="T6" fmla="*/ 4 w 8"/>
                  <a:gd name="T7" fmla="*/ 0 h 154"/>
                  <a:gd name="T8" fmla="*/ 0 w 8"/>
                  <a:gd name="T9" fmla="*/ 4 h 154"/>
                  <a:gd name="T10" fmla="*/ 0 w 8"/>
                  <a:gd name="T11" fmla="*/ 151 h 154"/>
                  <a:gd name="T12" fmla="*/ 4 w 8"/>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8" h="154">
                    <a:moveTo>
                      <a:pt x="4" y="154"/>
                    </a:moveTo>
                    <a:cubicBezTo>
                      <a:pt x="6" y="154"/>
                      <a:pt x="8" y="153"/>
                      <a:pt x="8" y="151"/>
                    </a:cubicBezTo>
                    <a:cubicBezTo>
                      <a:pt x="8" y="4"/>
                      <a:pt x="8" y="4"/>
                      <a:pt x="8" y="4"/>
                    </a:cubicBezTo>
                    <a:cubicBezTo>
                      <a:pt x="8" y="2"/>
                      <a:pt x="6" y="0"/>
                      <a:pt x="4" y="0"/>
                    </a:cubicBezTo>
                    <a:cubicBezTo>
                      <a:pt x="2" y="0"/>
                      <a:pt x="0" y="2"/>
                      <a:pt x="0" y="4"/>
                    </a:cubicBezTo>
                    <a:cubicBezTo>
                      <a:pt x="0" y="151"/>
                      <a:pt x="0" y="151"/>
                      <a:pt x="0" y="151"/>
                    </a:cubicBezTo>
                    <a:cubicBezTo>
                      <a:pt x="0" y="153"/>
                      <a:pt x="2" y="154"/>
                      <a:pt x="4" y="15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40" name="Freeform 101"/>
              <p:cNvSpPr>
                <a:spLocks/>
              </p:cNvSpPr>
              <p:nvPr/>
            </p:nvSpPr>
            <p:spPr bwMode="auto">
              <a:xfrm>
                <a:off x="7191309" y="3390968"/>
                <a:ext cx="26916" cy="257823"/>
              </a:xfrm>
              <a:custGeom>
                <a:avLst/>
                <a:gdLst>
                  <a:gd name="T0" fmla="*/ 8 w 16"/>
                  <a:gd name="T1" fmla="*/ 151 h 154"/>
                  <a:gd name="T2" fmla="*/ 12 w 16"/>
                  <a:gd name="T3" fmla="*/ 154 h 154"/>
                  <a:gd name="T4" fmla="*/ 12 w 16"/>
                  <a:gd name="T5" fmla="*/ 154 h 154"/>
                  <a:gd name="T6" fmla="*/ 16 w 16"/>
                  <a:gd name="T7" fmla="*/ 150 h 154"/>
                  <a:gd name="T8" fmla="*/ 8 w 16"/>
                  <a:gd name="T9" fmla="*/ 4 h 154"/>
                  <a:gd name="T10" fmla="*/ 4 w 16"/>
                  <a:gd name="T11" fmla="*/ 0 h 154"/>
                  <a:gd name="T12" fmla="*/ 0 w 16"/>
                  <a:gd name="T13" fmla="*/ 4 h 154"/>
                  <a:gd name="T14" fmla="*/ 8 w 16"/>
                  <a:gd name="T15" fmla="*/ 151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4">
                    <a:moveTo>
                      <a:pt x="8" y="151"/>
                    </a:moveTo>
                    <a:cubicBezTo>
                      <a:pt x="8" y="153"/>
                      <a:pt x="10" y="154"/>
                      <a:pt x="12" y="154"/>
                    </a:cubicBezTo>
                    <a:cubicBezTo>
                      <a:pt x="12" y="154"/>
                      <a:pt x="12" y="154"/>
                      <a:pt x="12" y="154"/>
                    </a:cubicBezTo>
                    <a:cubicBezTo>
                      <a:pt x="14" y="154"/>
                      <a:pt x="16" y="153"/>
                      <a:pt x="16" y="150"/>
                    </a:cubicBezTo>
                    <a:cubicBezTo>
                      <a:pt x="8" y="4"/>
                      <a:pt x="8" y="4"/>
                      <a:pt x="8" y="4"/>
                    </a:cubicBezTo>
                    <a:cubicBezTo>
                      <a:pt x="8" y="1"/>
                      <a:pt x="6" y="0"/>
                      <a:pt x="4" y="0"/>
                    </a:cubicBezTo>
                    <a:cubicBezTo>
                      <a:pt x="2" y="0"/>
                      <a:pt x="0" y="2"/>
                      <a:pt x="0" y="4"/>
                    </a:cubicBezTo>
                    <a:lnTo>
                      <a:pt x="8" y="1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41" name="Freeform 102"/>
              <p:cNvSpPr>
                <a:spLocks/>
              </p:cNvSpPr>
              <p:nvPr/>
            </p:nvSpPr>
            <p:spPr bwMode="auto">
              <a:xfrm>
                <a:off x="7318096" y="3390968"/>
                <a:ext cx="25499" cy="257823"/>
              </a:xfrm>
              <a:custGeom>
                <a:avLst/>
                <a:gdLst>
                  <a:gd name="T0" fmla="*/ 3 w 15"/>
                  <a:gd name="T1" fmla="*/ 154 h 154"/>
                  <a:gd name="T2" fmla="*/ 4 w 15"/>
                  <a:gd name="T3" fmla="*/ 154 h 154"/>
                  <a:gd name="T4" fmla="*/ 7 w 15"/>
                  <a:gd name="T5" fmla="*/ 151 h 154"/>
                  <a:gd name="T6" fmla="*/ 15 w 15"/>
                  <a:gd name="T7" fmla="*/ 4 h 154"/>
                  <a:gd name="T8" fmla="*/ 11 w 15"/>
                  <a:gd name="T9" fmla="*/ 0 h 154"/>
                  <a:gd name="T10" fmla="*/ 7 w 15"/>
                  <a:gd name="T11" fmla="*/ 4 h 154"/>
                  <a:gd name="T12" fmla="*/ 0 w 15"/>
                  <a:gd name="T13" fmla="*/ 150 h 154"/>
                  <a:gd name="T14" fmla="*/ 3 w 15"/>
                  <a:gd name="T15" fmla="*/ 154 h 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4">
                    <a:moveTo>
                      <a:pt x="3" y="154"/>
                    </a:moveTo>
                    <a:cubicBezTo>
                      <a:pt x="3" y="154"/>
                      <a:pt x="4" y="154"/>
                      <a:pt x="4" y="154"/>
                    </a:cubicBezTo>
                    <a:cubicBezTo>
                      <a:pt x="6" y="154"/>
                      <a:pt x="7" y="153"/>
                      <a:pt x="7" y="151"/>
                    </a:cubicBezTo>
                    <a:cubicBezTo>
                      <a:pt x="15" y="4"/>
                      <a:pt x="15" y="4"/>
                      <a:pt x="15" y="4"/>
                    </a:cubicBezTo>
                    <a:cubicBezTo>
                      <a:pt x="15" y="2"/>
                      <a:pt x="13" y="0"/>
                      <a:pt x="11" y="0"/>
                    </a:cubicBezTo>
                    <a:cubicBezTo>
                      <a:pt x="9" y="0"/>
                      <a:pt x="7" y="1"/>
                      <a:pt x="7" y="4"/>
                    </a:cubicBezTo>
                    <a:cubicBezTo>
                      <a:pt x="0" y="150"/>
                      <a:pt x="0" y="150"/>
                      <a:pt x="0" y="150"/>
                    </a:cubicBezTo>
                    <a:cubicBezTo>
                      <a:pt x="0" y="153"/>
                      <a:pt x="1" y="154"/>
                      <a:pt x="3" y="15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grpSp>
        <p:nvGrpSpPr>
          <p:cNvPr id="19" name="Group 342"/>
          <p:cNvGrpSpPr/>
          <p:nvPr/>
        </p:nvGrpSpPr>
        <p:grpSpPr>
          <a:xfrm>
            <a:off x="1082116" y="3770486"/>
            <a:ext cx="585870" cy="585871"/>
            <a:chOff x="5478606" y="3119460"/>
            <a:chExt cx="770091" cy="770092"/>
          </a:xfrm>
          <a:solidFill>
            <a:srgbClr val="FFFFFF"/>
          </a:solidFill>
        </p:grpSpPr>
        <p:sp>
          <p:nvSpPr>
            <p:cNvPr id="1943" name="Oval 1942"/>
            <p:cNvSpPr/>
            <p:nvPr/>
          </p:nvSpPr>
          <p:spPr>
            <a:xfrm>
              <a:off x="5478606" y="31194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algn="ctr"/>
              <a:endParaRPr lang="en-US" sz="1500" dirty="0">
                <a:solidFill>
                  <a:srgbClr val="FFFFFF"/>
                </a:solidFill>
                <a:latin typeface="+mj-lt"/>
                <a:ea typeface="+mn-ea"/>
              </a:endParaRPr>
            </a:p>
          </p:txBody>
        </p:sp>
        <p:sp>
          <p:nvSpPr>
            <p:cNvPr id="1944" name="Freeform 103"/>
            <p:cNvSpPr>
              <a:spLocks noEditPoints="1"/>
            </p:cNvSpPr>
            <p:nvPr/>
          </p:nvSpPr>
          <p:spPr bwMode="auto">
            <a:xfrm>
              <a:off x="5651868" y="3255682"/>
              <a:ext cx="423566" cy="444815"/>
            </a:xfrm>
            <a:custGeom>
              <a:avLst/>
              <a:gdLst>
                <a:gd name="T0" fmla="*/ 132 w 253"/>
                <a:gd name="T1" fmla="*/ 107 h 266"/>
                <a:gd name="T2" fmla="*/ 170 w 253"/>
                <a:gd name="T3" fmla="*/ 115 h 266"/>
                <a:gd name="T4" fmla="*/ 252 w 253"/>
                <a:gd name="T5" fmla="*/ 19 h 266"/>
                <a:gd name="T6" fmla="*/ 239 w 253"/>
                <a:gd name="T7" fmla="*/ 2 h 266"/>
                <a:gd name="T8" fmla="*/ 120 w 253"/>
                <a:gd name="T9" fmla="*/ 88 h 266"/>
                <a:gd name="T10" fmla="*/ 124 w 253"/>
                <a:gd name="T11" fmla="*/ 99 h 266"/>
                <a:gd name="T12" fmla="*/ 87 w 253"/>
                <a:gd name="T13" fmla="*/ 113 h 266"/>
                <a:gd name="T14" fmla="*/ 5 w 253"/>
                <a:gd name="T15" fmla="*/ 66 h 266"/>
                <a:gd name="T16" fmla="*/ 1 w 253"/>
                <a:gd name="T17" fmla="*/ 73 h 266"/>
                <a:gd name="T18" fmla="*/ 55 w 253"/>
                <a:gd name="T19" fmla="*/ 132 h 266"/>
                <a:gd name="T20" fmla="*/ 99 w 253"/>
                <a:gd name="T21" fmla="*/ 164 h 266"/>
                <a:gd name="T22" fmla="*/ 97 w 253"/>
                <a:gd name="T23" fmla="*/ 190 h 266"/>
                <a:gd name="T24" fmla="*/ 50 w 253"/>
                <a:gd name="T25" fmla="*/ 202 h 266"/>
                <a:gd name="T26" fmla="*/ 13 w 253"/>
                <a:gd name="T27" fmla="*/ 234 h 266"/>
                <a:gd name="T28" fmla="*/ 200 w 253"/>
                <a:gd name="T29" fmla="*/ 266 h 266"/>
                <a:gd name="T30" fmla="*/ 200 w 253"/>
                <a:gd name="T31" fmla="*/ 201 h 266"/>
                <a:gd name="T32" fmla="*/ 139 w 253"/>
                <a:gd name="T33" fmla="*/ 175 h 266"/>
                <a:gd name="T34" fmla="*/ 111 w 253"/>
                <a:gd name="T35" fmla="*/ 156 h 266"/>
                <a:gd name="T36" fmla="*/ 150 w 253"/>
                <a:gd name="T37" fmla="*/ 41 h 266"/>
                <a:gd name="T38" fmla="*/ 190 w 253"/>
                <a:gd name="T39" fmla="*/ 95 h 266"/>
                <a:gd name="T40" fmla="*/ 172 w 253"/>
                <a:gd name="T41" fmla="*/ 61 h 266"/>
                <a:gd name="T42" fmla="*/ 165 w 253"/>
                <a:gd name="T43" fmla="*/ 53 h 266"/>
                <a:gd name="T44" fmla="*/ 150 w 253"/>
                <a:gd name="T45" fmla="*/ 41 h 266"/>
                <a:gd name="T46" fmla="*/ 72 w 253"/>
                <a:gd name="T47" fmla="*/ 115 h 266"/>
                <a:gd name="T48" fmla="*/ 48 w 253"/>
                <a:gd name="T49" fmla="*/ 120 h 266"/>
                <a:gd name="T50" fmla="*/ 65 w 253"/>
                <a:gd name="T51" fmla="*/ 84 h 266"/>
                <a:gd name="T52" fmla="*/ 46 w 253"/>
                <a:gd name="T53" fmla="*/ 95 h 266"/>
                <a:gd name="T54" fmla="*/ 45 w 253"/>
                <a:gd name="T55" fmla="*/ 105 h 266"/>
                <a:gd name="T56" fmla="*/ 139 w 253"/>
                <a:gd name="T57" fmla="*/ 185 h 266"/>
                <a:gd name="T58" fmla="*/ 177 w 253"/>
                <a:gd name="T59" fmla="*/ 223 h 266"/>
                <a:gd name="T60" fmla="*/ 200 w 253"/>
                <a:gd name="T61" fmla="*/ 212 h 266"/>
                <a:gd name="T62" fmla="*/ 200 w 253"/>
                <a:gd name="T63" fmla="*/ 255 h 266"/>
                <a:gd name="T64" fmla="*/ 24 w 253"/>
                <a:gd name="T65" fmla="*/ 234 h 266"/>
                <a:gd name="T66" fmla="*/ 51 w 253"/>
                <a:gd name="T67" fmla="*/ 213 h 266"/>
                <a:gd name="T68" fmla="*/ 80 w 253"/>
                <a:gd name="T69" fmla="*/ 196 h 266"/>
                <a:gd name="T70" fmla="*/ 103 w 253"/>
                <a:gd name="T71" fmla="*/ 207 h 266"/>
                <a:gd name="T72" fmla="*/ 109 w 253"/>
                <a:gd name="T73" fmla="*/ 20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3" h="266">
                  <a:moveTo>
                    <a:pt x="132" y="106"/>
                  </a:moveTo>
                  <a:cubicBezTo>
                    <a:pt x="132" y="106"/>
                    <a:pt x="132" y="107"/>
                    <a:pt x="132" y="107"/>
                  </a:cubicBezTo>
                  <a:cubicBezTo>
                    <a:pt x="132" y="106"/>
                    <a:pt x="133" y="106"/>
                    <a:pt x="133" y="106"/>
                  </a:cubicBezTo>
                  <a:cubicBezTo>
                    <a:pt x="146" y="112"/>
                    <a:pt x="159" y="115"/>
                    <a:pt x="170" y="115"/>
                  </a:cubicBezTo>
                  <a:cubicBezTo>
                    <a:pt x="180" y="115"/>
                    <a:pt x="189" y="113"/>
                    <a:pt x="197" y="109"/>
                  </a:cubicBezTo>
                  <a:cubicBezTo>
                    <a:pt x="233" y="92"/>
                    <a:pt x="248" y="40"/>
                    <a:pt x="252" y="19"/>
                  </a:cubicBezTo>
                  <a:cubicBezTo>
                    <a:pt x="253" y="15"/>
                    <a:pt x="252" y="11"/>
                    <a:pt x="250" y="8"/>
                  </a:cubicBezTo>
                  <a:cubicBezTo>
                    <a:pt x="247" y="4"/>
                    <a:pt x="243" y="2"/>
                    <a:pt x="239" y="2"/>
                  </a:cubicBezTo>
                  <a:cubicBezTo>
                    <a:pt x="192" y="0"/>
                    <a:pt x="158" y="9"/>
                    <a:pt x="138" y="30"/>
                  </a:cubicBezTo>
                  <a:cubicBezTo>
                    <a:pt x="119" y="50"/>
                    <a:pt x="119" y="75"/>
                    <a:pt x="120" y="88"/>
                  </a:cubicBezTo>
                  <a:cubicBezTo>
                    <a:pt x="120" y="92"/>
                    <a:pt x="122" y="96"/>
                    <a:pt x="124" y="99"/>
                  </a:cubicBezTo>
                  <a:cubicBezTo>
                    <a:pt x="124" y="99"/>
                    <a:pt x="124" y="99"/>
                    <a:pt x="124" y="99"/>
                  </a:cubicBezTo>
                  <a:cubicBezTo>
                    <a:pt x="115" y="113"/>
                    <a:pt x="109" y="127"/>
                    <a:pt x="105" y="138"/>
                  </a:cubicBezTo>
                  <a:cubicBezTo>
                    <a:pt x="101" y="127"/>
                    <a:pt x="95" y="119"/>
                    <a:pt x="87" y="113"/>
                  </a:cubicBezTo>
                  <a:cubicBezTo>
                    <a:pt x="87" y="106"/>
                    <a:pt x="86" y="89"/>
                    <a:pt x="72" y="76"/>
                  </a:cubicBezTo>
                  <a:cubicBezTo>
                    <a:pt x="58" y="63"/>
                    <a:pt x="35" y="60"/>
                    <a:pt x="5" y="66"/>
                  </a:cubicBezTo>
                  <a:cubicBezTo>
                    <a:pt x="3" y="66"/>
                    <a:pt x="2" y="67"/>
                    <a:pt x="1" y="68"/>
                  </a:cubicBezTo>
                  <a:cubicBezTo>
                    <a:pt x="0" y="70"/>
                    <a:pt x="0" y="71"/>
                    <a:pt x="1" y="73"/>
                  </a:cubicBezTo>
                  <a:cubicBezTo>
                    <a:pt x="11" y="106"/>
                    <a:pt x="26" y="125"/>
                    <a:pt x="45" y="130"/>
                  </a:cubicBezTo>
                  <a:cubicBezTo>
                    <a:pt x="49" y="131"/>
                    <a:pt x="52" y="132"/>
                    <a:pt x="55" y="132"/>
                  </a:cubicBezTo>
                  <a:cubicBezTo>
                    <a:pt x="67" y="132"/>
                    <a:pt x="77" y="126"/>
                    <a:pt x="82" y="122"/>
                  </a:cubicBezTo>
                  <a:cubicBezTo>
                    <a:pt x="93" y="133"/>
                    <a:pt x="99" y="147"/>
                    <a:pt x="99" y="164"/>
                  </a:cubicBezTo>
                  <a:cubicBezTo>
                    <a:pt x="99" y="164"/>
                    <a:pt x="99" y="165"/>
                    <a:pt x="99" y="165"/>
                  </a:cubicBezTo>
                  <a:cubicBezTo>
                    <a:pt x="97" y="175"/>
                    <a:pt x="97" y="184"/>
                    <a:pt x="97" y="190"/>
                  </a:cubicBezTo>
                  <a:cubicBezTo>
                    <a:pt x="92" y="187"/>
                    <a:pt x="86" y="185"/>
                    <a:pt x="80" y="185"/>
                  </a:cubicBezTo>
                  <a:cubicBezTo>
                    <a:pt x="68" y="185"/>
                    <a:pt x="57" y="192"/>
                    <a:pt x="50" y="202"/>
                  </a:cubicBezTo>
                  <a:cubicBezTo>
                    <a:pt x="49" y="202"/>
                    <a:pt x="47" y="201"/>
                    <a:pt x="45" y="201"/>
                  </a:cubicBezTo>
                  <a:cubicBezTo>
                    <a:pt x="27" y="201"/>
                    <a:pt x="13" y="216"/>
                    <a:pt x="13" y="234"/>
                  </a:cubicBezTo>
                  <a:cubicBezTo>
                    <a:pt x="13" y="251"/>
                    <a:pt x="27" y="266"/>
                    <a:pt x="45" y="266"/>
                  </a:cubicBezTo>
                  <a:cubicBezTo>
                    <a:pt x="200" y="266"/>
                    <a:pt x="200" y="266"/>
                    <a:pt x="200" y="266"/>
                  </a:cubicBezTo>
                  <a:cubicBezTo>
                    <a:pt x="218" y="266"/>
                    <a:pt x="232" y="251"/>
                    <a:pt x="232" y="234"/>
                  </a:cubicBezTo>
                  <a:cubicBezTo>
                    <a:pt x="232" y="216"/>
                    <a:pt x="218" y="201"/>
                    <a:pt x="200" y="201"/>
                  </a:cubicBezTo>
                  <a:cubicBezTo>
                    <a:pt x="194" y="201"/>
                    <a:pt x="187" y="203"/>
                    <a:pt x="182" y="207"/>
                  </a:cubicBezTo>
                  <a:cubicBezTo>
                    <a:pt x="176" y="188"/>
                    <a:pt x="159" y="175"/>
                    <a:pt x="139" y="175"/>
                  </a:cubicBezTo>
                  <a:cubicBezTo>
                    <a:pt x="127" y="175"/>
                    <a:pt x="116" y="179"/>
                    <a:pt x="108" y="187"/>
                  </a:cubicBezTo>
                  <a:cubicBezTo>
                    <a:pt x="108" y="179"/>
                    <a:pt x="108" y="168"/>
                    <a:pt x="111" y="156"/>
                  </a:cubicBezTo>
                  <a:cubicBezTo>
                    <a:pt x="114" y="142"/>
                    <a:pt x="120" y="125"/>
                    <a:pt x="132" y="106"/>
                  </a:cubicBezTo>
                  <a:moveTo>
                    <a:pt x="150" y="41"/>
                  </a:moveTo>
                  <a:cubicBezTo>
                    <a:pt x="166" y="24"/>
                    <a:pt x="195" y="16"/>
                    <a:pt x="236" y="18"/>
                  </a:cubicBezTo>
                  <a:cubicBezTo>
                    <a:pt x="232" y="35"/>
                    <a:pt x="219" y="80"/>
                    <a:pt x="190" y="95"/>
                  </a:cubicBezTo>
                  <a:cubicBezTo>
                    <a:pt x="176" y="101"/>
                    <a:pt x="160" y="100"/>
                    <a:pt x="142" y="92"/>
                  </a:cubicBezTo>
                  <a:cubicBezTo>
                    <a:pt x="150" y="82"/>
                    <a:pt x="160" y="71"/>
                    <a:pt x="172" y="61"/>
                  </a:cubicBezTo>
                  <a:cubicBezTo>
                    <a:pt x="174" y="59"/>
                    <a:pt x="174" y="56"/>
                    <a:pt x="172" y="54"/>
                  </a:cubicBezTo>
                  <a:cubicBezTo>
                    <a:pt x="170" y="51"/>
                    <a:pt x="167" y="51"/>
                    <a:pt x="165" y="53"/>
                  </a:cubicBezTo>
                  <a:cubicBezTo>
                    <a:pt x="153" y="63"/>
                    <a:pt x="144" y="73"/>
                    <a:pt x="136" y="83"/>
                  </a:cubicBezTo>
                  <a:cubicBezTo>
                    <a:pt x="135" y="72"/>
                    <a:pt x="137" y="55"/>
                    <a:pt x="150" y="41"/>
                  </a:cubicBezTo>
                  <a:moveTo>
                    <a:pt x="45" y="105"/>
                  </a:moveTo>
                  <a:cubicBezTo>
                    <a:pt x="45" y="105"/>
                    <a:pt x="58" y="107"/>
                    <a:pt x="72" y="115"/>
                  </a:cubicBezTo>
                  <a:cubicBezTo>
                    <a:pt x="72" y="115"/>
                    <a:pt x="73" y="115"/>
                    <a:pt x="73" y="115"/>
                  </a:cubicBezTo>
                  <a:cubicBezTo>
                    <a:pt x="67" y="119"/>
                    <a:pt x="58" y="123"/>
                    <a:pt x="48" y="120"/>
                  </a:cubicBezTo>
                  <a:cubicBezTo>
                    <a:pt x="34" y="116"/>
                    <a:pt x="22" y="101"/>
                    <a:pt x="13" y="75"/>
                  </a:cubicBezTo>
                  <a:cubicBezTo>
                    <a:pt x="37" y="71"/>
                    <a:pt x="54" y="74"/>
                    <a:pt x="65" y="84"/>
                  </a:cubicBezTo>
                  <a:cubicBezTo>
                    <a:pt x="72" y="90"/>
                    <a:pt x="75" y="98"/>
                    <a:pt x="76" y="105"/>
                  </a:cubicBezTo>
                  <a:cubicBezTo>
                    <a:pt x="61" y="96"/>
                    <a:pt x="46" y="95"/>
                    <a:pt x="46" y="95"/>
                  </a:cubicBezTo>
                  <a:cubicBezTo>
                    <a:pt x="43" y="94"/>
                    <a:pt x="40" y="96"/>
                    <a:pt x="40" y="99"/>
                  </a:cubicBezTo>
                  <a:cubicBezTo>
                    <a:pt x="40" y="102"/>
                    <a:pt x="42" y="105"/>
                    <a:pt x="45" y="105"/>
                  </a:cubicBezTo>
                  <a:moveTo>
                    <a:pt x="109" y="202"/>
                  </a:moveTo>
                  <a:cubicBezTo>
                    <a:pt x="116" y="192"/>
                    <a:pt x="127" y="185"/>
                    <a:pt x="139" y="185"/>
                  </a:cubicBezTo>
                  <a:cubicBezTo>
                    <a:pt x="157" y="185"/>
                    <a:pt x="172" y="200"/>
                    <a:pt x="173" y="218"/>
                  </a:cubicBezTo>
                  <a:cubicBezTo>
                    <a:pt x="173" y="220"/>
                    <a:pt x="175" y="222"/>
                    <a:pt x="177" y="223"/>
                  </a:cubicBezTo>
                  <a:cubicBezTo>
                    <a:pt x="179" y="223"/>
                    <a:pt x="182" y="223"/>
                    <a:pt x="183" y="221"/>
                  </a:cubicBezTo>
                  <a:cubicBezTo>
                    <a:pt x="187" y="215"/>
                    <a:pt x="193" y="212"/>
                    <a:pt x="200" y="212"/>
                  </a:cubicBezTo>
                  <a:cubicBezTo>
                    <a:pt x="212" y="212"/>
                    <a:pt x="222" y="222"/>
                    <a:pt x="222" y="234"/>
                  </a:cubicBezTo>
                  <a:cubicBezTo>
                    <a:pt x="222" y="245"/>
                    <a:pt x="212" y="255"/>
                    <a:pt x="200" y="255"/>
                  </a:cubicBezTo>
                  <a:cubicBezTo>
                    <a:pt x="45" y="255"/>
                    <a:pt x="45" y="255"/>
                    <a:pt x="45" y="255"/>
                  </a:cubicBezTo>
                  <a:cubicBezTo>
                    <a:pt x="33" y="255"/>
                    <a:pt x="24" y="245"/>
                    <a:pt x="24" y="234"/>
                  </a:cubicBezTo>
                  <a:cubicBezTo>
                    <a:pt x="24" y="222"/>
                    <a:pt x="33" y="212"/>
                    <a:pt x="45" y="212"/>
                  </a:cubicBezTo>
                  <a:cubicBezTo>
                    <a:pt x="47" y="212"/>
                    <a:pt x="49" y="213"/>
                    <a:pt x="51" y="213"/>
                  </a:cubicBezTo>
                  <a:cubicBezTo>
                    <a:pt x="54" y="214"/>
                    <a:pt x="57" y="213"/>
                    <a:pt x="58" y="210"/>
                  </a:cubicBezTo>
                  <a:cubicBezTo>
                    <a:pt x="62" y="202"/>
                    <a:pt x="70" y="196"/>
                    <a:pt x="80" y="196"/>
                  </a:cubicBezTo>
                  <a:cubicBezTo>
                    <a:pt x="87" y="196"/>
                    <a:pt x="94" y="199"/>
                    <a:pt x="99" y="205"/>
                  </a:cubicBezTo>
                  <a:cubicBezTo>
                    <a:pt x="100" y="207"/>
                    <a:pt x="102" y="207"/>
                    <a:pt x="103" y="207"/>
                  </a:cubicBezTo>
                  <a:cubicBezTo>
                    <a:pt x="104" y="207"/>
                    <a:pt x="105" y="207"/>
                    <a:pt x="106" y="206"/>
                  </a:cubicBezTo>
                  <a:cubicBezTo>
                    <a:pt x="108" y="206"/>
                    <a:pt x="109" y="204"/>
                    <a:pt x="109" y="202"/>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nvGrpSpPr>
          <p:cNvPr id="20" name="Group 345"/>
          <p:cNvGrpSpPr/>
          <p:nvPr/>
        </p:nvGrpSpPr>
        <p:grpSpPr>
          <a:xfrm>
            <a:off x="1004789" y="1520895"/>
            <a:ext cx="585870" cy="585871"/>
            <a:chOff x="7416079" y="2268560"/>
            <a:chExt cx="770091" cy="770092"/>
          </a:xfrm>
          <a:solidFill>
            <a:srgbClr val="FFFFFF"/>
          </a:solidFill>
        </p:grpSpPr>
        <p:sp>
          <p:nvSpPr>
            <p:cNvPr id="1946" name="Oval 1945"/>
            <p:cNvSpPr/>
            <p:nvPr/>
          </p:nvSpPr>
          <p:spPr>
            <a:xfrm>
              <a:off x="7416079" y="2268560"/>
              <a:ext cx="770091" cy="770092"/>
            </a:xfrm>
            <a:prstGeom prst="ellipse">
              <a:avLst/>
            </a:prstGeom>
            <a:solidFill>
              <a:schemeClr val="accent1"/>
            </a:solidFill>
            <a:ln w="25400" cap="rnd" cmpd="sng" algn="ctr">
              <a:solidFill>
                <a:srgbClr val="FFFFFF"/>
              </a:solidFill>
              <a:prstDash val="solid"/>
            </a:ln>
            <a:effectLst/>
          </p:spPr>
          <p:txBody>
            <a:bodyPr wrap="none" rtlCol="0" anchor="ctr"/>
            <a:lstStyle/>
            <a:p>
              <a:pPr algn="ctr"/>
              <a:endParaRPr lang="en-US" sz="1500" dirty="0">
                <a:solidFill>
                  <a:srgbClr val="FFFFFF"/>
                </a:solidFill>
                <a:latin typeface="+mj-lt"/>
                <a:ea typeface="+mn-ea"/>
              </a:endParaRPr>
            </a:p>
          </p:txBody>
        </p:sp>
        <p:grpSp>
          <p:nvGrpSpPr>
            <p:cNvPr id="21" name="Group 144"/>
            <p:cNvGrpSpPr/>
            <p:nvPr/>
          </p:nvGrpSpPr>
          <p:grpSpPr>
            <a:xfrm>
              <a:off x="7575883" y="2474422"/>
              <a:ext cx="450482" cy="379651"/>
              <a:chOff x="7575918" y="2474422"/>
              <a:chExt cx="450482" cy="379651"/>
            </a:xfrm>
            <a:grpFill/>
          </p:grpSpPr>
          <p:sp>
            <p:nvSpPr>
              <p:cNvPr id="1948" name="Freeform 104"/>
              <p:cNvSpPr>
                <a:spLocks noEditPoints="1"/>
              </p:cNvSpPr>
              <p:nvPr/>
            </p:nvSpPr>
            <p:spPr bwMode="auto">
              <a:xfrm>
                <a:off x="7575918" y="2474422"/>
                <a:ext cx="450482" cy="379651"/>
              </a:xfrm>
              <a:custGeom>
                <a:avLst/>
                <a:gdLst>
                  <a:gd name="T0" fmla="*/ 233 w 269"/>
                  <a:gd name="T1" fmla="*/ 227 h 227"/>
                  <a:gd name="T2" fmla="*/ 190 w 269"/>
                  <a:gd name="T3" fmla="*/ 181 h 227"/>
                  <a:gd name="T4" fmla="*/ 259 w 269"/>
                  <a:gd name="T5" fmla="*/ 109 h 227"/>
                  <a:gd name="T6" fmla="*/ 264 w 269"/>
                  <a:gd name="T7" fmla="*/ 84 h 227"/>
                  <a:gd name="T8" fmla="*/ 269 w 269"/>
                  <a:gd name="T9" fmla="*/ 62 h 227"/>
                  <a:gd name="T10" fmla="*/ 269 w 269"/>
                  <a:gd name="T11" fmla="*/ 36 h 227"/>
                  <a:gd name="T12" fmla="*/ 124 w 269"/>
                  <a:gd name="T13" fmla="*/ 10 h 227"/>
                  <a:gd name="T14" fmla="*/ 104 w 269"/>
                  <a:gd name="T15" fmla="*/ 20 h 227"/>
                  <a:gd name="T16" fmla="*/ 67 w 269"/>
                  <a:gd name="T17" fmla="*/ 0 h 227"/>
                  <a:gd name="T18" fmla="*/ 25 w 269"/>
                  <a:gd name="T19" fmla="*/ 0 h 227"/>
                  <a:gd name="T20" fmla="*/ 0 w 269"/>
                  <a:gd name="T21" fmla="*/ 31 h 227"/>
                  <a:gd name="T22" fmla="*/ 42 w 269"/>
                  <a:gd name="T23" fmla="*/ 41 h 227"/>
                  <a:gd name="T24" fmla="*/ 0 w 269"/>
                  <a:gd name="T25" fmla="*/ 60 h 227"/>
                  <a:gd name="T26" fmla="*/ 62 w 269"/>
                  <a:gd name="T27" fmla="*/ 72 h 227"/>
                  <a:gd name="T28" fmla="*/ 104 w 269"/>
                  <a:gd name="T29" fmla="*/ 72 h 227"/>
                  <a:gd name="T30" fmla="*/ 124 w 269"/>
                  <a:gd name="T31" fmla="*/ 51 h 227"/>
                  <a:gd name="T32" fmla="*/ 199 w 269"/>
                  <a:gd name="T33" fmla="*/ 62 h 227"/>
                  <a:gd name="T34" fmla="*/ 83 w 269"/>
                  <a:gd name="T35" fmla="*/ 174 h 227"/>
                  <a:gd name="T36" fmla="*/ 122 w 269"/>
                  <a:gd name="T37" fmla="*/ 227 h 227"/>
                  <a:gd name="T38" fmla="*/ 27 w 269"/>
                  <a:gd name="T39" fmla="*/ 62 h 227"/>
                  <a:gd name="T40" fmla="*/ 11 w 269"/>
                  <a:gd name="T41" fmla="*/ 51 h 227"/>
                  <a:gd name="T42" fmla="*/ 52 w 269"/>
                  <a:gd name="T43" fmla="*/ 20 h 227"/>
                  <a:gd name="T44" fmla="*/ 11 w 269"/>
                  <a:gd name="T45" fmla="*/ 18 h 227"/>
                  <a:gd name="T46" fmla="*/ 62 w 269"/>
                  <a:gd name="T47" fmla="*/ 10 h 227"/>
                  <a:gd name="T48" fmla="*/ 27 w 269"/>
                  <a:gd name="T49" fmla="*/ 62 h 227"/>
                  <a:gd name="T50" fmla="*/ 73 w 269"/>
                  <a:gd name="T51" fmla="*/ 62 h 227"/>
                  <a:gd name="T52" fmla="*/ 93 w 269"/>
                  <a:gd name="T53" fmla="*/ 10 h 227"/>
                  <a:gd name="T54" fmla="*/ 124 w 269"/>
                  <a:gd name="T55" fmla="*/ 41 h 227"/>
                  <a:gd name="T56" fmla="*/ 104 w 269"/>
                  <a:gd name="T57" fmla="*/ 31 h 227"/>
                  <a:gd name="T58" fmla="*/ 124 w 269"/>
                  <a:gd name="T59" fmla="*/ 41 h 227"/>
                  <a:gd name="T60" fmla="*/ 243 w 269"/>
                  <a:gd name="T61" fmla="*/ 121 h 227"/>
                  <a:gd name="T62" fmla="*/ 173 w 269"/>
                  <a:gd name="T63" fmla="*/ 181 h 227"/>
                  <a:gd name="T64" fmla="*/ 248 w 269"/>
                  <a:gd name="T65" fmla="*/ 97 h 227"/>
                  <a:gd name="T66" fmla="*/ 135 w 269"/>
                  <a:gd name="T67" fmla="*/ 20 h 227"/>
                  <a:gd name="T68" fmla="*/ 145 w 269"/>
                  <a:gd name="T69" fmla="*/ 51 h 227"/>
                  <a:gd name="T70" fmla="*/ 135 w 269"/>
                  <a:gd name="T71" fmla="*/ 20 h 227"/>
                  <a:gd name="T72" fmla="*/ 155 w 269"/>
                  <a:gd name="T73" fmla="*/ 20 h 227"/>
                  <a:gd name="T74" fmla="*/ 259 w 269"/>
                  <a:gd name="T75" fmla="*/ 36 h 227"/>
                  <a:gd name="T76" fmla="*/ 210 w 269"/>
                  <a:gd name="T77" fmla="*/ 51 h 227"/>
                  <a:gd name="T78" fmla="*/ 259 w 269"/>
                  <a:gd name="T79" fmla="*/ 62 h 227"/>
                  <a:gd name="T80" fmla="*/ 257 w 269"/>
                  <a:gd name="T81" fmla="*/ 76 h 227"/>
                  <a:gd name="T82" fmla="*/ 142 w 269"/>
                  <a:gd name="T83" fmla="*/ 149 h 227"/>
                  <a:gd name="T84" fmla="*/ 214 w 269"/>
                  <a:gd name="T85" fmla="*/ 62 h 227"/>
                  <a:gd name="T86" fmla="*/ 100 w 269"/>
                  <a:gd name="T87" fmla="*/ 191 h 227"/>
                  <a:gd name="T88" fmla="*/ 117 w 269"/>
                  <a:gd name="T89" fmla="*/ 150 h 227"/>
                  <a:gd name="T90" fmla="*/ 169 w 269"/>
                  <a:gd name="T91" fmla="*/ 191 h 227"/>
                  <a:gd name="T92" fmla="*/ 222 w 269"/>
                  <a:gd name="T93" fmla="*/ 217 h 227"/>
                  <a:gd name="T94" fmla="*/ 100 w 269"/>
                  <a:gd name="T95" fmla="*/ 191 h 227"/>
                  <a:gd name="T96" fmla="*/ 202 w 269"/>
                  <a:gd name="T97"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9" h="227">
                    <a:moveTo>
                      <a:pt x="212" y="227"/>
                    </a:moveTo>
                    <a:cubicBezTo>
                      <a:pt x="233" y="227"/>
                      <a:pt x="233" y="227"/>
                      <a:pt x="233" y="227"/>
                    </a:cubicBezTo>
                    <a:cubicBezTo>
                      <a:pt x="233" y="181"/>
                      <a:pt x="233" y="181"/>
                      <a:pt x="233" y="181"/>
                    </a:cubicBezTo>
                    <a:cubicBezTo>
                      <a:pt x="190" y="181"/>
                      <a:pt x="190" y="181"/>
                      <a:pt x="190" y="181"/>
                    </a:cubicBezTo>
                    <a:cubicBezTo>
                      <a:pt x="250" y="129"/>
                      <a:pt x="250" y="129"/>
                      <a:pt x="250" y="129"/>
                    </a:cubicBezTo>
                    <a:cubicBezTo>
                      <a:pt x="255" y="124"/>
                      <a:pt x="259" y="117"/>
                      <a:pt x="259" y="109"/>
                    </a:cubicBezTo>
                    <a:cubicBezTo>
                      <a:pt x="259" y="89"/>
                      <a:pt x="259" y="89"/>
                      <a:pt x="259" y="89"/>
                    </a:cubicBezTo>
                    <a:cubicBezTo>
                      <a:pt x="264" y="84"/>
                      <a:pt x="264" y="84"/>
                      <a:pt x="264" y="84"/>
                    </a:cubicBezTo>
                    <a:cubicBezTo>
                      <a:pt x="267" y="81"/>
                      <a:pt x="269" y="77"/>
                      <a:pt x="269" y="73"/>
                    </a:cubicBezTo>
                    <a:cubicBezTo>
                      <a:pt x="269" y="62"/>
                      <a:pt x="269" y="62"/>
                      <a:pt x="269" y="62"/>
                    </a:cubicBezTo>
                    <a:cubicBezTo>
                      <a:pt x="269" y="51"/>
                      <a:pt x="269" y="51"/>
                      <a:pt x="269" y="51"/>
                    </a:cubicBezTo>
                    <a:cubicBezTo>
                      <a:pt x="269" y="36"/>
                      <a:pt x="269" y="36"/>
                      <a:pt x="269" y="36"/>
                    </a:cubicBezTo>
                    <a:cubicBezTo>
                      <a:pt x="269" y="22"/>
                      <a:pt x="257" y="10"/>
                      <a:pt x="243" y="10"/>
                    </a:cubicBezTo>
                    <a:cubicBezTo>
                      <a:pt x="124" y="10"/>
                      <a:pt x="124" y="10"/>
                      <a:pt x="124" y="10"/>
                    </a:cubicBezTo>
                    <a:cubicBezTo>
                      <a:pt x="124" y="20"/>
                      <a:pt x="124" y="20"/>
                      <a:pt x="124" y="20"/>
                    </a:cubicBezTo>
                    <a:cubicBezTo>
                      <a:pt x="104" y="20"/>
                      <a:pt x="104" y="20"/>
                      <a:pt x="104" y="20"/>
                    </a:cubicBezTo>
                    <a:cubicBezTo>
                      <a:pt x="104" y="0"/>
                      <a:pt x="104" y="0"/>
                      <a:pt x="104" y="0"/>
                    </a:cubicBezTo>
                    <a:cubicBezTo>
                      <a:pt x="67" y="0"/>
                      <a:pt x="67" y="0"/>
                      <a:pt x="67" y="0"/>
                    </a:cubicBezTo>
                    <a:cubicBezTo>
                      <a:pt x="62" y="0"/>
                      <a:pt x="62" y="0"/>
                      <a:pt x="62" y="0"/>
                    </a:cubicBezTo>
                    <a:cubicBezTo>
                      <a:pt x="25" y="0"/>
                      <a:pt x="25" y="0"/>
                      <a:pt x="25" y="0"/>
                    </a:cubicBezTo>
                    <a:cubicBezTo>
                      <a:pt x="0" y="12"/>
                      <a:pt x="0" y="12"/>
                      <a:pt x="0" y="12"/>
                    </a:cubicBezTo>
                    <a:cubicBezTo>
                      <a:pt x="0" y="31"/>
                      <a:pt x="0" y="31"/>
                      <a:pt x="0" y="31"/>
                    </a:cubicBezTo>
                    <a:cubicBezTo>
                      <a:pt x="42" y="31"/>
                      <a:pt x="42" y="31"/>
                      <a:pt x="42" y="31"/>
                    </a:cubicBezTo>
                    <a:cubicBezTo>
                      <a:pt x="42" y="41"/>
                      <a:pt x="42" y="41"/>
                      <a:pt x="42" y="41"/>
                    </a:cubicBezTo>
                    <a:cubicBezTo>
                      <a:pt x="0" y="41"/>
                      <a:pt x="0" y="41"/>
                      <a:pt x="0" y="41"/>
                    </a:cubicBezTo>
                    <a:cubicBezTo>
                      <a:pt x="0" y="60"/>
                      <a:pt x="0" y="60"/>
                      <a:pt x="0" y="60"/>
                    </a:cubicBezTo>
                    <a:cubicBezTo>
                      <a:pt x="25" y="72"/>
                      <a:pt x="25" y="72"/>
                      <a:pt x="25" y="72"/>
                    </a:cubicBezTo>
                    <a:cubicBezTo>
                      <a:pt x="62" y="72"/>
                      <a:pt x="62" y="72"/>
                      <a:pt x="62" y="72"/>
                    </a:cubicBezTo>
                    <a:cubicBezTo>
                      <a:pt x="67" y="72"/>
                      <a:pt x="67" y="72"/>
                      <a:pt x="67" y="72"/>
                    </a:cubicBezTo>
                    <a:cubicBezTo>
                      <a:pt x="104" y="72"/>
                      <a:pt x="104" y="72"/>
                      <a:pt x="104" y="72"/>
                    </a:cubicBezTo>
                    <a:cubicBezTo>
                      <a:pt x="104" y="51"/>
                      <a:pt x="104" y="51"/>
                      <a:pt x="104" y="51"/>
                    </a:cubicBezTo>
                    <a:cubicBezTo>
                      <a:pt x="124" y="51"/>
                      <a:pt x="124" y="51"/>
                      <a:pt x="124" y="51"/>
                    </a:cubicBezTo>
                    <a:cubicBezTo>
                      <a:pt x="124" y="62"/>
                      <a:pt x="124" y="62"/>
                      <a:pt x="124" y="62"/>
                    </a:cubicBezTo>
                    <a:cubicBezTo>
                      <a:pt x="199" y="62"/>
                      <a:pt x="199" y="62"/>
                      <a:pt x="199" y="62"/>
                    </a:cubicBezTo>
                    <a:cubicBezTo>
                      <a:pt x="111" y="140"/>
                      <a:pt x="111" y="140"/>
                      <a:pt x="111" y="140"/>
                    </a:cubicBezTo>
                    <a:cubicBezTo>
                      <a:pt x="95" y="143"/>
                      <a:pt x="83" y="157"/>
                      <a:pt x="83" y="174"/>
                    </a:cubicBezTo>
                    <a:cubicBezTo>
                      <a:pt x="83" y="183"/>
                      <a:pt x="86" y="192"/>
                      <a:pt x="93" y="198"/>
                    </a:cubicBezTo>
                    <a:cubicBezTo>
                      <a:pt x="122" y="227"/>
                      <a:pt x="122" y="227"/>
                      <a:pt x="122" y="227"/>
                    </a:cubicBezTo>
                    <a:cubicBezTo>
                      <a:pt x="140" y="227"/>
                      <a:pt x="140" y="227"/>
                      <a:pt x="140" y="227"/>
                    </a:cubicBezTo>
                    <a:moveTo>
                      <a:pt x="27" y="62"/>
                    </a:moveTo>
                    <a:cubicBezTo>
                      <a:pt x="11" y="53"/>
                      <a:pt x="11" y="53"/>
                      <a:pt x="11" y="53"/>
                    </a:cubicBezTo>
                    <a:cubicBezTo>
                      <a:pt x="11" y="51"/>
                      <a:pt x="11" y="51"/>
                      <a:pt x="11" y="51"/>
                    </a:cubicBezTo>
                    <a:cubicBezTo>
                      <a:pt x="52" y="51"/>
                      <a:pt x="52" y="51"/>
                      <a:pt x="52" y="51"/>
                    </a:cubicBezTo>
                    <a:cubicBezTo>
                      <a:pt x="52" y="20"/>
                      <a:pt x="52" y="20"/>
                      <a:pt x="52" y="20"/>
                    </a:cubicBezTo>
                    <a:cubicBezTo>
                      <a:pt x="11" y="20"/>
                      <a:pt x="11" y="20"/>
                      <a:pt x="11" y="20"/>
                    </a:cubicBezTo>
                    <a:cubicBezTo>
                      <a:pt x="11" y="18"/>
                      <a:pt x="11" y="18"/>
                      <a:pt x="11" y="18"/>
                    </a:cubicBezTo>
                    <a:cubicBezTo>
                      <a:pt x="27" y="10"/>
                      <a:pt x="27" y="10"/>
                      <a:pt x="27" y="10"/>
                    </a:cubicBezTo>
                    <a:cubicBezTo>
                      <a:pt x="62" y="10"/>
                      <a:pt x="62" y="10"/>
                      <a:pt x="62" y="10"/>
                    </a:cubicBezTo>
                    <a:cubicBezTo>
                      <a:pt x="62" y="62"/>
                      <a:pt x="62" y="62"/>
                      <a:pt x="62" y="62"/>
                    </a:cubicBezTo>
                    <a:lnTo>
                      <a:pt x="27" y="62"/>
                    </a:lnTo>
                    <a:close/>
                    <a:moveTo>
                      <a:pt x="93" y="62"/>
                    </a:moveTo>
                    <a:cubicBezTo>
                      <a:pt x="73" y="62"/>
                      <a:pt x="73" y="62"/>
                      <a:pt x="73" y="62"/>
                    </a:cubicBezTo>
                    <a:cubicBezTo>
                      <a:pt x="73" y="10"/>
                      <a:pt x="73" y="10"/>
                      <a:pt x="73" y="10"/>
                    </a:cubicBezTo>
                    <a:cubicBezTo>
                      <a:pt x="93" y="10"/>
                      <a:pt x="93" y="10"/>
                      <a:pt x="93" y="10"/>
                    </a:cubicBezTo>
                    <a:lnTo>
                      <a:pt x="93" y="62"/>
                    </a:lnTo>
                    <a:close/>
                    <a:moveTo>
                      <a:pt x="124" y="41"/>
                    </a:moveTo>
                    <a:cubicBezTo>
                      <a:pt x="104" y="41"/>
                      <a:pt x="104" y="41"/>
                      <a:pt x="104" y="41"/>
                    </a:cubicBezTo>
                    <a:cubicBezTo>
                      <a:pt x="104" y="31"/>
                      <a:pt x="104" y="31"/>
                      <a:pt x="104" y="31"/>
                    </a:cubicBezTo>
                    <a:cubicBezTo>
                      <a:pt x="124" y="31"/>
                      <a:pt x="124" y="31"/>
                      <a:pt x="124" y="31"/>
                    </a:cubicBezTo>
                    <a:lnTo>
                      <a:pt x="124" y="41"/>
                    </a:lnTo>
                    <a:close/>
                    <a:moveTo>
                      <a:pt x="248" y="109"/>
                    </a:moveTo>
                    <a:cubicBezTo>
                      <a:pt x="248" y="114"/>
                      <a:pt x="246" y="118"/>
                      <a:pt x="243" y="121"/>
                    </a:cubicBezTo>
                    <a:cubicBezTo>
                      <a:pt x="174" y="181"/>
                      <a:pt x="174" y="181"/>
                      <a:pt x="174" y="181"/>
                    </a:cubicBezTo>
                    <a:cubicBezTo>
                      <a:pt x="173" y="181"/>
                      <a:pt x="173" y="181"/>
                      <a:pt x="173" y="181"/>
                    </a:cubicBezTo>
                    <a:cubicBezTo>
                      <a:pt x="163" y="171"/>
                      <a:pt x="163" y="171"/>
                      <a:pt x="163" y="171"/>
                    </a:cubicBezTo>
                    <a:cubicBezTo>
                      <a:pt x="248" y="97"/>
                      <a:pt x="248" y="97"/>
                      <a:pt x="248" y="97"/>
                    </a:cubicBezTo>
                    <a:lnTo>
                      <a:pt x="248" y="109"/>
                    </a:lnTo>
                    <a:close/>
                    <a:moveTo>
                      <a:pt x="135" y="20"/>
                    </a:moveTo>
                    <a:cubicBezTo>
                      <a:pt x="145" y="20"/>
                      <a:pt x="145" y="20"/>
                      <a:pt x="145" y="20"/>
                    </a:cubicBezTo>
                    <a:cubicBezTo>
                      <a:pt x="145" y="51"/>
                      <a:pt x="145" y="51"/>
                      <a:pt x="145" y="51"/>
                    </a:cubicBezTo>
                    <a:cubicBezTo>
                      <a:pt x="135" y="51"/>
                      <a:pt x="135" y="51"/>
                      <a:pt x="135" y="51"/>
                    </a:cubicBezTo>
                    <a:lnTo>
                      <a:pt x="135" y="20"/>
                    </a:lnTo>
                    <a:close/>
                    <a:moveTo>
                      <a:pt x="155" y="51"/>
                    </a:moveTo>
                    <a:cubicBezTo>
                      <a:pt x="155" y="20"/>
                      <a:pt x="155" y="20"/>
                      <a:pt x="155" y="20"/>
                    </a:cubicBezTo>
                    <a:cubicBezTo>
                      <a:pt x="243" y="20"/>
                      <a:pt x="243" y="20"/>
                      <a:pt x="243" y="20"/>
                    </a:cubicBezTo>
                    <a:cubicBezTo>
                      <a:pt x="252" y="20"/>
                      <a:pt x="259" y="27"/>
                      <a:pt x="259" y="36"/>
                    </a:cubicBezTo>
                    <a:cubicBezTo>
                      <a:pt x="259" y="51"/>
                      <a:pt x="259" y="51"/>
                      <a:pt x="259" y="51"/>
                    </a:cubicBezTo>
                    <a:cubicBezTo>
                      <a:pt x="210" y="51"/>
                      <a:pt x="210" y="51"/>
                      <a:pt x="210" y="51"/>
                    </a:cubicBezTo>
                    <a:lnTo>
                      <a:pt x="155" y="51"/>
                    </a:lnTo>
                    <a:close/>
                    <a:moveTo>
                      <a:pt x="259" y="62"/>
                    </a:moveTo>
                    <a:cubicBezTo>
                      <a:pt x="259" y="73"/>
                      <a:pt x="259" y="73"/>
                      <a:pt x="259" y="73"/>
                    </a:cubicBezTo>
                    <a:cubicBezTo>
                      <a:pt x="259" y="74"/>
                      <a:pt x="258" y="75"/>
                      <a:pt x="257" y="76"/>
                    </a:cubicBezTo>
                    <a:cubicBezTo>
                      <a:pt x="156" y="163"/>
                      <a:pt x="156" y="163"/>
                      <a:pt x="156" y="163"/>
                    </a:cubicBezTo>
                    <a:cubicBezTo>
                      <a:pt x="142" y="149"/>
                      <a:pt x="142" y="149"/>
                      <a:pt x="142" y="149"/>
                    </a:cubicBezTo>
                    <a:cubicBezTo>
                      <a:pt x="137" y="145"/>
                      <a:pt x="132" y="142"/>
                      <a:pt x="126" y="140"/>
                    </a:cubicBezTo>
                    <a:cubicBezTo>
                      <a:pt x="214" y="62"/>
                      <a:pt x="214" y="62"/>
                      <a:pt x="214" y="62"/>
                    </a:cubicBezTo>
                    <a:lnTo>
                      <a:pt x="259" y="62"/>
                    </a:lnTo>
                    <a:close/>
                    <a:moveTo>
                      <a:pt x="100" y="191"/>
                    </a:moveTo>
                    <a:cubicBezTo>
                      <a:pt x="96" y="186"/>
                      <a:pt x="93" y="180"/>
                      <a:pt x="93" y="174"/>
                    </a:cubicBezTo>
                    <a:cubicBezTo>
                      <a:pt x="93" y="160"/>
                      <a:pt x="104" y="150"/>
                      <a:pt x="117" y="150"/>
                    </a:cubicBezTo>
                    <a:cubicBezTo>
                      <a:pt x="124" y="150"/>
                      <a:pt x="130" y="152"/>
                      <a:pt x="134" y="157"/>
                    </a:cubicBezTo>
                    <a:cubicBezTo>
                      <a:pt x="169" y="191"/>
                      <a:pt x="169" y="191"/>
                      <a:pt x="169" y="191"/>
                    </a:cubicBezTo>
                    <a:cubicBezTo>
                      <a:pt x="222" y="191"/>
                      <a:pt x="222" y="191"/>
                      <a:pt x="222" y="191"/>
                    </a:cubicBezTo>
                    <a:cubicBezTo>
                      <a:pt x="222" y="217"/>
                      <a:pt x="222" y="217"/>
                      <a:pt x="222" y="217"/>
                    </a:cubicBezTo>
                    <a:cubicBezTo>
                      <a:pt x="126" y="217"/>
                      <a:pt x="126" y="217"/>
                      <a:pt x="126" y="217"/>
                    </a:cubicBezTo>
                    <a:lnTo>
                      <a:pt x="100" y="191"/>
                    </a:lnTo>
                    <a:close/>
                    <a:moveTo>
                      <a:pt x="150" y="227"/>
                    </a:moveTo>
                    <a:cubicBezTo>
                      <a:pt x="202" y="227"/>
                      <a:pt x="202" y="227"/>
                      <a:pt x="202" y="227"/>
                    </a:cubicBezTo>
                    <a:cubicBezTo>
                      <a:pt x="233" y="227"/>
                      <a:pt x="233" y="227"/>
                      <a:pt x="233" y="22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sp>
            <p:nvSpPr>
              <p:cNvPr id="1949" name="Freeform 105"/>
              <p:cNvSpPr>
                <a:spLocks noEditPoints="1"/>
              </p:cNvSpPr>
              <p:nvPr/>
            </p:nvSpPr>
            <p:spPr bwMode="auto">
              <a:xfrm>
                <a:off x="7750161" y="2742161"/>
                <a:ext cx="41790" cy="43207"/>
              </a:xfrm>
              <a:custGeom>
                <a:avLst/>
                <a:gdLst>
                  <a:gd name="T0" fmla="*/ 13 w 25"/>
                  <a:gd name="T1" fmla="*/ 0 h 26"/>
                  <a:gd name="T2" fmla="*/ 0 w 25"/>
                  <a:gd name="T3" fmla="*/ 13 h 26"/>
                  <a:gd name="T4" fmla="*/ 13 w 25"/>
                  <a:gd name="T5" fmla="*/ 26 h 26"/>
                  <a:gd name="T6" fmla="*/ 25 w 25"/>
                  <a:gd name="T7" fmla="*/ 13 h 26"/>
                  <a:gd name="T8" fmla="*/ 13 w 25"/>
                  <a:gd name="T9" fmla="*/ 0 h 26"/>
                  <a:gd name="T10" fmla="*/ 13 w 25"/>
                  <a:gd name="T11" fmla="*/ 15 h 26"/>
                  <a:gd name="T12" fmla="*/ 10 w 25"/>
                  <a:gd name="T13" fmla="*/ 13 h 26"/>
                  <a:gd name="T14" fmla="*/ 13 w 25"/>
                  <a:gd name="T15" fmla="*/ 10 h 26"/>
                  <a:gd name="T16" fmla="*/ 15 w 25"/>
                  <a:gd name="T17" fmla="*/ 13 h 26"/>
                  <a:gd name="T18" fmla="*/ 13 w 25"/>
                  <a:gd name="T19"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6">
                    <a:moveTo>
                      <a:pt x="13" y="0"/>
                    </a:moveTo>
                    <a:cubicBezTo>
                      <a:pt x="5" y="0"/>
                      <a:pt x="0" y="6"/>
                      <a:pt x="0" y="13"/>
                    </a:cubicBezTo>
                    <a:cubicBezTo>
                      <a:pt x="0" y="20"/>
                      <a:pt x="5" y="26"/>
                      <a:pt x="13" y="26"/>
                    </a:cubicBezTo>
                    <a:cubicBezTo>
                      <a:pt x="20" y="26"/>
                      <a:pt x="25" y="20"/>
                      <a:pt x="25" y="13"/>
                    </a:cubicBezTo>
                    <a:cubicBezTo>
                      <a:pt x="25" y="6"/>
                      <a:pt x="20" y="0"/>
                      <a:pt x="13" y="0"/>
                    </a:cubicBezTo>
                    <a:moveTo>
                      <a:pt x="13" y="15"/>
                    </a:moveTo>
                    <a:cubicBezTo>
                      <a:pt x="11" y="15"/>
                      <a:pt x="10" y="14"/>
                      <a:pt x="10" y="13"/>
                    </a:cubicBezTo>
                    <a:cubicBezTo>
                      <a:pt x="10" y="11"/>
                      <a:pt x="11" y="10"/>
                      <a:pt x="13" y="10"/>
                    </a:cubicBezTo>
                    <a:cubicBezTo>
                      <a:pt x="14" y="10"/>
                      <a:pt x="15" y="11"/>
                      <a:pt x="15" y="13"/>
                    </a:cubicBezTo>
                    <a:cubicBezTo>
                      <a:pt x="15" y="14"/>
                      <a:pt x="14" y="15"/>
                      <a:pt x="13" y="1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76767"/>
                  </a:solidFill>
                  <a:effectLst/>
                  <a:uLnTx/>
                  <a:uFillTx/>
                  <a:latin typeface="+mj-lt"/>
                  <a:ea typeface="ＭＳ Ｐゴシック" charset="0"/>
                </a:endParaRPr>
              </a:p>
            </p:txBody>
          </p:sp>
        </p:grpSp>
      </p:grpSp>
      <p:sp>
        <p:nvSpPr>
          <p:cNvPr id="2271" name="Rectangle 2270"/>
          <p:cNvSpPr/>
          <p:nvPr/>
        </p:nvSpPr>
        <p:spPr>
          <a:xfrm>
            <a:off x="4552950" y="1079500"/>
            <a:ext cx="4591050" cy="363854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2049" name="Rectangle 2048"/>
          <p:cNvSpPr/>
          <p:nvPr/>
        </p:nvSpPr>
        <p:spPr>
          <a:xfrm>
            <a:off x="4742928" y="2258599"/>
            <a:ext cx="4124847" cy="1280351"/>
          </a:xfrm>
          <a:prstGeom prst="rect">
            <a:avLst/>
          </a:prstGeom>
          <a:noFill/>
          <a:ln w="25400" cap="rnd" cmpd="sng" algn="ctr">
            <a:noFill/>
            <a:prstDash val="solid"/>
          </a:ln>
          <a:effectLst/>
        </p:spPr>
        <p:txBody>
          <a:bodyPr wrap="square" tIns="18288" bIns="0" rtlCol="0" anchor="t" anchorCtr="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smtClean="0">
                <a:ln>
                  <a:noFill/>
                </a:ln>
                <a:solidFill>
                  <a:schemeClr val="bg2"/>
                </a:solidFill>
                <a:effectLst/>
                <a:uLnTx/>
                <a:uFillTx/>
                <a:latin typeface="+mj-lt"/>
                <a:ea typeface="+mn-ea"/>
                <a:cs typeface="+mn-cs"/>
              </a:rPr>
              <a:t>12</a:t>
            </a:r>
            <a:r>
              <a:rPr kumimoji="0" lang="en-US" sz="2400" b="0" i="0" u="none" strike="noStrike" kern="1200" cap="none" spc="0" normalizeH="0" baseline="0" noProof="0" dirty="0" smtClean="0">
                <a:ln>
                  <a:noFill/>
                </a:ln>
                <a:solidFill>
                  <a:schemeClr val="bg2"/>
                </a:solidFill>
                <a:effectLst/>
                <a:uLnTx/>
                <a:uFillTx/>
                <a:latin typeface="+mj-lt"/>
                <a:ea typeface="+mn-ea"/>
                <a:cs typeface="+mn-cs"/>
              </a:rPr>
              <a:t> </a:t>
            </a:r>
            <a:r>
              <a:rPr lang="en-US" sz="4400" dirty="0" smtClean="0">
                <a:solidFill>
                  <a:schemeClr val="bg2"/>
                </a:solidFill>
                <a:latin typeface="+mj-lt"/>
                <a:ea typeface="+mn-ea"/>
              </a:rPr>
              <a:t>billion</a:t>
            </a:r>
            <a:r>
              <a:rPr lang="en-US" sz="2400" dirty="0">
                <a:solidFill>
                  <a:schemeClr val="bg2"/>
                </a:solidFill>
                <a:latin typeface="+mj-lt"/>
                <a:ea typeface="+mn-ea"/>
              </a:rPr>
              <a:t/>
            </a:r>
            <a:br>
              <a:rPr lang="en-US" sz="2400" dirty="0">
                <a:solidFill>
                  <a:schemeClr val="bg2"/>
                </a:solidFill>
                <a:latin typeface="+mj-lt"/>
                <a:ea typeface="+mn-ea"/>
              </a:rPr>
            </a:br>
            <a:r>
              <a:rPr kumimoji="0" lang="en-US" sz="2400" b="0" i="0" u="none" strike="noStrike" kern="1200" cap="none" spc="0" normalizeH="0" baseline="0" noProof="0" dirty="0" smtClean="0">
                <a:ln>
                  <a:noFill/>
                </a:ln>
                <a:solidFill>
                  <a:schemeClr val="bg2"/>
                </a:solidFill>
                <a:effectLst/>
                <a:uLnTx/>
                <a:uFillTx/>
                <a:latin typeface="+mj-lt"/>
                <a:ea typeface="+mn-ea"/>
                <a:cs typeface="+mn-cs"/>
              </a:rPr>
              <a:t>Connected Devices </a:t>
            </a:r>
            <a:br>
              <a:rPr kumimoji="0" lang="en-US" sz="2400" b="0" i="0" u="none" strike="noStrike" kern="1200" cap="none" spc="0" normalizeH="0" baseline="0" noProof="0" dirty="0" smtClean="0">
                <a:ln>
                  <a:noFill/>
                </a:ln>
                <a:solidFill>
                  <a:schemeClr val="bg2"/>
                </a:solidFill>
                <a:effectLst/>
                <a:uLnTx/>
                <a:uFillTx/>
                <a:latin typeface="+mj-lt"/>
                <a:ea typeface="+mn-ea"/>
                <a:cs typeface="+mn-cs"/>
              </a:rPr>
            </a:br>
            <a:r>
              <a:rPr kumimoji="0" lang="en-US" sz="1400" b="0" i="0" u="none" strike="noStrike" kern="1200" cap="none" spc="0" normalizeH="0" baseline="0" noProof="0" dirty="0" smtClean="0">
                <a:ln>
                  <a:noFill/>
                </a:ln>
                <a:solidFill>
                  <a:schemeClr val="bg2"/>
                </a:solidFill>
                <a:effectLst/>
                <a:uLnTx/>
                <a:uFillTx/>
                <a:latin typeface="+mj-lt"/>
                <a:ea typeface="+mn-ea"/>
                <a:cs typeface="+mn-cs"/>
              </a:rPr>
              <a:t>(Cisco VNI)</a:t>
            </a:r>
            <a:endParaRPr kumimoji="0" lang="en-US" sz="1400" b="0" i="0" u="none" strike="noStrike" kern="1200" cap="none" spc="0" normalizeH="0" baseline="0" noProof="0" dirty="0">
              <a:ln>
                <a:noFill/>
              </a:ln>
              <a:solidFill>
                <a:schemeClr val="bg2"/>
              </a:solidFill>
              <a:effectLst/>
              <a:uLnTx/>
              <a:uFillTx/>
              <a:latin typeface="+mj-lt"/>
              <a:ea typeface="+mn-ea"/>
              <a:cs typeface="+mn-cs"/>
            </a:endParaRPr>
          </a:p>
        </p:txBody>
      </p:sp>
      <p:sp>
        <p:nvSpPr>
          <p:cNvPr id="2050" name="Rectangle 2049"/>
          <p:cNvSpPr/>
          <p:nvPr/>
        </p:nvSpPr>
        <p:spPr>
          <a:xfrm flipH="1">
            <a:off x="7551506" y="1079500"/>
            <a:ext cx="1316269" cy="518944"/>
          </a:xfrm>
          <a:prstGeom prst="rect">
            <a:avLst/>
          </a:prstGeom>
          <a:solidFill>
            <a:srgbClr val="676767"/>
          </a:solidFill>
          <a:ln w="25400" cap="flat" cmpd="sng" algn="ctr">
            <a:noFill/>
            <a:prstDash val="solid"/>
          </a:ln>
          <a:effectLst/>
        </p:spPr>
        <p:txBody>
          <a:bodyPr rtlCol="0" anchor="ctr"/>
          <a:lstStyle/>
          <a:p>
            <a:pPr lvl="0" algn="ctr"/>
            <a:r>
              <a:rPr lang="en-US" sz="1600" b="1" dirty="0" smtClean="0">
                <a:solidFill>
                  <a:srgbClr val="FFFFFF"/>
                </a:solidFill>
                <a:latin typeface="+mj-lt"/>
                <a:ea typeface="+mn-ea"/>
              </a:rPr>
              <a:t>20% CAGR </a:t>
            </a:r>
            <a:r>
              <a:rPr lang="en-US" sz="1400" dirty="0" smtClean="0">
                <a:solidFill>
                  <a:srgbClr val="FFFFFF"/>
                </a:solidFill>
                <a:latin typeface="+mj-lt"/>
                <a:ea typeface="+mn-ea"/>
              </a:rPr>
              <a:t>2015–2020</a:t>
            </a:r>
          </a:p>
        </p:txBody>
      </p:sp>
      <p:cxnSp>
        <p:nvCxnSpPr>
          <p:cNvPr id="2273" name="Straight Connector 2272"/>
          <p:cNvCxnSpPr/>
          <p:nvPr/>
        </p:nvCxnSpPr>
        <p:spPr>
          <a:xfrm>
            <a:off x="4552950" y="1079500"/>
            <a:ext cx="0" cy="363855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2" name="Group 241"/>
          <p:cNvGrpSpPr/>
          <p:nvPr/>
        </p:nvGrpSpPr>
        <p:grpSpPr>
          <a:xfrm>
            <a:off x="1750830" y="1156397"/>
            <a:ext cx="585870" cy="585871"/>
            <a:chOff x="1750830" y="1156397"/>
            <a:chExt cx="585870" cy="585871"/>
          </a:xfrm>
        </p:grpSpPr>
        <p:sp>
          <p:nvSpPr>
            <p:cNvPr id="1951" name="Oval 1950"/>
            <p:cNvSpPr/>
            <p:nvPr/>
          </p:nvSpPr>
          <p:spPr>
            <a:xfrm>
              <a:off x="1750830" y="1156397"/>
              <a:ext cx="585870" cy="585871"/>
            </a:xfrm>
            <a:prstGeom prst="ellipse">
              <a:avLst/>
            </a:prstGeom>
            <a:solidFill>
              <a:schemeClr val="accent1"/>
            </a:solidFill>
            <a:ln w="25400" cap="rnd" cmpd="sng" algn="ctr">
              <a:solidFill>
                <a:srgbClr val="FFFFFF"/>
              </a:solidFill>
              <a:prstDash val="solid"/>
            </a:ln>
            <a:effectLst/>
          </p:spPr>
          <p:txBody>
            <a:bodyPr wrap="none"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FFFFFF"/>
                </a:solidFill>
                <a:effectLst/>
                <a:uLnTx/>
                <a:uFillTx/>
                <a:latin typeface="+mj-lt"/>
                <a:ea typeface="+mn-ea"/>
                <a:cs typeface="+mn-cs"/>
              </a:endParaRPr>
            </a:p>
          </p:txBody>
        </p:sp>
        <p:sp>
          <p:nvSpPr>
            <p:cNvPr id="2521" name="Freeform 473"/>
            <p:cNvSpPr>
              <a:spLocks noEditPoints="1"/>
            </p:cNvSpPr>
            <p:nvPr/>
          </p:nvSpPr>
          <p:spPr bwMode="auto">
            <a:xfrm>
              <a:off x="1811759" y="1368430"/>
              <a:ext cx="464013" cy="161804"/>
            </a:xfrm>
            <a:custGeom>
              <a:avLst/>
              <a:gdLst/>
              <a:ahLst/>
              <a:cxnLst>
                <a:cxn ang="0">
                  <a:pos x="3744" y="1658"/>
                </a:cxn>
                <a:cxn ang="0">
                  <a:pos x="1464" y="1486"/>
                </a:cxn>
                <a:cxn ang="0">
                  <a:pos x="1256" y="1686"/>
                </a:cxn>
                <a:cxn ang="0">
                  <a:pos x="970" y="1710"/>
                </a:cxn>
                <a:cxn ang="0">
                  <a:pos x="702" y="1514"/>
                </a:cxn>
                <a:cxn ang="0">
                  <a:pos x="214" y="1398"/>
                </a:cxn>
                <a:cxn ang="0">
                  <a:pos x="28" y="1182"/>
                </a:cxn>
                <a:cxn ang="0">
                  <a:pos x="22" y="850"/>
                </a:cxn>
                <a:cxn ang="0">
                  <a:pos x="92" y="622"/>
                </a:cxn>
                <a:cxn ang="0">
                  <a:pos x="88" y="444"/>
                </a:cxn>
                <a:cxn ang="0">
                  <a:pos x="274" y="354"/>
                </a:cxn>
                <a:cxn ang="0">
                  <a:pos x="814" y="258"/>
                </a:cxn>
                <a:cxn ang="0">
                  <a:pos x="1448" y="40"/>
                </a:cxn>
                <a:cxn ang="0">
                  <a:pos x="2448" y="8"/>
                </a:cxn>
                <a:cxn ang="0">
                  <a:pos x="3064" y="160"/>
                </a:cxn>
                <a:cxn ang="0">
                  <a:pos x="3562" y="480"/>
                </a:cxn>
                <a:cxn ang="0">
                  <a:pos x="4596" y="694"/>
                </a:cxn>
                <a:cxn ang="0">
                  <a:pos x="4894" y="898"/>
                </a:cxn>
                <a:cxn ang="0">
                  <a:pos x="4934" y="1208"/>
                </a:cxn>
                <a:cxn ang="0">
                  <a:pos x="4828" y="1422"/>
                </a:cxn>
                <a:cxn ang="0">
                  <a:pos x="4318" y="1486"/>
                </a:cxn>
                <a:cxn ang="0">
                  <a:pos x="4178" y="1650"/>
                </a:cxn>
                <a:cxn ang="0">
                  <a:pos x="3956" y="1012"/>
                </a:cxn>
                <a:cxn ang="0">
                  <a:pos x="3740" y="1120"/>
                </a:cxn>
                <a:cxn ang="0">
                  <a:pos x="3678" y="1350"/>
                </a:cxn>
                <a:cxn ang="0">
                  <a:pos x="3770" y="1532"/>
                </a:cxn>
                <a:cxn ang="0">
                  <a:pos x="3956" y="1608"/>
                </a:cxn>
                <a:cxn ang="0">
                  <a:pos x="4156" y="1516"/>
                </a:cxn>
                <a:cxn ang="0">
                  <a:pos x="4234" y="1310"/>
                </a:cxn>
                <a:cxn ang="0">
                  <a:pos x="4132" y="1080"/>
                </a:cxn>
                <a:cxn ang="0">
                  <a:pos x="1078" y="1012"/>
                </a:cxn>
                <a:cxn ang="0">
                  <a:pos x="814" y="1144"/>
                </a:cxn>
                <a:cxn ang="0">
                  <a:pos x="766" y="1368"/>
                </a:cxn>
                <a:cxn ang="0">
                  <a:pos x="934" y="1576"/>
                </a:cxn>
                <a:cxn ang="0">
                  <a:pos x="1178" y="1592"/>
                </a:cxn>
                <a:cxn ang="0">
                  <a:pos x="1362" y="1434"/>
                </a:cxn>
                <a:cxn ang="0">
                  <a:pos x="1386" y="1250"/>
                </a:cxn>
                <a:cxn ang="0">
                  <a:pos x="1200" y="1036"/>
                </a:cxn>
                <a:cxn ang="0">
                  <a:pos x="4694" y="1346"/>
                </a:cxn>
                <a:cxn ang="0">
                  <a:pos x="4806" y="1254"/>
                </a:cxn>
                <a:cxn ang="0">
                  <a:pos x="4798" y="960"/>
                </a:cxn>
                <a:cxn ang="0">
                  <a:pos x="4428" y="760"/>
                </a:cxn>
                <a:cxn ang="0">
                  <a:pos x="3514" y="590"/>
                </a:cxn>
                <a:cxn ang="0">
                  <a:pos x="3106" y="310"/>
                </a:cxn>
                <a:cxn ang="0">
                  <a:pos x="2516" y="128"/>
                </a:cxn>
                <a:cxn ang="0">
                  <a:pos x="1558" y="144"/>
                </a:cxn>
                <a:cxn ang="0">
                  <a:pos x="920" y="336"/>
                </a:cxn>
                <a:cxn ang="0">
                  <a:pos x="372" y="464"/>
                </a:cxn>
                <a:cxn ang="0">
                  <a:pos x="186" y="502"/>
                </a:cxn>
                <a:cxn ang="0">
                  <a:pos x="204" y="708"/>
                </a:cxn>
                <a:cxn ang="0">
                  <a:pos x="122" y="936"/>
                </a:cxn>
                <a:cxn ang="0">
                  <a:pos x="154" y="1184"/>
                </a:cxn>
                <a:cxn ang="0">
                  <a:pos x="576" y="1200"/>
                </a:cxn>
                <a:cxn ang="0">
                  <a:pos x="864" y="864"/>
                </a:cxn>
                <a:cxn ang="0">
                  <a:pos x="1144" y="838"/>
                </a:cxn>
                <a:cxn ang="0">
                  <a:pos x="1448" y="1050"/>
                </a:cxn>
                <a:cxn ang="0">
                  <a:pos x="1532" y="1334"/>
                </a:cxn>
                <a:cxn ang="0">
                  <a:pos x="3494" y="1206"/>
                </a:cxn>
                <a:cxn ang="0">
                  <a:pos x="3776" y="868"/>
                </a:cxn>
                <a:cxn ang="0">
                  <a:pos x="3992" y="828"/>
                </a:cxn>
                <a:cxn ang="0">
                  <a:pos x="4274" y="944"/>
                </a:cxn>
                <a:cxn ang="0">
                  <a:pos x="4450" y="1282"/>
                </a:cxn>
              </a:cxnLst>
              <a:rect l="0" t="0" r="r" b="b"/>
              <a:pathLst>
                <a:path w="4944" h="1724">
                  <a:moveTo>
                    <a:pt x="3956" y="1724"/>
                  </a:moveTo>
                  <a:lnTo>
                    <a:pt x="3956" y="1724"/>
                  </a:lnTo>
                  <a:lnTo>
                    <a:pt x="3928" y="1722"/>
                  </a:lnTo>
                  <a:lnTo>
                    <a:pt x="3900" y="1720"/>
                  </a:lnTo>
                  <a:lnTo>
                    <a:pt x="3872" y="1714"/>
                  </a:lnTo>
                  <a:lnTo>
                    <a:pt x="3844" y="1706"/>
                  </a:lnTo>
                  <a:lnTo>
                    <a:pt x="3818" y="1698"/>
                  </a:lnTo>
                  <a:lnTo>
                    <a:pt x="3792" y="1686"/>
                  </a:lnTo>
                  <a:lnTo>
                    <a:pt x="3768" y="1674"/>
                  </a:lnTo>
                  <a:lnTo>
                    <a:pt x="3744" y="1658"/>
                  </a:lnTo>
                  <a:lnTo>
                    <a:pt x="3722" y="1642"/>
                  </a:lnTo>
                  <a:lnTo>
                    <a:pt x="3700" y="1624"/>
                  </a:lnTo>
                  <a:lnTo>
                    <a:pt x="3680" y="1604"/>
                  </a:lnTo>
                  <a:lnTo>
                    <a:pt x="3662" y="1584"/>
                  </a:lnTo>
                  <a:lnTo>
                    <a:pt x="3644" y="1562"/>
                  </a:lnTo>
                  <a:lnTo>
                    <a:pt x="3628" y="1538"/>
                  </a:lnTo>
                  <a:lnTo>
                    <a:pt x="3614" y="1512"/>
                  </a:lnTo>
                  <a:lnTo>
                    <a:pt x="3600" y="1486"/>
                  </a:lnTo>
                  <a:lnTo>
                    <a:pt x="1464" y="1486"/>
                  </a:lnTo>
                  <a:lnTo>
                    <a:pt x="1464" y="1486"/>
                  </a:lnTo>
                  <a:lnTo>
                    <a:pt x="1450" y="1512"/>
                  </a:lnTo>
                  <a:lnTo>
                    <a:pt x="1436" y="1538"/>
                  </a:lnTo>
                  <a:lnTo>
                    <a:pt x="1418" y="1562"/>
                  </a:lnTo>
                  <a:lnTo>
                    <a:pt x="1398" y="1584"/>
                  </a:lnTo>
                  <a:lnTo>
                    <a:pt x="1378" y="1604"/>
                  </a:lnTo>
                  <a:lnTo>
                    <a:pt x="1356" y="1624"/>
                  </a:lnTo>
                  <a:lnTo>
                    <a:pt x="1332" y="1642"/>
                  </a:lnTo>
                  <a:lnTo>
                    <a:pt x="1308" y="1658"/>
                  </a:lnTo>
                  <a:lnTo>
                    <a:pt x="1282" y="1674"/>
                  </a:lnTo>
                  <a:lnTo>
                    <a:pt x="1256" y="1686"/>
                  </a:lnTo>
                  <a:lnTo>
                    <a:pt x="1228" y="1698"/>
                  </a:lnTo>
                  <a:lnTo>
                    <a:pt x="1198" y="1706"/>
                  </a:lnTo>
                  <a:lnTo>
                    <a:pt x="1170" y="1714"/>
                  </a:lnTo>
                  <a:lnTo>
                    <a:pt x="1140" y="1720"/>
                  </a:lnTo>
                  <a:lnTo>
                    <a:pt x="1108" y="1722"/>
                  </a:lnTo>
                  <a:lnTo>
                    <a:pt x="1078" y="1724"/>
                  </a:lnTo>
                  <a:lnTo>
                    <a:pt x="1078" y="1724"/>
                  </a:lnTo>
                  <a:lnTo>
                    <a:pt x="1040" y="1722"/>
                  </a:lnTo>
                  <a:lnTo>
                    <a:pt x="1004" y="1718"/>
                  </a:lnTo>
                  <a:lnTo>
                    <a:pt x="970" y="1710"/>
                  </a:lnTo>
                  <a:lnTo>
                    <a:pt x="936" y="1702"/>
                  </a:lnTo>
                  <a:lnTo>
                    <a:pt x="904" y="1688"/>
                  </a:lnTo>
                  <a:lnTo>
                    <a:pt x="872" y="1674"/>
                  </a:lnTo>
                  <a:lnTo>
                    <a:pt x="842" y="1658"/>
                  </a:lnTo>
                  <a:lnTo>
                    <a:pt x="814" y="1638"/>
                  </a:lnTo>
                  <a:lnTo>
                    <a:pt x="788" y="1616"/>
                  </a:lnTo>
                  <a:lnTo>
                    <a:pt x="764" y="1594"/>
                  </a:lnTo>
                  <a:lnTo>
                    <a:pt x="740" y="1568"/>
                  </a:lnTo>
                  <a:lnTo>
                    <a:pt x="720" y="1542"/>
                  </a:lnTo>
                  <a:lnTo>
                    <a:pt x="702" y="1514"/>
                  </a:lnTo>
                  <a:lnTo>
                    <a:pt x="686" y="1482"/>
                  </a:lnTo>
                  <a:lnTo>
                    <a:pt x="672" y="1452"/>
                  </a:lnTo>
                  <a:lnTo>
                    <a:pt x="662" y="1418"/>
                  </a:lnTo>
                  <a:lnTo>
                    <a:pt x="612" y="1414"/>
                  </a:lnTo>
                  <a:lnTo>
                    <a:pt x="612" y="1414"/>
                  </a:lnTo>
                  <a:lnTo>
                    <a:pt x="522" y="1408"/>
                  </a:lnTo>
                  <a:lnTo>
                    <a:pt x="434" y="1402"/>
                  </a:lnTo>
                  <a:lnTo>
                    <a:pt x="346" y="1400"/>
                  </a:lnTo>
                  <a:lnTo>
                    <a:pt x="256" y="1398"/>
                  </a:lnTo>
                  <a:lnTo>
                    <a:pt x="214" y="1398"/>
                  </a:lnTo>
                  <a:lnTo>
                    <a:pt x="198" y="1342"/>
                  </a:lnTo>
                  <a:lnTo>
                    <a:pt x="116" y="1328"/>
                  </a:lnTo>
                  <a:lnTo>
                    <a:pt x="102" y="1314"/>
                  </a:lnTo>
                  <a:lnTo>
                    <a:pt x="102" y="1314"/>
                  </a:lnTo>
                  <a:lnTo>
                    <a:pt x="96" y="1306"/>
                  </a:lnTo>
                  <a:lnTo>
                    <a:pt x="80" y="1286"/>
                  </a:lnTo>
                  <a:lnTo>
                    <a:pt x="60" y="1252"/>
                  </a:lnTo>
                  <a:lnTo>
                    <a:pt x="50" y="1232"/>
                  </a:lnTo>
                  <a:lnTo>
                    <a:pt x="38" y="1208"/>
                  </a:lnTo>
                  <a:lnTo>
                    <a:pt x="28" y="1182"/>
                  </a:lnTo>
                  <a:lnTo>
                    <a:pt x="20" y="1152"/>
                  </a:lnTo>
                  <a:lnTo>
                    <a:pt x="12" y="1120"/>
                  </a:lnTo>
                  <a:lnTo>
                    <a:pt x="6" y="1086"/>
                  </a:lnTo>
                  <a:lnTo>
                    <a:pt x="2" y="1048"/>
                  </a:lnTo>
                  <a:lnTo>
                    <a:pt x="0" y="1008"/>
                  </a:lnTo>
                  <a:lnTo>
                    <a:pt x="2" y="964"/>
                  </a:lnTo>
                  <a:lnTo>
                    <a:pt x="8" y="918"/>
                  </a:lnTo>
                  <a:lnTo>
                    <a:pt x="8" y="918"/>
                  </a:lnTo>
                  <a:lnTo>
                    <a:pt x="14" y="882"/>
                  </a:lnTo>
                  <a:lnTo>
                    <a:pt x="22" y="850"/>
                  </a:lnTo>
                  <a:lnTo>
                    <a:pt x="30" y="822"/>
                  </a:lnTo>
                  <a:lnTo>
                    <a:pt x="40" y="798"/>
                  </a:lnTo>
                  <a:lnTo>
                    <a:pt x="56" y="756"/>
                  </a:lnTo>
                  <a:lnTo>
                    <a:pt x="72" y="724"/>
                  </a:lnTo>
                  <a:lnTo>
                    <a:pt x="72" y="724"/>
                  </a:lnTo>
                  <a:lnTo>
                    <a:pt x="88" y="694"/>
                  </a:lnTo>
                  <a:lnTo>
                    <a:pt x="92" y="680"/>
                  </a:lnTo>
                  <a:lnTo>
                    <a:pt x="94" y="664"/>
                  </a:lnTo>
                  <a:lnTo>
                    <a:pt x="94" y="646"/>
                  </a:lnTo>
                  <a:lnTo>
                    <a:pt x="92" y="622"/>
                  </a:lnTo>
                  <a:lnTo>
                    <a:pt x="86" y="596"/>
                  </a:lnTo>
                  <a:lnTo>
                    <a:pt x="76" y="562"/>
                  </a:lnTo>
                  <a:lnTo>
                    <a:pt x="76" y="562"/>
                  </a:lnTo>
                  <a:lnTo>
                    <a:pt x="72" y="540"/>
                  </a:lnTo>
                  <a:lnTo>
                    <a:pt x="68" y="520"/>
                  </a:lnTo>
                  <a:lnTo>
                    <a:pt x="70" y="502"/>
                  </a:lnTo>
                  <a:lnTo>
                    <a:pt x="72" y="484"/>
                  </a:lnTo>
                  <a:lnTo>
                    <a:pt x="76" y="470"/>
                  </a:lnTo>
                  <a:lnTo>
                    <a:pt x="82" y="456"/>
                  </a:lnTo>
                  <a:lnTo>
                    <a:pt x="88" y="444"/>
                  </a:lnTo>
                  <a:lnTo>
                    <a:pt x="94" y="434"/>
                  </a:lnTo>
                  <a:lnTo>
                    <a:pt x="94" y="434"/>
                  </a:lnTo>
                  <a:lnTo>
                    <a:pt x="102" y="424"/>
                  </a:lnTo>
                  <a:lnTo>
                    <a:pt x="112" y="414"/>
                  </a:lnTo>
                  <a:lnTo>
                    <a:pt x="124" y="406"/>
                  </a:lnTo>
                  <a:lnTo>
                    <a:pt x="136" y="396"/>
                  </a:lnTo>
                  <a:lnTo>
                    <a:pt x="162" y="382"/>
                  </a:lnTo>
                  <a:lnTo>
                    <a:pt x="194" y="370"/>
                  </a:lnTo>
                  <a:lnTo>
                    <a:pt x="232" y="360"/>
                  </a:lnTo>
                  <a:lnTo>
                    <a:pt x="274" y="354"/>
                  </a:lnTo>
                  <a:lnTo>
                    <a:pt x="320" y="350"/>
                  </a:lnTo>
                  <a:lnTo>
                    <a:pt x="372" y="348"/>
                  </a:lnTo>
                  <a:lnTo>
                    <a:pt x="372" y="348"/>
                  </a:lnTo>
                  <a:lnTo>
                    <a:pt x="436" y="350"/>
                  </a:lnTo>
                  <a:lnTo>
                    <a:pt x="496" y="354"/>
                  </a:lnTo>
                  <a:lnTo>
                    <a:pt x="544" y="360"/>
                  </a:lnTo>
                  <a:lnTo>
                    <a:pt x="580" y="364"/>
                  </a:lnTo>
                  <a:lnTo>
                    <a:pt x="580" y="364"/>
                  </a:lnTo>
                  <a:lnTo>
                    <a:pt x="712" y="302"/>
                  </a:lnTo>
                  <a:lnTo>
                    <a:pt x="814" y="258"/>
                  </a:lnTo>
                  <a:lnTo>
                    <a:pt x="924" y="208"/>
                  </a:lnTo>
                  <a:lnTo>
                    <a:pt x="1040" y="160"/>
                  </a:lnTo>
                  <a:lnTo>
                    <a:pt x="1150" y="116"/>
                  </a:lnTo>
                  <a:lnTo>
                    <a:pt x="1200" y="96"/>
                  </a:lnTo>
                  <a:lnTo>
                    <a:pt x="1246" y="80"/>
                  </a:lnTo>
                  <a:lnTo>
                    <a:pt x="1286" y="68"/>
                  </a:lnTo>
                  <a:lnTo>
                    <a:pt x="1320" y="60"/>
                  </a:lnTo>
                  <a:lnTo>
                    <a:pt x="1320" y="60"/>
                  </a:lnTo>
                  <a:lnTo>
                    <a:pt x="1372" y="50"/>
                  </a:lnTo>
                  <a:lnTo>
                    <a:pt x="1448" y="40"/>
                  </a:lnTo>
                  <a:lnTo>
                    <a:pt x="1540" y="30"/>
                  </a:lnTo>
                  <a:lnTo>
                    <a:pt x="1648" y="20"/>
                  </a:lnTo>
                  <a:lnTo>
                    <a:pt x="1768" y="12"/>
                  </a:lnTo>
                  <a:lnTo>
                    <a:pt x="1894" y="6"/>
                  </a:lnTo>
                  <a:lnTo>
                    <a:pt x="2026" y="0"/>
                  </a:lnTo>
                  <a:lnTo>
                    <a:pt x="2160" y="0"/>
                  </a:lnTo>
                  <a:lnTo>
                    <a:pt x="2160" y="0"/>
                  </a:lnTo>
                  <a:lnTo>
                    <a:pt x="2262" y="0"/>
                  </a:lnTo>
                  <a:lnTo>
                    <a:pt x="2358" y="2"/>
                  </a:lnTo>
                  <a:lnTo>
                    <a:pt x="2448" y="8"/>
                  </a:lnTo>
                  <a:lnTo>
                    <a:pt x="2532" y="14"/>
                  </a:lnTo>
                  <a:lnTo>
                    <a:pt x="2608" y="24"/>
                  </a:lnTo>
                  <a:lnTo>
                    <a:pt x="2680" y="34"/>
                  </a:lnTo>
                  <a:lnTo>
                    <a:pt x="2744" y="46"/>
                  </a:lnTo>
                  <a:lnTo>
                    <a:pt x="2800" y="60"/>
                  </a:lnTo>
                  <a:lnTo>
                    <a:pt x="2800" y="60"/>
                  </a:lnTo>
                  <a:lnTo>
                    <a:pt x="2868" y="80"/>
                  </a:lnTo>
                  <a:lnTo>
                    <a:pt x="2936" y="104"/>
                  </a:lnTo>
                  <a:lnTo>
                    <a:pt x="3000" y="132"/>
                  </a:lnTo>
                  <a:lnTo>
                    <a:pt x="3064" y="160"/>
                  </a:lnTo>
                  <a:lnTo>
                    <a:pt x="3124" y="190"/>
                  </a:lnTo>
                  <a:lnTo>
                    <a:pt x="3182" y="222"/>
                  </a:lnTo>
                  <a:lnTo>
                    <a:pt x="3238" y="254"/>
                  </a:lnTo>
                  <a:lnTo>
                    <a:pt x="3292" y="286"/>
                  </a:lnTo>
                  <a:lnTo>
                    <a:pt x="3340" y="316"/>
                  </a:lnTo>
                  <a:lnTo>
                    <a:pt x="3386" y="348"/>
                  </a:lnTo>
                  <a:lnTo>
                    <a:pt x="3464" y="404"/>
                  </a:lnTo>
                  <a:lnTo>
                    <a:pt x="3524" y="448"/>
                  </a:lnTo>
                  <a:lnTo>
                    <a:pt x="3562" y="480"/>
                  </a:lnTo>
                  <a:lnTo>
                    <a:pt x="3562" y="480"/>
                  </a:lnTo>
                  <a:lnTo>
                    <a:pt x="3642" y="490"/>
                  </a:lnTo>
                  <a:lnTo>
                    <a:pt x="3774" y="508"/>
                  </a:lnTo>
                  <a:lnTo>
                    <a:pt x="3940" y="536"/>
                  </a:lnTo>
                  <a:lnTo>
                    <a:pt x="4032" y="552"/>
                  </a:lnTo>
                  <a:lnTo>
                    <a:pt x="4128" y="572"/>
                  </a:lnTo>
                  <a:lnTo>
                    <a:pt x="4226" y="592"/>
                  </a:lnTo>
                  <a:lnTo>
                    <a:pt x="4322" y="614"/>
                  </a:lnTo>
                  <a:lnTo>
                    <a:pt x="4418" y="638"/>
                  </a:lnTo>
                  <a:lnTo>
                    <a:pt x="4510" y="664"/>
                  </a:lnTo>
                  <a:lnTo>
                    <a:pt x="4596" y="694"/>
                  </a:lnTo>
                  <a:lnTo>
                    <a:pt x="4674" y="724"/>
                  </a:lnTo>
                  <a:lnTo>
                    <a:pt x="4710" y="740"/>
                  </a:lnTo>
                  <a:lnTo>
                    <a:pt x="4744" y="756"/>
                  </a:lnTo>
                  <a:lnTo>
                    <a:pt x="4776" y="772"/>
                  </a:lnTo>
                  <a:lnTo>
                    <a:pt x="4804" y="788"/>
                  </a:lnTo>
                  <a:lnTo>
                    <a:pt x="4814" y="798"/>
                  </a:lnTo>
                  <a:lnTo>
                    <a:pt x="4814" y="798"/>
                  </a:lnTo>
                  <a:lnTo>
                    <a:pt x="4854" y="844"/>
                  </a:lnTo>
                  <a:lnTo>
                    <a:pt x="4874" y="870"/>
                  </a:lnTo>
                  <a:lnTo>
                    <a:pt x="4894" y="898"/>
                  </a:lnTo>
                  <a:lnTo>
                    <a:pt x="4912" y="926"/>
                  </a:lnTo>
                  <a:lnTo>
                    <a:pt x="4928" y="954"/>
                  </a:lnTo>
                  <a:lnTo>
                    <a:pt x="4938" y="982"/>
                  </a:lnTo>
                  <a:lnTo>
                    <a:pt x="4942" y="994"/>
                  </a:lnTo>
                  <a:lnTo>
                    <a:pt x="4944" y="1006"/>
                  </a:lnTo>
                  <a:lnTo>
                    <a:pt x="4944" y="1006"/>
                  </a:lnTo>
                  <a:lnTo>
                    <a:pt x="4944" y="1058"/>
                  </a:lnTo>
                  <a:lnTo>
                    <a:pt x="4942" y="1112"/>
                  </a:lnTo>
                  <a:lnTo>
                    <a:pt x="4938" y="1176"/>
                  </a:lnTo>
                  <a:lnTo>
                    <a:pt x="4934" y="1208"/>
                  </a:lnTo>
                  <a:lnTo>
                    <a:pt x="4926" y="1244"/>
                  </a:lnTo>
                  <a:lnTo>
                    <a:pt x="4918" y="1276"/>
                  </a:lnTo>
                  <a:lnTo>
                    <a:pt x="4908" y="1308"/>
                  </a:lnTo>
                  <a:lnTo>
                    <a:pt x="4896" y="1340"/>
                  </a:lnTo>
                  <a:lnTo>
                    <a:pt x="4880" y="1366"/>
                  </a:lnTo>
                  <a:lnTo>
                    <a:pt x="4872" y="1380"/>
                  </a:lnTo>
                  <a:lnTo>
                    <a:pt x="4862" y="1390"/>
                  </a:lnTo>
                  <a:lnTo>
                    <a:pt x="4852" y="1402"/>
                  </a:lnTo>
                  <a:lnTo>
                    <a:pt x="4842" y="1410"/>
                  </a:lnTo>
                  <a:lnTo>
                    <a:pt x="4828" y="1422"/>
                  </a:lnTo>
                  <a:lnTo>
                    <a:pt x="4810" y="1422"/>
                  </a:lnTo>
                  <a:lnTo>
                    <a:pt x="4810" y="1422"/>
                  </a:lnTo>
                  <a:lnTo>
                    <a:pt x="4802" y="1422"/>
                  </a:lnTo>
                  <a:lnTo>
                    <a:pt x="4782" y="1428"/>
                  </a:lnTo>
                  <a:lnTo>
                    <a:pt x="4772" y="1432"/>
                  </a:lnTo>
                  <a:lnTo>
                    <a:pt x="4760" y="1440"/>
                  </a:lnTo>
                  <a:lnTo>
                    <a:pt x="4750" y="1448"/>
                  </a:lnTo>
                  <a:lnTo>
                    <a:pt x="4742" y="1460"/>
                  </a:lnTo>
                  <a:lnTo>
                    <a:pt x="4724" y="1486"/>
                  </a:lnTo>
                  <a:lnTo>
                    <a:pt x="4318" y="1486"/>
                  </a:lnTo>
                  <a:lnTo>
                    <a:pt x="4322" y="1458"/>
                  </a:lnTo>
                  <a:lnTo>
                    <a:pt x="4322" y="1458"/>
                  </a:lnTo>
                  <a:lnTo>
                    <a:pt x="4310" y="1486"/>
                  </a:lnTo>
                  <a:lnTo>
                    <a:pt x="4296" y="1514"/>
                  </a:lnTo>
                  <a:lnTo>
                    <a:pt x="4280" y="1542"/>
                  </a:lnTo>
                  <a:lnTo>
                    <a:pt x="4262" y="1566"/>
                  </a:lnTo>
                  <a:lnTo>
                    <a:pt x="4244" y="1590"/>
                  </a:lnTo>
                  <a:lnTo>
                    <a:pt x="4222" y="1612"/>
                  </a:lnTo>
                  <a:lnTo>
                    <a:pt x="4200" y="1632"/>
                  </a:lnTo>
                  <a:lnTo>
                    <a:pt x="4178" y="1650"/>
                  </a:lnTo>
                  <a:lnTo>
                    <a:pt x="4152" y="1666"/>
                  </a:lnTo>
                  <a:lnTo>
                    <a:pt x="4128" y="1682"/>
                  </a:lnTo>
                  <a:lnTo>
                    <a:pt x="4100" y="1694"/>
                  </a:lnTo>
                  <a:lnTo>
                    <a:pt x="4072" y="1704"/>
                  </a:lnTo>
                  <a:lnTo>
                    <a:pt x="4044" y="1712"/>
                  </a:lnTo>
                  <a:lnTo>
                    <a:pt x="4016" y="1718"/>
                  </a:lnTo>
                  <a:lnTo>
                    <a:pt x="3986" y="1722"/>
                  </a:lnTo>
                  <a:lnTo>
                    <a:pt x="3956" y="1724"/>
                  </a:lnTo>
                  <a:lnTo>
                    <a:pt x="3956" y="1724"/>
                  </a:lnTo>
                  <a:close/>
                  <a:moveTo>
                    <a:pt x="3956" y="1012"/>
                  </a:moveTo>
                  <a:lnTo>
                    <a:pt x="3956" y="1012"/>
                  </a:lnTo>
                  <a:lnTo>
                    <a:pt x="3928" y="1014"/>
                  </a:lnTo>
                  <a:lnTo>
                    <a:pt x="3900" y="1018"/>
                  </a:lnTo>
                  <a:lnTo>
                    <a:pt x="3872" y="1026"/>
                  </a:lnTo>
                  <a:lnTo>
                    <a:pt x="3848" y="1036"/>
                  </a:lnTo>
                  <a:lnTo>
                    <a:pt x="3822" y="1048"/>
                  </a:lnTo>
                  <a:lnTo>
                    <a:pt x="3800" y="1062"/>
                  </a:lnTo>
                  <a:lnTo>
                    <a:pt x="3778" y="1080"/>
                  </a:lnTo>
                  <a:lnTo>
                    <a:pt x="3758" y="1100"/>
                  </a:lnTo>
                  <a:lnTo>
                    <a:pt x="3740" y="1120"/>
                  </a:lnTo>
                  <a:lnTo>
                    <a:pt x="3724" y="1144"/>
                  </a:lnTo>
                  <a:lnTo>
                    <a:pt x="3710" y="1168"/>
                  </a:lnTo>
                  <a:lnTo>
                    <a:pt x="3698" y="1194"/>
                  </a:lnTo>
                  <a:lnTo>
                    <a:pt x="3688" y="1222"/>
                  </a:lnTo>
                  <a:lnTo>
                    <a:pt x="3682" y="1250"/>
                  </a:lnTo>
                  <a:lnTo>
                    <a:pt x="3678" y="1280"/>
                  </a:lnTo>
                  <a:lnTo>
                    <a:pt x="3676" y="1310"/>
                  </a:lnTo>
                  <a:lnTo>
                    <a:pt x="3676" y="1310"/>
                  </a:lnTo>
                  <a:lnTo>
                    <a:pt x="3676" y="1330"/>
                  </a:lnTo>
                  <a:lnTo>
                    <a:pt x="3678" y="1350"/>
                  </a:lnTo>
                  <a:lnTo>
                    <a:pt x="3682" y="1368"/>
                  </a:lnTo>
                  <a:lnTo>
                    <a:pt x="3688" y="1388"/>
                  </a:lnTo>
                  <a:lnTo>
                    <a:pt x="3688" y="1388"/>
                  </a:lnTo>
                  <a:lnTo>
                    <a:pt x="3694" y="1412"/>
                  </a:lnTo>
                  <a:lnTo>
                    <a:pt x="3704" y="1434"/>
                  </a:lnTo>
                  <a:lnTo>
                    <a:pt x="3714" y="1458"/>
                  </a:lnTo>
                  <a:lnTo>
                    <a:pt x="3726" y="1478"/>
                  </a:lnTo>
                  <a:lnTo>
                    <a:pt x="3740" y="1498"/>
                  </a:lnTo>
                  <a:lnTo>
                    <a:pt x="3754" y="1516"/>
                  </a:lnTo>
                  <a:lnTo>
                    <a:pt x="3770" y="1532"/>
                  </a:lnTo>
                  <a:lnTo>
                    <a:pt x="3786" y="1548"/>
                  </a:lnTo>
                  <a:lnTo>
                    <a:pt x="3806" y="1562"/>
                  </a:lnTo>
                  <a:lnTo>
                    <a:pt x="3824" y="1574"/>
                  </a:lnTo>
                  <a:lnTo>
                    <a:pt x="3844" y="1584"/>
                  </a:lnTo>
                  <a:lnTo>
                    <a:pt x="3866" y="1592"/>
                  </a:lnTo>
                  <a:lnTo>
                    <a:pt x="3886" y="1600"/>
                  </a:lnTo>
                  <a:lnTo>
                    <a:pt x="3910" y="1604"/>
                  </a:lnTo>
                  <a:lnTo>
                    <a:pt x="3932" y="1608"/>
                  </a:lnTo>
                  <a:lnTo>
                    <a:pt x="3956" y="1608"/>
                  </a:lnTo>
                  <a:lnTo>
                    <a:pt x="3956" y="1608"/>
                  </a:lnTo>
                  <a:lnTo>
                    <a:pt x="3980" y="1608"/>
                  </a:lnTo>
                  <a:lnTo>
                    <a:pt x="4002" y="1604"/>
                  </a:lnTo>
                  <a:lnTo>
                    <a:pt x="4024" y="1600"/>
                  </a:lnTo>
                  <a:lnTo>
                    <a:pt x="4046" y="1592"/>
                  </a:lnTo>
                  <a:lnTo>
                    <a:pt x="4066" y="1584"/>
                  </a:lnTo>
                  <a:lnTo>
                    <a:pt x="4086" y="1574"/>
                  </a:lnTo>
                  <a:lnTo>
                    <a:pt x="4106" y="1562"/>
                  </a:lnTo>
                  <a:lnTo>
                    <a:pt x="4124" y="1548"/>
                  </a:lnTo>
                  <a:lnTo>
                    <a:pt x="4140" y="1532"/>
                  </a:lnTo>
                  <a:lnTo>
                    <a:pt x="4156" y="1516"/>
                  </a:lnTo>
                  <a:lnTo>
                    <a:pt x="4172" y="1498"/>
                  </a:lnTo>
                  <a:lnTo>
                    <a:pt x="4184" y="1478"/>
                  </a:lnTo>
                  <a:lnTo>
                    <a:pt x="4196" y="1458"/>
                  </a:lnTo>
                  <a:lnTo>
                    <a:pt x="4208" y="1436"/>
                  </a:lnTo>
                  <a:lnTo>
                    <a:pt x="4216" y="1412"/>
                  </a:lnTo>
                  <a:lnTo>
                    <a:pt x="4224" y="1388"/>
                  </a:lnTo>
                  <a:lnTo>
                    <a:pt x="4224" y="1388"/>
                  </a:lnTo>
                  <a:lnTo>
                    <a:pt x="4232" y="1348"/>
                  </a:lnTo>
                  <a:lnTo>
                    <a:pt x="4234" y="1328"/>
                  </a:lnTo>
                  <a:lnTo>
                    <a:pt x="4234" y="1310"/>
                  </a:lnTo>
                  <a:lnTo>
                    <a:pt x="4234" y="1310"/>
                  </a:lnTo>
                  <a:lnTo>
                    <a:pt x="4232" y="1280"/>
                  </a:lnTo>
                  <a:lnTo>
                    <a:pt x="4228" y="1250"/>
                  </a:lnTo>
                  <a:lnTo>
                    <a:pt x="4222" y="1222"/>
                  </a:lnTo>
                  <a:lnTo>
                    <a:pt x="4212" y="1194"/>
                  </a:lnTo>
                  <a:lnTo>
                    <a:pt x="4200" y="1168"/>
                  </a:lnTo>
                  <a:lnTo>
                    <a:pt x="4186" y="1144"/>
                  </a:lnTo>
                  <a:lnTo>
                    <a:pt x="4170" y="1120"/>
                  </a:lnTo>
                  <a:lnTo>
                    <a:pt x="4152" y="1100"/>
                  </a:lnTo>
                  <a:lnTo>
                    <a:pt x="4132" y="1080"/>
                  </a:lnTo>
                  <a:lnTo>
                    <a:pt x="4112" y="1062"/>
                  </a:lnTo>
                  <a:lnTo>
                    <a:pt x="4088" y="1048"/>
                  </a:lnTo>
                  <a:lnTo>
                    <a:pt x="4064" y="1036"/>
                  </a:lnTo>
                  <a:lnTo>
                    <a:pt x="4038" y="1026"/>
                  </a:lnTo>
                  <a:lnTo>
                    <a:pt x="4012" y="1018"/>
                  </a:lnTo>
                  <a:lnTo>
                    <a:pt x="3984" y="1014"/>
                  </a:lnTo>
                  <a:lnTo>
                    <a:pt x="3956" y="1012"/>
                  </a:lnTo>
                  <a:lnTo>
                    <a:pt x="3956" y="1012"/>
                  </a:lnTo>
                  <a:close/>
                  <a:moveTo>
                    <a:pt x="1078" y="1012"/>
                  </a:moveTo>
                  <a:lnTo>
                    <a:pt x="1078" y="1012"/>
                  </a:lnTo>
                  <a:lnTo>
                    <a:pt x="1044" y="1014"/>
                  </a:lnTo>
                  <a:lnTo>
                    <a:pt x="1014" y="1018"/>
                  </a:lnTo>
                  <a:lnTo>
                    <a:pt x="982" y="1026"/>
                  </a:lnTo>
                  <a:lnTo>
                    <a:pt x="954" y="1036"/>
                  </a:lnTo>
                  <a:lnTo>
                    <a:pt x="926" y="1048"/>
                  </a:lnTo>
                  <a:lnTo>
                    <a:pt x="900" y="1062"/>
                  </a:lnTo>
                  <a:lnTo>
                    <a:pt x="876" y="1080"/>
                  </a:lnTo>
                  <a:lnTo>
                    <a:pt x="852" y="1100"/>
                  </a:lnTo>
                  <a:lnTo>
                    <a:pt x="832" y="1120"/>
                  </a:lnTo>
                  <a:lnTo>
                    <a:pt x="814" y="1144"/>
                  </a:lnTo>
                  <a:lnTo>
                    <a:pt x="798" y="1168"/>
                  </a:lnTo>
                  <a:lnTo>
                    <a:pt x="784" y="1194"/>
                  </a:lnTo>
                  <a:lnTo>
                    <a:pt x="774" y="1222"/>
                  </a:lnTo>
                  <a:lnTo>
                    <a:pt x="766" y="1250"/>
                  </a:lnTo>
                  <a:lnTo>
                    <a:pt x="762" y="1280"/>
                  </a:lnTo>
                  <a:lnTo>
                    <a:pt x="760" y="1310"/>
                  </a:lnTo>
                  <a:lnTo>
                    <a:pt x="760" y="1310"/>
                  </a:lnTo>
                  <a:lnTo>
                    <a:pt x="762" y="1340"/>
                  </a:lnTo>
                  <a:lnTo>
                    <a:pt x="762" y="1340"/>
                  </a:lnTo>
                  <a:lnTo>
                    <a:pt x="766" y="1368"/>
                  </a:lnTo>
                  <a:lnTo>
                    <a:pt x="774" y="1396"/>
                  </a:lnTo>
                  <a:lnTo>
                    <a:pt x="782" y="1422"/>
                  </a:lnTo>
                  <a:lnTo>
                    <a:pt x="794" y="1446"/>
                  </a:lnTo>
                  <a:lnTo>
                    <a:pt x="808" y="1470"/>
                  </a:lnTo>
                  <a:lnTo>
                    <a:pt x="826" y="1492"/>
                  </a:lnTo>
                  <a:lnTo>
                    <a:pt x="844" y="1512"/>
                  </a:lnTo>
                  <a:lnTo>
                    <a:pt x="864" y="1532"/>
                  </a:lnTo>
                  <a:lnTo>
                    <a:pt x="886" y="1548"/>
                  </a:lnTo>
                  <a:lnTo>
                    <a:pt x="910" y="1564"/>
                  </a:lnTo>
                  <a:lnTo>
                    <a:pt x="934" y="1576"/>
                  </a:lnTo>
                  <a:lnTo>
                    <a:pt x="960" y="1588"/>
                  </a:lnTo>
                  <a:lnTo>
                    <a:pt x="988" y="1596"/>
                  </a:lnTo>
                  <a:lnTo>
                    <a:pt x="1018" y="1604"/>
                  </a:lnTo>
                  <a:lnTo>
                    <a:pt x="1046" y="1608"/>
                  </a:lnTo>
                  <a:lnTo>
                    <a:pt x="1078" y="1608"/>
                  </a:lnTo>
                  <a:lnTo>
                    <a:pt x="1078" y="1608"/>
                  </a:lnTo>
                  <a:lnTo>
                    <a:pt x="1104" y="1608"/>
                  </a:lnTo>
                  <a:lnTo>
                    <a:pt x="1130" y="1604"/>
                  </a:lnTo>
                  <a:lnTo>
                    <a:pt x="1154" y="1600"/>
                  </a:lnTo>
                  <a:lnTo>
                    <a:pt x="1178" y="1592"/>
                  </a:lnTo>
                  <a:lnTo>
                    <a:pt x="1202" y="1584"/>
                  </a:lnTo>
                  <a:lnTo>
                    <a:pt x="1226" y="1574"/>
                  </a:lnTo>
                  <a:lnTo>
                    <a:pt x="1246" y="1560"/>
                  </a:lnTo>
                  <a:lnTo>
                    <a:pt x="1268" y="1548"/>
                  </a:lnTo>
                  <a:lnTo>
                    <a:pt x="1286" y="1532"/>
                  </a:lnTo>
                  <a:lnTo>
                    <a:pt x="1304" y="1514"/>
                  </a:lnTo>
                  <a:lnTo>
                    <a:pt x="1322" y="1496"/>
                  </a:lnTo>
                  <a:lnTo>
                    <a:pt x="1336" y="1478"/>
                  </a:lnTo>
                  <a:lnTo>
                    <a:pt x="1350" y="1456"/>
                  </a:lnTo>
                  <a:lnTo>
                    <a:pt x="1362" y="1434"/>
                  </a:lnTo>
                  <a:lnTo>
                    <a:pt x="1372" y="1412"/>
                  </a:lnTo>
                  <a:lnTo>
                    <a:pt x="1380" y="1388"/>
                  </a:lnTo>
                  <a:lnTo>
                    <a:pt x="1380" y="1388"/>
                  </a:lnTo>
                  <a:lnTo>
                    <a:pt x="1386" y="1368"/>
                  </a:lnTo>
                  <a:lnTo>
                    <a:pt x="1390" y="1348"/>
                  </a:lnTo>
                  <a:lnTo>
                    <a:pt x="1392" y="1330"/>
                  </a:lnTo>
                  <a:lnTo>
                    <a:pt x="1392" y="1310"/>
                  </a:lnTo>
                  <a:lnTo>
                    <a:pt x="1392" y="1310"/>
                  </a:lnTo>
                  <a:lnTo>
                    <a:pt x="1390" y="1280"/>
                  </a:lnTo>
                  <a:lnTo>
                    <a:pt x="1386" y="1250"/>
                  </a:lnTo>
                  <a:lnTo>
                    <a:pt x="1378" y="1222"/>
                  </a:lnTo>
                  <a:lnTo>
                    <a:pt x="1368" y="1194"/>
                  </a:lnTo>
                  <a:lnTo>
                    <a:pt x="1354" y="1168"/>
                  </a:lnTo>
                  <a:lnTo>
                    <a:pt x="1338" y="1144"/>
                  </a:lnTo>
                  <a:lnTo>
                    <a:pt x="1320" y="1120"/>
                  </a:lnTo>
                  <a:lnTo>
                    <a:pt x="1300" y="1100"/>
                  </a:lnTo>
                  <a:lnTo>
                    <a:pt x="1278" y="1080"/>
                  </a:lnTo>
                  <a:lnTo>
                    <a:pt x="1254" y="1062"/>
                  </a:lnTo>
                  <a:lnTo>
                    <a:pt x="1228" y="1048"/>
                  </a:lnTo>
                  <a:lnTo>
                    <a:pt x="1200" y="1036"/>
                  </a:lnTo>
                  <a:lnTo>
                    <a:pt x="1170" y="1026"/>
                  </a:lnTo>
                  <a:lnTo>
                    <a:pt x="1140" y="1018"/>
                  </a:lnTo>
                  <a:lnTo>
                    <a:pt x="1110" y="1014"/>
                  </a:lnTo>
                  <a:lnTo>
                    <a:pt x="1078" y="1012"/>
                  </a:lnTo>
                  <a:lnTo>
                    <a:pt x="1078" y="1012"/>
                  </a:lnTo>
                  <a:close/>
                  <a:moveTo>
                    <a:pt x="4450" y="1372"/>
                  </a:moveTo>
                  <a:lnTo>
                    <a:pt x="4664" y="1372"/>
                  </a:lnTo>
                  <a:lnTo>
                    <a:pt x="4664" y="1372"/>
                  </a:lnTo>
                  <a:lnTo>
                    <a:pt x="4678" y="1358"/>
                  </a:lnTo>
                  <a:lnTo>
                    <a:pt x="4694" y="1346"/>
                  </a:lnTo>
                  <a:lnTo>
                    <a:pt x="4710" y="1336"/>
                  </a:lnTo>
                  <a:lnTo>
                    <a:pt x="4726" y="1328"/>
                  </a:lnTo>
                  <a:lnTo>
                    <a:pt x="4740" y="1320"/>
                  </a:lnTo>
                  <a:lnTo>
                    <a:pt x="4756" y="1316"/>
                  </a:lnTo>
                  <a:lnTo>
                    <a:pt x="4780" y="1310"/>
                  </a:lnTo>
                  <a:lnTo>
                    <a:pt x="4780" y="1310"/>
                  </a:lnTo>
                  <a:lnTo>
                    <a:pt x="4788" y="1300"/>
                  </a:lnTo>
                  <a:lnTo>
                    <a:pt x="4794" y="1286"/>
                  </a:lnTo>
                  <a:lnTo>
                    <a:pt x="4800" y="1270"/>
                  </a:lnTo>
                  <a:lnTo>
                    <a:pt x="4806" y="1254"/>
                  </a:lnTo>
                  <a:lnTo>
                    <a:pt x="4816" y="1214"/>
                  </a:lnTo>
                  <a:lnTo>
                    <a:pt x="4822" y="1172"/>
                  </a:lnTo>
                  <a:lnTo>
                    <a:pt x="4826" y="1130"/>
                  </a:lnTo>
                  <a:lnTo>
                    <a:pt x="4830" y="1086"/>
                  </a:lnTo>
                  <a:lnTo>
                    <a:pt x="4830" y="1048"/>
                  </a:lnTo>
                  <a:lnTo>
                    <a:pt x="4828" y="1014"/>
                  </a:lnTo>
                  <a:lnTo>
                    <a:pt x="4828" y="1014"/>
                  </a:lnTo>
                  <a:lnTo>
                    <a:pt x="4826" y="1006"/>
                  </a:lnTo>
                  <a:lnTo>
                    <a:pt x="4818" y="992"/>
                  </a:lnTo>
                  <a:lnTo>
                    <a:pt x="4798" y="960"/>
                  </a:lnTo>
                  <a:lnTo>
                    <a:pt x="4768" y="922"/>
                  </a:lnTo>
                  <a:lnTo>
                    <a:pt x="4734" y="882"/>
                  </a:lnTo>
                  <a:lnTo>
                    <a:pt x="4734" y="882"/>
                  </a:lnTo>
                  <a:lnTo>
                    <a:pt x="4706" y="864"/>
                  </a:lnTo>
                  <a:lnTo>
                    <a:pt x="4674" y="848"/>
                  </a:lnTo>
                  <a:lnTo>
                    <a:pt x="4638" y="832"/>
                  </a:lnTo>
                  <a:lnTo>
                    <a:pt x="4602" y="816"/>
                  </a:lnTo>
                  <a:lnTo>
                    <a:pt x="4560" y="802"/>
                  </a:lnTo>
                  <a:lnTo>
                    <a:pt x="4518" y="788"/>
                  </a:lnTo>
                  <a:lnTo>
                    <a:pt x="4428" y="760"/>
                  </a:lnTo>
                  <a:lnTo>
                    <a:pt x="4332" y="734"/>
                  </a:lnTo>
                  <a:lnTo>
                    <a:pt x="4232" y="710"/>
                  </a:lnTo>
                  <a:lnTo>
                    <a:pt x="4130" y="688"/>
                  </a:lnTo>
                  <a:lnTo>
                    <a:pt x="4030" y="670"/>
                  </a:lnTo>
                  <a:lnTo>
                    <a:pt x="3932" y="652"/>
                  </a:lnTo>
                  <a:lnTo>
                    <a:pt x="3842" y="636"/>
                  </a:lnTo>
                  <a:lnTo>
                    <a:pt x="3684" y="612"/>
                  </a:lnTo>
                  <a:lnTo>
                    <a:pt x="3574" y="596"/>
                  </a:lnTo>
                  <a:lnTo>
                    <a:pt x="3532" y="592"/>
                  </a:lnTo>
                  <a:lnTo>
                    <a:pt x="3514" y="590"/>
                  </a:lnTo>
                  <a:lnTo>
                    <a:pt x="3500" y="578"/>
                  </a:lnTo>
                  <a:lnTo>
                    <a:pt x="3500" y="578"/>
                  </a:lnTo>
                  <a:lnTo>
                    <a:pt x="3484" y="564"/>
                  </a:lnTo>
                  <a:lnTo>
                    <a:pt x="3438" y="528"/>
                  </a:lnTo>
                  <a:lnTo>
                    <a:pt x="3368" y="476"/>
                  </a:lnTo>
                  <a:lnTo>
                    <a:pt x="3324" y="444"/>
                  </a:lnTo>
                  <a:lnTo>
                    <a:pt x="3276" y="412"/>
                  </a:lnTo>
                  <a:lnTo>
                    <a:pt x="3222" y="378"/>
                  </a:lnTo>
                  <a:lnTo>
                    <a:pt x="3166" y="344"/>
                  </a:lnTo>
                  <a:lnTo>
                    <a:pt x="3106" y="310"/>
                  </a:lnTo>
                  <a:lnTo>
                    <a:pt x="3042" y="278"/>
                  </a:lnTo>
                  <a:lnTo>
                    <a:pt x="2978" y="246"/>
                  </a:lnTo>
                  <a:lnTo>
                    <a:pt x="2910" y="218"/>
                  </a:lnTo>
                  <a:lnTo>
                    <a:pt x="2840" y="192"/>
                  </a:lnTo>
                  <a:lnTo>
                    <a:pt x="2770" y="172"/>
                  </a:lnTo>
                  <a:lnTo>
                    <a:pt x="2770" y="172"/>
                  </a:lnTo>
                  <a:lnTo>
                    <a:pt x="2716" y="158"/>
                  </a:lnTo>
                  <a:lnTo>
                    <a:pt x="2656" y="146"/>
                  </a:lnTo>
                  <a:lnTo>
                    <a:pt x="2590" y="136"/>
                  </a:lnTo>
                  <a:lnTo>
                    <a:pt x="2516" y="128"/>
                  </a:lnTo>
                  <a:lnTo>
                    <a:pt x="2436" y="122"/>
                  </a:lnTo>
                  <a:lnTo>
                    <a:pt x="2350" y="118"/>
                  </a:lnTo>
                  <a:lnTo>
                    <a:pt x="2258" y="116"/>
                  </a:lnTo>
                  <a:lnTo>
                    <a:pt x="2160" y="114"/>
                  </a:lnTo>
                  <a:lnTo>
                    <a:pt x="2160" y="114"/>
                  </a:lnTo>
                  <a:lnTo>
                    <a:pt x="2032" y="116"/>
                  </a:lnTo>
                  <a:lnTo>
                    <a:pt x="1902" y="120"/>
                  </a:lnTo>
                  <a:lnTo>
                    <a:pt x="1778" y="126"/>
                  </a:lnTo>
                  <a:lnTo>
                    <a:pt x="1662" y="134"/>
                  </a:lnTo>
                  <a:lnTo>
                    <a:pt x="1558" y="144"/>
                  </a:lnTo>
                  <a:lnTo>
                    <a:pt x="1468" y="152"/>
                  </a:lnTo>
                  <a:lnTo>
                    <a:pt x="1396" y="162"/>
                  </a:lnTo>
                  <a:lnTo>
                    <a:pt x="1344" y="172"/>
                  </a:lnTo>
                  <a:lnTo>
                    <a:pt x="1344" y="172"/>
                  </a:lnTo>
                  <a:lnTo>
                    <a:pt x="1310" y="180"/>
                  </a:lnTo>
                  <a:lnTo>
                    <a:pt x="1266" y="194"/>
                  </a:lnTo>
                  <a:lnTo>
                    <a:pt x="1216" y="212"/>
                  </a:lnTo>
                  <a:lnTo>
                    <a:pt x="1162" y="234"/>
                  </a:lnTo>
                  <a:lnTo>
                    <a:pt x="1042" y="282"/>
                  </a:lnTo>
                  <a:lnTo>
                    <a:pt x="920" y="336"/>
                  </a:lnTo>
                  <a:lnTo>
                    <a:pt x="706" y="432"/>
                  </a:lnTo>
                  <a:lnTo>
                    <a:pt x="612" y="476"/>
                  </a:lnTo>
                  <a:lnTo>
                    <a:pt x="596" y="484"/>
                  </a:lnTo>
                  <a:lnTo>
                    <a:pt x="578" y="480"/>
                  </a:lnTo>
                  <a:lnTo>
                    <a:pt x="578" y="480"/>
                  </a:lnTo>
                  <a:lnTo>
                    <a:pt x="560" y="478"/>
                  </a:lnTo>
                  <a:lnTo>
                    <a:pt x="514" y="472"/>
                  </a:lnTo>
                  <a:lnTo>
                    <a:pt x="448" y="466"/>
                  </a:lnTo>
                  <a:lnTo>
                    <a:pt x="410" y="464"/>
                  </a:lnTo>
                  <a:lnTo>
                    <a:pt x="372" y="464"/>
                  </a:lnTo>
                  <a:lnTo>
                    <a:pt x="372" y="464"/>
                  </a:lnTo>
                  <a:lnTo>
                    <a:pt x="332" y="464"/>
                  </a:lnTo>
                  <a:lnTo>
                    <a:pt x="296" y="468"/>
                  </a:lnTo>
                  <a:lnTo>
                    <a:pt x="266" y="472"/>
                  </a:lnTo>
                  <a:lnTo>
                    <a:pt x="240" y="476"/>
                  </a:lnTo>
                  <a:lnTo>
                    <a:pt x="220" y="482"/>
                  </a:lnTo>
                  <a:lnTo>
                    <a:pt x="206" y="490"/>
                  </a:lnTo>
                  <a:lnTo>
                    <a:pt x="194" y="496"/>
                  </a:lnTo>
                  <a:lnTo>
                    <a:pt x="186" y="502"/>
                  </a:lnTo>
                  <a:lnTo>
                    <a:pt x="186" y="502"/>
                  </a:lnTo>
                  <a:lnTo>
                    <a:pt x="186" y="506"/>
                  </a:lnTo>
                  <a:lnTo>
                    <a:pt x="184" y="510"/>
                  </a:lnTo>
                  <a:lnTo>
                    <a:pt x="184" y="518"/>
                  </a:lnTo>
                  <a:lnTo>
                    <a:pt x="186" y="528"/>
                  </a:lnTo>
                  <a:lnTo>
                    <a:pt x="186" y="528"/>
                  </a:lnTo>
                  <a:lnTo>
                    <a:pt x="200" y="576"/>
                  </a:lnTo>
                  <a:lnTo>
                    <a:pt x="206" y="616"/>
                  </a:lnTo>
                  <a:lnTo>
                    <a:pt x="210" y="650"/>
                  </a:lnTo>
                  <a:lnTo>
                    <a:pt x="208" y="680"/>
                  </a:lnTo>
                  <a:lnTo>
                    <a:pt x="204" y="708"/>
                  </a:lnTo>
                  <a:lnTo>
                    <a:pt x="196" y="732"/>
                  </a:lnTo>
                  <a:lnTo>
                    <a:pt x="186" y="754"/>
                  </a:lnTo>
                  <a:lnTo>
                    <a:pt x="174" y="778"/>
                  </a:lnTo>
                  <a:lnTo>
                    <a:pt x="174" y="778"/>
                  </a:lnTo>
                  <a:lnTo>
                    <a:pt x="160" y="806"/>
                  </a:lnTo>
                  <a:lnTo>
                    <a:pt x="146" y="840"/>
                  </a:lnTo>
                  <a:lnTo>
                    <a:pt x="140" y="858"/>
                  </a:lnTo>
                  <a:lnTo>
                    <a:pt x="132" y="882"/>
                  </a:lnTo>
                  <a:lnTo>
                    <a:pt x="126" y="908"/>
                  </a:lnTo>
                  <a:lnTo>
                    <a:pt x="122" y="936"/>
                  </a:lnTo>
                  <a:lnTo>
                    <a:pt x="122" y="936"/>
                  </a:lnTo>
                  <a:lnTo>
                    <a:pt x="118" y="966"/>
                  </a:lnTo>
                  <a:lnTo>
                    <a:pt x="116" y="992"/>
                  </a:lnTo>
                  <a:lnTo>
                    <a:pt x="116" y="1018"/>
                  </a:lnTo>
                  <a:lnTo>
                    <a:pt x="116" y="1042"/>
                  </a:lnTo>
                  <a:lnTo>
                    <a:pt x="118" y="1064"/>
                  </a:lnTo>
                  <a:lnTo>
                    <a:pt x="122" y="1086"/>
                  </a:lnTo>
                  <a:lnTo>
                    <a:pt x="130" y="1124"/>
                  </a:lnTo>
                  <a:lnTo>
                    <a:pt x="142" y="1158"/>
                  </a:lnTo>
                  <a:lnTo>
                    <a:pt x="154" y="1184"/>
                  </a:lnTo>
                  <a:lnTo>
                    <a:pt x="166" y="1206"/>
                  </a:lnTo>
                  <a:lnTo>
                    <a:pt x="176" y="1222"/>
                  </a:lnTo>
                  <a:lnTo>
                    <a:pt x="288" y="1242"/>
                  </a:lnTo>
                  <a:lnTo>
                    <a:pt x="300" y="1284"/>
                  </a:lnTo>
                  <a:lnTo>
                    <a:pt x="300" y="1284"/>
                  </a:lnTo>
                  <a:lnTo>
                    <a:pt x="430" y="1286"/>
                  </a:lnTo>
                  <a:lnTo>
                    <a:pt x="560" y="1294"/>
                  </a:lnTo>
                  <a:lnTo>
                    <a:pt x="560" y="1294"/>
                  </a:lnTo>
                  <a:lnTo>
                    <a:pt x="566" y="1246"/>
                  </a:lnTo>
                  <a:lnTo>
                    <a:pt x="576" y="1200"/>
                  </a:lnTo>
                  <a:lnTo>
                    <a:pt x="590" y="1154"/>
                  </a:lnTo>
                  <a:lnTo>
                    <a:pt x="608" y="1112"/>
                  </a:lnTo>
                  <a:lnTo>
                    <a:pt x="630" y="1070"/>
                  </a:lnTo>
                  <a:lnTo>
                    <a:pt x="654" y="1032"/>
                  </a:lnTo>
                  <a:lnTo>
                    <a:pt x="682" y="996"/>
                  </a:lnTo>
                  <a:lnTo>
                    <a:pt x="714" y="964"/>
                  </a:lnTo>
                  <a:lnTo>
                    <a:pt x="748" y="934"/>
                  </a:lnTo>
                  <a:lnTo>
                    <a:pt x="784" y="906"/>
                  </a:lnTo>
                  <a:lnTo>
                    <a:pt x="824" y="884"/>
                  </a:lnTo>
                  <a:lnTo>
                    <a:pt x="864" y="864"/>
                  </a:lnTo>
                  <a:lnTo>
                    <a:pt x="908" y="848"/>
                  </a:lnTo>
                  <a:lnTo>
                    <a:pt x="952" y="836"/>
                  </a:lnTo>
                  <a:lnTo>
                    <a:pt x="998" y="830"/>
                  </a:lnTo>
                  <a:lnTo>
                    <a:pt x="1022" y="828"/>
                  </a:lnTo>
                  <a:lnTo>
                    <a:pt x="1046" y="828"/>
                  </a:lnTo>
                  <a:lnTo>
                    <a:pt x="1046" y="828"/>
                  </a:lnTo>
                  <a:lnTo>
                    <a:pt x="1072" y="828"/>
                  </a:lnTo>
                  <a:lnTo>
                    <a:pt x="1096" y="830"/>
                  </a:lnTo>
                  <a:lnTo>
                    <a:pt x="1120" y="834"/>
                  </a:lnTo>
                  <a:lnTo>
                    <a:pt x="1144" y="838"/>
                  </a:lnTo>
                  <a:lnTo>
                    <a:pt x="1168" y="844"/>
                  </a:lnTo>
                  <a:lnTo>
                    <a:pt x="1190" y="850"/>
                  </a:lnTo>
                  <a:lnTo>
                    <a:pt x="1214" y="858"/>
                  </a:lnTo>
                  <a:lnTo>
                    <a:pt x="1236" y="868"/>
                  </a:lnTo>
                  <a:lnTo>
                    <a:pt x="1278" y="888"/>
                  </a:lnTo>
                  <a:lnTo>
                    <a:pt x="1318" y="914"/>
                  </a:lnTo>
                  <a:lnTo>
                    <a:pt x="1354" y="944"/>
                  </a:lnTo>
                  <a:lnTo>
                    <a:pt x="1390" y="976"/>
                  </a:lnTo>
                  <a:lnTo>
                    <a:pt x="1420" y="1012"/>
                  </a:lnTo>
                  <a:lnTo>
                    <a:pt x="1448" y="1050"/>
                  </a:lnTo>
                  <a:lnTo>
                    <a:pt x="1474" y="1092"/>
                  </a:lnTo>
                  <a:lnTo>
                    <a:pt x="1494" y="1136"/>
                  </a:lnTo>
                  <a:lnTo>
                    <a:pt x="1510" y="1182"/>
                  </a:lnTo>
                  <a:lnTo>
                    <a:pt x="1516" y="1206"/>
                  </a:lnTo>
                  <a:lnTo>
                    <a:pt x="1522" y="1232"/>
                  </a:lnTo>
                  <a:lnTo>
                    <a:pt x="1526" y="1256"/>
                  </a:lnTo>
                  <a:lnTo>
                    <a:pt x="1530" y="1282"/>
                  </a:lnTo>
                  <a:lnTo>
                    <a:pt x="1532" y="1308"/>
                  </a:lnTo>
                  <a:lnTo>
                    <a:pt x="1532" y="1334"/>
                  </a:lnTo>
                  <a:lnTo>
                    <a:pt x="1532" y="1334"/>
                  </a:lnTo>
                  <a:lnTo>
                    <a:pt x="1530" y="1372"/>
                  </a:lnTo>
                  <a:lnTo>
                    <a:pt x="3480" y="1372"/>
                  </a:lnTo>
                  <a:lnTo>
                    <a:pt x="3480" y="1372"/>
                  </a:lnTo>
                  <a:lnTo>
                    <a:pt x="3478" y="1334"/>
                  </a:lnTo>
                  <a:lnTo>
                    <a:pt x="3478" y="1334"/>
                  </a:lnTo>
                  <a:lnTo>
                    <a:pt x="3480" y="1308"/>
                  </a:lnTo>
                  <a:lnTo>
                    <a:pt x="3482" y="1282"/>
                  </a:lnTo>
                  <a:lnTo>
                    <a:pt x="3484" y="1256"/>
                  </a:lnTo>
                  <a:lnTo>
                    <a:pt x="3488" y="1232"/>
                  </a:lnTo>
                  <a:lnTo>
                    <a:pt x="3494" y="1206"/>
                  </a:lnTo>
                  <a:lnTo>
                    <a:pt x="3500" y="1182"/>
                  </a:lnTo>
                  <a:lnTo>
                    <a:pt x="3516" y="1136"/>
                  </a:lnTo>
                  <a:lnTo>
                    <a:pt x="3538" y="1092"/>
                  </a:lnTo>
                  <a:lnTo>
                    <a:pt x="3562" y="1050"/>
                  </a:lnTo>
                  <a:lnTo>
                    <a:pt x="3590" y="1012"/>
                  </a:lnTo>
                  <a:lnTo>
                    <a:pt x="3622" y="976"/>
                  </a:lnTo>
                  <a:lnTo>
                    <a:pt x="3656" y="944"/>
                  </a:lnTo>
                  <a:lnTo>
                    <a:pt x="3694" y="914"/>
                  </a:lnTo>
                  <a:lnTo>
                    <a:pt x="3734" y="888"/>
                  </a:lnTo>
                  <a:lnTo>
                    <a:pt x="3776" y="868"/>
                  </a:lnTo>
                  <a:lnTo>
                    <a:pt x="3798" y="858"/>
                  </a:lnTo>
                  <a:lnTo>
                    <a:pt x="3822" y="850"/>
                  </a:lnTo>
                  <a:lnTo>
                    <a:pt x="3844" y="844"/>
                  </a:lnTo>
                  <a:lnTo>
                    <a:pt x="3868" y="838"/>
                  </a:lnTo>
                  <a:lnTo>
                    <a:pt x="3892" y="834"/>
                  </a:lnTo>
                  <a:lnTo>
                    <a:pt x="3916" y="830"/>
                  </a:lnTo>
                  <a:lnTo>
                    <a:pt x="3942" y="828"/>
                  </a:lnTo>
                  <a:lnTo>
                    <a:pt x="3966" y="828"/>
                  </a:lnTo>
                  <a:lnTo>
                    <a:pt x="3966" y="828"/>
                  </a:lnTo>
                  <a:lnTo>
                    <a:pt x="3992" y="828"/>
                  </a:lnTo>
                  <a:lnTo>
                    <a:pt x="4016" y="830"/>
                  </a:lnTo>
                  <a:lnTo>
                    <a:pt x="4040" y="834"/>
                  </a:lnTo>
                  <a:lnTo>
                    <a:pt x="4064" y="838"/>
                  </a:lnTo>
                  <a:lnTo>
                    <a:pt x="4088" y="844"/>
                  </a:lnTo>
                  <a:lnTo>
                    <a:pt x="4110" y="850"/>
                  </a:lnTo>
                  <a:lnTo>
                    <a:pt x="4132" y="858"/>
                  </a:lnTo>
                  <a:lnTo>
                    <a:pt x="4154" y="868"/>
                  </a:lnTo>
                  <a:lnTo>
                    <a:pt x="4198" y="888"/>
                  </a:lnTo>
                  <a:lnTo>
                    <a:pt x="4238" y="914"/>
                  </a:lnTo>
                  <a:lnTo>
                    <a:pt x="4274" y="944"/>
                  </a:lnTo>
                  <a:lnTo>
                    <a:pt x="4310" y="976"/>
                  </a:lnTo>
                  <a:lnTo>
                    <a:pt x="4340" y="1012"/>
                  </a:lnTo>
                  <a:lnTo>
                    <a:pt x="4368" y="1050"/>
                  </a:lnTo>
                  <a:lnTo>
                    <a:pt x="4394" y="1092"/>
                  </a:lnTo>
                  <a:lnTo>
                    <a:pt x="4414" y="1136"/>
                  </a:lnTo>
                  <a:lnTo>
                    <a:pt x="4430" y="1182"/>
                  </a:lnTo>
                  <a:lnTo>
                    <a:pt x="4436" y="1206"/>
                  </a:lnTo>
                  <a:lnTo>
                    <a:pt x="4442" y="1232"/>
                  </a:lnTo>
                  <a:lnTo>
                    <a:pt x="4446" y="1256"/>
                  </a:lnTo>
                  <a:lnTo>
                    <a:pt x="4450" y="1282"/>
                  </a:lnTo>
                  <a:lnTo>
                    <a:pt x="4452" y="1308"/>
                  </a:lnTo>
                  <a:lnTo>
                    <a:pt x="4452" y="1334"/>
                  </a:lnTo>
                  <a:lnTo>
                    <a:pt x="4452" y="1334"/>
                  </a:lnTo>
                  <a:lnTo>
                    <a:pt x="4450" y="1372"/>
                  </a:lnTo>
                  <a:lnTo>
                    <a:pt x="4450" y="137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Tree>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wip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sco </a:t>
            </a:r>
            <a:r>
              <a:rPr lang="en-US" dirty="0" err="1" smtClean="0"/>
              <a:t>IoT</a:t>
            </a:r>
            <a:r>
              <a:rPr lang="en-US" dirty="0" smtClean="0"/>
              <a:t> Solutions for Key Vertical Markets</a:t>
            </a:r>
            <a:endParaRPr lang="en-US" dirty="0"/>
          </a:p>
        </p:txBody>
      </p:sp>
      <p:sp>
        <p:nvSpPr>
          <p:cNvPr id="213" name="Rectangle 11"/>
          <p:cNvSpPr>
            <a:spLocks noChangeArrowheads="1"/>
          </p:cNvSpPr>
          <p:nvPr/>
        </p:nvSpPr>
        <p:spPr bwMode="auto">
          <a:xfrm>
            <a:off x="273050" y="4441825"/>
            <a:ext cx="8594723" cy="279400"/>
          </a:xfrm>
          <a:prstGeom prst="rect">
            <a:avLst/>
          </a:prstGeom>
          <a:solidFill>
            <a:schemeClr val="bg1"/>
          </a:solidFill>
          <a:ln w="9525">
            <a:noFill/>
            <a:miter lim="800000"/>
            <a:headEnd/>
            <a:tailEnd/>
          </a:ln>
        </p:spPr>
        <p:txBody>
          <a:bodyPr vert="horz" wrap="square" lIns="91440" tIns="45720" rIns="91440" bIns="45720" numCol="2" anchor="t" anchorCtr="0" compatLnSpc="1">
            <a:prstTxWarp prst="textNoShape">
              <a:avLst/>
            </a:prstTxWarp>
          </a:bodyPr>
          <a:lstStyle/>
          <a:p>
            <a:pPr marL="173736" indent="-173736">
              <a:lnSpc>
                <a:spcPct val="110000"/>
              </a:lnSpc>
              <a:spcBef>
                <a:spcPts val="200"/>
              </a:spcBef>
              <a:buFont typeface="Wingdings" panose="05000000000000000000" pitchFamily="2" charset="2"/>
              <a:buChar char="§"/>
            </a:pPr>
            <a:endParaRPr lang="en-US" sz="1400" dirty="0" smtClean="0">
              <a:solidFill>
                <a:schemeClr val="bg1"/>
              </a:solidFill>
              <a:latin typeface="+mj-lt"/>
            </a:endParaRPr>
          </a:p>
        </p:txBody>
      </p:sp>
      <p:sp>
        <p:nvSpPr>
          <p:cNvPr id="214" name="Freeform 6"/>
          <p:cNvSpPr>
            <a:spLocks noEditPoints="1"/>
          </p:cNvSpPr>
          <p:nvPr/>
        </p:nvSpPr>
        <p:spPr bwMode="auto">
          <a:xfrm>
            <a:off x="280669" y="2143740"/>
            <a:ext cx="8595360" cy="2589212"/>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3" name="Group 214"/>
          <p:cNvGrpSpPr/>
          <p:nvPr/>
        </p:nvGrpSpPr>
        <p:grpSpPr>
          <a:xfrm>
            <a:off x="451344" y="2913122"/>
            <a:ext cx="8416431" cy="1819830"/>
            <a:chOff x="451344" y="2731115"/>
            <a:chExt cx="8416431" cy="1819830"/>
          </a:xfrm>
        </p:grpSpPr>
        <p:sp>
          <p:nvSpPr>
            <p:cNvPr id="216" name="Rectangle 215"/>
            <p:cNvSpPr/>
            <p:nvPr/>
          </p:nvSpPr>
          <p:spPr>
            <a:xfrm>
              <a:off x="7858125" y="4446347"/>
              <a:ext cx="1009650" cy="104598"/>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217" name="Freeform 29"/>
            <p:cNvSpPr>
              <a:spLocks noEditPoints="1"/>
            </p:cNvSpPr>
            <p:nvPr/>
          </p:nvSpPr>
          <p:spPr bwMode="auto">
            <a:xfrm>
              <a:off x="1138724" y="3295279"/>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4" name="Group 28"/>
            <p:cNvGrpSpPr/>
            <p:nvPr/>
          </p:nvGrpSpPr>
          <p:grpSpPr>
            <a:xfrm>
              <a:off x="907732" y="3834066"/>
              <a:ext cx="301657" cy="716879"/>
              <a:chOff x="1790700" y="2979738"/>
              <a:chExt cx="539750" cy="1282700"/>
            </a:xfrm>
          </p:grpSpPr>
          <p:sp>
            <p:nvSpPr>
              <p:cNvPr id="403"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4"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 name="Group 58"/>
            <p:cNvGrpSpPr/>
            <p:nvPr/>
          </p:nvGrpSpPr>
          <p:grpSpPr>
            <a:xfrm>
              <a:off x="451344" y="3433051"/>
              <a:ext cx="502539" cy="1117894"/>
              <a:chOff x="50589" y="3098960"/>
              <a:chExt cx="550863" cy="1225389"/>
            </a:xfrm>
          </p:grpSpPr>
          <p:sp>
            <p:nvSpPr>
              <p:cNvPr id="401"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2"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6" name="Group 56"/>
            <p:cNvGrpSpPr/>
            <p:nvPr/>
          </p:nvGrpSpPr>
          <p:grpSpPr>
            <a:xfrm>
              <a:off x="1436339" y="3816688"/>
              <a:ext cx="2870409" cy="734257"/>
              <a:chOff x="1130300" y="3522663"/>
              <a:chExt cx="3146425" cy="804862"/>
            </a:xfrm>
          </p:grpSpPr>
          <p:sp>
            <p:nvSpPr>
              <p:cNvPr id="399"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00"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7" name="Group 55"/>
            <p:cNvGrpSpPr/>
            <p:nvPr/>
          </p:nvGrpSpPr>
          <p:grpSpPr>
            <a:xfrm>
              <a:off x="4213209" y="3847101"/>
              <a:ext cx="1135885" cy="703844"/>
              <a:chOff x="4127500" y="2292350"/>
              <a:chExt cx="889000" cy="550863"/>
            </a:xfrm>
          </p:grpSpPr>
          <p:sp>
            <p:nvSpPr>
              <p:cNvPr id="395"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6"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7"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8"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226" name="Freeform 70"/>
            <p:cNvSpPr>
              <a:spLocks noEditPoints="1"/>
            </p:cNvSpPr>
            <p:nvPr/>
          </p:nvSpPr>
          <p:spPr bwMode="auto">
            <a:xfrm>
              <a:off x="6846414" y="2999956"/>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8" name="Group 89"/>
            <p:cNvGrpSpPr/>
            <p:nvPr/>
          </p:nvGrpSpPr>
          <p:grpSpPr>
            <a:xfrm>
              <a:off x="5349095" y="3441920"/>
              <a:ext cx="1542753" cy="1109025"/>
              <a:chOff x="5820057" y="3111857"/>
              <a:chExt cx="1691103" cy="1215668"/>
            </a:xfrm>
          </p:grpSpPr>
          <p:grpSp>
            <p:nvGrpSpPr>
              <p:cNvPr id="9" name="Group 81"/>
              <p:cNvGrpSpPr/>
              <p:nvPr/>
            </p:nvGrpSpPr>
            <p:grpSpPr>
              <a:xfrm>
                <a:off x="5850148" y="3367629"/>
                <a:ext cx="1642959" cy="959896"/>
                <a:chOff x="9172575" y="1344613"/>
                <a:chExt cx="1733551" cy="1012825"/>
              </a:xfrm>
              <a:solidFill>
                <a:schemeClr val="bg1"/>
              </a:solidFill>
            </p:grpSpPr>
            <p:sp>
              <p:nvSpPr>
                <p:cNvPr id="391" name="Rectangle 390"/>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0" name="Group 79"/>
                <p:cNvGrpSpPr/>
                <p:nvPr/>
              </p:nvGrpSpPr>
              <p:grpSpPr>
                <a:xfrm>
                  <a:off x="9172575" y="1344613"/>
                  <a:ext cx="1733551" cy="1012825"/>
                  <a:chOff x="9172575" y="1344613"/>
                  <a:chExt cx="1733551" cy="1012825"/>
                </a:xfrm>
                <a:grpFill/>
              </p:grpSpPr>
              <p:sp>
                <p:nvSpPr>
                  <p:cNvPr id="393"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94" name="Rectangle 393"/>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390"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1" name="Group 116"/>
            <p:cNvGrpSpPr/>
            <p:nvPr/>
          </p:nvGrpSpPr>
          <p:grpSpPr>
            <a:xfrm>
              <a:off x="7291388" y="2731115"/>
              <a:ext cx="655637" cy="1819275"/>
              <a:chOff x="7291388" y="2198688"/>
              <a:chExt cx="655637" cy="1819275"/>
            </a:xfrm>
          </p:grpSpPr>
          <p:sp>
            <p:nvSpPr>
              <p:cNvPr id="387"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8"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2" name="Group 109"/>
            <p:cNvGrpSpPr/>
            <p:nvPr/>
          </p:nvGrpSpPr>
          <p:grpSpPr>
            <a:xfrm>
              <a:off x="451344" y="2731115"/>
              <a:ext cx="8416431" cy="1819830"/>
              <a:chOff x="603744" y="2351088"/>
              <a:chExt cx="8416431" cy="1819830"/>
            </a:xfrm>
            <a:solidFill>
              <a:schemeClr val="accent1">
                <a:lumMod val="20000"/>
                <a:lumOff val="80000"/>
                <a:alpha val="77000"/>
              </a:schemeClr>
            </a:solidFill>
          </p:grpSpPr>
          <p:sp>
            <p:nvSpPr>
              <p:cNvPr id="255" name="Rectangle 254"/>
              <p:cNvSpPr/>
              <p:nvPr/>
            </p:nvSpPr>
            <p:spPr>
              <a:xfrm>
                <a:off x="8010525" y="4066320"/>
                <a:ext cx="1009650" cy="10459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261" name="Freeform 29"/>
              <p:cNvSpPr>
                <a:spLocks noEditPoints="1"/>
              </p:cNvSpPr>
              <p:nvPr/>
            </p:nvSpPr>
            <p:spPr bwMode="auto">
              <a:xfrm>
                <a:off x="1291124" y="2915252"/>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3" name="Group 28"/>
              <p:cNvGrpSpPr/>
              <p:nvPr/>
            </p:nvGrpSpPr>
            <p:grpSpPr>
              <a:xfrm>
                <a:off x="1060132" y="3454039"/>
                <a:ext cx="301657" cy="716879"/>
                <a:chOff x="1790700" y="2979738"/>
                <a:chExt cx="539750" cy="1282700"/>
              </a:xfrm>
              <a:grpFill/>
            </p:grpSpPr>
            <p:sp>
              <p:nvSpPr>
                <p:cNvPr id="385" name="Rectangle 23"/>
                <p:cNvSpPr>
                  <a:spLocks noChangeArrowheads="1"/>
                </p:cNvSpPr>
                <p:nvPr/>
              </p:nvSpPr>
              <p:spPr bwMode="auto">
                <a:xfrm>
                  <a:off x="1790700" y="2986088"/>
                  <a:ext cx="525463" cy="12763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6"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4" name="Group 58"/>
              <p:cNvGrpSpPr/>
              <p:nvPr/>
            </p:nvGrpSpPr>
            <p:grpSpPr>
              <a:xfrm>
                <a:off x="603744" y="3053024"/>
                <a:ext cx="502539" cy="1117894"/>
                <a:chOff x="50589" y="3098960"/>
                <a:chExt cx="550863" cy="1225389"/>
              </a:xfrm>
              <a:grpFill/>
            </p:grpSpPr>
            <p:sp>
              <p:nvSpPr>
                <p:cNvPr id="383"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4"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5" name="Group 56"/>
              <p:cNvGrpSpPr/>
              <p:nvPr/>
            </p:nvGrpSpPr>
            <p:grpSpPr>
              <a:xfrm>
                <a:off x="1588739" y="3436661"/>
                <a:ext cx="2870409" cy="734257"/>
                <a:chOff x="1130300" y="3522663"/>
                <a:chExt cx="3146425" cy="804862"/>
              </a:xfrm>
              <a:grpFill/>
            </p:grpSpPr>
            <p:sp>
              <p:nvSpPr>
                <p:cNvPr id="381"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2"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6" name="Group 55"/>
              <p:cNvGrpSpPr/>
              <p:nvPr/>
            </p:nvGrpSpPr>
            <p:grpSpPr>
              <a:xfrm>
                <a:off x="4365609" y="3467074"/>
                <a:ext cx="1135885" cy="703844"/>
                <a:chOff x="4127500" y="2292350"/>
                <a:chExt cx="889000" cy="550863"/>
              </a:xfrm>
              <a:grpFill/>
            </p:grpSpPr>
            <p:sp>
              <p:nvSpPr>
                <p:cNvPr id="377"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8"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9"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80"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66" name="Freeform 70"/>
              <p:cNvSpPr>
                <a:spLocks noEditPoints="1"/>
              </p:cNvSpPr>
              <p:nvPr/>
            </p:nvSpPr>
            <p:spPr bwMode="auto">
              <a:xfrm>
                <a:off x="6998814" y="2619929"/>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7" name="Group 89"/>
              <p:cNvGrpSpPr/>
              <p:nvPr/>
            </p:nvGrpSpPr>
            <p:grpSpPr>
              <a:xfrm>
                <a:off x="5501495" y="3061893"/>
                <a:ext cx="1542753" cy="1109025"/>
                <a:chOff x="5820057" y="3111857"/>
                <a:chExt cx="1691103" cy="1215668"/>
              </a:xfrm>
              <a:grpFill/>
            </p:grpSpPr>
            <p:grpSp>
              <p:nvGrpSpPr>
                <p:cNvPr id="18" name="Group 81"/>
                <p:cNvGrpSpPr/>
                <p:nvPr/>
              </p:nvGrpSpPr>
              <p:grpSpPr>
                <a:xfrm>
                  <a:off x="5850148" y="3367629"/>
                  <a:ext cx="1642959" cy="959896"/>
                  <a:chOff x="9172575" y="1344613"/>
                  <a:chExt cx="1733551" cy="1012825"/>
                </a:xfrm>
                <a:grpFill/>
              </p:grpSpPr>
              <p:sp>
                <p:nvSpPr>
                  <p:cNvPr id="373" name="Rectangle 372"/>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9" name="Group 79"/>
                  <p:cNvGrpSpPr/>
                  <p:nvPr/>
                </p:nvGrpSpPr>
                <p:grpSpPr>
                  <a:xfrm>
                    <a:off x="9172575" y="1344613"/>
                    <a:ext cx="1733551" cy="1012825"/>
                    <a:chOff x="9172575" y="1344613"/>
                    <a:chExt cx="1733551" cy="1012825"/>
                  </a:xfrm>
                  <a:grpFill/>
                </p:grpSpPr>
                <p:sp>
                  <p:nvSpPr>
                    <p:cNvPr id="375"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6" name="Rectangle 375"/>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372"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0" name="Group 116"/>
              <p:cNvGrpSpPr/>
              <p:nvPr/>
            </p:nvGrpSpPr>
            <p:grpSpPr>
              <a:xfrm>
                <a:off x="7443788" y="2351088"/>
                <a:ext cx="655637" cy="1819275"/>
                <a:chOff x="7291388" y="2198688"/>
                <a:chExt cx="655637" cy="1819275"/>
              </a:xfrm>
              <a:grpFill/>
            </p:grpSpPr>
            <p:sp>
              <p:nvSpPr>
                <p:cNvPr id="369"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370"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sp>
        <p:nvSpPr>
          <p:cNvPr id="412" name="Oval 2"/>
          <p:cNvSpPr/>
          <p:nvPr/>
        </p:nvSpPr>
        <p:spPr>
          <a:xfrm>
            <a:off x="273050" y="4116819"/>
            <a:ext cx="1183410" cy="591706"/>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3" name="Oval 2"/>
          <p:cNvSpPr/>
          <p:nvPr/>
        </p:nvSpPr>
        <p:spPr>
          <a:xfrm>
            <a:off x="2836897" y="3214863"/>
            <a:ext cx="3473911" cy="1493662"/>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4" name="Oval 2"/>
          <p:cNvSpPr/>
          <p:nvPr/>
        </p:nvSpPr>
        <p:spPr>
          <a:xfrm>
            <a:off x="1250084" y="3811930"/>
            <a:ext cx="1793189" cy="896595"/>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5" name="Oval 2"/>
          <p:cNvSpPr/>
          <p:nvPr/>
        </p:nvSpPr>
        <p:spPr>
          <a:xfrm>
            <a:off x="6104432" y="3811930"/>
            <a:ext cx="1793189" cy="896595"/>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6" name="Oval 2"/>
          <p:cNvSpPr/>
          <p:nvPr/>
        </p:nvSpPr>
        <p:spPr>
          <a:xfrm>
            <a:off x="7691246" y="4116819"/>
            <a:ext cx="1183410" cy="591706"/>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1" name="Group 416"/>
          <p:cNvGrpSpPr/>
          <p:nvPr/>
        </p:nvGrpSpPr>
        <p:grpSpPr>
          <a:xfrm>
            <a:off x="1850960" y="3406968"/>
            <a:ext cx="591437" cy="591437"/>
            <a:chOff x="2209800" y="1885950"/>
            <a:chExt cx="679152" cy="679152"/>
          </a:xfrm>
        </p:grpSpPr>
        <p:sp>
          <p:nvSpPr>
            <p:cNvPr id="418" name="Teardrop 417"/>
            <p:cNvSpPr/>
            <p:nvPr/>
          </p:nvSpPr>
          <p:spPr>
            <a:xfrm rot="8100000">
              <a:off x="2209800" y="1885950"/>
              <a:ext cx="679152" cy="679152"/>
            </a:xfrm>
            <a:prstGeom prst="teardrop">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19" name="Rectangle 418"/>
            <p:cNvSpPr/>
            <p:nvPr/>
          </p:nvSpPr>
          <p:spPr>
            <a:xfrm>
              <a:off x="2260202" y="2150207"/>
              <a:ext cx="569106" cy="176711"/>
            </a:xfrm>
            <a:prstGeom prst="rect">
              <a:avLst/>
            </a:prstGeom>
          </p:spPr>
          <p:txBody>
            <a:bodyPr wrap="square" lIns="0" tIns="0" rIns="0" bIns="0">
              <a:spAutoFit/>
            </a:bodyPr>
            <a:lstStyle/>
            <a:p>
              <a:pPr algn="ctr"/>
              <a:r>
                <a:rPr lang="en-US" sz="1000" b="1" dirty="0" smtClean="0">
                  <a:solidFill>
                    <a:schemeClr val="bg1"/>
                  </a:solidFill>
                  <a:latin typeface="+mj-lt"/>
                </a:rPr>
                <a:t>Wi-Fi</a:t>
              </a:r>
            </a:p>
          </p:txBody>
        </p:sp>
      </p:grpSp>
      <p:grpSp>
        <p:nvGrpSpPr>
          <p:cNvPr id="22" name="Group 419"/>
          <p:cNvGrpSpPr/>
          <p:nvPr/>
        </p:nvGrpSpPr>
        <p:grpSpPr>
          <a:xfrm>
            <a:off x="4278134" y="2885849"/>
            <a:ext cx="591437" cy="591437"/>
            <a:chOff x="2209800" y="1885950"/>
            <a:chExt cx="679152" cy="679152"/>
          </a:xfrm>
        </p:grpSpPr>
        <p:sp>
          <p:nvSpPr>
            <p:cNvPr id="421" name="Teardrop 420"/>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22" name="Rectangle 421"/>
            <p:cNvSpPr/>
            <p:nvPr/>
          </p:nvSpPr>
          <p:spPr>
            <a:xfrm>
              <a:off x="2260202" y="2113217"/>
              <a:ext cx="569106" cy="353423"/>
            </a:xfrm>
            <a:prstGeom prst="rect">
              <a:avLst/>
            </a:prstGeom>
          </p:spPr>
          <p:txBody>
            <a:bodyPr wrap="square" lIns="0" tIns="0" rIns="0" bIns="0">
              <a:spAutoFit/>
            </a:bodyPr>
            <a:lstStyle/>
            <a:p>
              <a:pPr algn="ctr"/>
              <a:r>
                <a:rPr lang="en-US" sz="1000" b="1" dirty="0" smtClean="0">
                  <a:solidFill>
                    <a:schemeClr val="bg1"/>
                  </a:solidFill>
                  <a:latin typeface="+mj-lt"/>
                </a:rPr>
                <a:t>2G, 3G,</a:t>
              </a:r>
              <a:br>
                <a:rPr lang="en-US" sz="1000" b="1" dirty="0" smtClean="0">
                  <a:solidFill>
                    <a:schemeClr val="bg1"/>
                  </a:solidFill>
                  <a:latin typeface="+mj-lt"/>
                </a:rPr>
              </a:br>
              <a:r>
                <a:rPr lang="en-US" sz="1000" b="1" dirty="0" smtClean="0">
                  <a:solidFill>
                    <a:schemeClr val="bg1"/>
                  </a:solidFill>
                  <a:latin typeface="+mj-lt"/>
                </a:rPr>
                <a:t>LTE</a:t>
              </a:r>
            </a:p>
          </p:txBody>
        </p:sp>
      </p:grpSp>
      <p:grpSp>
        <p:nvGrpSpPr>
          <p:cNvPr id="23" name="Group 422"/>
          <p:cNvGrpSpPr/>
          <p:nvPr/>
        </p:nvGrpSpPr>
        <p:grpSpPr>
          <a:xfrm>
            <a:off x="6705308" y="3406968"/>
            <a:ext cx="591437" cy="591437"/>
            <a:chOff x="2209800" y="1885950"/>
            <a:chExt cx="679152" cy="679152"/>
          </a:xfrm>
        </p:grpSpPr>
        <p:sp>
          <p:nvSpPr>
            <p:cNvPr id="424" name="Teardrop 423"/>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25" name="Rectangle 424"/>
            <p:cNvSpPr/>
            <p:nvPr/>
          </p:nvSpPr>
          <p:spPr>
            <a:xfrm>
              <a:off x="2260202" y="2039234"/>
              <a:ext cx="569106" cy="353423"/>
            </a:xfrm>
            <a:prstGeom prst="rect">
              <a:avLst/>
            </a:prstGeom>
          </p:spPr>
          <p:txBody>
            <a:bodyPr wrap="square" lIns="0" tIns="0" rIns="0" bIns="0">
              <a:spAutoFit/>
            </a:bodyPr>
            <a:lstStyle/>
            <a:p>
              <a:pPr algn="ctr"/>
              <a:r>
                <a:rPr lang="en-US" sz="1000" b="1" dirty="0" smtClean="0">
                  <a:solidFill>
                    <a:schemeClr val="bg1"/>
                  </a:solidFill>
                  <a:latin typeface="+mj-lt"/>
                </a:rPr>
                <a:t>LTE/</a:t>
              </a:r>
              <a:br>
                <a:rPr lang="en-US" sz="1000" b="1" dirty="0" smtClean="0">
                  <a:solidFill>
                    <a:schemeClr val="bg1"/>
                  </a:solidFill>
                  <a:latin typeface="+mj-lt"/>
                </a:rPr>
              </a:br>
              <a:r>
                <a:rPr lang="en-US" sz="1000" b="1" dirty="0" smtClean="0">
                  <a:solidFill>
                    <a:schemeClr val="bg1"/>
                  </a:solidFill>
                  <a:latin typeface="+mj-lt"/>
                </a:rPr>
                <a:t>CAT-M1</a:t>
              </a:r>
            </a:p>
          </p:txBody>
        </p:sp>
      </p:grpSp>
      <p:grpSp>
        <p:nvGrpSpPr>
          <p:cNvPr id="24" name="Group 425"/>
          <p:cNvGrpSpPr/>
          <p:nvPr/>
        </p:nvGrpSpPr>
        <p:grpSpPr>
          <a:xfrm>
            <a:off x="7987233" y="3704800"/>
            <a:ext cx="591437" cy="591437"/>
            <a:chOff x="2209800" y="1885950"/>
            <a:chExt cx="679152" cy="679152"/>
          </a:xfrm>
        </p:grpSpPr>
        <p:sp>
          <p:nvSpPr>
            <p:cNvPr id="427" name="Teardrop 426"/>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28" name="Rectangle 427"/>
            <p:cNvSpPr/>
            <p:nvPr/>
          </p:nvSpPr>
          <p:spPr>
            <a:xfrm>
              <a:off x="2260202" y="2113217"/>
              <a:ext cx="569106" cy="353423"/>
            </a:xfrm>
            <a:prstGeom prst="rect">
              <a:avLst/>
            </a:prstGeom>
          </p:spPr>
          <p:txBody>
            <a:bodyPr wrap="square" lIns="0" tIns="0" rIns="0" bIns="0">
              <a:spAutoFit/>
            </a:bodyPr>
            <a:lstStyle/>
            <a:p>
              <a:pPr algn="ctr"/>
              <a:r>
                <a:rPr lang="en-US" sz="1000" b="1" dirty="0" smtClean="0">
                  <a:solidFill>
                    <a:schemeClr val="bg1"/>
                  </a:solidFill>
                  <a:latin typeface="+mj-lt"/>
                </a:rPr>
                <a:t>NB-</a:t>
              </a:r>
              <a:br>
                <a:rPr lang="en-US" sz="1000" b="1" dirty="0" smtClean="0">
                  <a:solidFill>
                    <a:schemeClr val="bg1"/>
                  </a:solidFill>
                  <a:latin typeface="+mj-lt"/>
                </a:rPr>
              </a:br>
              <a:r>
                <a:rPr lang="en-US" sz="1000" b="1" dirty="0" err="1" smtClean="0">
                  <a:solidFill>
                    <a:schemeClr val="bg1"/>
                  </a:solidFill>
                  <a:latin typeface="+mj-lt"/>
                </a:rPr>
                <a:t>IoT</a:t>
              </a:r>
              <a:endParaRPr lang="en-US" sz="1000" b="1" dirty="0" smtClean="0">
                <a:solidFill>
                  <a:schemeClr val="bg1"/>
                </a:solidFill>
                <a:latin typeface="+mj-lt"/>
              </a:endParaRPr>
            </a:p>
          </p:txBody>
        </p:sp>
      </p:grpSp>
      <p:grpSp>
        <p:nvGrpSpPr>
          <p:cNvPr id="25" name="Group 428"/>
          <p:cNvGrpSpPr/>
          <p:nvPr/>
        </p:nvGrpSpPr>
        <p:grpSpPr>
          <a:xfrm>
            <a:off x="567069" y="3700864"/>
            <a:ext cx="595373" cy="595373"/>
            <a:chOff x="682652" y="2569917"/>
            <a:chExt cx="679152" cy="679152"/>
          </a:xfrm>
        </p:grpSpPr>
        <p:sp>
          <p:nvSpPr>
            <p:cNvPr id="430" name="Teardrop 429"/>
            <p:cNvSpPr/>
            <p:nvPr/>
          </p:nvSpPr>
          <p:spPr>
            <a:xfrm rot="8100000">
              <a:off x="682652" y="2569917"/>
              <a:ext cx="679152" cy="679152"/>
            </a:xfrm>
            <a:prstGeom prst="teardrop">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sp>
          <p:nvSpPr>
            <p:cNvPr id="431" name="Rectangle 430"/>
            <p:cNvSpPr/>
            <p:nvPr/>
          </p:nvSpPr>
          <p:spPr>
            <a:xfrm>
              <a:off x="734891" y="2742272"/>
              <a:ext cx="574677" cy="315977"/>
            </a:xfrm>
            <a:prstGeom prst="rect">
              <a:avLst/>
            </a:prstGeom>
          </p:spPr>
          <p:txBody>
            <a:bodyPr wrap="square" lIns="0" tIns="0" rIns="0" bIns="0">
              <a:spAutoFit/>
            </a:bodyPr>
            <a:lstStyle/>
            <a:p>
              <a:pPr algn="ctr"/>
              <a:r>
                <a:rPr lang="en-US" sz="900" b="1" dirty="0" err="1" smtClean="0">
                  <a:solidFill>
                    <a:schemeClr val="bg1"/>
                  </a:solidFill>
                  <a:latin typeface="+mj-lt"/>
                </a:rPr>
                <a:t>LoRa</a:t>
              </a:r>
              <a:endParaRPr lang="en-US" sz="900" b="1" dirty="0" smtClean="0">
                <a:solidFill>
                  <a:schemeClr val="bg1"/>
                </a:solidFill>
                <a:latin typeface="+mj-lt"/>
              </a:endParaRPr>
            </a:p>
            <a:p>
              <a:pPr algn="ctr"/>
              <a:r>
                <a:rPr lang="en-US" sz="900" b="1" dirty="0" smtClean="0">
                  <a:solidFill>
                    <a:schemeClr val="bg1"/>
                  </a:solidFill>
                  <a:latin typeface="+mj-lt"/>
                </a:rPr>
                <a:t>WAN</a:t>
              </a:r>
              <a:endParaRPr lang="en-US" sz="900" b="1" dirty="0">
                <a:solidFill>
                  <a:schemeClr val="bg1"/>
                </a:solidFill>
                <a:latin typeface="+mj-lt"/>
              </a:endParaRPr>
            </a:p>
          </p:txBody>
        </p:sp>
      </p:grpSp>
      <p:sp>
        <p:nvSpPr>
          <p:cNvPr id="432" name="Rectangle 431"/>
          <p:cNvSpPr/>
          <p:nvPr/>
        </p:nvSpPr>
        <p:spPr>
          <a:xfrm>
            <a:off x="273049" y="4717712"/>
            <a:ext cx="8601607" cy="40896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pic>
        <p:nvPicPr>
          <p:cNvPr id="433"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77679" y="4802382"/>
            <a:ext cx="424180"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4" name="Rectangle 7"/>
          <p:cNvSpPr>
            <a:spLocks noChangeArrowheads="1"/>
          </p:cNvSpPr>
          <p:nvPr/>
        </p:nvSpPr>
        <p:spPr bwMode="ltGray">
          <a:xfrm>
            <a:off x="8523184" y="4919453"/>
            <a:ext cx="210937"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j-lt"/>
                <a:ea typeface="+mn-ea"/>
                <a:cs typeface="CiscoSans Thin"/>
              </a:rPr>
              <a:pPr algn="r" defTabSz="610744" fontAlgn="auto">
                <a:spcBef>
                  <a:spcPts val="0"/>
                </a:spcBef>
                <a:spcAft>
                  <a:spcPts val="0"/>
                </a:spcAft>
                <a:defRPr/>
              </a:pPr>
              <a:t>31</a:t>
            </a:fld>
            <a:endParaRPr lang="en-US" sz="600" dirty="0">
              <a:solidFill>
                <a:srgbClr val="000000">
                  <a:alpha val="25000"/>
                </a:srgbClr>
              </a:solidFill>
              <a:latin typeface="+mj-lt"/>
              <a:ea typeface="+mn-ea"/>
              <a:cs typeface="CiscoSans Thin"/>
            </a:endParaRPr>
          </a:p>
        </p:txBody>
      </p:sp>
      <p:sp>
        <p:nvSpPr>
          <p:cNvPr id="435" name="Rectangle 4"/>
          <p:cNvSpPr>
            <a:spLocks noChangeArrowheads="1"/>
          </p:cNvSpPr>
          <p:nvPr/>
        </p:nvSpPr>
        <p:spPr bwMode="ltGray">
          <a:xfrm>
            <a:off x="5286375" y="4917739"/>
            <a:ext cx="3167715" cy="154518"/>
          </a:xfrm>
          <a:prstGeom prst="rect">
            <a:avLst/>
          </a:prstGeom>
          <a:noFill/>
          <a:ln w="9525">
            <a:noFill/>
            <a:miter lim="800000"/>
            <a:headEnd/>
            <a:tailEnd/>
          </a:ln>
          <a:effectLst/>
        </p:spPr>
        <p:txBody>
          <a:bodyPr wrap="square" lIns="61586" tIns="30792" rIns="61586" bIns="30792" anchor="b">
            <a:spAutoFit/>
          </a:bodyPr>
          <a:lstStyle/>
          <a:p>
            <a:pPr algn="r" defTabSz="610744" rtl="0" fontAlgn="auto">
              <a:spcBef>
                <a:spcPts val="0"/>
              </a:spcBef>
              <a:spcAft>
                <a:spcPts val="0"/>
              </a:spcAft>
              <a:defRPr/>
            </a:pPr>
            <a:r>
              <a:rPr lang="en-US" sz="600" kern="1200" dirty="0" smtClean="0">
                <a:solidFill>
                  <a:srgbClr val="000000">
                    <a:alpha val="25000"/>
                  </a:srgbClr>
                </a:solidFill>
                <a:latin typeface="+mj-lt"/>
                <a:ea typeface="+mn-ea"/>
                <a:cs typeface="CiscoSans Thin"/>
              </a:rPr>
              <a:t>C97-738596-01 © 2017  Cisco and/or its affiliates. All rights reserved.   </a:t>
            </a:r>
          </a:p>
        </p:txBody>
      </p:sp>
      <p:grpSp>
        <p:nvGrpSpPr>
          <p:cNvPr id="26" name="Group 459"/>
          <p:cNvGrpSpPr/>
          <p:nvPr/>
        </p:nvGrpSpPr>
        <p:grpSpPr>
          <a:xfrm>
            <a:off x="5135404" y="1875692"/>
            <a:ext cx="983031" cy="629186"/>
            <a:chOff x="5135405" y="1802864"/>
            <a:chExt cx="839020" cy="537012"/>
          </a:xfrm>
        </p:grpSpPr>
        <p:sp>
          <p:nvSpPr>
            <p:cNvPr id="458" name="Freeform 6"/>
            <p:cNvSpPr>
              <a:spLocks/>
            </p:cNvSpPr>
            <p:nvPr/>
          </p:nvSpPr>
          <p:spPr bwMode="auto">
            <a:xfrm>
              <a:off x="5135405" y="1802864"/>
              <a:ext cx="839020" cy="537012"/>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solidFill>
              <a:schemeClr val="accent1"/>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59" name="Rectangle 458"/>
            <p:cNvSpPr/>
            <p:nvPr/>
          </p:nvSpPr>
          <p:spPr>
            <a:xfrm>
              <a:off x="5178256" y="2020629"/>
              <a:ext cx="753318" cy="236419"/>
            </a:xfrm>
            <a:prstGeom prst="rect">
              <a:avLst/>
            </a:prstGeom>
          </p:spPr>
          <p:txBody>
            <a:bodyPr wrap="square" lIns="0" tIns="0" rIns="0" bIns="0">
              <a:spAutoFit/>
            </a:bodyPr>
            <a:lstStyle/>
            <a:p>
              <a:pPr lvl="0" algn="ctr"/>
              <a:r>
                <a:rPr lang="en-US" sz="900" kern="0" dirty="0" smtClean="0">
                  <a:solidFill>
                    <a:schemeClr val="bg1"/>
                  </a:solidFill>
                  <a:latin typeface="+mj-lt"/>
                </a:rPr>
                <a:t>Cisco Jasper</a:t>
              </a:r>
              <a:br>
                <a:rPr lang="en-US" sz="900" kern="0" dirty="0" smtClean="0">
                  <a:solidFill>
                    <a:schemeClr val="bg1"/>
                  </a:solidFill>
                  <a:latin typeface="+mj-lt"/>
                </a:rPr>
              </a:br>
              <a:r>
                <a:rPr lang="en-US" sz="900" kern="0" dirty="0" smtClean="0">
                  <a:solidFill>
                    <a:schemeClr val="bg1"/>
                  </a:solidFill>
                  <a:latin typeface="+mj-lt"/>
                </a:rPr>
                <a:t>Control Center</a:t>
              </a:r>
              <a:endParaRPr lang="en-US" sz="900" kern="0" dirty="0">
                <a:solidFill>
                  <a:schemeClr val="bg1"/>
                </a:solidFill>
                <a:latin typeface="+mj-lt"/>
              </a:endParaRPr>
            </a:p>
          </p:txBody>
        </p:sp>
      </p:grpSp>
      <p:sp>
        <p:nvSpPr>
          <p:cNvPr id="461" name="Rectangle 460"/>
          <p:cNvSpPr/>
          <p:nvPr/>
        </p:nvSpPr>
        <p:spPr>
          <a:xfrm>
            <a:off x="7173880" y="1718202"/>
            <a:ext cx="1566776" cy="338554"/>
          </a:xfrm>
          <a:prstGeom prst="rect">
            <a:avLst/>
          </a:prstGeom>
          <a:no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137160" indent="-137160">
              <a:buFont typeface="Wingdings" pitchFamily="2" charset="2"/>
              <a:buChar char="§"/>
            </a:pPr>
            <a:r>
              <a:rPr lang="en-US" sz="1100" dirty="0" smtClean="0">
                <a:solidFill>
                  <a:schemeClr val="tx2"/>
                </a:solidFill>
                <a:latin typeface="+mj-lt"/>
              </a:rPr>
              <a:t>Pervasive Connectivity</a:t>
            </a:r>
            <a:br>
              <a:rPr lang="en-US" sz="1100" dirty="0" smtClean="0">
                <a:solidFill>
                  <a:schemeClr val="tx2"/>
                </a:solidFill>
                <a:latin typeface="+mj-lt"/>
              </a:rPr>
            </a:br>
            <a:r>
              <a:rPr lang="en-US" sz="1100" dirty="0" smtClean="0">
                <a:solidFill>
                  <a:schemeClr val="tx2"/>
                </a:solidFill>
                <a:latin typeface="+mj-lt"/>
              </a:rPr>
              <a:t>Management</a:t>
            </a:r>
            <a:endParaRPr lang="en-US" sz="1100" dirty="0">
              <a:solidFill>
                <a:schemeClr val="tx2"/>
              </a:solidFill>
              <a:latin typeface="+mj-lt"/>
            </a:endParaRPr>
          </a:p>
        </p:txBody>
      </p:sp>
      <p:sp>
        <p:nvSpPr>
          <p:cNvPr id="462" name="Rectangle 461"/>
          <p:cNvSpPr/>
          <p:nvPr/>
        </p:nvSpPr>
        <p:spPr>
          <a:xfrm>
            <a:off x="7173880" y="2095285"/>
            <a:ext cx="1393651" cy="338554"/>
          </a:xfrm>
          <a:prstGeom prst="rect">
            <a:avLst/>
          </a:prstGeom>
          <a:no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137160" indent="-137160">
              <a:buFont typeface="Wingdings" pitchFamily="2" charset="2"/>
              <a:buChar char="§"/>
            </a:pPr>
            <a:r>
              <a:rPr lang="en-US" sz="1100" dirty="0" smtClean="0">
                <a:solidFill>
                  <a:schemeClr val="tx2"/>
                </a:solidFill>
                <a:latin typeface="+mj-lt"/>
              </a:rPr>
              <a:t>Multi-Access Mobile</a:t>
            </a:r>
            <a:br>
              <a:rPr lang="en-US" sz="1100" dirty="0" smtClean="0">
                <a:solidFill>
                  <a:schemeClr val="tx2"/>
                </a:solidFill>
                <a:latin typeface="+mj-lt"/>
              </a:rPr>
            </a:br>
            <a:r>
              <a:rPr lang="en-US" sz="1100" dirty="0" smtClean="0">
                <a:solidFill>
                  <a:schemeClr val="tx2"/>
                </a:solidFill>
                <a:latin typeface="+mj-lt"/>
              </a:rPr>
              <a:t>Core Network</a:t>
            </a:r>
          </a:p>
        </p:txBody>
      </p:sp>
      <p:sp>
        <p:nvSpPr>
          <p:cNvPr id="463" name="Rectangle 462"/>
          <p:cNvSpPr/>
          <p:nvPr/>
        </p:nvSpPr>
        <p:spPr>
          <a:xfrm>
            <a:off x="7173880" y="2472369"/>
            <a:ext cx="1717458" cy="338554"/>
          </a:xfrm>
          <a:prstGeom prst="rect">
            <a:avLst/>
          </a:prstGeom>
          <a:noFill/>
          <a:ln w="9525"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marL="137160" indent="-137160">
              <a:buFont typeface="Wingdings" pitchFamily="2" charset="2"/>
              <a:buChar char="§"/>
            </a:pPr>
            <a:r>
              <a:rPr lang="en-US" sz="1100" dirty="0" smtClean="0">
                <a:solidFill>
                  <a:schemeClr val="tx2"/>
                </a:solidFill>
                <a:latin typeface="+mj-lt"/>
              </a:rPr>
              <a:t>Licensed and Unlicensed</a:t>
            </a:r>
            <a:br>
              <a:rPr lang="en-US" sz="1100" dirty="0" smtClean="0">
                <a:solidFill>
                  <a:schemeClr val="tx2"/>
                </a:solidFill>
                <a:latin typeface="+mj-lt"/>
              </a:rPr>
            </a:br>
            <a:r>
              <a:rPr lang="en-US" sz="1100" dirty="0" smtClean="0">
                <a:solidFill>
                  <a:schemeClr val="tx2"/>
                </a:solidFill>
                <a:latin typeface="+mj-lt"/>
              </a:rPr>
              <a:t>Access Solutions</a:t>
            </a:r>
            <a:endParaRPr lang="en-US" sz="1100" dirty="0">
              <a:solidFill>
                <a:schemeClr val="tx2"/>
              </a:solidFill>
              <a:latin typeface="+mj-lt"/>
            </a:endParaRPr>
          </a:p>
        </p:txBody>
      </p:sp>
      <p:cxnSp>
        <p:nvCxnSpPr>
          <p:cNvPr id="469" name="Elbow Connector 468"/>
          <p:cNvCxnSpPr/>
          <p:nvPr/>
        </p:nvCxnSpPr>
        <p:spPr>
          <a:xfrm rot="10800000" flipV="1">
            <a:off x="1138724" y="1787743"/>
            <a:ext cx="12700" cy="1554480"/>
          </a:xfrm>
          <a:prstGeom prst="bentConnector3">
            <a:avLst>
              <a:gd name="adj1" fmla="val 1800000"/>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70" name="Rectangle 469"/>
          <p:cNvSpPr/>
          <p:nvPr/>
        </p:nvSpPr>
        <p:spPr>
          <a:xfrm rot="16200000">
            <a:off x="460814" y="2457261"/>
            <a:ext cx="647613" cy="215444"/>
          </a:xfrm>
          <a:prstGeom prst="rect">
            <a:avLst/>
          </a:prstGeom>
          <a:noFill/>
          <a:ln cap="rnd">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algn="ctr"/>
            <a:r>
              <a:rPr lang="en-US" sz="1400" dirty="0" smtClean="0">
                <a:solidFill>
                  <a:schemeClr val="tx2"/>
                </a:solidFill>
                <a:latin typeface="+mj-lt"/>
              </a:rPr>
              <a:t>Security</a:t>
            </a:r>
            <a:endParaRPr lang="en-US" sz="1400" dirty="0">
              <a:solidFill>
                <a:schemeClr val="tx2"/>
              </a:solidFill>
              <a:latin typeface="+mj-lt"/>
            </a:endParaRPr>
          </a:p>
        </p:txBody>
      </p:sp>
      <p:grpSp>
        <p:nvGrpSpPr>
          <p:cNvPr id="27" name="Group 487"/>
          <p:cNvGrpSpPr/>
          <p:nvPr/>
        </p:nvGrpSpPr>
        <p:grpSpPr>
          <a:xfrm>
            <a:off x="1436046" y="1086614"/>
            <a:ext cx="1954517" cy="634681"/>
            <a:chOff x="1436046" y="1094706"/>
            <a:chExt cx="1954517" cy="634681"/>
          </a:xfrm>
        </p:grpSpPr>
        <p:sp>
          <p:nvSpPr>
            <p:cNvPr id="471" name="Rectangle 470"/>
            <p:cNvSpPr/>
            <p:nvPr/>
          </p:nvSpPr>
          <p:spPr>
            <a:xfrm>
              <a:off x="2151506" y="1158131"/>
              <a:ext cx="1239057" cy="507831"/>
            </a:xfrm>
            <a:prstGeom prst="rect">
              <a:avLst/>
            </a:prstGeom>
          </p:spPr>
          <p:txBody>
            <a:bodyPr wrap="square" lIns="0" tIns="0" rIns="0" bIns="0">
              <a:spAutoFit/>
            </a:bodyPr>
            <a:lstStyle/>
            <a:p>
              <a:pPr marL="7144" lvl="5" defTabSz="685193">
                <a:spcBef>
                  <a:spcPts val="225"/>
                </a:spcBef>
                <a:defRPr/>
              </a:pPr>
              <a:r>
                <a:rPr lang="en-US" sz="1100" b="1" kern="0" dirty="0" smtClean="0">
                  <a:solidFill>
                    <a:schemeClr val="accent1"/>
                  </a:solidFill>
                  <a:latin typeface="+mj-lt"/>
                </a:rPr>
                <a:t>Cisco </a:t>
              </a:r>
              <a:r>
                <a:rPr lang="en-US" sz="1100" b="1" kern="0" dirty="0" err="1" smtClean="0">
                  <a:solidFill>
                    <a:schemeClr val="accent1"/>
                  </a:solidFill>
                  <a:latin typeface="+mj-lt"/>
                </a:rPr>
                <a:t>Smart+Connected</a:t>
              </a:r>
              <a:r>
                <a:rPr lang="en-US" sz="1100" b="1" kern="0" dirty="0" smtClean="0">
                  <a:solidFill>
                    <a:schemeClr val="accent1"/>
                  </a:solidFill>
                  <a:latin typeface="+mj-lt"/>
                </a:rPr>
                <a:t/>
              </a:r>
              <a:br>
                <a:rPr lang="en-US" sz="1100" b="1" kern="0" dirty="0" smtClean="0">
                  <a:solidFill>
                    <a:schemeClr val="accent1"/>
                  </a:solidFill>
                  <a:latin typeface="+mj-lt"/>
                </a:rPr>
              </a:br>
              <a:r>
                <a:rPr lang="en-US" sz="1100" b="1" kern="0" dirty="0" smtClean="0">
                  <a:solidFill>
                    <a:schemeClr val="accent1"/>
                  </a:solidFill>
                  <a:latin typeface="+mj-lt"/>
                </a:rPr>
                <a:t>Communities</a:t>
              </a:r>
              <a:endParaRPr lang="en-US" sz="1100" b="1" kern="0" dirty="0">
                <a:solidFill>
                  <a:schemeClr val="accent1"/>
                </a:solidFill>
                <a:latin typeface="+mj-lt"/>
              </a:endParaRPr>
            </a:p>
          </p:txBody>
        </p:sp>
        <p:grpSp>
          <p:nvGrpSpPr>
            <p:cNvPr id="28" name="Group 473"/>
            <p:cNvGrpSpPr/>
            <p:nvPr/>
          </p:nvGrpSpPr>
          <p:grpSpPr>
            <a:xfrm>
              <a:off x="1436046" y="1094706"/>
              <a:ext cx="634681" cy="634681"/>
              <a:chOff x="2469346" y="1514475"/>
              <a:chExt cx="634681" cy="634681"/>
            </a:xfrm>
          </p:grpSpPr>
          <p:sp>
            <p:nvSpPr>
              <p:cNvPr id="475" name="Oval 474"/>
              <p:cNvSpPr/>
              <p:nvPr/>
            </p:nvSpPr>
            <p:spPr>
              <a:xfrm>
                <a:off x="2469346" y="1514475"/>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76" name="Freeform 11"/>
              <p:cNvSpPr>
                <a:spLocks noEditPoints="1"/>
              </p:cNvSpPr>
              <p:nvPr/>
            </p:nvSpPr>
            <p:spPr bwMode="auto">
              <a:xfrm>
                <a:off x="2603009" y="1630037"/>
                <a:ext cx="367355" cy="403557"/>
              </a:xfrm>
              <a:custGeom>
                <a:avLst/>
                <a:gdLst/>
                <a:ahLst/>
                <a:cxnLst>
                  <a:cxn ang="0">
                    <a:pos x="276" y="1139"/>
                  </a:cxn>
                  <a:cxn ang="0">
                    <a:pos x="345" y="909"/>
                  </a:cxn>
                  <a:cxn ang="0">
                    <a:pos x="311" y="1450"/>
                  </a:cxn>
                  <a:cxn ang="0">
                    <a:pos x="276" y="1415"/>
                  </a:cxn>
                  <a:cxn ang="0">
                    <a:pos x="598" y="541"/>
                  </a:cxn>
                  <a:cxn ang="0">
                    <a:pos x="621" y="955"/>
                  </a:cxn>
                  <a:cxn ang="0">
                    <a:pos x="587" y="989"/>
                  </a:cxn>
                  <a:cxn ang="0">
                    <a:pos x="276" y="1599"/>
                  </a:cxn>
                  <a:cxn ang="0">
                    <a:pos x="483" y="909"/>
                  </a:cxn>
                  <a:cxn ang="0">
                    <a:pos x="449" y="1680"/>
                  </a:cxn>
                  <a:cxn ang="0">
                    <a:pos x="414" y="1645"/>
                  </a:cxn>
                  <a:cxn ang="0">
                    <a:pos x="587" y="1105"/>
                  </a:cxn>
                  <a:cxn ang="0">
                    <a:pos x="621" y="1415"/>
                  </a:cxn>
                  <a:cxn ang="0">
                    <a:pos x="587" y="1450"/>
                  </a:cxn>
                  <a:cxn ang="0">
                    <a:pos x="414" y="1369"/>
                  </a:cxn>
                  <a:cxn ang="0">
                    <a:pos x="483" y="1139"/>
                  </a:cxn>
                  <a:cxn ang="0">
                    <a:pos x="587" y="1680"/>
                  </a:cxn>
                  <a:cxn ang="0">
                    <a:pos x="552" y="1645"/>
                  </a:cxn>
                  <a:cxn ang="0">
                    <a:pos x="1415" y="782"/>
                  </a:cxn>
                  <a:cxn ang="0">
                    <a:pos x="1450" y="633"/>
                  </a:cxn>
                  <a:cxn ang="0">
                    <a:pos x="1415" y="667"/>
                  </a:cxn>
                  <a:cxn ang="0">
                    <a:pos x="1243" y="357"/>
                  </a:cxn>
                  <a:cxn ang="0">
                    <a:pos x="1588" y="1737"/>
                  </a:cxn>
                  <a:cxn ang="0">
                    <a:pos x="1415" y="437"/>
                  </a:cxn>
                  <a:cxn ang="0">
                    <a:pos x="1381" y="403"/>
                  </a:cxn>
                  <a:cxn ang="0">
                    <a:pos x="1277" y="552"/>
                  </a:cxn>
                  <a:cxn ang="0">
                    <a:pos x="1772" y="1979"/>
                  </a:cxn>
                  <a:cxn ang="0">
                    <a:pos x="1059" y="322"/>
                  </a:cxn>
                  <a:cxn ang="0">
                    <a:pos x="805" y="35"/>
                  </a:cxn>
                  <a:cxn ang="0">
                    <a:pos x="552" y="173"/>
                  </a:cxn>
                  <a:cxn ang="0">
                    <a:pos x="127" y="644"/>
                  </a:cxn>
                  <a:cxn ang="0">
                    <a:pos x="35" y="2048"/>
                  </a:cxn>
                  <a:cxn ang="0">
                    <a:pos x="920" y="207"/>
                  </a:cxn>
                  <a:cxn ang="0">
                    <a:pos x="483" y="1979"/>
                  </a:cxn>
                  <a:cxn ang="0">
                    <a:pos x="391" y="1979"/>
                  </a:cxn>
                  <a:cxn ang="0">
                    <a:pos x="575" y="1979"/>
                  </a:cxn>
                  <a:cxn ang="0">
                    <a:pos x="322" y="1979"/>
                  </a:cxn>
                  <a:cxn ang="0">
                    <a:pos x="771" y="644"/>
                  </a:cxn>
                  <a:cxn ang="0">
                    <a:pos x="805" y="1059"/>
                  </a:cxn>
                  <a:cxn ang="0">
                    <a:pos x="805" y="874"/>
                  </a:cxn>
                  <a:cxn ang="0">
                    <a:pos x="805" y="690"/>
                  </a:cxn>
                  <a:cxn ang="0">
                    <a:pos x="805" y="1128"/>
                  </a:cxn>
                  <a:cxn ang="0">
                    <a:pos x="1450" y="1047"/>
                  </a:cxn>
                  <a:cxn ang="0">
                    <a:pos x="1312" y="1047"/>
                  </a:cxn>
                  <a:cxn ang="0">
                    <a:pos x="1128" y="207"/>
                  </a:cxn>
                  <a:cxn ang="0">
                    <a:pos x="1312" y="817"/>
                  </a:cxn>
                  <a:cxn ang="0">
                    <a:pos x="1553" y="1358"/>
                  </a:cxn>
                  <a:cxn ang="0">
                    <a:pos x="1519" y="1323"/>
                  </a:cxn>
                  <a:cxn ang="0">
                    <a:pos x="1553" y="1473"/>
                  </a:cxn>
                  <a:cxn ang="0">
                    <a:pos x="990" y="1875"/>
                  </a:cxn>
                  <a:cxn ang="0">
                    <a:pos x="955" y="1910"/>
                  </a:cxn>
                  <a:cxn ang="0">
                    <a:pos x="1519" y="587"/>
                  </a:cxn>
                  <a:cxn ang="0">
                    <a:pos x="1128" y="1231"/>
                  </a:cxn>
                  <a:cxn ang="0">
                    <a:pos x="1553" y="437"/>
                  </a:cxn>
                  <a:cxn ang="0">
                    <a:pos x="1519" y="403"/>
                  </a:cxn>
                  <a:cxn ang="0">
                    <a:pos x="1553" y="782"/>
                  </a:cxn>
                  <a:cxn ang="0">
                    <a:pos x="1266" y="1875"/>
                  </a:cxn>
                  <a:cxn ang="0">
                    <a:pos x="1231" y="1910"/>
                  </a:cxn>
                  <a:cxn ang="0">
                    <a:pos x="1519" y="1047"/>
                  </a:cxn>
                </a:cxnLst>
                <a:rect l="0" t="0" r="r" b="b"/>
                <a:pathLst>
                  <a:path w="1864" h="2048">
                    <a:moveTo>
                      <a:pt x="311" y="1220"/>
                    </a:moveTo>
                    <a:cubicBezTo>
                      <a:pt x="330" y="1220"/>
                      <a:pt x="345" y="1204"/>
                      <a:pt x="345" y="1185"/>
                    </a:cubicBezTo>
                    <a:cubicBezTo>
                      <a:pt x="345" y="1139"/>
                      <a:pt x="345" y="1139"/>
                      <a:pt x="345" y="1139"/>
                    </a:cubicBezTo>
                    <a:cubicBezTo>
                      <a:pt x="345" y="1120"/>
                      <a:pt x="330" y="1105"/>
                      <a:pt x="311" y="1105"/>
                    </a:cubicBezTo>
                    <a:cubicBezTo>
                      <a:pt x="292" y="1105"/>
                      <a:pt x="276" y="1120"/>
                      <a:pt x="276" y="1139"/>
                    </a:cubicBezTo>
                    <a:cubicBezTo>
                      <a:pt x="276" y="1185"/>
                      <a:pt x="276" y="1185"/>
                      <a:pt x="276" y="1185"/>
                    </a:cubicBezTo>
                    <a:cubicBezTo>
                      <a:pt x="276" y="1204"/>
                      <a:pt x="292" y="1220"/>
                      <a:pt x="311" y="1220"/>
                    </a:cubicBezTo>
                    <a:close/>
                    <a:moveTo>
                      <a:pt x="311" y="989"/>
                    </a:moveTo>
                    <a:cubicBezTo>
                      <a:pt x="330" y="989"/>
                      <a:pt x="345" y="974"/>
                      <a:pt x="345" y="955"/>
                    </a:cubicBezTo>
                    <a:cubicBezTo>
                      <a:pt x="345" y="909"/>
                      <a:pt x="345" y="909"/>
                      <a:pt x="345" y="909"/>
                    </a:cubicBezTo>
                    <a:cubicBezTo>
                      <a:pt x="345" y="890"/>
                      <a:pt x="330" y="874"/>
                      <a:pt x="311" y="874"/>
                    </a:cubicBezTo>
                    <a:cubicBezTo>
                      <a:pt x="292" y="874"/>
                      <a:pt x="276" y="890"/>
                      <a:pt x="276" y="909"/>
                    </a:cubicBezTo>
                    <a:cubicBezTo>
                      <a:pt x="276" y="955"/>
                      <a:pt x="276" y="955"/>
                      <a:pt x="276" y="955"/>
                    </a:cubicBezTo>
                    <a:cubicBezTo>
                      <a:pt x="276" y="974"/>
                      <a:pt x="292" y="989"/>
                      <a:pt x="311" y="989"/>
                    </a:cubicBezTo>
                    <a:close/>
                    <a:moveTo>
                      <a:pt x="311" y="1450"/>
                    </a:moveTo>
                    <a:cubicBezTo>
                      <a:pt x="330" y="1450"/>
                      <a:pt x="345" y="1434"/>
                      <a:pt x="345" y="1415"/>
                    </a:cubicBezTo>
                    <a:cubicBezTo>
                      <a:pt x="345" y="1369"/>
                      <a:pt x="345" y="1369"/>
                      <a:pt x="345" y="1369"/>
                    </a:cubicBezTo>
                    <a:cubicBezTo>
                      <a:pt x="345" y="1350"/>
                      <a:pt x="330" y="1335"/>
                      <a:pt x="311" y="1335"/>
                    </a:cubicBezTo>
                    <a:cubicBezTo>
                      <a:pt x="292" y="1335"/>
                      <a:pt x="276" y="1350"/>
                      <a:pt x="276" y="1369"/>
                    </a:cubicBezTo>
                    <a:cubicBezTo>
                      <a:pt x="276" y="1415"/>
                      <a:pt x="276" y="1415"/>
                      <a:pt x="276" y="1415"/>
                    </a:cubicBezTo>
                    <a:cubicBezTo>
                      <a:pt x="276" y="1434"/>
                      <a:pt x="292" y="1450"/>
                      <a:pt x="311" y="1450"/>
                    </a:cubicBezTo>
                    <a:close/>
                    <a:moveTo>
                      <a:pt x="944" y="541"/>
                    </a:moveTo>
                    <a:cubicBezTo>
                      <a:pt x="944" y="522"/>
                      <a:pt x="928" y="506"/>
                      <a:pt x="909" y="506"/>
                    </a:cubicBezTo>
                    <a:cubicBezTo>
                      <a:pt x="633" y="506"/>
                      <a:pt x="633" y="506"/>
                      <a:pt x="633" y="506"/>
                    </a:cubicBezTo>
                    <a:cubicBezTo>
                      <a:pt x="614" y="506"/>
                      <a:pt x="598" y="522"/>
                      <a:pt x="598" y="541"/>
                    </a:cubicBezTo>
                    <a:cubicBezTo>
                      <a:pt x="598" y="560"/>
                      <a:pt x="614" y="575"/>
                      <a:pt x="633" y="575"/>
                    </a:cubicBezTo>
                    <a:cubicBezTo>
                      <a:pt x="909" y="575"/>
                      <a:pt x="909" y="575"/>
                      <a:pt x="909" y="575"/>
                    </a:cubicBezTo>
                    <a:cubicBezTo>
                      <a:pt x="928" y="575"/>
                      <a:pt x="944" y="560"/>
                      <a:pt x="944" y="541"/>
                    </a:cubicBezTo>
                    <a:close/>
                    <a:moveTo>
                      <a:pt x="587" y="989"/>
                    </a:moveTo>
                    <a:cubicBezTo>
                      <a:pt x="606" y="989"/>
                      <a:pt x="621" y="974"/>
                      <a:pt x="621" y="955"/>
                    </a:cubicBezTo>
                    <a:cubicBezTo>
                      <a:pt x="621" y="909"/>
                      <a:pt x="621" y="909"/>
                      <a:pt x="621" y="909"/>
                    </a:cubicBezTo>
                    <a:cubicBezTo>
                      <a:pt x="621" y="890"/>
                      <a:pt x="606" y="874"/>
                      <a:pt x="587" y="874"/>
                    </a:cubicBezTo>
                    <a:cubicBezTo>
                      <a:pt x="568" y="874"/>
                      <a:pt x="552" y="890"/>
                      <a:pt x="552" y="909"/>
                    </a:cubicBezTo>
                    <a:cubicBezTo>
                      <a:pt x="552" y="955"/>
                      <a:pt x="552" y="955"/>
                      <a:pt x="552" y="955"/>
                    </a:cubicBezTo>
                    <a:cubicBezTo>
                      <a:pt x="552" y="974"/>
                      <a:pt x="568" y="989"/>
                      <a:pt x="587" y="989"/>
                    </a:cubicBezTo>
                    <a:close/>
                    <a:moveTo>
                      <a:pt x="311" y="1680"/>
                    </a:moveTo>
                    <a:cubicBezTo>
                      <a:pt x="330" y="1680"/>
                      <a:pt x="345" y="1664"/>
                      <a:pt x="345" y="1645"/>
                    </a:cubicBezTo>
                    <a:cubicBezTo>
                      <a:pt x="345" y="1599"/>
                      <a:pt x="345" y="1599"/>
                      <a:pt x="345" y="1599"/>
                    </a:cubicBezTo>
                    <a:cubicBezTo>
                      <a:pt x="345" y="1580"/>
                      <a:pt x="330" y="1565"/>
                      <a:pt x="311" y="1565"/>
                    </a:cubicBezTo>
                    <a:cubicBezTo>
                      <a:pt x="292" y="1565"/>
                      <a:pt x="276" y="1580"/>
                      <a:pt x="276" y="1599"/>
                    </a:cubicBezTo>
                    <a:cubicBezTo>
                      <a:pt x="276" y="1645"/>
                      <a:pt x="276" y="1645"/>
                      <a:pt x="276" y="1645"/>
                    </a:cubicBezTo>
                    <a:cubicBezTo>
                      <a:pt x="276" y="1664"/>
                      <a:pt x="292" y="1680"/>
                      <a:pt x="311" y="1680"/>
                    </a:cubicBezTo>
                    <a:close/>
                    <a:moveTo>
                      <a:pt x="449" y="989"/>
                    </a:moveTo>
                    <a:cubicBezTo>
                      <a:pt x="468" y="989"/>
                      <a:pt x="483" y="974"/>
                      <a:pt x="483" y="955"/>
                    </a:cubicBezTo>
                    <a:cubicBezTo>
                      <a:pt x="483" y="909"/>
                      <a:pt x="483" y="909"/>
                      <a:pt x="483" y="909"/>
                    </a:cubicBezTo>
                    <a:cubicBezTo>
                      <a:pt x="483" y="890"/>
                      <a:pt x="468" y="874"/>
                      <a:pt x="449" y="874"/>
                    </a:cubicBezTo>
                    <a:cubicBezTo>
                      <a:pt x="430" y="874"/>
                      <a:pt x="414" y="890"/>
                      <a:pt x="414" y="909"/>
                    </a:cubicBezTo>
                    <a:cubicBezTo>
                      <a:pt x="414" y="955"/>
                      <a:pt x="414" y="955"/>
                      <a:pt x="414" y="955"/>
                    </a:cubicBezTo>
                    <a:cubicBezTo>
                      <a:pt x="414" y="974"/>
                      <a:pt x="430" y="989"/>
                      <a:pt x="449" y="989"/>
                    </a:cubicBezTo>
                    <a:close/>
                    <a:moveTo>
                      <a:pt x="449" y="1680"/>
                    </a:moveTo>
                    <a:cubicBezTo>
                      <a:pt x="468" y="1680"/>
                      <a:pt x="483" y="1664"/>
                      <a:pt x="483" y="1645"/>
                    </a:cubicBezTo>
                    <a:cubicBezTo>
                      <a:pt x="483" y="1599"/>
                      <a:pt x="483" y="1599"/>
                      <a:pt x="483" y="1599"/>
                    </a:cubicBezTo>
                    <a:cubicBezTo>
                      <a:pt x="483" y="1580"/>
                      <a:pt x="468" y="1565"/>
                      <a:pt x="449" y="1565"/>
                    </a:cubicBezTo>
                    <a:cubicBezTo>
                      <a:pt x="430" y="1565"/>
                      <a:pt x="414" y="1580"/>
                      <a:pt x="414" y="1599"/>
                    </a:cubicBezTo>
                    <a:cubicBezTo>
                      <a:pt x="414" y="1645"/>
                      <a:pt x="414" y="1645"/>
                      <a:pt x="414" y="1645"/>
                    </a:cubicBezTo>
                    <a:cubicBezTo>
                      <a:pt x="414" y="1664"/>
                      <a:pt x="430" y="1680"/>
                      <a:pt x="449" y="1680"/>
                    </a:cubicBezTo>
                    <a:close/>
                    <a:moveTo>
                      <a:pt x="587" y="1220"/>
                    </a:moveTo>
                    <a:cubicBezTo>
                      <a:pt x="606" y="1220"/>
                      <a:pt x="621" y="1204"/>
                      <a:pt x="621" y="1185"/>
                    </a:cubicBezTo>
                    <a:cubicBezTo>
                      <a:pt x="621" y="1139"/>
                      <a:pt x="621" y="1139"/>
                      <a:pt x="621" y="1139"/>
                    </a:cubicBezTo>
                    <a:cubicBezTo>
                      <a:pt x="621" y="1120"/>
                      <a:pt x="606" y="1105"/>
                      <a:pt x="587" y="1105"/>
                    </a:cubicBezTo>
                    <a:cubicBezTo>
                      <a:pt x="568" y="1105"/>
                      <a:pt x="552" y="1120"/>
                      <a:pt x="552" y="1139"/>
                    </a:cubicBezTo>
                    <a:cubicBezTo>
                      <a:pt x="552" y="1185"/>
                      <a:pt x="552" y="1185"/>
                      <a:pt x="552" y="1185"/>
                    </a:cubicBezTo>
                    <a:cubicBezTo>
                      <a:pt x="552" y="1204"/>
                      <a:pt x="568" y="1220"/>
                      <a:pt x="587" y="1220"/>
                    </a:cubicBezTo>
                    <a:close/>
                    <a:moveTo>
                      <a:pt x="587" y="1450"/>
                    </a:moveTo>
                    <a:cubicBezTo>
                      <a:pt x="606" y="1450"/>
                      <a:pt x="621" y="1434"/>
                      <a:pt x="621" y="1415"/>
                    </a:cubicBezTo>
                    <a:cubicBezTo>
                      <a:pt x="621" y="1369"/>
                      <a:pt x="621" y="1369"/>
                      <a:pt x="621" y="1369"/>
                    </a:cubicBezTo>
                    <a:cubicBezTo>
                      <a:pt x="621" y="1350"/>
                      <a:pt x="606" y="1335"/>
                      <a:pt x="587" y="1335"/>
                    </a:cubicBezTo>
                    <a:cubicBezTo>
                      <a:pt x="568" y="1335"/>
                      <a:pt x="552" y="1350"/>
                      <a:pt x="552" y="1369"/>
                    </a:cubicBezTo>
                    <a:cubicBezTo>
                      <a:pt x="552" y="1415"/>
                      <a:pt x="552" y="1415"/>
                      <a:pt x="552" y="1415"/>
                    </a:cubicBezTo>
                    <a:cubicBezTo>
                      <a:pt x="552" y="1434"/>
                      <a:pt x="568" y="1450"/>
                      <a:pt x="587" y="1450"/>
                    </a:cubicBezTo>
                    <a:close/>
                    <a:moveTo>
                      <a:pt x="449" y="1450"/>
                    </a:moveTo>
                    <a:cubicBezTo>
                      <a:pt x="468" y="1450"/>
                      <a:pt x="483" y="1434"/>
                      <a:pt x="483" y="1415"/>
                    </a:cubicBezTo>
                    <a:cubicBezTo>
                      <a:pt x="483" y="1369"/>
                      <a:pt x="483" y="1369"/>
                      <a:pt x="483" y="1369"/>
                    </a:cubicBezTo>
                    <a:cubicBezTo>
                      <a:pt x="483" y="1350"/>
                      <a:pt x="468" y="1335"/>
                      <a:pt x="449" y="1335"/>
                    </a:cubicBezTo>
                    <a:cubicBezTo>
                      <a:pt x="430" y="1335"/>
                      <a:pt x="414" y="1350"/>
                      <a:pt x="414" y="1369"/>
                    </a:cubicBezTo>
                    <a:cubicBezTo>
                      <a:pt x="414" y="1415"/>
                      <a:pt x="414" y="1415"/>
                      <a:pt x="414" y="1415"/>
                    </a:cubicBezTo>
                    <a:cubicBezTo>
                      <a:pt x="414" y="1434"/>
                      <a:pt x="430" y="1450"/>
                      <a:pt x="449" y="1450"/>
                    </a:cubicBezTo>
                    <a:close/>
                    <a:moveTo>
                      <a:pt x="449" y="1220"/>
                    </a:moveTo>
                    <a:cubicBezTo>
                      <a:pt x="468" y="1220"/>
                      <a:pt x="483" y="1204"/>
                      <a:pt x="483" y="1185"/>
                    </a:cubicBezTo>
                    <a:cubicBezTo>
                      <a:pt x="483" y="1139"/>
                      <a:pt x="483" y="1139"/>
                      <a:pt x="483" y="1139"/>
                    </a:cubicBezTo>
                    <a:cubicBezTo>
                      <a:pt x="483" y="1120"/>
                      <a:pt x="468" y="1105"/>
                      <a:pt x="449" y="1105"/>
                    </a:cubicBezTo>
                    <a:cubicBezTo>
                      <a:pt x="430" y="1105"/>
                      <a:pt x="414" y="1120"/>
                      <a:pt x="414" y="1139"/>
                    </a:cubicBezTo>
                    <a:cubicBezTo>
                      <a:pt x="414" y="1185"/>
                      <a:pt x="414" y="1185"/>
                      <a:pt x="414" y="1185"/>
                    </a:cubicBezTo>
                    <a:cubicBezTo>
                      <a:pt x="414" y="1204"/>
                      <a:pt x="430" y="1220"/>
                      <a:pt x="449" y="1220"/>
                    </a:cubicBezTo>
                    <a:close/>
                    <a:moveTo>
                      <a:pt x="587" y="1680"/>
                    </a:moveTo>
                    <a:cubicBezTo>
                      <a:pt x="606" y="1680"/>
                      <a:pt x="621" y="1664"/>
                      <a:pt x="621" y="1645"/>
                    </a:cubicBezTo>
                    <a:cubicBezTo>
                      <a:pt x="621" y="1599"/>
                      <a:pt x="621" y="1599"/>
                      <a:pt x="621" y="1599"/>
                    </a:cubicBezTo>
                    <a:cubicBezTo>
                      <a:pt x="621" y="1580"/>
                      <a:pt x="606" y="1565"/>
                      <a:pt x="587" y="1565"/>
                    </a:cubicBezTo>
                    <a:cubicBezTo>
                      <a:pt x="568" y="1565"/>
                      <a:pt x="552" y="1580"/>
                      <a:pt x="552" y="1599"/>
                    </a:cubicBezTo>
                    <a:cubicBezTo>
                      <a:pt x="552" y="1645"/>
                      <a:pt x="552" y="1645"/>
                      <a:pt x="552" y="1645"/>
                    </a:cubicBezTo>
                    <a:cubicBezTo>
                      <a:pt x="552" y="1664"/>
                      <a:pt x="568" y="1680"/>
                      <a:pt x="587" y="1680"/>
                    </a:cubicBezTo>
                    <a:close/>
                    <a:moveTo>
                      <a:pt x="1415" y="897"/>
                    </a:moveTo>
                    <a:cubicBezTo>
                      <a:pt x="1434" y="897"/>
                      <a:pt x="1450" y="882"/>
                      <a:pt x="1450" y="863"/>
                    </a:cubicBezTo>
                    <a:cubicBezTo>
                      <a:pt x="1450" y="817"/>
                      <a:pt x="1450" y="817"/>
                      <a:pt x="1450" y="817"/>
                    </a:cubicBezTo>
                    <a:cubicBezTo>
                      <a:pt x="1450" y="798"/>
                      <a:pt x="1434" y="782"/>
                      <a:pt x="1415" y="782"/>
                    </a:cubicBezTo>
                    <a:cubicBezTo>
                      <a:pt x="1396" y="782"/>
                      <a:pt x="1381" y="798"/>
                      <a:pt x="1381" y="817"/>
                    </a:cubicBezTo>
                    <a:cubicBezTo>
                      <a:pt x="1381" y="863"/>
                      <a:pt x="1381" y="863"/>
                      <a:pt x="1381" y="863"/>
                    </a:cubicBezTo>
                    <a:cubicBezTo>
                      <a:pt x="1381" y="882"/>
                      <a:pt x="1396" y="897"/>
                      <a:pt x="1415" y="897"/>
                    </a:cubicBezTo>
                    <a:close/>
                    <a:moveTo>
                      <a:pt x="1415" y="667"/>
                    </a:moveTo>
                    <a:cubicBezTo>
                      <a:pt x="1434" y="667"/>
                      <a:pt x="1450" y="652"/>
                      <a:pt x="1450" y="633"/>
                    </a:cubicBezTo>
                    <a:cubicBezTo>
                      <a:pt x="1450" y="587"/>
                      <a:pt x="1450" y="587"/>
                      <a:pt x="1450" y="587"/>
                    </a:cubicBezTo>
                    <a:cubicBezTo>
                      <a:pt x="1450" y="568"/>
                      <a:pt x="1434" y="552"/>
                      <a:pt x="1415" y="552"/>
                    </a:cubicBezTo>
                    <a:cubicBezTo>
                      <a:pt x="1396" y="552"/>
                      <a:pt x="1381" y="568"/>
                      <a:pt x="1381" y="587"/>
                    </a:cubicBezTo>
                    <a:cubicBezTo>
                      <a:pt x="1381" y="633"/>
                      <a:pt x="1381" y="633"/>
                      <a:pt x="1381" y="633"/>
                    </a:cubicBezTo>
                    <a:cubicBezTo>
                      <a:pt x="1381" y="652"/>
                      <a:pt x="1396" y="667"/>
                      <a:pt x="1415" y="667"/>
                    </a:cubicBezTo>
                    <a:close/>
                    <a:moveTo>
                      <a:pt x="1277" y="437"/>
                    </a:moveTo>
                    <a:cubicBezTo>
                      <a:pt x="1296" y="437"/>
                      <a:pt x="1312" y="422"/>
                      <a:pt x="1312" y="403"/>
                    </a:cubicBezTo>
                    <a:cubicBezTo>
                      <a:pt x="1312" y="357"/>
                      <a:pt x="1312" y="357"/>
                      <a:pt x="1312" y="357"/>
                    </a:cubicBezTo>
                    <a:cubicBezTo>
                      <a:pt x="1312" y="338"/>
                      <a:pt x="1296" y="322"/>
                      <a:pt x="1277" y="322"/>
                    </a:cubicBezTo>
                    <a:cubicBezTo>
                      <a:pt x="1258" y="322"/>
                      <a:pt x="1243" y="338"/>
                      <a:pt x="1243" y="357"/>
                    </a:cubicBezTo>
                    <a:cubicBezTo>
                      <a:pt x="1243" y="403"/>
                      <a:pt x="1243" y="403"/>
                      <a:pt x="1243" y="403"/>
                    </a:cubicBezTo>
                    <a:cubicBezTo>
                      <a:pt x="1243" y="422"/>
                      <a:pt x="1258" y="437"/>
                      <a:pt x="1277" y="437"/>
                    </a:cubicBezTo>
                    <a:close/>
                    <a:moveTo>
                      <a:pt x="1553" y="1818"/>
                    </a:moveTo>
                    <a:cubicBezTo>
                      <a:pt x="1572" y="1818"/>
                      <a:pt x="1588" y="1802"/>
                      <a:pt x="1588" y="1783"/>
                    </a:cubicBezTo>
                    <a:cubicBezTo>
                      <a:pt x="1588" y="1737"/>
                      <a:pt x="1588" y="1737"/>
                      <a:pt x="1588" y="1737"/>
                    </a:cubicBezTo>
                    <a:cubicBezTo>
                      <a:pt x="1588" y="1718"/>
                      <a:pt x="1572" y="1703"/>
                      <a:pt x="1553" y="1703"/>
                    </a:cubicBezTo>
                    <a:cubicBezTo>
                      <a:pt x="1534" y="1703"/>
                      <a:pt x="1519" y="1718"/>
                      <a:pt x="1519" y="1737"/>
                    </a:cubicBezTo>
                    <a:cubicBezTo>
                      <a:pt x="1519" y="1783"/>
                      <a:pt x="1519" y="1783"/>
                      <a:pt x="1519" y="1783"/>
                    </a:cubicBezTo>
                    <a:cubicBezTo>
                      <a:pt x="1519" y="1802"/>
                      <a:pt x="1534" y="1818"/>
                      <a:pt x="1553" y="1818"/>
                    </a:cubicBezTo>
                    <a:close/>
                    <a:moveTo>
                      <a:pt x="1415" y="437"/>
                    </a:moveTo>
                    <a:cubicBezTo>
                      <a:pt x="1434" y="437"/>
                      <a:pt x="1450" y="422"/>
                      <a:pt x="1450" y="403"/>
                    </a:cubicBezTo>
                    <a:cubicBezTo>
                      <a:pt x="1450" y="357"/>
                      <a:pt x="1450" y="357"/>
                      <a:pt x="1450" y="357"/>
                    </a:cubicBezTo>
                    <a:cubicBezTo>
                      <a:pt x="1450" y="338"/>
                      <a:pt x="1434" y="322"/>
                      <a:pt x="1415" y="322"/>
                    </a:cubicBezTo>
                    <a:cubicBezTo>
                      <a:pt x="1396" y="322"/>
                      <a:pt x="1381" y="338"/>
                      <a:pt x="1381" y="357"/>
                    </a:cubicBezTo>
                    <a:cubicBezTo>
                      <a:pt x="1381" y="403"/>
                      <a:pt x="1381" y="403"/>
                      <a:pt x="1381" y="403"/>
                    </a:cubicBezTo>
                    <a:cubicBezTo>
                      <a:pt x="1381" y="422"/>
                      <a:pt x="1396" y="437"/>
                      <a:pt x="1415" y="437"/>
                    </a:cubicBezTo>
                    <a:close/>
                    <a:moveTo>
                      <a:pt x="1277" y="667"/>
                    </a:moveTo>
                    <a:cubicBezTo>
                      <a:pt x="1296" y="667"/>
                      <a:pt x="1312" y="652"/>
                      <a:pt x="1312" y="633"/>
                    </a:cubicBezTo>
                    <a:cubicBezTo>
                      <a:pt x="1312" y="587"/>
                      <a:pt x="1312" y="587"/>
                      <a:pt x="1312" y="587"/>
                    </a:cubicBezTo>
                    <a:cubicBezTo>
                      <a:pt x="1312" y="568"/>
                      <a:pt x="1296" y="552"/>
                      <a:pt x="1277" y="552"/>
                    </a:cubicBezTo>
                    <a:cubicBezTo>
                      <a:pt x="1258" y="552"/>
                      <a:pt x="1243" y="568"/>
                      <a:pt x="1243" y="587"/>
                    </a:cubicBezTo>
                    <a:cubicBezTo>
                      <a:pt x="1243" y="633"/>
                      <a:pt x="1243" y="633"/>
                      <a:pt x="1243" y="633"/>
                    </a:cubicBezTo>
                    <a:cubicBezTo>
                      <a:pt x="1243" y="652"/>
                      <a:pt x="1258" y="667"/>
                      <a:pt x="1277" y="667"/>
                    </a:cubicBezTo>
                    <a:close/>
                    <a:moveTo>
                      <a:pt x="1829" y="1979"/>
                    </a:moveTo>
                    <a:cubicBezTo>
                      <a:pt x="1772" y="1979"/>
                      <a:pt x="1772" y="1979"/>
                      <a:pt x="1772" y="1979"/>
                    </a:cubicBezTo>
                    <a:cubicBezTo>
                      <a:pt x="1772" y="173"/>
                      <a:pt x="1772" y="173"/>
                      <a:pt x="1772" y="173"/>
                    </a:cubicBezTo>
                    <a:cubicBezTo>
                      <a:pt x="1772" y="154"/>
                      <a:pt x="1756" y="138"/>
                      <a:pt x="1737" y="138"/>
                    </a:cubicBezTo>
                    <a:cubicBezTo>
                      <a:pt x="1093" y="138"/>
                      <a:pt x="1093" y="138"/>
                      <a:pt x="1093" y="138"/>
                    </a:cubicBezTo>
                    <a:cubicBezTo>
                      <a:pt x="1074" y="138"/>
                      <a:pt x="1059" y="154"/>
                      <a:pt x="1059" y="173"/>
                    </a:cubicBezTo>
                    <a:cubicBezTo>
                      <a:pt x="1059" y="322"/>
                      <a:pt x="1059" y="322"/>
                      <a:pt x="1059" y="322"/>
                    </a:cubicBezTo>
                    <a:cubicBezTo>
                      <a:pt x="990" y="322"/>
                      <a:pt x="990" y="322"/>
                      <a:pt x="990" y="322"/>
                    </a:cubicBezTo>
                    <a:cubicBezTo>
                      <a:pt x="990" y="173"/>
                      <a:pt x="990" y="173"/>
                      <a:pt x="990" y="173"/>
                    </a:cubicBezTo>
                    <a:cubicBezTo>
                      <a:pt x="990" y="154"/>
                      <a:pt x="974" y="138"/>
                      <a:pt x="955" y="138"/>
                    </a:cubicBezTo>
                    <a:cubicBezTo>
                      <a:pt x="805" y="138"/>
                      <a:pt x="805" y="138"/>
                      <a:pt x="805" y="138"/>
                    </a:cubicBezTo>
                    <a:cubicBezTo>
                      <a:pt x="805" y="35"/>
                      <a:pt x="805" y="35"/>
                      <a:pt x="805" y="35"/>
                    </a:cubicBezTo>
                    <a:cubicBezTo>
                      <a:pt x="805" y="15"/>
                      <a:pt x="790" y="0"/>
                      <a:pt x="771" y="0"/>
                    </a:cubicBezTo>
                    <a:cubicBezTo>
                      <a:pt x="752" y="0"/>
                      <a:pt x="736" y="15"/>
                      <a:pt x="736" y="35"/>
                    </a:cubicBezTo>
                    <a:cubicBezTo>
                      <a:pt x="736" y="138"/>
                      <a:pt x="736" y="138"/>
                      <a:pt x="736" y="138"/>
                    </a:cubicBezTo>
                    <a:cubicBezTo>
                      <a:pt x="587" y="138"/>
                      <a:pt x="587" y="138"/>
                      <a:pt x="587" y="138"/>
                    </a:cubicBezTo>
                    <a:cubicBezTo>
                      <a:pt x="568" y="138"/>
                      <a:pt x="552" y="154"/>
                      <a:pt x="552" y="173"/>
                    </a:cubicBezTo>
                    <a:cubicBezTo>
                      <a:pt x="552" y="322"/>
                      <a:pt x="552" y="322"/>
                      <a:pt x="552" y="322"/>
                    </a:cubicBezTo>
                    <a:cubicBezTo>
                      <a:pt x="449" y="322"/>
                      <a:pt x="449" y="322"/>
                      <a:pt x="449" y="322"/>
                    </a:cubicBezTo>
                    <a:cubicBezTo>
                      <a:pt x="430" y="322"/>
                      <a:pt x="414" y="338"/>
                      <a:pt x="414" y="357"/>
                    </a:cubicBezTo>
                    <a:cubicBezTo>
                      <a:pt x="414" y="644"/>
                      <a:pt x="414" y="644"/>
                      <a:pt x="414" y="644"/>
                    </a:cubicBezTo>
                    <a:cubicBezTo>
                      <a:pt x="127" y="644"/>
                      <a:pt x="127" y="644"/>
                      <a:pt x="127" y="644"/>
                    </a:cubicBezTo>
                    <a:cubicBezTo>
                      <a:pt x="108" y="644"/>
                      <a:pt x="92" y="660"/>
                      <a:pt x="92" y="679"/>
                    </a:cubicBezTo>
                    <a:cubicBezTo>
                      <a:pt x="92" y="1979"/>
                      <a:pt x="92" y="1979"/>
                      <a:pt x="92" y="1979"/>
                    </a:cubicBezTo>
                    <a:cubicBezTo>
                      <a:pt x="35" y="1979"/>
                      <a:pt x="35" y="1979"/>
                      <a:pt x="35" y="1979"/>
                    </a:cubicBezTo>
                    <a:cubicBezTo>
                      <a:pt x="15" y="1979"/>
                      <a:pt x="0" y="1994"/>
                      <a:pt x="0" y="2013"/>
                    </a:cubicBezTo>
                    <a:cubicBezTo>
                      <a:pt x="0" y="2033"/>
                      <a:pt x="16" y="2048"/>
                      <a:pt x="35" y="2048"/>
                    </a:cubicBezTo>
                    <a:cubicBezTo>
                      <a:pt x="1829" y="2048"/>
                      <a:pt x="1829" y="2048"/>
                      <a:pt x="1829" y="2048"/>
                    </a:cubicBezTo>
                    <a:cubicBezTo>
                      <a:pt x="1849" y="2048"/>
                      <a:pt x="1864" y="2033"/>
                      <a:pt x="1864" y="2013"/>
                    </a:cubicBezTo>
                    <a:cubicBezTo>
                      <a:pt x="1864" y="1994"/>
                      <a:pt x="1849" y="1979"/>
                      <a:pt x="1829" y="1979"/>
                    </a:cubicBezTo>
                    <a:close/>
                    <a:moveTo>
                      <a:pt x="621" y="207"/>
                    </a:moveTo>
                    <a:cubicBezTo>
                      <a:pt x="920" y="207"/>
                      <a:pt x="920" y="207"/>
                      <a:pt x="920" y="207"/>
                    </a:cubicBezTo>
                    <a:cubicBezTo>
                      <a:pt x="920" y="322"/>
                      <a:pt x="920" y="322"/>
                      <a:pt x="920" y="322"/>
                    </a:cubicBezTo>
                    <a:cubicBezTo>
                      <a:pt x="621" y="322"/>
                      <a:pt x="621" y="322"/>
                      <a:pt x="621" y="322"/>
                    </a:cubicBezTo>
                    <a:lnTo>
                      <a:pt x="621" y="207"/>
                    </a:lnTo>
                    <a:close/>
                    <a:moveTo>
                      <a:pt x="506" y="1979"/>
                    </a:moveTo>
                    <a:cubicBezTo>
                      <a:pt x="483" y="1979"/>
                      <a:pt x="483" y="1979"/>
                      <a:pt x="483" y="1979"/>
                    </a:cubicBezTo>
                    <a:cubicBezTo>
                      <a:pt x="483" y="1921"/>
                      <a:pt x="483" y="1921"/>
                      <a:pt x="483" y="1921"/>
                    </a:cubicBezTo>
                    <a:cubicBezTo>
                      <a:pt x="483" y="1902"/>
                      <a:pt x="468" y="1887"/>
                      <a:pt x="449" y="1887"/>
                    </a:cubicBezTo>
                    <a:cubicBezTo>
                      <a:pt x="430" y="1887"/>
                      <a:pt x="414" y="1902"/>
                      <a:pt x="414" y="1921"/>
                    </a:cubicBezTo>
                    <a:cubicBezTo>
                      <a:pt x="414" y="1979"/>
                      <a:pt x="414" y="1979"/>
                      <a:pt x="414" y="1979"/>
                    </a:cubicBezTo>
                    <a:cubicBezTo>
                      <a:pt x="391" y="1979"/>
                      <a:pt x="391" y="1979"/>
                      <a:pt x="391" y="1979"/>
                    </a:cubicBezTo>
                    <a:cubicBezTo>
                      <a:pt x="391" y="1864"/>
                      <a:pt x="391" y="1864"/>
                      <a:pt x="391" y="1864"/>
                    </a:cubicBezTo>
                    <a:cubicBezTo>
                      <a:pt x="506" y="1864"/>
                      <a:pt x="506" y="1864"/>
                      <a:pt x="506" y="1864"/>
                    </a:cubicBezTo>
                    <a:lnTo>
                      <a:pt x="506" y="1979"/>
                    </a:lnTo>
                    <a:close/>
                    <a:moveTo>
                      <a:pt x="736" y="1979"/>
                    </a:moveTo>
                    <a:cubicBezTo>
                      <a:pt x="575" y="1979"/>
                      <a:pt x="575" y="1979"/>
                      <a:pt x="575" y="1979"/>
                    </a:cubicBezTo>
                    <a:cubicBezTo>
                      <a:pt x="575" y="1829"/>
                      <a:pt x="575" y="1829"/>
                      <a:pt x="575" y="1829"/>
                    </a:cubicBezTo>
                    <a:cubicBezTo>
                      <a:pt x="575" y="1810"/>
                      <a:pt x="560" y="1795"/>
                      <a:pt x="541" y="1795"/>
                    </a:cubicBezTo>
                    <a:cubicBezTo>
                      <a:pt x="357" y="1795"/>
                      <a:pt x="357" y="1795"/>
                      <a:pt x="357" y="1795"/>
                    </a:cubicBezTo>
                    <a:cubicBezTo>
                      <a:pt x="338" y="1795"/>
                      <a:pt x="322" y="1810"/>
                      <a:pt x="322" y="1829"/>
                    </a:cubicBezTo>
                    <a:cubicBezTo>
                      <a:pt x="322" y="1979"/>
                      <a:pt x="322" y="1979"/>
                      <a:pt x="322" y="1979"/>
                    </a:cubicBezTo>
                    <a:cubicBezTo>
                      <a:pt x="161" y="1979"/>
                      <a:pt x="161" y="1979"/>
                      <a:pt x="161" y="1979"/>
                    </a:cubicBezTo>
                    <a:cubicBezTo>
                      <a:pt x="161" y="713"/>
                      <a:pt x="161" y="713"/>
                      <a:pt x="161" y="713"/>
                    </a:cubicBezTo>
                    <a:cubicBezTo>
                      <a:pt x="736" y="713"/>
                      <a:pt x="736" y="713"/>
                      <a:pt x="736" y="713"/>
                    </a:cubicBezTo>
                    <a:lnTo>
                      <a:pt x="736" y="1979"/>
                    </a:lnTo>
                    <a:close/>
                    <a:moveTo>
                      <a:pt x="771" y="644"/>
                    </a:moveTo>
                    <a:cubicBezTo>
                      <a:pt x="483" y="644"/>
                      <a:pt x="483" y="644"/>
                      <a:pt x="483" y="644"/>
                    </a:cubicBezTo>
                    <a:cubicBezTo>
                      <a:pt x="483" y="391"/>
                      <a:pt x="483" y="391"/>
                      <a:pt x="483" y="391"/>
                    </a:cubicBezTo>
                    <a:cubicBezTo>
                      <a:pt x="1059" y="391"/>
                      <a:pt x="1059" y="391"/>
                      <a:pt x="1059" y="391"/>
                    </a:cubicBezTo>
                    <a:cubicBezTo>
                      <a:pt x="1059" y="1059"/>
                      <a:pt x="1059" y="1059"/>
                      <a:pt x="1059" y="1059"/>
                    </a:cubicBezTo>
                    <a:cubicBezTo>
                      <a:pt x="805" y="1059"/>
                      <a:pt x="805" y="1059"/>
                      <a:pt x="805" y="1059"/>
                    </a:cubicBezTo>
                    <a:cubicBezTo>
                      <a:pt x="805" y="943"/>
                      <a:pt x="805" y="943"/>
                      <a:pt x="805" y="943"/>
                    </a:cubicBezTo>
                    <a:cubicBezTo>
                      <a:pt x="909" y="943"/>
                      <a:pt x="909" y="943"/>
                      <a:pt x="909" y="943"/>
                    </a:cubicBezTo>
                    <a:cubicBezTo>
                      <a:pt x="928" y="943"/>
                      <a:pt x="944" y="928"/>
                      <a:pt x="944" y="909"/>
                    </a:cubicBezTo>
                    <a:cubicBezTo>
                      <a:pt x="944" y="890"/>
                      <a:pt x="928" y="874"/>
                      <a:pt x="909" y="874"/>
                    </a:cubicBezTo>
                    <a:cubicBezTo>
                      <a:pt x="805" y="874"/>
                      <a:pt x="805" y="874"/>
                      <a:pt x="805" y="874"/>
                    </a:cubicBezTo>
                    <a:cubicBezTo>
                      <a:pt x="805" y="759"/>
                      <a:pt x="805" y="759"/>
                      <a:pt x="805" y="759"/>
                    </a:cubicBezTo>
                    <a:cubicBezTo>
                      <a:pt x="909" y="759"/>
                      <a:pt x="909" y="759"/>
                      <a:pt x="909" y="759"/>
                    </a:cubicBezTo>
                    <a:cubicBezTo>
                      <a:pt x="928" y="759"/>
                      <a:pt x="944" y="744"/>
                      <a:pt x="944" y="725"/>
                    </a:cubicBezTo>
                    <a:cubicBezTo>
                      <a:pt x="944" y="706"/>
                      <a:pt x="928" y="690"/>
                      <a:pt x="909" y="690"/>
                    </a:cubicBezTo>
                    <a:cubicBezTo>
                      <a:pt x="805" y="690"/>
                      <a:pt x="805" y="690"/>
                      <a:pt x="805" y="690"/>
                    </a:cubicBezTo>
                    <a:cubicBezTo>
                      <a:pt x="805" y="679"/>
                      <a:pt x="805" y="679"/>
                      <a:pt x="805" y="679"/>
                    </a:cubicBezTo>
                    <a:cubicBezTo>
                      <a:pt x="805" y="660"/>
                      <a:pt x="790" y="644"/>
                      <a:pt x="771" y="644"/>
                    </a:cubicBezTo>
                    <a:close/>
                    <a:moveTo>
                      <a:pt x="1381" y="1979"/>
                    </a:moveTo>
                    <a:cubicBezTo>
                      <a:pt x="805" y="1979"/>
                      <a:pt x="805" y="1979"/>
                      <a:pt x="805" y="1979"/>
                    </a:cubicBezTo>
                    <a:cubicBezTo>
                      <a:pt x="805" y="1128"/>
                      <a:pt x="805" y="1128"/>
                      <a:pt x="805" y="1128"/>
                    </a:cubicBezTo>
                    <a:cubicBezTo>
                      <a:pt x="1381" y="1128"/>
                      <a:pt x="1381" y="1128"/>
                      <a:pt x="1381" y="1128"/>
                    </a:cubicBezTo>
                    <a:lnTo>
                      <a:pt x="1381" y="1979"/>
                    </a:lnTo>
                    <a:close/>
                    <a:moveTo>
                      <a:pt x="1703" y="1979"/>
                    </a:moveTo>
                    <a:cubicBezTo>
                      <a:pt x="1450" y="1979"/>
                      <a:pt x="1450" y="1979"/>
                      <a:pt x="1450" y="1979"/>
                    </a:cubicBezTo>
                    <a:cubicBezTo>
                      <a:pt x="1450" y="1047"/>
                      <a:pt x="1450" y="1047"/>
                      <a:pt x="1450" y="1047"/>
                    </a:cubicBezTo>
                    <a:cubicBezTo>
                      <a:pt x="1450" y="1028"/>
                      <a:pt x="1434" y="1012"/>
                      <a:pt x="1415" y="1012"/>
                    </a:cubicBezTo>
                    <a:cubicBezTo>
                      <a:pt x="1396" y="1012"/>
                      <a:pt x="1381" y="1028"/>
                      <a:pt x="1381" y="1047"/>
                    </a:cubicBezTo>
                    <a:cubicBezTo>
                      <a:pt x="1381" y="1059"/>
                      <a:pt x="1381" y="1059"/>
                      <a:pt x="1381" y="1059"/>
                    </a:cubicBezTo>
                    <a:cubicBezTo>
                      <a:pt x="1312" y="1059"/>
                      <a:pt x="1312" y="1059"/>
                      <a:pt x="1312" y="1059"/>
                    </a:cubicBezTo>
                    <a:cubicBezTo>
                      <a:pt x="1312" y="1047"/>
                      <a:pt x="1312" y="1047"/>
                      <a:pt x="1312" y="1047"/>
                    </a:cubicBezTo>
                    <a:cubicBezTo>
                      <a:pt x="1312" y="1028"/>
                      <a:pt x="1296" y="1012"/>
                      <a:pt x="1277" y="1012"/>
                    </a:cubicBezTo>
                    <a:cubicBezTo>
                      <a:pt x="1258" y="1012"/>
                      <a:pt x="1243" y="1028"/>
                      <a:pt x="1243" y="1047"/>
                    </a:cubicBezTo>
                    <a:cubicBezTo>
                      <a:pt x="1243" y="1059"/>
                      <a:pt x="1243" y="1059"/>
                      <a:pt x="1243" y="1059"/>
                    </a:cubicBezTo>
                    <a:cubicBezTo>
                      <a:pt x="1128" y="1059"/>
                      <a:pt x="1128" y="1059"/>
                      <a:pt x="1128" y="1059"/>
                    </a:cubicBezTo>
                    <a:cubicBezTo>
                      <a:pt x="1128" y="207"/>
                      <a:pt x="1128" y="207"/>
                      <a:pt x="1128" y="207"/>
                    </a:cubicBezTo>
                    <a:cubicBezTo>
                      <a:pt x="1703" y="207"/>
                      <a:pt x="1703" y="207"/>
                      <a:pt x="1703" y="207"/>
                    </a:cubicBezTo>
                    <a:lnTo>
                      <a:pt x="1703" y="1979"/>
                    </a:lnTo>
                    <a:close/>
                    <a:moveTo>
                      <a:pt x="1277" y="897"/>
                    </a:moveTo>
                    <a:cubicBezTo>
                      <a:pt x="1296" y="897"/>
                      <a:pt x="1312" y="882"/>
                      <a:pt x="1312" y="863"/>
                    </a:cubicBezTo>
                    <a:cubicBezTo>
                      <a:pt x="1312" y="817"/>
                      <a:pt x="1312" y="817"/>
                      <a:pt x="1312" y="817"/>
                    </a:cubicBezTo>
                    <a:cubicBezTo>
                      <a:pt x="1312" y="798"/>
                      <a:pt x="1296" y="782"/>
                      <a:pt x="1277" y="782"/>
                    </a:cubicBezTo>
                    <a:cubicBezTo>
                      <a:pt x="1258" y="782"/>
                      <a:pt x="1243" y="798"/>
                      <a:pt x="1243" y="817"/>
                    </a:cubicBezTo>
                    <a:cubicBezTo>
                      <a:pt x="1243" y="863"/>
                      <a:pt x="1243" y="863"/>
                      <a:pt x="1243" y="863"/>
                    </a:cubicBezTo>
                    <a:cubicBezTo>
                      <a:pt x="1243" y="882"/>
                      <a:pt x="1258" y="897"/>
                      <a:pt x="1277" y="897"/>
                    </a:cubicBezTo>
                    <a:close/>
                    <a:moveTo>
                      <a:pt x="1553" y="1358"/>
                    </a:moveTo>
                    <a:cubicBezTo>
                      <a:pt x="1572" y="1358"/>
                      <a:pt x="1588" y="1342"/>
                      <a:pt x="1588" y="1323"/>
                    </a:cubicBezTo>
                    <a:cubicBezTo>
                      <a:pt x="1588" y="1277"/>
                      <a:pt x="1588" y="1277"/>
                      <a:pt x="1588" y="1277"/>
                    </a:cubicBezTo>
                    <a:cubicBezTo>
                      <a:pt x="1588" y="1258"/>
                      <a:pt x="1572" y="1243"/>
                      <a:pt x="1553" y="1243"/>
                    </a:cubicBezTo>
                    <a:cubicBezTo>
                      <a:pt x="1534" y="1243"/>
                      <a:pt x="1519" y="1258"/>
                      <a:pt x="1519" y="1277"/>
                    </a:cubicBezTo>
                    <a:cubicBezTo>
                      <a:pt x="1519" y="1323"/>
                      <a:pt x="1519" y="1323"/>
                      <a:pt x="1519" y="1323"/>
                    </a:cubicBezTo>
                    <a:cubicBezTo>
                      <a:pt x="1519" y="1342"/>
                      <a:pt x="1534" y="1358"/>
                      <a:pt x="1553" y="1358"/>
                    </a:cubicBezTo>
                    <a:close/>
                    <a:moveTo>
                      <a:pt x="1553" y="1588"/>
                    </a:moveTo>
                    <a:cubicBezTo>
                      <a:pt x="1572" y="1588"/>
                      <a:pt x="1588" y="1572"/>
                      <a:pt x="1588" y="1553"/>
                    </a:cubicBezTo>
                    <a:cubicBezTo>
                      <a:pt x="1588" y="1507"/>
                      <a:pt x="1588" y="1507"/>
                      <a:pt x="1588" y="1507"/>
                    </a:cubicBezTo>
                    <a:cubicBezTo>
                      <a:pt x="1588" y="1488"/>
                      <a:pt x="1572" y="1473"/>
                      <a:pt x="1553" y="1473"/>
                    </a:cubicBezTo>
                    <a:cubicBezTo>
                      <a:pt x="1534" y="1473"/>
                      <a:pt x="1519" y="1488"/>
                      <a:pt x="1519" y="1507"/>
                    </a:cubicBezTo>
                    <a:cubicBezTo>
                      <a:pt x="1519" y="1553"/>
                      <a:pt x="1519" y="1553"/>
                      <a:pt x="1519" y="1553"/>
                    </a:cubicBezTo>
                    <a:cubicBezTo>
                      <a:pt x="1519" y="1572"/>
                      <a:pt x="1534" y="1588"/>
                      <a:pt x="1553" y="1588"/>
                    </a:cubicBezTo>
                    <a:close/>
                    <a:moveTo>
                      <a:pt x="955" y="1910"/>
                    </a:moveTo>
                    <a:cubicBezTo>
                      <a:pt x="974" y="1910"/>
                      <a:pt x="990" y="1894"/>
                      <a:pt x="990" y="1875"/>
                    </a:cubicBezTo>
                    <a:cubicBezTo>
                      <a:pt x="990" y="1231"/>
                      <a:pt x="990" y="1231"/>
                      <a:pt x="990" y="1231"/>
                    </a:cubicBezTo>
                    <a:cubicBezTo>
                      <a:pt x="990" y="1212"/>
                      <a:pt x="974" y="1197"/>
                      <a:pt x="955" y="1197"/>
                    </a:cubicBezTo>
                    <a:cubicBezTo>
                      <a:pt x="936" y="1197"/>
                      <a:pt x="920" y="1212"/>
                      <a:pt x="920" y="1231"/>
                    </a:cubicBezTo>
                    <a:cubicBezTo>
                      <a:pt x="920" y="1875"/>
                      <a:pt x="920" y="1875"/>
                      <a:pt x="920" y="1875"/>
                    </a:cubicBezTo>
                    <a:cubicBezTo>
                      <a:pt x="920" y="1894"/>
                      <a:pt x="936" y="1910"/>
                      <a:pt x="955" y="1910"/>
                    </a:cubicBezTo>
                    <a:close/>
                    <a:moveTo>
                      <a:pt x="1553" y="667"/>
                    </a:moveTo>
                    <a:cubicBezTo>
                      <a:pt x="1572" y="667"/>
                      <a:pt x="1588" y="652"/>
                      <a:pt x="1588" y="633"/>
                    </a:cubicBezTo>
                    <a:cubicBezTo>
                      <a:pt x="1588" y="587"/>
                      <a:pt x="1588" y="587"/>
                      <a:pt x="1588" y="587"/>
                    </a:cubicBezTo>
                    <a:cubicBezTo>
                      <a:pt x="1588" y="568"/>
                      <a:pt x="1572" y="552"/>
                      <a:pt x="1553" y="552"/>
                    </a:cubicBezTo>
                    <a:cubicBezTo>
                      <a:pt x="1534" y="552"/>
                      <a:pt x="1519" y="568"/>
                      <a:pt x="1519" y="587"/>
                    </a:cubicBezTo>
                    <a:cubicBezTo>
                      <a:pt x="1519" y="633"/>
                      <a:pt x="1519" y="633"/>
                      <a:pt x="1519" y="633"/>
                    </a:cubicBezTo>
                    <a:cubicBezTo>
                      <a:pt x="1519" y="652"/>
                      <a:pt x="1534" y="667"/>
                      <a:pt x="1553" y="667"/>
                    </a:cubicBezTo>
                    <a:close/>
                    <a:moveTo>
                      <a:pt x="1093" y="1910"/>
                    </a:moveTo>
                    <a:cubicBezTo>
                      <a:pt x="1112" y="1910"/>
                      <a:pt x="1128" y="1894"/>
                      <a:pt x="1128" y="1875"/>
                    </a:cubicBezTo>
                    <a:cubicBezTo>
                      <a:pt x="1128" y="1231"/>
                      <a:pt x="1128" y="1231"/>
                      <a:pt x="1128" y="1231"/>
                    </a:cubicBezTo>
                    <a:cubicBezTo>
                      <a:pt x="1128" y="1212"/>
                      <a:pt x="1112" y="1197"/>
                      <a:pt x="1093" y="1197"/>
                    </a:cubicBezTo>
                    <a:cubicBezTo>
                      <a:pt x="1074" y="1197"/>
                      <a:pt x="1059" y="1212"/>
                      <a:pt x="1059" y="1231"/>
                    </a:cubicBezTo>
                    <a:cubicBezTo>
                      <a:pt x="1059" y="1875"/>
                      <a:pt x="1059" y="1875"/>
                      <a:pt x="1059" y="1875"/>
                    </a:cubicBezTo>
                    <a:cubicBezTo>
                      <a:pt x="1059" y="1894"/>
                      <a:pt x="1074" y="1910"/>
                      <a:pt x="1093" y="1910"/>
                    </a:cubicBezTo>
                    <a:close/>
                    <a:moveTo>
                      <a:pt x="1553" y="437"/>
                    </a:moveTo>
                    <a:cubicBezTo>
                      <a:pt x="1572" y="437"/>
                      <a:pt x="1588" y="422"/>
                      <a:pt x="1588" y="403"/>
                    </a:cubicBezTo>
                    <a:cubicBezTo>
                      <a:pt x="1588" y="357"/>
                      <a:pt x="1588" y="357"/>
                      <a:pt x="1588" y="357"/>
                    </a:cubicBezTo>
                    <a:cubicBezTo>
                      <a:pt x="1588" y="338"/>
                      <a:pt x="1572" y="322"/>
                      <a:pt x="1553" y="322"/>
                    </a:cubicBezTo>
                    <a:cubicBezTo>
                      <a:pt x="1534" y="322"/>
                      <a:pt x="1519" y="338"/>
                      <a:pt x="1519" y="357"/>
                    </a:cubicBezTo>
                    <a:cubicBezTo>
                      <a:pt x="1519" y="403"/>
                      <a:pt x="1519" y="403"/>
                      <a:pt x="1519" y="403"/>
                    </a:cubicBezTo>
                    <a:cubicBezTo>
                      <a:pt x="1519" y="422"/>
                      <a:pt x="1534" y="437"/>
                      <a:pt x="1553" y="437"/>
                    </a:cubicBezTo>
                    <a:close/>
                    <a:moveTo>
                      <a:pt x="1553" y="897"/>
                    </a:moveTo>
                    <a:cubicBezTo>
                      <a:pt x="1572" y="897"/>
                      <a:pt x="1588" y="882"/>
                      <a:pt x="1588" y="863"/>
                    </a:cubicBezTo>
                    <a:cubicBezTo>
                      <a:pt x="1588" y="817"/>
                      <a:pt x="1588" y="817"/>
                      <a:pt x="1588" y="817"/>
                    </a:cubicBezTo>
                    <a:cubicBezTo>
                      <a:pt x="1588" y="798"/>
                      <a:pt x="1572" y="782"/>
                      <a:pt x="1553" y="782"/>
                    </a:cubicBezTo>
                    <a:cubicBezTo>
                      <a:pt x="1534" y="782"/>
                      <a:pt x="1519" y="798"/>
                      <a:pt x="1519" y="817"/>
                    </a:cubicBezTo>
                    <a:cubicBezTo>
                      <a:pt x="1519" y="863"/>
                      <a:pt x="1519" y="863"/>
                      <a:pt x="1519" y="863"/>
                    </a:cubicBezTo>
                    <a:cubicBezTo>
                      <a:pt x="1519" y="882"/>
                      <a:pt x="1534" y="897"/>
                      <a:pt x="1553" y="897"/>
                    </a:cubicBezTo>
                    <a:close/>
                    <a:moveTo>
                      <a:pt x="1231" y="1910"/>
                    </a:moveTo>
                    <a:cubicBezTo>
                      <a:pt x="1250" y="1910"/>
                      <a:pt x="1266" y="1894"/>
                      <a:pt x="1266" y="1875"/>
                    </a:cubicBezTo>
                    <a:cubicBezTo>
                      <a:pt x="1266" y="1231"/>
                      <a:pt x="1266" y="1231"/>
                      <a:pt x="1266" y="1231"/>
                    </a:cubicBezTo>
                    <a:cubicBezTo>
                      <a:pt x="1266" y="1212"/>
                      <a:pt x="1250" y="1197"/>
                      <a:pt x="1231" y="1197"/>
                    </a:cubicBezTo>
                    <a:cubicBezTo>
                      <a:pt x="1212" y="1197"/>
                      <a:pt x="1197" y="1212"/>
                      <a:pt x="1197" y="1231"/>
                    </a:cubicBezTo>
                    <a:cubicBezTo>
                      <a:pt x="1197" y="1875"/>
                      <a:pt x="1197" y="1875"/>
                      <a:pt x="1197" y="1875"/>
                    </a:cubicBezTo>
                    <a:cubicBezTo>
                      <a:pt x="1197" y="1894"/>
                      <a:pt x="1212" y="1910"/>
                      <a:pt x="1231" y="1910"/>
                    </a:cubicBezTo>
                    <a:close/>
                    <a:moveTo>
                      <a:pt x="1553" y="1128"/>
                    </a:moveTo>
                    <a:cubicBezTo>
                      <a:pt x="1572" y="1128"/>
                      <a:pt x="1588" y="1112"/>
                      <a:pt x="1588" y="1093"/>
                    </a:cubicBezTo>
                    <a:cubicBezTo>
                      <a:pt x="1588" y="1047"/>
                      <a:pt x="1588" y="1047"/>
                      <a:pt x="1588" y="1047"/>
                    </a:cubicBezTo>
                    <a:cubicBezTo>
                      <a:pt x="1588" y="1028"/>
                      <a:pt x="1572" y="1012"/>
                      <a:pt x="1553" y="1012"/>
                    </a:cubicBezTo>
                    <a:cubicBezTo>
                      <a:pt x="1534" y="1012"/>
                      <a:pt x="1519" y="1028"/>
                      <a:pt x="1519" y="1047"/>
                    </a:cubicBezTo>
                    <a:cubicBezTo>
                      <a:pt x="1519" y="1093"/>
                      <a:pt x="1519" y="1093"/>
                      <a:pt x="1519" y="1093"/>
                    </a:cubicBezTo>
                    <a:cubicBezTo>
                      <a:pt x="1519" y="1112"/>
                      <a:pt x="1534" y="1128"/>
                      <a:pt x="1553" y="112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nvGrpSpPr>
          <p:cNvPr id="29" name="Group 489"/>
          <p:cNvGrpSpPr/>
          <p:nvPr/>
        </p:nvGrpSpPr>
        <p:grpSpPr>
          <a:xfrm>
            <a:off x="3639126" y="1086614"/>
            <a:ext cx="1605740" cy="634681"/>
            <a:chOff x="3639126" y="1086614"/>
            <a:chExt cx="1605740" cy="634681"/>
          </a:xfrm>
        </p:grpSpPr>
        <p:sp>
          <p:nvSpPr>
            <p:cNvPr id="472" name="Rectangle 471"/>
            <p:cNvSpPr/>
            <p:nvPr/>
          </p:nvSpPr>
          <p:spPr>
            <a:xfrm>
              <a:off x="4375397" y="1234677"/>
              <a:ext cx="869469" cy="338554"/>
            </a:xfrm>
            <a:prstGeom prst="rect">
              <a:avLst/>
            </a:prstGeom>
          </p:spPr>
          <p:txBody>
            <a:bodyPr wrap="none" lIns="0" tIns="0" rIns="0" bIns="0">
              <a:spAutoFit/>
            </a:bodyPr>
            <a:lstStyle/>
            <a:p>
              <a:pPr marL="7144" lvl="5" defTabSz="685193">
                <a:spcBef>
                  <a:spcPts val="225"/>
                </a:spcBef>
                <a:defRPr/>
              </a:pPr>
              <a:r>
                <a:rPr lang="en-US" sz="1100" b="1" kern="0" dirty="0" smtClean="0">
                  <a:solidFill>
                    <a:schemeClr val="accent1"/>
                  </a:solidFill>
                  <a:latin typeface="+mj-lt"/>
                </a:rPr>
                <a:t>Cisco Asset</a:t>
              </a:r>
              <a:br>
                <a:rPr lang="en-US" sz="1100" b="1" kern="0" dirty="0" smtClean="0">
                  <a:solidFill>
                    <a:schemeClr val="accent1"/>
                  </a:solidFill>
                  <a:latin typeface="+mj-lt"/>
                </a:rPr>
              </a:br>
              <a:r>
                <a:rPr lang="en-US" sz="1100" b="1" kern="0" dirty="0" smtClean="0">
                  <a:solidFill>
                    <a:schemeClr val="accent1"/>
                  </a:solidFill>
                  <a:latin typeface="+mj-lt"/>
                </a:rPr>
                <a:t>Management</a:t>
              </a:r>
              <a:endParaRPr lang="en-US" sz="1100" b="1" kern="0" dirty="0">
                <a:solidFill>
                  <a:schemeClr val="accent1"/>
                </a:solidFill>
                <a:latin typeface="+mj-lt"/>
              </a:endParaRPr>
            </a:p>
          </p:txBody>
        </p:sp>
        <p:sp>
          <p:nvSpPr>
            <p:cNvPr id="478" name="Oval 477"/>
            <p:cNvSpPr/>
            <p:nvPr/>
          </p:nvSpPr>
          <p:spPr>
            <a:xfrm>
              <a:off x="3639126" y="1086614"/>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9398" name="Freeform 6"/>
            <p:cNvSpPr>
              <a:spLocks noEditPoints="1"/>
            </p:cNvSpPr>
            <p:nvPr/>
          </p:nvSpPr>
          <p:spPr bwMode="auto">
            <a:xfrm>
              <a:off x="3807104" y="1196732"/>
              <a:ext cx="298725" cy="414445"/>
            </a:xfrm>
            <a:custGeom>
              <a:avLst/>
              <a:gdLst/>
              <a:ahLst/>
              <a:cxnLst>
                <a:cxn ang="0">
                  <a:pos x="433" y="2114"/>
                </a:cxn>
                <a:cxn ang="0">
                  <a:pos x="511" y="2333"/>
                </a:cxn>
                <a:cxn ang="0">
                  <a:pos x="830" y="2085"/>
                </a:cxn>
                <a:cxn ang="0">
                  <a:pos x="1043" y="99"/>
                </a:cxn>
                <a:cxn ang="0">
                  <a:pos x="1043" y="227"/>
                </a:cxn>
                <a:cxn ang="0">
                  <a:pos x="1043" y="99"/>
                </a:cxn>
                <a:cxn ang="0">
                  <a:pos x="1043" y="127"/>
                </a:cxn>
                <a:cxn ang="0">
                  <a:pos x="993" y="957"/>
                </a:cxn>
                <a:cxn ang="0">
                  <a:pos x="1391" y="858"/>
                </a:cxn>
                <a:cxn ang="0">
                  <a:pos x="993" y="957"/>
                </a:cxn>
                <a:cxn ang="0">
                  <a:pos x="433" y="1518"/>
                </a:cxn>
                <a:cxn ang="0">
                  <a:pos x="511" y="1737"/>
                </a:cxn>
                <a:cxn ang="0">
                  <a:pos x="830" y="1489"/>
                </a:cxn>
                <a:cxn ang="0">
                  <a:pos x="760" y="823"/>
                </a:cxn>
                <a:cxn ang="0">
                  <a:pos x="362" y="922"/>
                </a:cxn>
                <a:cxn ang="0">
                  <a:pos x="546" y="1156"/>
                </a:cxn>
                <a:cxn ang="0">
                  <a:pos x="830" y="823"/>
                </a:cxn>
                <a:cxn ang="0">
                  <a:pos x="993" y="1057"/>
                </a:cxn>
                <a:cxn ang="0">
                  <a:pos x="1639" y="1156"/>
                </a:cxn>
                <a:cxn ang="0">
                  <a:pos x="1887" y="213"/>
                </a:cxn>
                <a:cxn ang="0">
                  <a:pos x="1206" y="199"/>
                </a:cxn>
                <a:cxn ang="0">
                  <a:pos x="880" y="163"/>
                </a:cxn>
                <a:cxn ang="0">
                  <a:pos x="691" y="213"/>
                </a:cxn>
                <a:cxn ang="0">
                  <a:pos x="0" y="2695"/>
                </a:cxn>
                <a:cxn ang="0">
                  <a:pos x="2086" y="2695"/>
                </a:cxn>
                <a:cxn ang="0">
                  <a:pos x="660" y="312"/>
                </a:cxn>
                <a:cxn ang="0">
                  <a:pos x="908" y="163"/>
                </a:cxn>
                <a:cxn ang="0">
                  <a:pos x="1178" y="227"/>
                </a:cxn>
                <a:cxn ang="0">
                  <a:pos x="1426" y="312"/>
                </a:cxn>
                <a:cxn ang="0">
                  <a:pos x="660" y="312"/>
                </a:cxn>
                <a:cxn ang="0">
                  <a:pos x="1440" y="376"/>
                </a:cxn>
                <a:cxn ang="0">
                  <a:pos x="1440" y="447"/>
                </a:cxn>
                <a:cxn ang="0">
                  <a:pos x="632" y="378"/>
                </a:cxn>
                <a:cxn ang="0">
                  <a:pos x="199" y="2745"/>
                </a:cxn>
                <a:cxn ang="0">
                  <a:pos x="199" y="362"/>
                </a:cxn>
                <a:cxn ang="0">
                  <a:pos x="646" y="475"/>
                </a:cxn>
                <a:cxn ang="0">
                  <a:pos x="1480" y="362"/>
                </a:cxn>
                <a:cxn ang="0">
                  <a:pos x="1937" y="2695"/>
                </a:cxn>
                <a:cxn ang="0">
                  <a:pos x="1440" y="1504"/>
                </a:cxn>
                <a:cxn ang="0">
                  <a:pos x="944" y="1504"/>
                </a:cxn>
                <a:cxn ang="0">
                  <a:pos x="993" y="1653"/>
                </a:cxn>
                <a:cxn ang="0">
                  <a:pos x="1639" y="1752"/>
                </a:cxn>
                <a:cxn ang="0">
                  <a:pos x="1639" y="2248"/>
                </a:cxn>
                <a:cxn ang="0">
                  <a:pos x="993" y="2348"/>
                </a:cxn>
                <a:cxn ang="0">
                  <a:pos x="1639" y="2248"/>
                </a:cxn>
                <a:cxn ang="0">
                  <a:pos x="1440" y="2100"/>
                </a:cxn>
                <a:cxn ang="0">
                  <a:pos x="944" y="2100"/>
                </a:cxn>
              </a:cxnLst>
              <a:rect l="0" t="0" r="r" b="b"/>
              <a:pathLst>
                <a:path w="2086" h="2894">
                  <a:moveTo>
                    <a:pt x="760" y="2015"/>
                  </a:moveTo>
                  <a:cubicBezTo>
                    <a:pt x="546" y="2228"/>
                    <a:pt x="546" y="2228"/>
                    <a:pt x="546" y="2228"/>
                  </a:cubicBezTo>
                  <a:cubicBezTo>
                    <a:pt x="433" y="2114"/>
                    <a:pt x="433" y="2114"/>
                    <a:pt x="433" y="2114"/>
                  </a:cubicBezTo>
                  <a:cubicBezTo>
                    <a:pt x="413" y="2095"/>
                    <a:pt x="382" y="2095"/>
                    <a:pt x="362" y="2114"/>
                  </a:cubicBezTo>
                  <a:cubicBezTo>
                    <a:pt x="343" y="2133"/>
                    <a:pt x="343" y="2165"/>
                    <a:pt x="362" y="2184"/>
                  </a:cubicBezTo>
                  <a:cubicBezTo>
                    <a:pt x="511" y="2333"/>
                    <a:pt x="511" y="2333"/>
                    <a:pt x="511" y="2333"/>
                  </a:cubicBezTo>
                  <a:cubicBezTo>
                    <a:pt x="521" y="2343"/>
                    <a:pt x="534" y="2348"/>
                    <a:pt x="546" y="2348"/>
                  </a:cubicBezTo>
                  <a:cubicBezTo>
                    <a:pt x="559" y="2348"/>
                    <a:pt x="572" y="2343"/>
                    <a:pt x="582" y="2333"/>
                  </a:cubicBezTo>
                  <a:cubicBezTo>
                    <a:pt x="830" y="2085"/>
                    <a:pt x="830" y="2085"/>
                    <a:pt x="830" y="2085"/>
                  </a:cubicBezTo>
                  <a:cubicBezTo>
                    <a:pt x="849" y="2066"/>
                    <a:pt x="849" y="2034"/>
                    <a:pt x="830" y="2015"/>
                  </a:cubicBezTo>
                  <a:cubicBezTo>
                    <a:pt x="810" y="1995"/>
                    <a:pt x="779" y="1995"/>
                    <a:pt x="760" y="2015"/>
                  </a:cubicBezTo>
                  <a:close/>
                  <a:moveTo>
                    <a:pt x="1043" y="99"/>
                  </a:moveTo>
                  <a:cubicBezTo>
                    <a:pt x="1008" y="99"/>
                    <a:pt x="979" y="128"/>
                    <a:pt x="979" y="163"/>
                  </a:cubicBezTo>
                  <a:cubicBezTo>
                    <a:pt x="979" y="183"/>
                    <a:pt x="989" y="201"/>
                    <a:pt x="1003" y="213"/>
                  </a:cubicBezTo>
                  <a:cubicBezTo>
                    <a:pt x="1014" y="221"/>
                    <a:pt x="1028" y="227"/>
                    <a:pt x="1043" y="227"/>
                  </a:cubicBezTo>
                  <a:cubicBezTo>
                    <a:pt x="1058" y="227"/>
                    <a:pt x="1072" y="221"/>
                    <a:pt x="1083" y="213"/>
                  </a:cubicBezTo>
                  <a:cubicBezTo>
                    <a:pt x="1097" y="201"/>
                    <a:pt x="1107" y="183"/>
                    <a:pt x="1107" y="163"/>
                  </a:cubicBezTo>
                  <a:cubicBezTo>
                    <a:pt x="1107" y="128"/>
                    <a:pt x="1078" y="99"/>
                    <a:pt x="1043" y="99"/>
                  </a:cubicBezTo>
                  <a:close/>
                  <a:moveTo>
                    <a:pt x="1043" y="199"/>
                  </a:moveTo>
                  <a:cubicBezTo>
                    <a:pt x="1023" y="199"/>
                    <a:pt x="1007" y="183"/>
                    <a:pt x="1007" y="163"/>
                  </a:cubicBezTo>
                  <a:cubicBezTo>
                    <a:pt x="1007" y="143"/>
                    <a:pt x="1023" y="127"/>
                    <a:pt x="1043" y="127"/>
                  </a:cubicBezTo>
                  <a:cubicBezTo>
                    <a:pt x="1063" y="127"/>
                    <a:pt x="1079" y="143"/>
                    <a:pt x="1079" y="163"/>
                  </a:cubicBezTo>
                  <a:cubicBezTo>
                    <a:pt x="1079" y="183"/>
                    <a:pt x="1063" y="199"/>
                    <a:pt x="1043" y="199"/>
                  </a:cubicBezTo>
                  <a:close/>
                  <a:moveTo>
                    <a:pt x="993" y="957"/>
                  </a:moveTo>
                  <a:cubicBezTo>
                    <a:pt x="1391" y="957"/>
                    <a:pt x="1391" y="957"/>
                    <a:pt x="1391" y="957"/>
                  </a:cubicBezTo>
                  <a:cubicBezTo>
                    <a:pt x="1418" y="957"/>
                    <a:pt x="1440" y="935"/>
                    <a:pt x="1440" y="908"/>
                  </a:cubicBezTo>
                  <a:cubicBezTo>
                    <a:pt x="1440" y="880"/>
                    <a:pt x="1418" y="858"/>
                    <a:pt x="1391" y="858"/>
                  </a:cubicBezTo>
                  <a:cubicBezTo>
                    <a:pt x="993" y="858"/>
                    <a:pt x="993" y="858"/>
                    <a:pt x="993" y="858"/>
                  </a:cubicBezTo>
                  <a:cubicBezTo>
                    <a:pt x="966" y="858"/>
                    <a:pt x="944" y="880"/>
                    <a:pt x="944" y="908"/>
                  </a:cubicBezTo>
                  <a:cubicBezTo>
                    <a:pt x="944" y="935"/>
                    <a:pt x="966" y="957"/>
                    <a:pt x="993" y="957"/>
                  </a:cubicBezTo>
                  <a:close/>
                  <a:moveTo>
                    <a:pt x="760" y="1419"/>
                  </a:moveTo>
                  <a:cubicBezTo>
                    <a:pt x="546" y="1632"/>
                    <a:pt x="546" y="1632"/>
                    <a:pt x="546" y="1632"/>
                  </a:cubicBezTo>
                  <a:cubicBezTo>
                    <a:pt x="433" y="1518"/>
                    <a:pt x="433" y="1518"/>
                    <a:pt x="433" y="1518"/>
                  </a:cubicBezTo>
                  <a:cubicBezTo>
                    <a:pt x="413" y="1499"/>
                    <a:pt x="382" y="1499"/>
                    <a:pt x="362" y="1518"/>
                  </a:cubicBezTo>
                  <a:cubicBezTo>
                    <a:pt x="343" y="1538"/>
                    <a:pt x="343" y="1569"/>
                    <a:pt x="362" y="1588"/>
                  </a:cubicBezTo>
                  <a:cubicBezTo>
                    <a:pt x="511" y="1737"/>
                    <a:pt x="511" y="1737"/>
                    <a:pt x="511" y="1737"/>
                  </a:cubicBezTo>
                  <a:cubicBezTo>
                    <a:pt x="521" y="1747"/>
                    <a:pt x="534" y="1752"/>
                    <a:pt x="546" y="1752"/>
                  </a:cubicBezTo>
                  <a:cubicBezTo>
                    <a:pt x="559" y="1752"/>
                    <a:pt x="572" y="1747"/>
                    <a:pt x="582" y="1737"/>
                  </a:cubicBezTo>
                  <a:cubicBezTo>
                    <a:pt x="830" y="1489"/>
                    <a:pt x="830" y="1489"/>
                    <a:pt x="830" y="1489"/>
                  </a:cubicBezTo>
                  <a:cubicBezTo>
                    <a:pt x="849" y="1470"/>
                    <a:pt x="849" y="1438"/>
                    <a:pt x="830" y="1419"/>
                  </a:cubicBezTo>
                  <a:cubicBezTo>
                    <a:pt x="810" y="1399"/>
                    <a:pt x="779" y="1399"/>
                    <a:pt x="760" y="1419"/>
                  </a:cubicBezTo>
                  <a:close/>
                  <a:moveTo>
                    <a:pt x="760" y="823"/>
                  </a:moveTo>
                  <a:cubicBezTo>
                    <a:pt x="546" y="1036"/>
                    <a:pt x="546" y="1036"/>
                    <a:pt x="546" y="1036"/>
                  </a:cubicBezTo>
                  <a:cubicBezTo>
                    <a:pt x="433" y="922"/>
                    <a:pt x="433" y="922"/>
                    <a:pt x="433" y="922"/>
                  </a:cubicBezTo>
                  <a:cubicBezTo>
                    <a:pt x="413" y="903"/>
                    <a:pt x="382" y="903"/>
                    <a:pt x="362" y="922"/>
                  </a:cubicBezTo>
                  <a:cubicBezTo>
                    <a:pt x="343" y="942"/>
                    <a:pt x="343" y="973"/>
                    <a:pt x="362" y="993"/>
                  </a:cubicBezTo>
                  <a:cubicBezTo>
                    <a:pt x="511" y="1142"/>
                    <a:pt x="511" y="1142"/>
                    <a:pt x="511" y="1142"/>
                  </a:cubicBezTo>
                  <a:cubicBezTo>
                    <a:pt x="521" y="1151"/>
                    <a:pt x="534" y="1156"/>
                    <a:pt x="546" y="1156"/>
                  </a:cubicBezTo>
                  <a:cubicBezTo>
                    <a:pt x="559" y="1156"/>
                    <a:pt x="572" y="1151"/>
                    <a:pt x="582" y="1142"/>
                  </a:cubicBezTo>
                  <a:cubicBezTo>
                    <a:pt x="830" y="893"/>
                    <a:pt x="830" y="893"/>
                    <a:pt x="830" y="893"/>
                  </a:cubicBezTo>
                  <a:cubicBezTo>
                    <a:pt x="849" y="874"/>
                    <a:pt x="849" y="842"/>
                    <a:pt x="830" y="823"/>
                  </a:cubicBezTo>
                  <a:cubicBezTo>
                    <a:pt x="810" y="804"/>
                    <a:pt x="779" y="804"/>
                    <a:pt x="760" y="823"/>
                  </a:cubicBezTo>
                  <a:close/>
                  <a:moveTo>
                    <a:pt x="1639" y="1057"/>
                  </a:moveTo>
                  <a:cubicBezTo>
                    <a:pt x="993" y="1057"/>
                    <a:pt x="993" y="1057"/>
                    <a:pt x="993" y="1057"/>
                  </a:cubicBezTo>
                  <a:cubicBezTo>
                    <a:pt x="966" y="1057"/>
                    <a:pt x="944" y="1079"/>
                    <a:pt x="944" y="1106"/>
                  </a:cubicBezTo>
                  <a:cubicBezTo>
                    <a:pt x="944" y="1134"/>
                    <a:pt x="966" y="1156"/>
                    <a:pt x="993" y="1156"/>
                  </a:cubicBezTo>
                  <a:cubicBezTo>
                    <a:pt x="1639" y="1156"/>
                    <a:pt x="1639" y="1156"/>
                    <a:pt x="1639" y="1156"/>
                  </a:cubicBezTo>
                  <a:cubicBezTo>
                    <a:pt x="1666" y="1156"/>
                    <a:pt x="1689" y="1134"/>
                    <a:pt x="1689" y="1106"/>
                  </a:cubicBezTo>
                  <a:cubicBezTo>
                    <a:pt x="1689" y="1079"/>
                    <a:pt x="1666" y="1057"/>
                    <a:pt x="1639" y="1057"/>
                  </a:cubicBezTo>
                  <a:close/>
                  <a:moveTo>
                    <a:pt x="1887" y="213"/>
                  </a:moveTo>
                  <a:cubicBezTo>
                    <a:pt x="1396" y="213"/>
                    <a:pt x="1396" y="213"/>
                    <a:pt x="1396" y="213"/>
                  </a:cubicBezTo>
                  <a:cubicBezTo>
                    <a:pt x="1379" y="203"/>
                    <a:pt x="1360" y="199"/>
                    <a:pt x="1341" y="199"/>
                  </a:cubicBezTo>
                  <a:cubicBezTo>
                    <a:pt x="1206" y="199"/>
                    <a:pt x="1206" y="199"/>
                    <a:pt x="1206" y="199"/>
                  </a:cubicBezTo>
                  <a:cubicBezTo>
                    <a:pt x="1206" y="163"/>
                    <a:pt x="1206" y="163"/>
                    <a:pt x="1206" y="163"/>
                  </a:cubicBezTo>
                  <a:cubicBezTo>
                    <a:pt x="1206" y="73"/>
                    <a:pt x="1133" y="0"/>
                    <a:pt x="1043" y="0"/>
                  </a:cubicBezTo>
                  <a:cubicBezTo>
                    <a:pt x="953" y="0"/>
                    <a:pt x="880" y="73"/>
                    <a:pt x="880" y="163"/>
                  </a:cubicBezTo>
                  <a:cubicBezTo>
                    <a:pt x="880" y="199"/>
                    <a:pt x="880" y="199"/>
                    <a:pt x="880" y="199"/>
                  </a:cubicBezTo>
                  <a:cubicBezTo>
                    <a:pt x="745" y="199"/>
                    <a:pt x="745" y="199"/>
                    <a:pt x="745" y="199"/>
                  </a:cubicBezTo>
                  <a:cubicBezTo>
                    <a:pt x="725" y="199"/>
                    <a:pt x="707" y="204"/>
                    <a:pt x="691" y="213"/>
                  </a:cubicBezTo>
                  <a:cubicBezTo>
                    <a:pt x="199" y="213"/>
                    <a:pt x="199" y="213"/>
                    <a:pt x="199" y="213"/>
                  </a:cubicBezTo>
                  <a:cubicBezTo>
                    <a:pt x="89" y="213"/>
                    <a:pt x="0" y="302"/>
                    <a:pt x="0" y="411"/>
                  </a:cubicBezTo>
                  <a:cubicBezTo>
                    <a:pt x="0" y="2695"/>
                    <a:pt x="0" y="2695"/>
                    <a:pt x="0" y="2695"/>
                  </a:cubicBezTo>
                  <a:cubicBezTo>
                    <a:pt x="0" y="2805"/>
                    <a:pt x="89" y="2894"/>
                    <a:pt x="199" y="2894"/>
                  </a:cubicBezTo>
                  <a:cubicBezTo>
                    <a:pt x="1887" y="2894"/>
                    <a:pt x="1887" y="2894"/>
                    <a:pt x="1887" y="2894"/>
                  </a:cubicBezTo>
                  <a:cubicBezTo>
                    <a:pt x="1997" y="2894"/>
                    <a:pt x="2086" y="2805"/>
                    <a:pt x="2086" y="2695"/>
                  </a:cubicBezTo>
                  <a:cubicBezTo>
                    <a:pt x="2086" y="411"/>
                    <a:pt x="2086" y="411"/>
                    <a:pt x="2086" y="411"/>
                  </a:cubicBezTo>
                  <a:cubicBezTo>
                    <a:pt x="2086" y="302"/>
                    <a:pt x="1997" y="213"/>
                    <a:pt x="1887" y="213"/>
                  </a:cubicBezTo>
                  <a:close/>
                  <a:moveTo>
                    <a:pt x="660" y="312"/>
                  </a:moveTo>
                  <a:cubicBezTo>
                    <a:pt x="660" y="265"/>
                    <a:pt x="698" y="227"/>
                    <a:pt x="745" y="227"/>
                  </a:cubicBezTo>
                  <a:cubicBezTo>
                    <a:pt x="908" y="227"/>
                    <a:pt x="908" y="227"/>
                    <a:pt x="908" y="227"/>
                  </a:cubicBezTo>
                  <a:cubicBezTo>
                    <a:pt x="908" y="163"/>
                    <a:pt x="908" y="163"/>
                    <a:pt x="908" y="163"/>
                  </a:cubicBezTo>
                  <a:cubicBezTo>
                    <a:pt x="908" y="89"/>
                    <a:pt x="969" y="28"/>
                    <a:pt x="1043" y="28"/>
                  </a:cubicBezTo>
                  <a:cubicBezTo>
                    <a:pt x="1117" y="28"/>
                    <a:pt x="1178" y="89"/>
                    <a:pt x="1178" y="163"/>
                  </a:cubicBezTo>
                  <a:cubicBezTo>
                    <a:pt x="1178" y="227"/>
                    <a:pt x="1178" y="227"/>
                    <a:pt x="1178" y="227"/>
                  </a:cubicBezTo>
                  <a:cubicBezTo>
                    <a:pt x="1341" y="227"/>
                    <a:pt x="1341" y="227"/>
                    <a:pt x="1341" y="227"/>
                  </a:cubicBezTo>
                  <a:cubicBezTo>
                    <a:pt x="1364" y="227"/>
                    <a:pt x="1385" y="235"/>
                    <a:pt x="1401" y="252"/>
                  </a:cubicBezTo>
                  <a:cubicBezTo>
                    <a:pt x="1417" y="268"/>
                    <a:pt x="1426" y="289"/>
                    <a:pt x="1426" y="312"/>
                  </a:cubicBezTo>
                  <a:cubicBezTo>
                    <a:pt x="1426" y="348"/>
                    <a:pt x="1426" y="348"/>
                    <a:pt x="1426" y="348"/>
                  </a:cubicBezTo>
                  <a:cubicBezTo>
                    <a:pt x="660" y="348"/>
                    <a:pt x="660" y="348"/>
                    <a:pt x="660" y="348"/>
                  </a:cubicBezTo>
                  <a:lnTo>
                    <a:pt x="660" y="312"/>
                  </a:lnTo>
                  <a:close/>
                  <a:moveTo>
                    <a:pt x="632" y="378"/>
                  </a:moveTo>
                  <a:cubicBezTo>
                    <a:pt x="636" y="377"/>
                    <a:pt x="641" y="376"/>
                    <a:pt x="646" y="376"/>
                  </a:cubicBezTo>
                  <a:cubicBezTo>
                    <a:pt x="1440" y="376"/>
                    <a:pt x="1440" y="376"/>
                    <a:pt x="1440" y="376"/>
                  </a:cubicBezTo>
                  <a:cubicBezTo>
                    <a:pt x="1445" y="376"/>
                    <a:pt x="1450" y="377"/>
                    <a:pt x="1454" y="378"/>
                  </a:cubicBezTo>
                  <a:cubicBezTo>
                    <a:pt x="1467" y="384"/>
                    <a:pt x="1476" y="397"/>
                    <a:pt x="1476" y="411"/>
                  </a:cubicBezTo>
                  <a:cubicBezTo>
                    <a:pt x="1476" y="431"/>
                    <a:pt x="1460" y="447"/>
                    <a:pt x="1440" y="447"/>
                  </a:cubicBezTo>
                  <a:cubicBezTo>
                    <a:pt x="646" y="447"/>
                    <a:pt x="646" y="447"/>
                    <a:pt x="646" y="447"/>
                  </a:cubicBezTo>
                  <a:cubicBezTo>
                    <a:pt x="626" y="447"/>
                    <a:pt x="610" y="431"/>
                    <a:pt x="610" y="411"/>
                  </a:cubicBezTo>
                  <a:cubicBezTo>
                    <a:pt x="610" y="397"/>
                    <a:pt x="619" y="384"/>
                    <a:pt x="632" y="378"/>
                  </a:cubicBezTo>
                  <a:close/>
                  <a:moveTo>
                    <a:pt x="1937" y="2695"/>
                  </a:moveTo>
                  <a:cubicBezTo>
                    <a:pt x="1937" y="2723"/>
                    <a:pt x="1915" y="2745"/>
                    <a:pt x="1887" y="2745"/>
                  </a:cubicBezTo>
                  <a:cubicBezTo>
                    <a:pt x="199" y="2745"/>
                    <a:pt x="199" y="2745"/>
                    <a:pt x="199" y="2745"/>
                  </a:cubicBezTo>
                  <a:cubicBezTo>
                    <a:pt x="171" y="2745"/>
                    <a:pt x="149" y="2723"/>
                    <a:pt x="149" y="2695"/>
                  </a:cubicBezTo>
                  <a:cubicBezTo>
                    <a:pt x="149" y="411"/>
                    <a:pt x="149" y="411"/>
                    <a:pt x="149" y="411"/>
                  </a:cubicBezTo>
                  <a:cubicBezTo>
                    <a:pt x="149" y="384"/>
                    <a:pt x="171" y="362"/>
                    <a:pt x="199" y="362"/>
                  </a:cubicBezTo>
                  <a:cubicBezTo>
                    <a:pt x="606" y="362"/>
                    <a:pt x="606" y="362"/>
                    <a:pt x="606" y="362"/>
                  </a:cubicBezTo>
                  <a:cubicBezTo>
                    <a:pt x="591" y="373"/>
                    <a:pt x="582" y="391"/>
                    <a:pt x="582" y="411"/>
                  </a:cubicBezTo>
                  <a:cubicBezTo>
                    <a:pt x="582" y="446"/>
                    <a:pt x="611" y="475"/>
                    <a:pt x="646" y="475"/>
                  </a:cubicBezTo>
                  <a:cubicBezTo>
                    <a:pt x="1440" y="475"/>
                    <a:pt x="1440" y="475"/>
                    <a:pt x="1440" y="475"/>
                  </a:cubicBezTo>
                  <a:cubicBezTo>
                    <a:pt x="1475" y="475"/>
                    <a:pt x="1504" y="446"/>
                    <a:pt x="1504" y="411"/>
                  </a:cubicBezTo>
                  <a:cubicBezTo>
                    <a:pt x="1504" y="391"/>
                    <a:pt x="1495" y="373"/>
                    <a:pt x="1480" y="362"/>
                  </a:cubicBezTo>
                  <a:cubicBezTo>
                    <a:pt x="1887" y="362"/>
                    <a:pt x="1887" y="362"/>
                    <a:pt x="1887" y="362"/>
                  </a:cubicBezTo>
                  <a:cubicBezTo>
                    <a:pt x="1915" y="362"/>
                    <a:pt x="1937" y="384"/>
                    <a:pt x="1937" y="411"/>
                  </a:cubicBezTo>
                  <a:lnTo>
                    <a:pt x="1937" y="2695"/>
                  </a:lnTo>
                  <a:close/>
                  <a:moveTo>
                    <a:pt x="993" y="1553"/>
                  </a:moveTo>
                  <a:cubicBezTo>
                    <a:pt x="1391" y="1553"/>
                    <a:pt x="1391" y="1553"/>
                    <a:pt x="1391" y="1553"/>
                  </a:cubicBezTo>
                  <a:cubicBezTo>
                    <a:pt x="1418" y="1553"/>
                    <a:pt x="1440" y="1531"/>
                    <a:pt x="1440" y="1504"/>
                  </a:cubicBezTo>
                  <a:cubicBezTo>
                    <a:pt x="1440" y="1476"/>
                    <a:pt x="1418" y="1454"/>
                    <a:pt x="1391" y="1454"/>
                  </a:cubicBezTo>
                  <a:cubicBezTo>
                    <a:pt x="993" y="1454"/>
                    <a:pt x="993" y="1454"/>
                    <a:pt x="993" y="1454"/>
                  </a:cubicBezTo>
                  <a:cubicBezTo>
                    <a:pt x="966" y="1454"/>
                    <a:pt x="944" y="1476"/>
                    <a:pt x="944" y="1504"/>
                  </a:cubicBezTo>
                  <a:cubicBezTo>
                    <a:pt x="944" y="1531"/>
                    <a:pt x="966" y="1553"/>
                    <a:pt x="993" y="1553"/>
                  </a:cubicBezTo>
                  <a:close/>
                  <a:moveTo>
                    <a:pt x="1639" y="1653"/>
                  </a:moveTo>
                  <a:cubicBezTo>
                    <a:pt x="993" y="1653"/>
                    <a:pt x="993" y="1653"/>
                    <a:pt x="993" y="1653"/>
                  </a:cubicBezTo>
                  <a:cubicBezTo>
                    <a:pt x="966" y="1653"/>
                    <a:pt x="944" y="1675"/>
                    <a:pt x="944" y="1702"/>
                  </a:cubicBezTo>
                  <a:cubicBezTo>
                    <a:pt x="944" y="1730"/>
                    <a:pt x="966" y="1752"/>
                    <a:pt x="993" y="1752"/>
                  </a:cubicBezTo>
                  <a:cubicBezTo>
                    <a:pt x="1639" y="1752"/>
                    <a:pt x="1639" y="1752"/>
                    <a:pt x="1639" y="1752"/>
                  </a:cubicBezTo>
                  <a:cubicBezTo>
                    <a:pt x="1666" y="1752"/>
                    <a:pt x="1689" y="1730"/>
                    <a:pt x="1689" y="1702"/>
                  </a:cubicBezTo>
                  <a:cubicBezTo>
                    <a:pt x="1689" y="1675"/>
                    <a:pt x="1666" y="1653"/>
                    <a:pt x="1639" y="1653"/>
                  </a:cubicBezTo>
                  <a:close/>
                  <a:moveTo>
                    <a:pt x="1639" y="2248"/>
                  </a:moveTo>
                  <a:cubicBezTo>
                    <a:pt x="993" y="2248"/>
                    <a:pt x="993" y="2248"/>
                    <a:pt x="993" y="2248"/>
                  </a:cubicBezTo>
                  <a:cubicBezTo>
                    <a:pt x="966" y="2248"/>
                    <a:pt x="944" y="2271"/>
                    <a:pt x="944" y="2298"/>
                  </a:cubicBezTo>
                  <a:cubicBezTo>
                    <a:pt x="944" y="2326"/>
                    <a:pt x="966" y="2348"/>
                    <a:pt x="993" y="2348"/>
                  </a:cubicBezTo>
                  <a:cubicBezTo>
                    <a:pt x="1639" y="2348"/>
                    <a:pt x="1639" y="2348"/>
                    <a:pt x="1639" y="2348"/>
                  </a:cubicBezTo>
                  <a:cubicBezTo>
                    <a:pt x="1666" y="2348"/>
                    <a:pt x="1689" y="2326"/>
                    <a:pt x="1689" y="2298"/>
                  </a:cubicBezTo>
                  <a:cubicBezTo>
                    <a:pt x="1689" y="2271"/>
                    <a:pt x="1666" y="2248"/>
                    <a:pt x="1639" y="2248"/>
                  </a:cubicBezTo>
                  <a:close/>
                  <a:moveTo>
                    <a:pt x="993" y="2149"/>
                  </a:moveTo>
                  <a:cubicBezTo>
                    <a:pt x="1391" y="2149"/>
                    <a:pt x="1391" y="2149"/>
                    <a:pt x="1391" y="2149"/>
                  </a:cubicBezTo>
                  <a:cubicBezTo>
                    <a:pt x="1418" y="2149"/>
                    <a:pt x="1440" y="2127"/>
                    <a:pt x="1440" y="2100"/>
                  </a:cubicBezTo>
                  <a:cubicBezTo>
                    <a:pt x="1440" y="2072"/>
                    <a:pt x="1418" y="2050"/>
                    <a:pt x="1391" y="2050"/>
                  </a:cubicBezTo>
                  <a:cubicBezTo>
                    <a:pt x="993" y="2050"/>
                    <a:pt x="993" y="2050"/>
                    <a:pt x="993" y="2050"/>
                  </a:cubicBezTo>
                  <a:cubicBezTo>
                    <a:pt x="966" y="2050"/>
                    <a:pt x="944" y="2072"/>
                    <a:pt x="944" y="2100"/>
                  </a:cubicBezTo>
                  <a:cubicBezTo>
                    <a:pt x="944" y="2127"/>
                    <a:pt x="966" y="2149"/>
                    <a:pt x="993" y="214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0" name="Group 488"/>
          <p:cNvGrpSpPr/>
          <p:nvPr/>
        </p:nvGrpSpPr>
        <p:grpSpPr>
          <a:xfrm>
            <a:off x="5493428" y="1086614"/>
            <a:ext cx="1925808" cy="634681"/>
            <a:chOff x="5493428" y="1086614"/>
            <a:chExt cx="1925808" cy="634681"/>
          </a:xfrm>
        </p:grpSpPr>
        <p:sp>
          <p:nvSpPr>
            <p:cNvPr id="473" name="Rectangle 472"/>
            <p:cNvSpPr/>
            <p:nvPr/>
          </p:nvSpPr>
          <p:spPr>
            <a:xfrm>
              <a:off x="6201293" y="1234677"/>
              <a:ext cx="1217943" cy="338554"/>
            </a:xfrm>
            <a:prstGeom prst="rect">
              <a:avLst/>
            </a:prstGeom>
          </p:spPr>
          <p:txBody>
            <a:bodyPr wrap="square" lIns="0" tIns="0" rIns="0" bIns="0">
              <a:spAutoFit/>
            </a:bodyPr>
            <a:lstStyle/>
            <a:p>
              <a:pPr marL="7144" lvl="5" defTabSz="685193">
                <a:spcBef>
                  <a:spcPts val="225"/>
                </a:spcBef>
                <a:defRPr/>
              </a:pPr>
              <a:r>
                <a:rPr lang="en-US" sz="1100" b="1" kern="0" dirty="0" smtClean="0">
                  <a:solidFill>
                    <a:schemeClr val="accent1"/>
                  </a:solidFill>
                  <a:latin typeface="+mj-lt"/>
                </a:rPr>
                <a:t>Cisco Connected</a:t>
              </a:r>
              <a:br>
                <a:rPr lang="en-US" sz="1100" b="1" kern="0" dirty="0" smtClean="0">
                  <a:solidFill>
                    <a:schemeClr val="accent1"/>
                  </a:solidFill>
                  <a:latin typeface="+mj-lt"/>
                </a:rPr>
              </a:br>
              <a:r>
                <a:rPr lang="en-US" sz="1100" b="1" kern="0" dirty="0" smtClean="0">
                  <a:solidFill>
                    <a:schemeClr val="accent1"/>
                  </a:solidFill>
                  <a:latin typeface="+mj-lt"/>
                </a:rPr>
                <a:t>Transportation</a:t>
              </a:r>
              <a:endParaRPr lang="en-US" sz="1100" b="1" kern="0" dirty="0">
                <a:solidFill>
                  <a:schemeClr val="accent1"/>
                </a:solidFill>
                <a:latin typeface="+mj-lt"/>
              </a:endParaRPr>
            </a:p>
          </p:txBody>
        </p:sp>
        <p:sp>
          <p:nvSpPr>
            <p:cNvPr id="481" name="Oval 480"/>
            <p:cNvSpPr/>
            <p:nvPr/>
          </p:nvSpPr>
          <p:spPr>
            <a:xfrm>
              <a:off x="5493428" y="1086614"/>
              <a:ext cx="634681" cy="634681"/>
            </a:xfrm>
            <a:prstGeom prst="ellipse">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nvGrpSpPr>
          <p:cNvPr id="31" name="Group 522"/>
          <p:cNvGrpSpPr/>
          <p:nvPr/>
        </p:nvGrpSpPr>
        <p:grpSpPr>
          <a:xfrm>
            <a:off x="1213666" y="2113499"/>
            <a:ext cx="1743119" cy="902969"/>
            <a:chOff x="1213666" y="1932073"/>
            <a:chExt cx="1743119" cy="902969"/>
          </a:xfrm>
        </p:grpSpPr>
        <p:grpSp>
          <p:nvGrpSpPr>
            <p:cNvPr id="128" name="Group 520"/>
            <p:cNvGrpSpPr/>
            <p:nvPr/>
          </p:nvGrpSpPr>
          <p:grpSpPr>
            <a:xfrm>
              <a:off x="1213666" y="1932073"/>
              <a:ext cx="1743119" cy="315430"/>
              <a:chOff x="1213666" y="1932073"/>
              <a:chExt cx="1743119" cy="315430"/>
            </a:xfrm>
          </p:grpSpPr>
          <p:sp>
            <p:nvSpPr>
              <p:cNvPr id="493" name="Rectangle 492"/>
              <p:cNvSpPr/>
              <p:nvPr/>
            </p:nvSpPr>
            <p:spPr>
              <a:xfrm>
                <a:off x="1744915" y="1951289"/>
                <a:ext cx="1211870" cy="276999"/>
              </a:xfrm>
              <a:prstGeom prst="rect">
                <a:avLst/>
              </a:prstGeom>
              <a:noFill/>
              <a:ln w="25400" cap="rnd" cmpd="sng" algn="ctr">
                <a:noFill/>
                <a:prstDash val="solid"/>
              </a:ln>
              <a:effectLst/>
            </p:spPr>
            <p:txBody>
              <a:bodyPr wrap="none" lIns="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kern="0" dirty="0">
                    <a:latin typeface="+mj-lt"/>
                  </a:rPr>
                  <a:t>Operator </a:t>
                </a:r>
                <a:r>
                  <a:rPr lang="en-US" sz="900" kern="0" dirty="0" smtClean="0">
                    <a:latin typeface="+mj-lt"/>
                  </a:rPr>
                  <a:t>and Customer</a:t>
                </a:r>
              </a:p>
              <a:p>
                <a:pPr defTabSz="914400" fontAlgn="auto">
                  <a:spcBef>
                    <a:spcPts val="0"/>
                  </a:spcBef>
                  <a:spcAft>
                    <a:spcPts val="0"/>
                  </a:spcAft>
                  <a:defRPr/>
                </a:pPr>
                <a:r>
                  <a:rPr lang="en-US" sz="900" kern="0" dirty="0" smtClean="0">
                    <a:latin typeface="+mj-lt"/>
                  </a:rPr>
                  <a:t>Dashboards</a:t>
                </a:r>
              </a:p>
            </p:txBody>
          </p:sp>
          <p:grpSp>
            <p:nvGrpSpPr>
              <p:cNvPr id="129" name="Group 237"/>
              <p:cNvGrpSpPr/>
              <p:nvPr/>
            </p:nvGrpSpPr>
            <p:grpSpPr>
              <a:xfrm>
                <a:off x="1213666" y="1932073"/>
                <a:ext cx="426555" cy="315430"/>
                <a:chOff x="1539704" y="2156886"/>
                <a:chExt cx="522211" cy="386166"/>
              </a:xfrm>
              <a:solidFill>
                <a:schemeClr val="tx2"/>
              </a:solidFill>
            </p:grpSpPr>
            <p:sp>
              <p:nvSpPr>
                <p:cNvPr id="496" name="Freeform 120"/>
                <p:cNvSpPr>
                  <a:spLocks noEditPoints="1"/>
                </p:cNvSpPr>
                <p:nvPr/>
              </p:nvSpPr>
              <p:spPr bwMode="auto">
                <a:xfrm>
                  <a:off x="1539704" y="2156886"/>
                  <a:ext cx="522211" cy="386166"/>
                </a:xfrm>
                <a:custGeom>
                  <a:avLst/>
                  <a:gdLst>
                    <a:gd name="T0" fmla="*/ 306 w 312"/>
                    <a:gd name="T1" fmla="*/ 58 h 231"/>
                    <a:gd name="T2" fmla="*/ 237 w 312"/>
                    <a:gd name="T3" fmla="*/ 58 h 231"/>
                    <a:gd name="T4" fmla="*/ 237 w 312"/>
                    <a:gd name="T5" fmla="*/ 5 h 231"/>
                    <a:gd name="T6" fmla="*/ 232 w 312"/>
                    <a:gd name="T7" fmla="*/ 0 h 231"/>
                    <a:gd name="T8" fmla="*/ 5 w 312"/>
                    <a:gd name="T9" fmla="*/ 0 h 231"/>
                    <a:gd name="T10" fmla="*/ 0 w 312"/>
                    <a:gd name="T11" fmla="*/ 5 h 231"/>
                    <a:gd name="T12" fmla="*/ 0 w 312"/>
                    <a:gd name="T13" fmla="*/ 168 h 231"/>
                    <a:gd name="T14" fmla="*/ 5 w 312"/>
                    <a:gd name="T15" fmla="*/ 174 h 231"/>
                    <a:gd name="T16" fmla="*/ 75 w 312"/>
                    <a:gd name="T17" fmla="*/ 174 h 231"/>
                    <a:gd name="T18" fmla="*/ 75 w 312"/>
                    <a:gd name="T19" fmla="*/ 226 h 231"/>
                    <a:gd name="T20" fmla="*/ 80 w 312"/>
                    <a:gd name="T21" fmla="*/ 231 h 231"/>
                    <a:gd name="T22" fmla="*/ 306 w 312"/>
                    <a:gd name="T23" fmla="*/ 231 h 231"/>
                    <a:gd name="T24" fmla="*/ 312 w 312"/>
                    <a:gd name="T25" fmla="*/ 226 h 231"/>
                    <a:gd name="T26" fmla="*/ 312 w 312"/>
                    <a:gd name="T27" fmla="*/ 63 h 231"/>
                    <a:gd name="T28" fmla="*/ 306 w 312"/>
                    <a:gd name="T29" fmla="*/ 58 h 231"/>
                    <a:gd name="T30" fmla="*/ 301 w 312"/>
                    <a:gd name="T31" fmla="*/ 90 h 231"/>
                    <a:gd name="T32" fmla="*/ 86 w 312"/>
                    <a:gd name="T33" fmla="*/ 90 h 231"/>
                    <a:gd name="T34" fmla="*/ 86 w 312"/>
                    <a:gd name="T35" fmla="*/ 68 h 231"/>
                    <a:gd name="T36" fmla="*/ 301 w 312"/>
                    <a:gd name="T37" fmla="*/ 68 h 231"/>
                    <a:gd name="T38" fmla="*/ 301 w 312"/>
                    <a:gd name="T39" fmla="*/ 90 h 231"/>
                    <a:gd name="T40" fmla="*/ 226 w 312"/>
                    <a:gd name="T41" fmla="*/ 32 h 231"/>
                    <a:gd name="T42" fmla="*/ 11 w 312"/>
                    <a:gd name="T43" fmla="*/ 32 h 231"/>
                    <a:gd name="T44" fmla="*/ 11 w 312"/>
                    <a:gd name="T45" fmla="*/ 11 h 231"/>
                    <a:gd name="T46" fmla="*/ 226 w 312"/>
                    <a:gd name="T47" fmla="*/ 11 h 231"/>
                    <a:gd name="T48" fmla="*/ 226 w 312"/>
                    <a:gd name="T49" fmla="*/ 32 h 231"/>
                    <a:gd name="T50" fmla="*/ 11 w 312"/>
                    <a:gd name="T51" fmla="*/ 163 h 231"/>
                    <a:gd name="T52" fmla="*/ 11 w 312"/>
                    <a:gd name="T53" fmla="*/ 43 h 231"/>
                    <a:gd name="T54" fmla="*/ 226 w 312"/>
                    <a:gd name="T55" fmla="*/ 43 h 231"/>
                    <a:gd name="T56" fmla="*/ 226 w 312"/>
                    <a:gd name="T57" fmla="*/ 58 h 231"/>
                    <a:gd name="T58" fmla="*/ 80 w 312"/>
                    <a:gd name="T59" fmla="*/ 58 h 231"/>
                    <a:gd name="T60" fmla="*/ 75 w 312"/>
                    <a:gd name="T61" fmla="*/ 63 h 231"/>
                    <a:gd name="T62" fmla="*/ 75 w 312"/>
                    <a:gd name="T63" fmla="*/ 163 h 231"/>
                    <a:gd name="T64" fmla="*/ 11 w 312"/>
                    <a:gd name="T65" fmla="*/ 163 h 231"/>
                    <a:gd name="T66" fmla="*/ 86 w 312"/>
                    <a:gd name="T67" fmla="*/ 100 h 231"/>
                    <a:gd name="T68" fmla="*/ 151 w 312"/>
                    <a:gd name="T69" fmla="*/ 100 h 231"/>
                    <a:gd name="T70" fmla="*/ 151 w 312"/>
                    <a:gd name="T71" fmla="*/ 220 h 231"/>
                    <a:gd name="T72" fmla="*/ 86 w 312"/>
                    <a:gd name="T73" fmla="*/ 220 h 231"/>
                    <a:gd name="T74" fmla="*/ 86 w 312"/>
                    <a:gd name="T75" fmla="*/ 100 h 231"/>
                    <a:gd name="T76" fmla="*/ 162 w 312"/>
                    <a:gd name="T77" fmla="*/ 100 h 231"/>
                    <a:gd name="T78" fmla="*/ 301 w 312"/>
                    <a:gd name="T79" fmla="*/ 100 h 231"/>
                    <a:gd name="T80" fmla="*/ 301 w 312"/>
                    <a:gd name="T81" fmla="*/ 220 h 231"/>
                    <a:gd name="T82" fmla="*/ 162 w 312"/>
                    <a:gd name="T83" fmla="*/ 220 h 231"/>
                    <a:gd name="T84" fmla="*/ 162 w 312"/>
                    <a:gd name="T85" fmla="*/ 10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12" h="231">
                      <a:moveTo>
                        <a:pt x="306" y="58"/>
                      </a:moveTo>
                      <a:cubicBezTo>
                        <a:pt x="237" y="58"/>
                        <a:pt x="237" y="58"/>
                        <a:pt x="237" y="58"/>
                      </a:cubicBezTo>
                      <a:cubicBezTo>
                        <a:pt x="237" y="5"/>
                        <a:pt x="237" y="5"/>
                        <a:pt x="237" y="5"/>
                      </a:cubicBezTo>
                      <a:cubicBezTo>
                        <a:pt x="237" y="2"/>
                        <a:pt x="235" y="0"/>
                        <a:pt x="232" y="0"/>
                      </a:cubicBezTo>
                      <a:cubicBezTo>
                        <a:pt x="5" y="0"/>
                        <a:pt x="5" y="0"/>
                        <a:pt x="5" y="0"/>
                      </a:cubicBezTo>
                      <a:cubicBezTo>
                        <a:pt x="2" y="0"/>
                        <a:pt x="0" y="2"/>
                        <a:pt x="0" y="5"/>
                      </a:cubicBezTo>
                      <a:cubicBezTo>
                        <a:pt x="0" y="168"/>
                        <a:pt x="0" y="168"/>
                        <a:pt x="0" y="168"/>
                      </a:cubicBezTo>
                      <a:cubicBezTo>
                        <a:pt x="0" y="171"/>
                        <a:pt x="2" y="174"/>
                        <a:pt x="5" y="174"/>
                      </a:cubicBezTo>
                      <a:cubicBezTo>
                        <a:pt x="75" y="174"/>
                        <a:pt x="75" y="174"/>
                        <a:pt x="75" y="174"/>
                      </a:cubicBezTo>
                      <a:cubicBezTo>
                        <a:pt x="75" y="226"/>
                        <a:pt x="75" y="226"/>
                        <a:pt x="75" y="226"/>
                      </a:cubicBezTo>
                      <a:cubicBezTo>
                        <a:pt x="75" y="229"/>
                        <a:pt x="77" y="231"/>
                        <a:pt x="80" y="231"/>
                      </a:cubicBezTo>
                      <a:cubicBezTo>
                        <a:pt x="306" y="231"/>
                        <a:pt x="306" y="231"/>
                        <a:pt x="306" y="231"/>
                      </a:cubicBezTo>
                      <a:cubicBezTo>
                        <a:pt x="309" y="231"/>
                        <a:pt x="312" y="229"/>
                        <a:pt x="312" y="226"/>
                      </a:cubicBezTo>
                      <a:cubicBezTo>
                        <a:pt x="312" y="63"/>
                        <a:pt x="312" y="63"/>
                        <a:pt x="312" y="63"/>
                      </a:cubicBezTo>
                      <a:cubicBezTo>
                        <a:pt x="312" y="60"/>
                        <a:pt x="309" y="58"/>
                        <a:pt x="306" y="58"/>
                      </a:cubicBezTo>
                      <a:moveTo>
                        <a:pt x="301" y="90"/>
                      </a:moveTo>
                      <a:cubicBezTo>
                        <a:pt x="86" y="90"/>
                        <a:pt x="86" y="90"/>
                        <a:pt x="86" y="90"/>
                      </a:cubicBezTo>
                      <a:cubicBezTo>
                        <a:pt x="86" y="68"/>
                        <a:pt x="86" y="68"/>
                        <a:pt x="86" y="68"/>
                      </a:cubicBezTo>
                      <a:cubicBezTo>
                        <a:pt x="301" y="68"/>
                        <a:pt x="301" y="68"/>
                        <a:pt x="301" y="68"/>
                      </a:cubicBezTo>
                      <a:lnTo>
                        <a:pt x="301" y="90"/>
                      </a:lnTo>
                      <a:close/>
                      <a:moveTo>
                        <a:pt x="226" y="32"/>
                      </a:moveTo>
                      <a:cubicBezTo>
                        <a:pt x="11" y="32"/>
                        <a:pt x="11" y="32"/>
                        <a:pt x="11" y="32"/>
                      </a:cubicBezTo>
                      <a:cubicBezTo>
                        <a:pt x="11" y="11"/>
                        <a:pt x="11" y="11"/>
                        <a:pt x="11" y="11"/>
                      </a:cubicBezTo>
                      <a:cubicBezTo>
                        <a:pt x="226" y="11"/>
                        <a:pt x="226" y="11"/>
                        <a:pt x="226" y="11"/>
                      </a:cubicBezTo>
                      <a:lnTo>
                        <a:pt x="226" y="32"/>
                      </a:lnTo>
                      <a:close/>
                      <a:moveTo>
                        <a:pt x="11" y="163"/>
                      </a:moveTo>
                      <a:cubicBezTo>
                        <a:pt x="11" y="43"/>
                        <a:pt x="11" y="43"/>
                        <a:pt x="11" y="43"/>
                      </a:cubicBezTo>
                      <a:cubicBezTo>
                        <a:pt x="226" y="43"/>
                        <a:pt x="226" y="43"/>
                        <a:pt x="226" y="43"/>
                      </a:cubicBezTo>
                      <a:cubicBezTo>
                        <a:pt x="226" y="58"/>
                        <a:pt x="226" y="58"/>
                        <a:pt x="226" y="58"/>
                      </a:cubicBezTo>
                      <a:cubicBezTo>
                        <a:pt x="80" y="58"/>
                        <a:pt x="80" y="58"/>
                        <a:pt x="80" y="58"/>
                      </a:cubicBezTo>
                      <a:cubicBezTo>
                        <a:pt x="77" y="58"/>
                        <a:pt x="75" y="60"/>
                        <a:pt x="75" y="63"/>
                      </a:cubicBezTo>
                      <a:cubicBezTo>
                        <a:pt x="75" y="163"/>
                        <a:pt x="75" y="163"/>
                        <a:pt x="75" y="163"/>
                      </a:cubicBezTo>
                      <a:lnTo>
                        <a:pt x="11" y="163"/>
                      </a:lnTo>
                      <a:close/>
                      <a:moveTo>
                        <a:pt x="86" y="100"/>
                      </a:moveTo>
                      <a:cubicBezTo>
                        <a:pt x="151" y="100"/>
                        <a:pt x="151" y="100"/>
                        <a:pt x="151" y="100"/>
                      </a:cubicBezTo>
                      <a:cubicBezTo>
                        <a:pt x="151" y="220"/>
                        <a:pt x="151" y="220"/>
                        <a:pt x="151" y="220"/>
                      </a:cubicBezTo>
                      <a:cubicBezTo>
                        <a:pt x="86" y="220"/>
                        <a:pt x="86" y="220"/>
                        <a:pt x="86" y="220"/>
                      </a:cubicBezTo>
                      <a:lnTo>
                        <a:pt x="86" y="100"/>
                      </a:lnTo>
                      <a:close/>
                      <a:moveTo>
                        <a:pt x="162" y="100"/>
                      </a:moveTo>
                      <a:cubicBezTo>
                        <a:pt x="301" y="100"/>
                        <a:pt x="301" y="100"/>
                        <a:pt x="301" y="100"/>
                      </a:cubicBezTo>
                      <a:cubicBezTo>
                        <a:pt x="301" y="220"/>
                        <a:pt x="301" y="220"/>
                        <a:pt x="301" y="220"/>
                      </a:cubicBezTo>
                      <a:cubicBezTo>
                        <a:pt x="162" y="220"/>
                        <a:pt x="162" y="220"/>
                        <a:pt x="162" y="220"/>
                      </a:cubicBezTo>
                      <a:lnTo>
                        <a:pt x="162"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497" name="Freeform 121"/>
                <p:cNvSpPr>
                  <a:spLocks/>
                </p:cNvSpPr>
                <p:nvPr/>
              </p:nvSpPr>
              <p:spPr bwMode="auto">
                <a:xfrm>
                  <a:off x="1692045" y="2280176"/>
                  <a:ext cx="18423" cy="17005"/>
                </a:xfrm>
                <a:custGeom>
                  <a:avLst/>
                  <a:gdLst>
                    <a:gd name="T0" fmla="*/ 6 w 11"/>
                    <a:gd name="T1" fmla="*/ 10 h 10"/>
                    <a:gd name="T2" fmla="*/ 10 w 11"/>
                    <a:gd name="T3" fmla="*/ 9 h 10"/>
                    <a:gd name="T4" fmla="*/ 11 w 11"/>
                    <a:gd name="T5" fmla="*/ 5 h 10"/>
                    <a:gd name="T6" fmla="*/ 10 w 11"/>
                    <a:gd name="T7" fmla="*/ 1 h 10"/>
                    <a:gd name="T8" fmla="*/ 6 w 11"/>
                    <a:gd name="T9" fmla="*/ 0 h 10"/>
                    <a:gd name="T10" fmla="*/ 2 w 11"/>
                    <a:gd name="T11" fmla="*/ 1 h 10"/>
                    <a:gd name="T12" fmla="*/ 0 w 11"/>
                    <a:gd name="T13" fmla="*/ 5 h 10"/>
                    <a:gd name="T14" fmla="*/ 2 w 11"/>
                    <a:gd name="T15" fmla="*/ 9 h 10"/>
                    <a:gd name="T16" fmla="*/ 6 w 1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6" y="10"/>
                      </a:moveTo>
                      <a:cubicBezTo>
                        <a:pt x="7" y="10"/>
                        <a:pt x="9" y="10"/>
                        <a:pt x="10" y="9"/>
                      </a:cubicBezTo>
                      <a:cubicBezTo>
                        <a:pt x="11" y="8"/>
                        <a:pt x="11" y="6"/>
                        <a:pt x="11" y="5"/>
                      </a:cubicBezTo>
                      <a:cubicBezTo>
                        <a:pt x="11" y="4"/>
                        <a:pt x="11" y="2"/>
                        <a:pt x="10" y="1"/>
                      </a:cubicBezTo>
                      <a:cubicBezTo>
                        <a:pt x="9" y="0"/>
                        <a:pt x="7" y="0"/>
                        <a:pt x="6" y="0"/>
                      </a:cubicBezTo>
                      <a:cubicBezTo>
                        <a:pt x="4" y="0"/>
                        <a:pt x="3" y="0"/>
                        <a:pt x="2" y="1"/>
                      </a:cubicBezTo>
                      <a:cubicBezTo>
                        <a:pt x="1" y="2"/>
                        <a:pt x="0" y="4"/>
                        <a:pt x="0" y="5"/>
                      </a:cubicBezTo>
                      <a:cubicBezTo>
                        <a:pt x="0" y="6"/>
                        <a:pt x="1" y="8"/>
                        <a:pt x="2" y="9"/>
                      </a:cubicBezTo>
                      <a:cubicBezTo>
                        <a:pt x="3" y="10"/>
                        <a:pt x="4" y="10"/>
                        <a:pt x="6"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498" name="Freeform 122"/>
                <p:cNvSpPr>
                  <a:spLocks/>
                </p:cNvSpPr>
                <p:nvPr/>
              </p:nvSpPr>
              <p:spPr bwMode="auto">
                <a:xfrm>
                  <a:off x="1715428" y="2280176"/>
                  <a:ext cx="18423" cy="17005"/>
                </a:xfrm>
                <a:custGeom>
                  <a:avLst/>
                  <a:gdLst>
                    <a:gd name="T0" fmla="*/ 5 w 11"/>
                    <a:gd name="T1" fmla="*/ 10 h 10"/>
                    <a:gd name="T2" fmla="*/ 9 w 11"/>
                    <a:gd name="T3" fmla="*/ 9 h 10"/>
                    <a:gd name="T4" fmla="*/ 11 w 11"/>
                    <a:gd name="T5" fmla="*/ 5 h 10"/>
                    <a:gd name="T6" fmla="*/ 9 w 11"/>
                    <a:gd name="T7" fmla="*/ 1 h 10"/>
                    <a:gd name="T8" fmla="*/ 5 w 11"/>
                    <a:gd name="T9" fmla="*/ 0 h 10"/>
                    <a:gd name="T10" fmla="*/ 1 w 11"/>
                    <a:gd name="T11" fmla="*/ 1 h 10"/>
                    <a:gd name="T12" fmla="*/ 0 w 11"/>
                    <a:gd name="T13" fmla="*/ 5 h 10"/>
                    <a:gd name="T14" fmla="*/ 1 w 11"/>
                    <a:gd name="T15" fmla="*/ 9 h 10"/>
                    <a:gd name="T16" fmla="*/ 5 w 1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0"/>
                      </a:moveTo>
                      <a:cubicBezTo>
                        <a:pt x="7" y="10"/>
                        <a:pt x="8" y="10"/>
                        <a:pt x="9" y="9"/>
                      </a:cubicBezTo>
                      <a:cubicBezTo>
                        <a:pt x="10" y="8"/>
                        <a:pt x="11" y="6"/>
                        <a:pt x="11" y="5"/>
                      </a:cubicBezTo>
                      <a:cubicBezTo>
                        <a:pt x="11" y="4"/>
                        <a:pt x="10" y="2"/>
                        <a:pt x="9" y="1"/>
                      </a:cubicBezTo>
                      <a:cubicBezTo>
                        <a:pt x="8" y="0"/>
                        <a:pt x="7" y="0"/>
                        <a:pt x="5" y="0"/>
                      </a:cubicBezTo>
                      <a:cubicBezTo>
                        <a:pt x="4" y="0"/>
                        <a:pt x="2" y="0"/>
                        <a:pt x="1" y="1"/>
                      </a:cubicBezTo>
                      <a:cubicBezTo>
                        <a:pt x="0" y="2"/>
                        <a:pt x="0" y="4"/>
                        <a:pt x="0" y="5"/>
                      </a:cubicBezTo>
                      <a:cubicBezTo>
                        <a:pt x="0" y="6"/>
                        <a:pt x="0" y="8"/>
                        <a:pt x="1" y="9"/>
                      </a:cubicBezTo>
                      <a:cubicBezTo>
                        <a:pt x="2" y="10"/>
                        <a:pt x="4" y="10"/>
                        <a:pt x="5"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499" name="Freeform 123"/>
                <p:cNvSpPr>
                  <a:spLocks/>
                </p:cNvSpPr>
                <p:nvPr/>
              </p:nvSpPr>
              <p:spPr bwMode="auto">
                <a:xfrm>
                  <a:off x="1737393" y="2280176"/>
                  <a:ext cx="18423" cy="17005"/>
                </a:xfrm>
                <a:custGeom>
                  <a:avLst/>
                  <a:gdLst>
                    <a:gd name="T0" fmla="*/ 6 w 11"/>
                    <a:gd name="T1" fmla="*/ 10 h 10"/>
                    <a:gd name="T2" fmla="*/ 9 w 11"/>
                    <a:gd name="T3" fmla="*/ 9 h 10"/>
                    <a:gd name="T4" fmla="*/ 11 w 11"/>
                    <a:gd name="T5" fmla="*/ 5 h 10"/>
                    <a:gd name="T6" fmla="*/ 9 w 11"/>
                    <a:gd name="T7" fmla="*/ 1 h 10"/>
                    <a:gd name="T8" fmla="*/ 6 w 11"/>
                    <a:gd name="T9" fmla="*/ 0 h 10"/>
                    <a:gd name="T10" fmla="*/ 2 w 11"/>
                    <a:gd name="T11" fmla="*/ 1 h 10"/>
                    <a:gd name="T12" fmla="*/ 0 w 11"/>
                    <a:gd name="T13" fmla="*/ 5 h 10"/>
                    <a:gd name="T14" fmla="*/ 2 w 11"/>
                    <a:gd name="T15" fmla="*/ 9 h 10"/>
                    <a:gd name="T16" fmla="*/ 6 w 11"/>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6" y="10"/>
                      </a:moveTo>
                      <a:cubicBezTo>
                        <a:pt x="7" y="10"/>
                        <a:pt x="8" y="10"/>
                        <a:pt x="9" y="9"/>
                      </a:cubicBezTo>
                      <a:cubicBezTo>
                        <a:pt x="10" y="8"/>
                        <a:pt x="11" y="6"/>
                        <a:pt x="11" y="5"/>
                      </a:cubicBezTo>
                      <a:cubicBezTo>
                        <a:pt x="11" y="4"/>
                        <a:pt x="10" y="2"/>
                        <a:pt x="9" y="1"/>
                      </a:cubicBezTo>
                      <a:cubicBezTo>
                        <a:pt x="8" y="0"/>
                        <a:pt x="7" y="0"/>
                        <a:pt x="6" y="0"/>
                      </a:cubicBezTo>
                      <a:cubicBezTo>
                        <a:pt x="4" y="0"/>
                        <a:pt x="3" y="0"/>
                        <a:pt x="2" y="1"/>
                      </a:cubicBezTo>
                      <a:cubicBezTo>
                        <a:pt x="1" y="2"/>
                        <a:pt x="0" y="4"/>
                        <a:pt x="0" y="5"/>
                      </a:cubicBezTo>
                      <a:cubicBezTo>
                        <a:pt x="0" y="6"/>
                        <a:pt x="1" y="8"/>
                        <a:pt x="2" y="9"/>
                      </a:cubicBezTo>
                      <a:cubicBezTo>
                        <a:pt x="3" y="10"/>
                        <a:pt x="4" y="10"/>
                        <a:pt x="6" y="1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0" name="Freeform 124"/>
                <p:cNvSpPr>
                  <a:spLocks/>
                </p:cNvSpPr>
                <p:nvPr/>
              </p:nvSpPr>
              <p:spPr bwMode="auto">
                <a:xfrm>
                  <a:off x="1700548" y="2342529"/>
                  <a:ext cx="75108" cy="18423"/>
                </a:xfrm>
                <a:custGeom>
                  <a:avLst/>
                  <a:gdLst>
                    <a:gd name="T0" fmla="*/ 5 w 45"/>
                    <a:gd name="T1" fmla="*/ 11 h 11"/>
                    <a:gd name="T2" fmla="*/ 40 w 45"/>
                    <a:gd name="T3" fmla="*/ 11 h 11"/>
                    <a:gd name="T4" fmla="*/ 45 w 45"/>
                    <a:gd name="T5" fmla="*/ 6 h 11"/>
                    <a:gd name="T6" fmla="*/ 40 w 45"/>
                    <a:gd name="T7" fmla="*/ 0 h 11"/>
                    <a:gd name="T8" fmla="*/ 5 w 45"/>
                    <a:gd name="T9" fmla="*/ 0 h 11"/>
                    <a:gd name="T10" fmla="*/ 0 w 45"/>
                    <a:gd name="T11" fmla="*/ 6 h 11"/>
                    <a:gd name="T12" fmla="*/ 5 w 4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5" y="11"/>
                      </a:moveTo>
                      <a:cubicBezTo>
                        <a:pt x="40" y="11"/>
                        <a:pt x="40" y="11"/>
                        <a:pt x="40" y="11"/>
                      </a:cubicBezTo>
                      <a:cubicBezTo>
                        <a:pt x="43" y="11"/>
                        <a:pt x="45" y="9"/>
                        <a:pt x="45" y="6"/>
                      </a:cubicBezTo>
                      <a:cubicBezTo>
                        <a:pt x="45" y="3"/>
                        <a:pt x="43" y="0"/>
                        <a:pt x="40" y="0"/>
                      </a:cubicBezTo>
                      <a:cubicBezTo>
                        <a:pt x="5" y="0"/>
                        <a:pt x="5" y="0"/>
                        <a:pt x="5" y="0"/>
                      </a:cubicBezTo>
                      <a:cubicBezTo>
                        <a:pt x="2" y="0"/>
                        <a:pt x="0" y="3"/>
                        <a:pt x="0" y="6"/>
                      </a:cubicBezTo>
                      <a:cubicBezTo>
                        <a:pt x="0" y="9"/>
                        <a:pt x="2" y="11"/>
                        <a:pt x="5" y="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1" name="Freeform 125"/>
                <p:cNvSpPr>
                  <a:spLocks/>
                </p:cNvSpPr>
                <p:nvPr/>
              </p:nvSpPr>
              <p:spPr bwMode="auto">
                <a:xfrm>
                  <a:off x="1700548" y="2375831"/>
                  <a:ext cx="75108" cy="18423"/>
                </a:xfrm>
                <a:custGeom>
                  <a:avLst/>
                  <a:gdLst>
                    <a:gd name="T0" fmla="*/ 40 w 45"/>
                    <a:gd name="T1" fmla="*/ 0 h 11"/>
                    <a:gd name="T2" fmla="*/ 5 w 45"/>
                    <a:gd name="T3" fmla="*/ 0 h 11"/>
                    <a:gd name="T4" fmla="*/ 0 w 45"/>
                    <a:gd name="T5" fmla="*/ 5 h 11"/>
                    <a:gd name="T6" fmla="*/ 5 w 45"/>
                    <a:gd name="T7" fmla="*/ 11 h 11"/>
                    <a:gd name="T8" fmla="*/ 40 w 45"/>
                    <a:gd name="T9" fmla="*/ 11 h 11"/>
                    <a:gd name="T10" fmla="*/ 45 w 45"/>
                    <a:gd name="T11" fmla="*/ 5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2"/>
                        <a:pt x="0" y="5"/>
                      </a:cubicBezTo>
                      <a:cubicBezTo>
                        <a:pt x="0" y="8"/>
                        <a:pt x="2" y="11"/>
                        <a:pt x="5" y="11"/>
                      </a:cubicBezTo>
                      <a:cubicBezTo>
                        <a:pt x="40" y="11"/>
                        <a:pt x="40" y="11"/>
                        <a:pt x="40" y="11"/>
                      </a:cubicBezTo>
                      <a:cubicBezTo>
                        <a:pt x="43" y="11"/>
                        <a:pt x="45" y="8"/>
                        <a:pt x="45" y="5"/>
                      </a:cubicBezTo>
                      <a:cubicBezTo>
                        <a:pt x="45" y="2"/>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2" name="Freeform 126"/>
                <p:cNvSpPr>
                  <a:spLocks/>
                </p:cNvSpPr>
                <p:nvPr/>
              </p:nvSpPr>
              <p:spPr bwMode="auto">
                <a:xfrm>
                  <a:off x="1700548" y="2407717"/>
                  <a:ext cx="75108" cy="18423"/>
                </a:xfrm>
                <a:custGeom>
                  <a:avLst/>
                  <a:gdLst>
                    <a:gd name="T0" fmla="*/ 40 w 45"/>
                    <a:gd name="T1" fmla="*/ 0 h 11"/>
                    <a:gd name="T2" fmla="*/ 5 w 45"/>
                    <a:gd name="T3" fmla="*/ 0 h 11"/>
                    <a:gd name="T4" fmla="*/ 0 w 45"/>
                    <a:gd name="T5" fmla="*/ 6 h 11"/>
                    <a:gd name="T6" fmla="*/ 5 w 45"/>
                    <a:gd name="T7" fmla="*/ 11 h 11"/>
                    <a:gd name="T8" fmla="*/ 40 w 45"/>
                    <a:gd name="T9" fmla="*/ 11 h 11"/>
                    <a:gd name="T10" fmla="*/ 45 w 45"/>
                    <a:gd name="T11" fmla="*/ 6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3"/>
                        <a:pt x="0" y="6"/>
                      </a:cubicBezTo>
                      <a:cubicBezTo>
                        <a:pt x="0" y="9"/>
                        <a:pt x="2" y="11"/>
                        <a:pt x="5" y="11"/>
                      </a:cubicBezTo>
                      <a:cubicBezTo>
                        <a:pt x="40" y="11"/>
                        <a:pt x="40" y="11"/>
                        <a:pt x="40" y="11"/>
                      </a:cubicBezTo>
                      <a:cubicBezTo>
                        <a:pt x="43" y="11"/>
                        <a:pt x="45" y="9"/>
                        <a:pt x="45" y="6"/>
                      </a:cubicBezTo>
                      <a:cubicBezTo>
                        <a:pt x="45" y="3"/>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3" name="Freeform 127"/>
                <p:cNvSpPr>
                  <a:spLocks/>
                </p:cNvSpPr>
                <p:nvPr/>
              </p:nvSpPr>
              <p:spPr bwMode="auto">
                <a:xfrm>
                  <a:off x="1825964" y="2342529"/>
                  <a:ext cx="154467" cy="18423"/>
                </a:xfrm>
                <a:custGeom>
                  <a:avLst/>
                  <a:gdLst>
                    <a:gd name="T0" fmla="*/ 86 w 92"/>
                    <a:gd name="T1" fmla="*/ 0 h 11"/>
                    <a:gd name="T2" fmla="*/ 5 w 92"/>
                    <a:gd name="T3" fmla="*/ 0 h 11"/>
                    <a:gd name="T4" fmla="*/ 0 w 92"/>
                    <a:gd name="T5" fmla="*/ 6 h 11"/>
                    <a:gd name="T6" fmla="*/ 5 w 92"/>
                    <a:gd name="T7" fmla="*/ 11 h 11"/>
                    <a:gd name="T8" fmla="*/ 86 w 92"/>
                    <a:gd name="T9" fmla="*/ 11 h 11"/>
                    <a:gd name="T10" fmla="*/ 92 w 92"/>
                    <a:gd name="T11" fmla="*/ 6 h 11"/>
                    <a:gd name="T12" fmla="*/ 86 w 9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2" h="11">
                      <a:moveTo>
                        <a:pt x="86" y="0"/>
                      </a:moveTo>
                      <a:cubicBezTo>
                        <a:pt x="5" y="0"/>
                        <a:pt x="5" y="0"/>
                        <a:pt x="5" y="0"/>
                      </a:cubicBezTo>
                      <a:cubicBezTo>
                        <a:pt x="2" y="0"/>
                        <a:pt x="0" y="3"/>
                        <a:pt x="0" y="6"/>
                      </a:cubicBezTo>
                      <a:cubicBezTo>
                        <a:pt x="0" y="9"/>
                        <a:pt x="2" y="11"/>
                        <a:pt x="5" y="11"/>
                      </a:cubicBezTo>
                      <a:cubicBezTo>
                        <a:pt x="86" y="11"/>
                        <a:pt x="86" y="11"/>
                        <a:pt x="86" y="11"/>
                      </a:cubicBezTo>
                      <a:cubicBezTo>
                        <a:pt x="89" y="11"/>
                        <a:pt x="92" y="9"/>
                        <a:pt x="92" y="6"/>
                      </a:cubicBezTo>
                      <a:cubicBezTo>
                        <a:pt x="92" y="3"/>
                        <a:pt x="89" y="0"/>
                        <a:pt x="8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4" name="Freeform 128"/>
                <p:cNvSpPr>
                  <a:spLocks/>
                </p:cNvSpPr>
                <p:nvPr/>
              </p:nvSpPr>
              <p:spPr bwMode="auto">
                <a:xfrm>
                  <a:off x="1825964" y="2375831"/>
                  <a:ext cx="154467" cy="18423"/>
                </a:xfrm>
                <a:custGeom>
                  <a:avLst/>
                  <a:gdLst>
                    <a:gd name="T0" fmla="*/ 86 w 92"/>
                    <a:gd name="T1" fmla="*/ 0 h 11"/>
                    <a:gd name="T2" fmla="*/ 5 w 92"/>
                    <a:gd name="T3" fmla="*/ 0 h 11"/>
                    <a:gd name="T4" fmla="*/ 0 w 92"/>
                    <a:gd name="T5" fmla="*/ 5 h 11"/>
                    <a:gd name="T6" fmla="*/ 5 w 92"/>
                    <a:gd name="T7" fmla="*/ 11 h 11"/>
                    <a:gd name="T8" fmla="*/ 86 w 92"/>
                    <a:gd name="T9" fmla="*/ 11 h 11"/>
                    <a:gd name="T10" fmla="*/ 92 w 92"/>
                    <a:gd name="T11" fmla="*/ 5 h 11"/>
                    <a:gd name="T12" fmla="*/ 86 w 9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2" h="11">
                      <a:moveTo>
                        <a:pt x="86" y="0"/>
                      </a:moveTo>
                      <a:cubicBezTo>
                        <a:pt x="5" y="0"/>
                        <a:pt x="5" y="0"/>
                        <a:pt x="5" y="0"/>
                      </a:cubicBezTo>
                      <a:cubicBezTo>
                        <a:pt x="2" y="0"/>
                        <a:pt x="0" y="2"/>
                        <a:pt x="0" y="5"/>
                      </a:cubicBezTo>
                      <a:cubicBezTo>
                        <a:pt x="0" y="8"/>
                        <a:pt x="2" y="11"/>
                        <a:pt x="5" y="11"/>
                      </a:cubicBezTo>
                      <a:cubicBezTo>
                        <a:pt x="86" y="11"/>
                        <a:pt x="86" y="11"/>
                        <a:pt x="86" y="11"/>
                      </a:cubicBezTo>
                      <a:cubicBezTo>
                        <a:pt x="89" y="11"/>
                        <a:pt x="92" y="8"/>
                        <a:pt x="92" y="5"/>
                      </a:cubicBezTo>
                      <a:cubicBezTo>
                        <a:pt x="92" y="2"/>
                        <a:pt x="89" y="0"/>
                        <a:pt x="8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5" name="Freeform 129"/>
                <p:cNvSpPr>
                  <a:spLocks/>
                </p:cNvSpPr>
                <p:nvPr/>
              </p:nvSpPr>
              <p:spPr bwMode="auto">
                <a:xfrm>
                  <a:off x="1825964" y="2407717"/>
                  <a:ext cx="154467" cy="18423"/>
                </a:xfrm>
                <a:custGeom>
                  <a:avLst/>
                  <a:gdLst>
                    <a:gd name="T0" fmla="*/ 86 w 92"/>
                    <a:gd name="T1" fmla="*/ 0 h 11"/>
                    <a:gd name="T2" fmla="*/ 5 w 92"/>
                    <a:gd name="T3" fmla="*/ 0 h 11"/>
                    <a:gd name="T4" fmla="*/ 0 w 92"/>
                    <a:gd name="T5" fmla="*/ 6 h 11"/>
                    <a:gd name="T6" fmla="*/ 5 w 92"/>
                    <a:gd name="T7" fmla="*/ 11 h 11"/>
                    <a:gd name="T8" fmla="*/ 86 w 92"/>
                    <a:gd name="T9" fmla="*/ 11 h 11"/>
                    <a:gd name="T10" fmla="*/ 92 w 92"/>
                    <a:gd name="T11" fmla="*/ 6 h 11"/>
                    <a:gd name="T12" fmla="*/ 86 w 92"/>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2" h="11">
                      <a:moveTo>
                        <a:pt x="86" y="0"/>
                      </a:moveTo>
                      <a:cubicBezTo>
                        <a:pt x="5" y="0"/>
                        <a:pt x="5" y="0"/>
                        <a:pt x="5" y="0"/>
                      </a:cubicBezTo>
                      <a:cubicBezTo>
                        <a:pt x="2" y="0"/>
                        <a:pt x="0" y="3"/>
                        <a:pt x="0" y="6"/>
                      </a:cubicBezTo>
                      <a:cubicBezTo>
                        <a:pt x="0" y="9"/>
                        <a:pt x="2" y="11"/>
                        <a:pt x="5" y="11"/>
                      </a:cubicBezTo>
                      <a:cubicBezTo>
                        <a:pt x="86" y="11"/>
                        <a:pt x="86" y="11"/>
                        <a:pt x="86" y="11"/>
                      </a:cubicBezTo>
                      <a:cubicBezTo>
                        <a:pt x="89" y="11"/>
                        <a:pt x="92" y="9"/>
                        <a:pt x="92" y="6"/>
                      </a:cubicBezTo>
                      <a:cubicBezTo>
                        <a:pt x="92" y="3"/>
                        <a:pt x="89" y="0"/>
                        <a:pt x="86"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6" name="Freeform 130"/>
                <p:cNvSpPr>
                  <a:spLocks/>
                </p:cNvSpPr>
                <p:nvPr/>
              </p:nvSpPr>
              <p:spPr bwMode="auto">
                <a:xfrm>
                  <a:off x="1568047" y="2183103"/>
                  <a:ext cx="17006" cy="18423"/>
                </a:xfrm>
                <a:custGeom>
                  <a:avLst/>
                  <a:gdLst>
                    <a:gd name="T0" fmla="*/ 5 w 10"/>
                    <a:gd name="T1" fmla="*/ 11 h 11"/>
                    <a:gd name="T2" fmla="*/ 9 w 10"/>
                    <a:gd name="T3" fmla="*/ 9 h 11"/>
                    <a:gd name="T4" fmla="*/ 10 w 10"/>
                    <a:gd name="T5" fmla="*/ 5 h 11"/>
                    <a:gd name="T6" fmla="*/ 9 w 10"/>
                    <a:gd name="T7" fmla="*/ 2 h 11"/>
                    <a:gd name="T8" fmla="*/ 5 w 10"/>
                    <a:gd name="T9" fmla="*/ 0 h 11"/>
                    <a:gd name="T10" fmla="*/ 1 w 10"/>
                    <a:gd name="T11" fmla="*/ 2 h 11"/>
                    <a:gd name="T12" fmla="*/ 0 w 10"/>
                    <a:gd name="T13" fmla="*/ 5 h 11"/>
                    <a:gd name="T14" fmla="*/ 1 w 10"/>
                    <a:gd name="T15" fmla="*/ 9 h 11"/>
                    <a:gd name="T16" fmla="*/ 5 w 10"/>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5" y="11"/>
                      </a:moveTo>
                      <a:cubicBezTo>
                        <a:pt x="6" y="11"/>
                        <a:pt x="8" y="10"/>
                        <a:pt x="9" y="9"/>
                      </a:cubicBezTo>
                      <a:cubicBezTo>
                        <a:pt x="10" y="8"/>
                        <a:pt x="10" y="7"/>
                        <a:pt x="10" y="5"/>
                      </a:cubicBezTo>
                      <a:cubicBezTo>
                        <a:pt x="10" y="4"/>
                        <a:pt x="10" y="3"/>
                        <a:pt x="9" y="2"/>
                      </a:cubicBezTo>
                      <a:cubicBezTo>
                        <a:pt x="8" y="1"/>
                        <a:pt x="6" y="0"/>
                        <a:pt x="5" y="0"/>
                      </a:cubicBezTo>
                      <a:cubicBezTo>
                        <a:pt x="4" y="0"/>
                        <a:pt x="2" y="1"/>
                        <a:pt x="1" y="2"/>
                      </a:cubicBezTo>
                      <a:cubicBezTo>
                        <a:pt x="0" y="3"/>
                        <a:pt x="0" y="4"/>
                        <a:pt x="0" y="5"/>
                      </a:cubicBezTo>
                      <a:cubicBezTo>
                        <a:pt x="0" y="7"/>
                        <a:pt x="0" y="8"/>
                        <a:pt x="1" y="9"/>
                      </a:cubicBezTo>
                      <a:cubicBezTo>
                        <a:pt x="2" y="10"/>
                        <a:pt x="4" y="11"/>
                        <a:pt x="5" y="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7" name="Freeform 131"/>
                <p:cNvSpPr>
                  <a:spLocks/>
                </p:cNvSpPr>
                <p:nvPr/>
              </p:nvSpPr>
              <p:spPr bwMode="auto">
                <a:xfrm>
                  <a:off x="1590012" y="2183103"/>
                  <a:ext cx="18423" cy="18423"/>
                </a:xfrm>
                <a:custGeom>
                  <a:avLst/>
                  <a:gdLst>
                    <a:gd name="T0" fmla="*/ 5 w 11"/>
                    <a:gd name="T1" fmla="*/ 11 h 11"/>
                    <a:gd name="T2" fmla="*/ 9 w 11"/>
                    <a:gd name="T3" fmla="*/ 9 h 11"/>
                    <a:gd name="T4" fmla="*/ 11 w 11"/>
                    <a:gd name="T5" fmla="*/ 5 h 11"/>
                    <a:gd name="T6" fmla="*/ 9 w 11"/>
                    <a:gd name="T7" fmla="*/ 2 h 11"/>
                    <a:gd name="T8" fmla="*/ 5 w 11"/>
                    <a:gd name="T9" fmla="*/ 0 h 11"/>
                    <a:gd name="T10" fmla="*/ 2 w 11"/>
                    <a:gd name="T11" fmla="*/ 2 h 11"/>
                    <a:gd name="T12" fmla="*/ 0 w 11"/>
                    <a:gd name="T13" fmla="*/ 5 h 11"/>
                    <a:gd name="T14" fmla="*/ 2 w 11"/>
                    <a:gd name="T15" fmla="*/ 9 h 11"/>
                    <a:gd name="T16" fmla="*/ 5 w 1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5" y="11"/>
                      </a:moveTo>
                      <a:cubicBezTo>
                        <a:pt x="7" y="11"/>
                        <a:pt x="8" y="10"/>
                        <a:pt x="9" y="9"/>
                      </a:cubicBezTo>
                      <a:cubicBezTo>
                        <a:pt x="10" y="8"/>
                        <a:pt x="11" y="7"/>
                        <a:pt x="11" y="5"/>
                      </a:cubicBezTo>
                      <a:cubicBezTo>
                        <a:pt x="11" y="4"/>
                        <a:pt x="10" y="3"/>
                        <a:pt x="9" y="2"/>
                      </a:cubicBezTo>
                      <a:cubicBezTo>
                        <a:pt x="8" y="1"/>
                        <a:pt x="7" y="0"/>
                        <a:pt x="5" y="0"/>
                      </a:cubicBezTo>
                      <a:cubicBezTo>
                        <a:pt x="4" y="0"/>
                        <a:pt x="3" y="1"/>
                        <a:pt x="2" y="2"/>
                      </a:cubicBezTo>
                      <a:cubicBezTo>
                        <a:pt x="1" y="3"/>
                        <a:pt x="0" y="4"/>
                        <a:pt x="0" y="5"/>
                      </a:cubicBezTo>
                      <a:cubicBezTo>
                        <a:pt x="0" y="7"/>
                        <a:pt x="1" y="8"/>
                        <a:pt x="2" y="9"/>
                      </a:cubicBezTo>
                      <a:cubicBezTo>
                        <a:pt x="3" y="10"/>
                        <a:pt x="4" y="11"/>
                        <a:pt x="5" y="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8" name="Freeform 132"/>
                <p:cNvSpPr>
                  <a:spLocks/>
                </p:cNvSpPr>
                <p:nvPr/>
              </p:nvSpPr>
              <p:spPr bwMode="auto">
                <a:xfrm>
                  <a:off x="1611978" y="2183103"/>
                  <a:ext cx="18423" cy="18423"/>
                </a:xfrm>
                <a:custGeom>
                  <a:avLst/>
                  <a:gdLst>
                    <a:gd name="T0" fmla="*/ 6 w 11"/>
                    <a:gd name="T1" fmla="*/ 11 h 11"/>
                    <a:gd name="T2" fmla="*/ 10 w 11"/>
                    <a:gd name="T3" fmla="*/ 9 h 11"/>
                    <a:gd name="T4" fmla="*/ 11 w 11"/>
                    <a:gd name="T5" fmla="*/ 5 h 11"/>
                    <a:gd name="T6" fmla="*/ 10 w 11"/>
                    <a:gd name="T7" fmla="*/ 2 h 11"/>
                    <a:gd name="T8" fmla="*/ 6 w 11"/>
                    <a:gd name="T9" fmla="*/ 0 h 11"/>
                    <a:gd name="T10" fmla="*/ 2 w 11"/>
                    <a:gd name="T11" fmla="*/ 2 h 11"/>
                    <a:gd name="T12" fmla="*/ 0 w 11"/>
                    <a:gd name="T13" fmla="*/ 5 h 11"/>
                    <a:gd name="T14" fmla="*/ 2 w 11"/>
                    <a:gd name="T15" fmla="*/ 9 h 11"/>
                    <a:gd name="T16" fmla="*/ 6 w 1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6" y="11"/>
                      </a:moveTo>
                      <a:cubicBezTo>
                        <a:pt x="7" y="11"/>
                        <a:pt x="9" y="10"/>
                        <a:pt x="10" y="9"/>
                      </a:cubicBezTo>
                      <a:cubicBezTo>
                        <a:pt x="11" y="8"/>
                        <a:pt x="11" y="7"/>
                        <a:pt x="11" y="5"/>
                      </a:cubicBezTo>
                      <a:cubicBezTo>
                        <a:pt x="11" y="4"/>
                        <a:pt x="11" y="3"/>
                        <a:pt x="10" y="2"/>
                      </a:cubicBezTo>
                      <a:cubicBezTo>
                        <a:pt x="9" y="1"/>
                        <a:pt x="7" y="0"/>
                        <a:pt x="6" y="0"/>
                      </a:cubicBezTo>
                      <a:cubicBezTo>
                        <a:pt x="4" y="0"/>
                        <a:pt x="3" y="1"/>
                        <a:pt x="2" y="2"/>
                      </a:cubicBezTo>
                      <a:cubicBezTo>
                        <a:pt x="1" y="3"/>
                        <a:pt x="0" y="4"/>
                        <a:pt x="0" y="5"/>
                      </a:cubicBezTo>
                      <a:cubicBezTo>
                        <a:pt x="0" y="7"/>
                        <a:pt x="1" y="8"/>
                        <a:pt x="2" y="9"/>
                      </a:cubicBezTo>
                      <a:cubicBezTo>
                        <a:pt x="3" y="10"/>
                        <a:pt x="4" y="11"/>
                        <a:pt x="6" y="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09" name="Freeform 133"/>
                <p:cNvSpPr>
                  <a:spLocks/>
                </p:cNvSpPr>
                <p:nvPr/>
              </p:nvSpPr>
              <p:spPr bwMode="auto">
                <a:xfrm>
                  <a:off x="1575132" y="2246873"/>
                  <a:ext cx="75108" cy="18423"/>
                </a:xfrm>
                <a:custGeom>
                  <a:avLst/>
                  <a:gdLst>
                    <a:gd name="T0" fmla="*/ 40 w 45"/>
                    <a:gd name="T1" fmla="*/ 0 h 11"/>
                    <a:gd name="T2" fmla="*/ 5 w 45"/>
                    <a:gd name="T3" fmla="*/ 0 h 11"/>
                    <a:gd name="T4" fmla="*/ 0 w 45"/>
                    <a:gd name="T5" fmla="*/ 5 h 11"/>
                    <a:gd name="T6" fmla="*/ 5 w 45"/>
                    <a:gd name="T7" fmla="*/ 11 h 11"/>
                    <a:gd name="T8" fmla="*/ 40 w 45"/>
                    <a:gd name="T9" fmla="*/ 11 h 11"/>
                    <a:gd name="T10" fmla="*/ 45 w 45"/>
                    <a:gd name="T11" fmla="*/ 5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2"/>
                        <a:pt x="0" y="5"/>
                      </a:cubicBezTo>
                      <a:cubicBezTo>
                        <a:pt x="0" y="8"/>
                        <a:pt x="2" y="11"/>
                        <a:pt x="5" y="11"/>
                      </a:cubicBezTo>
                      <a:cubicBezTo>
                        <a:pt x="40" y="11"/>
                        <a:pt x="40" y="11"/>
                        <a:pt x="40" y="11"/>
                      </a:cubicBezTo>
                      <a:cubicBezTo>
                        <a:pt x="43" y="11"/>
                        <a:pt x="45" y="8"/>
                        <a:pt x="45" y="5"/>
                      </a:cubicBezTo>
                      <a:cubicBezTo>
                        <a:pt x="45" y="2"/>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10" name="Freeform 134"/>
                <p:cNvSpPr>
                  <a:spLocks/>
                </p:cNvSpPr>
                <p:nvPr/>
              </p:nvSpPr>
              <p:spPr bwMode="auto">
                <a:xfrm>
                  <a:off x="1575132" y="2278758"/>
                  <a:ext cx="75108" cy="18423"/>
                </a:xfrm>
                <a:custGeom>
                  <a:avLst/>
                  <a:gdLst>
                    <a:gd name="T0" fmla="*/ 40 w 45"/>
                    <a:gd name="T1" fmla="*/ 0 h 11"/>
                    <a:gd name="T2" fmla="*/ 5 w 45"/>
                    <a:gd name="T3" fmla="*/ 0 h 11"/>
                    <a:gd name="T4" fmla="*/ 0 w 45"/>
                    <a:gd name="T5" fmla="*/ 6 h 11"/>
                    <a:gd name="T6" fmla="*/ 5 w 45"/>
                    <a:gd name="T7" fmla="*/ 11 h 11"/>
                    <a:gd name="T8" fmla="*/ 40 w 45"/>
                    <a:gd name="T9" fmla="*/ 11 h 11"/>
                    <a:gd name="T10" fmla="*/ 45 w 45"/>
                    <a:gd name="T11" fmla="*/ 6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3"/>
                        <a:pt x="0" y="6"/>
                      </a:cubicBezTo>
                      <a:cubicBezTo>
                        <a:pt x="0" y="9"/>
                        <a:pt x="2" y="11"/>
                        <a:pt x="5" y="11"/>
                      </a:cubicBezTo>
                      <a:cubicBezTo>
                        <a:pt x="40" y="11"/>
                        <a:pt x="40" y="11"/>
                        <a:pt x="40" y="11"/>
                      </a:cubicBezTo>
                      <a:cubicBezTo>
                        <a:pt x="43" y="11"/>
                        <a:pt x="45" y="9"/>
                        <a:pt x="45" y="6"/>
                      </a:cubicBezTo>
                      <a:cubicBezTo>
                        <a:pt x="45" y="3"/>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sp>
              <p:nvSpPr>
                <p:cNvPr id="511" name="Freeform 135"/>
                <p:cNvSpPr>
                  <a:spLocks/>
                </p:cNvSpPr>
                <p:nvPr/>
              </p:nvSpPr>
              <p:spPr bwMode="auto">
                <a:xfrm>
                  <a:off x="1575132" y="2312061"/>
                  <a:ext cx="75108" cy="18423"/>
                </a:xfrm>
                <a:custGeom>
                  <a:avLst/>
                  <a:gdLst>
                    <a:gd name="T0" fmla="*/ 40 w 45"/>
                    <a:gd name="T1" fmla="*/ 0 h 11"/>
                    <a:gd name="T2" fmla="*/ 5 w 45"/>
                    <a:gd name="T3" fmla="*/ 0 h 11"/>
                    <a:gd name="T4" fmla="*/ 0 w 45"/>
                    <a:gd name="T5" fmla="*/ 5 h 11"/>
                    <a:gd name="T6" fmla="*/ 5 w 45"/>
                    <a:gd name="T7" fmla="*/ 11 h 11"/>
                    <a:gd name="T8" fmla="*/ 40 w 45"/>
                    <a:gd name="T9" fmla="*/ 11 h 11"/>
                    <a:gd name="T10" fmla="*/ 45 w 45"/>
                    <a:gd name="T11" fmla="*/ 5 h 11"/>
                    <a:gd name="T12" fmla="*/ 40 w 45"/>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5" h="11">
                      <a:moveTo>
                        <a:pt x="40" y="0"/>
                      </a:moveTo>
                      <a:cubicBezTo>
                        <a:pt x="5" y="0"/>
                        <a:pt x="5" y="0"/>
                        <a:pt x="5" y="0"/>
                      </a:cubicBezTo>
                      <a:cubicBezTo>
                        <a:pt x="2" y="0"/>
                        <a:pt x="0" y="2"/>
                        <a:pt x="0" y="5"/>
                      </a:cubicBezTo>
                      <a:cubicBezTo>
                        <a:pt x="0" y="8"/>
                        <a:pt x="2" y="11"/>
                        <a:pt x="5" y="11"/>
                      </a:cubicBezTo>
                      <a:cubicBezTo>
                        <a:pt x="40" y="11"/>
                        <a:pt x="40" y="11"/>
                        <a:pt x="40" y="11"/>
                      </a:cubicBezTo>
                      <a:cubicBezTo>
                        <a:pt x="43" y="11"/>
                        <a:pt x="45" y="8"/>
                        <a:pt x="45" y="5"/>
                      </a:cubicBezTo>
                      <a:cubicBezTo>
                        <a:pt x="45" y="2"/>
                        <a:pt x="43" y="0"/>
                        <a:pt x="4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lumMod val="50000"/>
                      </a:schemeClr>
                    </a:solidFill>
                    <a:latin typeface="+mj-lt"/>
                  </a:endParaRPr>
                </a:p>
              </p:txBody>
            </p:sp>
          </p:grpSp>
        </p:grpSp>
        <p:grpSp>
          <p:nvGrpSpPr>
            <p:cNvPr id="130" name="Group 521"/>
            <p:cNvGrpSpPr/>
            <p:nvPr/>
          </p:nvGrpSpPr>
          <p:grpSpPr>
            <a:xfrm>
              <a:off x="1240733" y="2504878"/>
              <a:ext cx="1138971" cy="330164"/>
              <a:chOff x="1240733" y="2504878"/>
              <a:chExt cx="1138971" cy="330164"/>
            </a:xfrm>
          </p:grpSpPr>
          <p:sp>
            <p:nvSpPr>
              <p:cNvPr id="494" name="Rectangle 493"/>
              <p:cNvSpPr/>
              <p:nvPr/>
            </p:nvSpPr>
            <p:spPr>
              <a:xfrm>
                <a:off x="1744915" y="2600711"/>
                <a:ext cx="634789" cy="138499"/>
              </a:xfrm>
              <a:prstGeom prst="rect">
                <a:avLst/>
              </a:prstGeom>
              <a:noFill/>
              <a:ln w="25400" cap="rnd" cmpd="sng" algn="ctr">
                <a:noFill/>
                <a:prstDash val="solid"/>
              </a:ln>
              <a:effectLst/>
            </p:spPr>
            <p:txBody>
              <a:bodyPr wrap="none" lIns="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900" kern="0" dirty="0">
                    <a:latin typeface="+mj-lt"/>
                  </a:rPr>
                  <a:t>Mobile Apps</a:t>
                </a:r>
              </a:p>
            </p:txBody>
          </p:sp>
          <p:grpSp>
            <p:nvGrpSpPr>
              <p:cNvPr id="131" name="Group 254"/>
              <p:cNvGrpSpPr/>
              <p:nvPr/>
            </p:nvGrpSpPr>
            <p:grpSpPr>
              <a:xfrm>
                <a:off x="1240733" y="2504878"/>
                <a:ext cx="372421" cy="330164"/>
                <a:chOff x="1431294" y="3248071"/>
                <a:chExt cx="468360" cy="415217"/>
              </a:xfrm>
              <a:solidFill>
                <a:schemeClr val="tx2"/>
              </a:solidFill>
            </p:grpSpPr>
            <p:sp>
              <p:nvSpPr>
                <p:cNvPr id="513" name="Freeform 136"/>
                <p:cNvSpPr>
                  <a:spLocks noEditPoints="1"/>
                </p:cNvSpPr>
                <p:nvPr/>
              </p:nvSpPr>
              <p:spPr bwMode="auto">
                <a:xfrm>
                  <a:off x="1610560" y="3248071"/>
                  <a:ext cx="289094" cy="415217"/>
                </a:xfrm>
                <a:custGeom>
                  <a:avLst/>
                  <a:gdLst>
                    <a:gd name="T0" fmla="*/ 116 w 173"/>
                    <a:gd name="T1" fmla="*/ 248 h 248"/>
                    <a:gd name="T2" fmla="*/ 112 w 173"/>
                    <a:gd name="T3" fmla="*/ 248 h 248"/>
                    <a:gd name="T4" fmla="*/ 19 w 173"/>
                    <a:gd name="T5" fmla="*/ 231 h 248"/>
                    <a:gd name="T6" fmla="*/ 5 w 173"/>
                    <a:gd name="T7" fmla="*/ 222 h 248"/>
                    <a:gd name="T8" fmla="*/ 1 w 173"/>
                    <a:gd name="T9" fmla="*/ 206 h 248"/>
                    <a:gd name="T10" fmla="*/ 35 w 173"/>
                    <a:gd name="T11" fmla="*/ 18 h 248"/>
                    <a:gd name="T12" fmla="*/ 56 w 173"/>
                    <a:gd name="T13" fmla="*/ 0 h 248"/>
                    <a:gd name="T14" fmla="*/ 60 w 173"/>
                    <a:gd name="T15" fmla="*/ 0 h 248"/>
                    <a:gd name="T16" fmla="*/ 153 w 173"/>
                    <a:gd name="T17" fmla="*/ 17 h 248"/>
                    <a:gd name="T18" fmla="*/ 171 w 173"/>
                    <a:gd name="T19" fmla="*/ 42 h 248"/>
                    <a:gd name="T20" fmla="*/ 137 w 173"/>
                    <a:gd name="T21" fmla="*/ 230 h 248"/>
                    <a:gd name="T22" fmla="*/ 116 w 173"/>
                    <a:gd name="T23" fmla="*/ 248 h 248"/>
                    <a:gd name="T24" fmla="*/ 56 w 173"/>
                    <a:gd name="T25" fmla="*/ 10 h 248"/>
                    <a:gd name="T26" fmla="*/ 45 w 173"/>
                    <a:gd name="T27" fmla="*/ 19 h 248"/>
                    <a:gd name="T28" fmla="*/ 11 w 173"/>
                    <a:gd name="T29" fmla="*/ 208 h 248"/>
                    <a:gd name="T30" fmla="*/ 13 w 173"/>
                    <a:gd name="T31" fmla="*/ 216 h 248"/>
                    <a:gd name="T32" fmla="*/ 20 w 173"/>
                    <a:gd name="T33" fmla="*/ 221 h 248"/>
                    <a:gd name="T34" fmla="*/ 114 w 173"/>
                    <a:gd name="T35" fmla="*/ 238 h 248"/>
                    <a:gd name="T36" fmla="*/ 127 w 173"/>
                    <a:gd name="T37" fmla="*/ 229 h 248"/>
                    <a:gd name="T38" fmla="*/ 161 w 173"/>
                    <a:gd name="T39" fmla="*/ 40 h 248"/>
                    <a:gd name="T40" fmla="*/ 152 w 173"/>
                    <a:gd name="T41" fmla="*/ 27 h 248"/>
                    <a:gd name="T42" fmla="*/ 58 w 173"/>
                    <a:gd name="T43" fmla="*/ 10 h 248"/>
                    <a:gd name="T44" fmla="*/ 56 w 173"/>
                    <a:gd name="T45" fmla="*/ 1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248">
                      <a:moveTo>
                        <a:pt x="116" y="248"/>
                      </a:moveTo>
                      <a:cubicBezTo>
                        <a:pt x="115" y="248"/>
                        <a:pt x="114" y="248"/>
                        <a:pt x="112" y="248"/>
                      </a:cubicBezTo>
                      <a:cubicBezTo>
                        <a:pt x="19" y="231"/>
                        <a:pt x="19" y="231"/>
                        <a:pt x="19" y="231"/>
                      </a:cubicBezTo>
                      <a:cubicBezTo>
                        <a:pt x="13" y="230"/>
                        <a:pt x="8" y="227"/>
                        <a:pt x="5" y="222"/>
                      </a:cubicBezTo>
                      <a:cubicBezTo>
                        <a:pt x="2" y="217"/>
                        <a:pt x="0" y="212"/>
                        <a:pt x="1" y="206"/>
                      </a:cubicBezTo>
                      <a:cubicBezTo>
                        <a:pt x="35" y="18"/>
                        <a:pt x="35" y="18"/>
                        <a:pt x="35" y="18"/>
                      </a:cubicBezTo>
                      <a:cubicBezTo>
                        <a:pt x="37" y="8"/>
                        <a:pt x="46" y="0"/>
                        <a:pt x="56" y="0"/>
                      </a:cubicBezTo>
                      <a:cubicBezTo>
                        <a:pt x="57" y="0"/>
                        <a:pt x="58" y="0"/>
                        <a:pt x="60" y="0"/>
                      </a:cubicBezTo>
                      <a:cubicBezTo>
                        <a:pt x="153" y="17"/>
                        <a:pt x="153" y="17"/>
                        <a:pt x="153" y="17"/>
                      </a:cubicBezTo>
                      <a:cubicBezTo>
                        <a:pt x="165" y="19"/>
                        <a:pt x="173" y="30"/>
                        <a:pt x="171" y="42"/>
                      </a:cubicBezTo>
                      <a:cubicBezTo>
                        <a:pt x="137" y="230"/>
                        <a:pt x="137" y="230"/>
                        <a:pt x="137" y="230"/>
                      </a:cubicBezTo>
                      <a:cubicBezTo>
                        <a:pt x="135" y="240"/>
                        <a:pt x="126" y="248"/>
                        <a:pt x="116" y="248"/>
                      </a:cubicBezTo>
                      <a:close/>
                      <a:moveTo>
                        <a:pt x="56" y="10"/>
                      </a:moveTo>
                      <a:cubicBezTo>
                        <a:pt x="50" y="10"/>
                        <a:pt x="46" y="14"/>
                        <a:pt x="45" y="19"/>
                      </a:cubicBezTo>
                      <a:cubicBezTo>
                        <a:pt x="11" y="208"/>
                        <a:pt x="11" y="208"/>
                        <a:pt x="11" y="208"/>
                      </a:cubicBezTo>
                      <a:cubicBezTo>
                        <a:pt x="11" y="211"/>
                        <a:pt x="11" y="214"/>
                        <a:pt x="13" y="216"/>
                      </a:cubicBezTo>
                      <a:cubicBezTo>
                        <a:pt x="15" y="219"/>
                        <a:pt x="17" y="220"/>
                        <a:pt x="20" y="221"/>
                      </a:cubicBezTo>
                      <a:cubicBezTo>
                        <a:pt x="114" y="238"/>
                        <a:pt x="114" y="238"/>
                        <a:pt x="114" y="238"/>
                      </a:cubicBezTo>
                      <a:cubicBezTo>
                        <a:pt x="120" y="239"/>
                        <a:pt x="126" y="235"/>
                        <a:pt x="127" y="229"/>
                      </a:cubicBezTo>
                      <a:cubicBezTo>
                        <a:pt x="161" y="40"/>
                        <a:pt x="161" y="40"/>
                        <a:pt x="161" y="40"/>
                      </a:cubicBezTo>
                      <a:cubicBezTo>
                        <a:pt x="162" y="34"/>
                        <a:pt x="158" y="28"/>
                        <a:pt x="152" y="27"/>
                      </a:cubicBezTo>
                      <a:cubicBezTo>
                        <a:pt x="58" y="10"/>
                        <a:pt x="58" y="10"/>
                        <a:pt x="58" y="10"/>
                      </a:cubicBezTo>
                      <a:cubicBezTo>
                        <a:pt x="57" y="10"/>
                        <a:pt x="57" y="10"/>
                        <a:pt x="56" y="1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4" name="Freeform 137"/>
                <p:cNvSpPr>
                  <a:spLocks/>
                </p:cNvSpPr>
                <p:nvPr/>
              </p:nvSpPr>
              <p:spPr bwMode="auto">
                <a:xfrm>
                  <a:off x="1663703" y="3296253"/>
                  <a:ext cx="227449" cy="53851"/>
                </a:xfrm>
                <a:custGeom>
                  <a:avLst/>
                  <a:gdLst>
                    <a:gd name="T0" fmla="*/ 131 w 136"/>
                    <a:gd name="T1" fmla="*/ 32 h 32"/>
                    <a:gd name="T2" fmla="*/ 130 w 136"/>
                    <a:gd name="T3" fmla="*/ 32 h 32"/>
                    <a:gd name="T4" fmla="*/ 4 w 136"/>
                    <a:gd name="T5" fmla="*/ 10 h 32"/>
                    <a:gd name="T6" fmla="*/ 0 w 136"/>
                    <a:gd name="T7" fmla="*/ 4 h 32"/>
                    <a:gd name="T8" fmla="*/ 6 w 136"/>
                    <a:gd name="T9" fmla="*/ 0 h 32"/>
                    <a:gd name="T10" fmla="*/ 132 w 136"/>
                    <a:gd name="T11" fmla="*/ 23 h 32"/>
                    <a:gd name="T12" fmla="*/ 136 w 136"/>
                    <a:gd name="T13" fmla="*/ 28 h 32"/>
                    <a:gd name="T14" fmla="*/ 131 w 13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32">
                      <a:moveTo>
                        <a:pt x="131" y="32"/>
                      </a:moveTo>
                      <a:cubicBezTo>
                        <a:pt x="131" y="32"/>
                        <a:pt x="130" y="32"/>
                        <a:pt x="130" y="32"/>
                      </a:cubicBezTo>
                      <a:cubicBezTo>
                        <a:pt x="4" y="10"/>
                        <a:pt x="4" y="10"/>
                        <a:pt x="4" y="10"/>
                      </a:cubicBezTo>
                      <a:cubicBezTo>
                        <a:pt x="1" y="9"/>
                        <a:pt x="0" y="7"/>
                        <a:pt x="0" y="4"/>
                      </a:cubicBezTo>
                      <a:cubicBezTo>
                        <a:pt x="1" y="1"/>
                        <a:pt x="3" y="0"/>
                        <a:pt x="6" y="0"/>
                      </a:cubicBezTo>
                      <a:cubicBezTo>
                        <a:pt x="132" y="23"/>
                        <a:pt x="132" y="23"/>
                        <a:pt x="132" y="23"/>
                      </a:cubicBezTo>
                      <a:cubicBezTo>
                        <a:pt x="135" y="23"/>
                        <a:pt x="136" y="26"/>
                        <a:pt x="136" y="28"/>
                      </a:cubicBezTo>
                      <a:cubicBezTo>
                        <a:pt x="136" y="31"/>
                        <a:pt x="133" y="32"/>
                        <a:pt x="131" y="3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5" name="Freeform 138"/>
                <p:cNvSpPr>
                  <a:spLocks/>
                </p:cNvSpPr>
                <p:nvPr/>
              </p:nvSpPr>
              <p:spPr bwMode="auto">
                <a:xfrm>
                  <a:off x="1618355" y="3544250"/>
                  <a:ext cx="229574" cy="55268"/>
                </a:xfrm>
                <a:custGeom>
                  <a:avLst/>
                  <a:gdLst>
                    <a:gd name="T0" fmla="*/ 132 w 137"/>
                    <a:gd name="T1" fmla="*/ 33 h 33"/>
                    <a:gd name="T2" fmla="*/ 131 w 137"/>
                    <a:gd name="T3" fmla="*/ 33 h 33"/>
                    <a:gd name="T4" fmla="*/ 5 w 137"/>
                    <a:gd name="T5" fmla="*/ 11 h 33"/>
                    <a:gd name="T6" fmla="*/ 1 w 137"/>
                    <a:gd name="T7" fmla="*/ 5 h 33"/>
                    <a:gd name="T8" fmla="*/ 6 w 137"/>
                    <a:gd name="T9" fmla="*/ 1 h 33"/>
                    <a:gd name="T10" fmla="*/ 132 w 137"/>
                    <a:gd name="T11" fmla="*/ 23 h 33"/>
                    <a:gd name="T12" fmla="*/ 136 w 137"/>
                    <a:gd name="T13" fmla="*/ 29 h 33"/>
                    <a:gd name="T14" fmla="*/ 132 w 137"/>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3">
                      <a:moveTo>
                        <a:pt x="132" y="33"/>
                      </a:moveTo>
                      <a:cubicBezTo>
                        <a:pt x="131" y="33"/>
                        <a:pt x="131" y="33"/>
                        <a:pt x="131" y="33"/>
                      </a:cubicBezTo>
                      <a:cubicBezTo>
                        <a:pt x="5" y="11"/>
                        <a:pt x="5" y="11"/>
                        <a:pt x="5" y="11"/>
                      </a:cubicBezTo>
                      <a:cubicBezTo>
                        <a:pt x="2" y="10"/>
                        <a:pt x="0" y="7"/>
                        <a:pt x="1" y="5"/>
                      </a:cubicBezTo>
                      <a:cubicBezTo>
                        <a:pt x="1" y="2"/>
                        <a:pt x="4" y="0"/>
                        <a:pt x="6" y="1"/>
                      </a:cubicBezTo>
                      <a:cubicBezTo>
                        <a:pt x="132" y="23"/>
                        <a:pt x="132" y="23"/>
                        <a:pt x="132" y="23"/>
                      </a:cubicBezTo>
                      <a:cubicBezTo>
                        <a:pt x="135" y="24"/>
                        <a:pt x="137" y="26"/>
                        <a:pt x="136" y="29"/>
                      </a:cubicBezTo>
                      <a:cubicBezTo>
                        <a:pt x="136" y="31"/>
                        <a:pt x="134" y="33"/>
                        <a:pt x="132" y="3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6" name="Freeform 139"/>
                <p:cNvSpPr>
                  <a:spLocks/>
                </p:cNvSpPr>
                <p:nvPr/>
              </p:nvSpPr>
              <p:spPr bwMode="auto">
                <a:xfrm>
                  <a:off x="1692045" y="3593140"/>
                  <a:ext cx="70148" cy="26217"/>
                </a:xfrm>
                <a:custGeom>
                  <a:avLst/>
                  <a:gdLst>
                    <a:gd name="T0" fmla="*/ 37 w 42"/>
                    <a:gd name="T1" fmla="*/ 16 h 16"/>
                    <a:gd name="T2" fmla="*/ 36 w 42"/>
                    <a:gd name="T3" fmla="*/ 16 h 16"/>
                    <a:gd name="T4" fmla="*/ 4 w 42"/>
                    <a:gd name="T5" fmla="*/ 11 h 16"/>
                    <a:gd name="T6" fmla="*/ 0 w 42"/>
                    <a:gd name="T7" fmla="*/ 5 h 16"/>
                    <a:gd name="T8" fmla="*/ 6 w 42"/>
                    <a:gd name="T9" fmla="*/ 1 h 16"/>
                    <a:gd name="T10" fmla="*/ 37 w 42"/>
                    <a:gd name="T11" fmla="*/ 6 h 16"/>
                    <a:gd name="T12" fmla="*/ 42 w 42"/>
                    <a:gd name="T13" fmla="*/ 12 h 16"/>
                    <a:gd name="T14" fmla="*/ 37 w 4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16">
                      <a:moveTo>
                        <a:pt x="37" y="16"/>
                      </a:moveTo>
                      <a:cubicBezTo>
                        <a:pt x="36" y="16"/>
                        <a:pt x="36" y="16"/>
                        <a:pt x="36" y="16"/>
                      </a:cubicBezTo>
                      <a:cubicBezTo>
                        <a:pt x="4" y="11"/>
                        <a:pt x="4" y="11"/>
                        <a:pt x="4" y="11"/>
                      </a:cubicBezTo>
                      <a:cubicBezTo>
                        <a:pt x="1" y="10"/>
                        <a:pt x="0" y="8"/>
                        <a:pt x="0" y="5"/>
                      </a:cubicBezTo>
                      <a:cubicBezTo>
                        <a:pt x="1" y="2"/>
                        <a:pt x="3" y="0"/>
                        <a:pt x="6" y="1"/>
                      </a:cubicBezTo>
                      <a:cubicBezTo>
                        <a:pt x="37" y="6"/>
                        <a:pt x="37" y="6"/>
                        <a:pt x="37" y="6"/>
                      </a:cubicBezTo>
                      <a:cubicBezTo>
                        <a:pt x="40" y="7"/>
                        <a:pt x="42" y="10"/>
                        <a:pt x="42" y="12"/>
                      </a:cubicBezTo>
                      <a:cubicBezTo>
                        <a:pt x="41" y="15"/>
                        <a:pt x="39" y="16"/>
                        <a:pt x="37" y="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7" name="Freeform 140"/>
                <p:cNvSpPr>
                  <a:spLocks noEditPoints="1"/>
                </p:cNvSpPr>
                <p:nvPr/>
              </p:nvSpPr>
              <p:spPr bwMode="auto">
                <a:xfrm>
                  <a:off x="1538287" y="3367109"/>
                  <a:ext cx="97073" cy="97073"/>
                </a:xfrm>
                <a:custGeom>
                  <a:avLst/>
                  <a:gdLst>
                    <a:gd name="T0" fmla="*/ 45 w 58"/>
                    <a:gd name="T1" fmla="*/ 58 h 58"/>
                    <a:gd name="T2" fmla="*/ 13 w 58"/>
                    <a:gd name="T3" fmla="*/ 58 h 58"/>
                    <a:gd name="T4" fmla="*/ 0 w 58"/>
                    <a:gd name="T5" fmla="*/ 45 h 58"/>
                    <a:gd name="T6" fmla="*/ 0 w 58"/>
                    <a:gd name="T7" fmla="*/ 13 h 58"/>
                    <a:gd name="T8" fmla="*/ 13 w 58"/>
                    <a:gd name="T9" fmla="*/ 0 h 58"/>
                    <a:gd name="T10" fmla="*/ 45 w 58"/>
                    <a:gd name="T11" fmla="*/ 0 h 58"/>
                    <a:gd name="T12" fmla="*/ 58 w 58"/>
                    <a:gd name="T13" fmla="*/ 13 h 58"/>
                    <a:gd name="T14" fmla="*/ 58 w 58"/>
                    <a:gd name="T15" fmla="*/ 45 h 58"/>
                    <a:gd name="T16" fmla="*/ 45 w 58"/>
                    <a:gd name="T17" fmla="*/ 58 h 58"/>
                    <a:gd name="T18" fmla="*/ 13 w 58"/>
                    <a:gd name="T19" fmla="*/ 10 h 58"/>
                    <a:gd name="T20" fmla="*/ 10 w 58"/>
                    <a:gd name="T21" fmla="*/ 13 h 58"/>
                    <a:gd name="T22" fmla="*/ 10 w 58"/>
                    <a:gd name="T23" fmla="*/ 45 h 58"/>
                    <a:gd name="T24" fmla="*/ 13 w 58"/>
                    <a:gd name="T25" fmla="*/ 48 h 58"/>
                    <a:gd name="T26" fmla="*/ 45 w 58"/>
                    <a:gd name="T27" fmla="*/ 48 h 58"/>
                    <a:gd name="T28" fmla="*/ 48 w 58"/>
                    <a:gd name="T29" fmla="*/ 45 h 58"/>
                    <a:gd name="T30" fmla="*/ 48 w 58"/>
                    <a:gd name="T31" fmla="*/ 13 h 58"/>
                    <a:gd name="T32" fmla="*/ 45 w 58"/>
                    <a:gd name="T33" fmla="*/ 10 h 58"/>
                    <a:gd name="T34" fmla="*/ 13 w 58"/>
                    <a:gd name="T35"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58">
                      <a:moveTo>
                        <a:pt x="45" y="58"/>
                      </a:moveTo>
                      <a:cubicBezTo>
                        <a:pt x="13" y="58"/>
                        <a:pt x="13" y="58"/>
                        <a:pt x="13" y="58"/>
                      </a:cubicBezTo>
                      <a:cubicBezTo>
                        <a:pt x="6" y="58"/>
                        <a:pt x="0" y="52"/>
                        <a:pt x="0" y="45"/>
                      </a:cubicBezTo>
                      <a:cubicBezTo>
                        <a:pt x="0" y="13"/>
                        <a:pt x="0" y="13"/>
                        <a:pt x="0" y="13"/>
                      </a:cubicBezTo>
                      <a:cubicBezTo>
                        <a:pt x="0" y="6"/>
                        <a:pt x="6" y="0"/>
                        <a:pt x="13" y="0"/>
                      </a:cubicBezTo>
                      <a:cubicBezTo>
                        <a:pt x="45" y="0"/>
                        <a:pt x="45" y="0"/>
                        <a:pt x="45" y="0"/>
                      </a:cubicBezTo>
                      <a:cubicBezTo>
                        <a:pt x="52" y="0"/>
                        <a:pt x="58" y="6"/>
                        <a:pt x="58" y="13"/>
                      </a:cubicBezTo>
                      <a:cubicBezTo>
                        <a:pt x="58" y="45"/>
                        <a:pt x="58" y="45"/>
                        <a:pt x="58" y="45"/>
                      </a:cubicBezTo>
                      <a:cubicBezTo>
                        <a:pt x="58" y="52"/>
                        <a:pt x="52" y="58"/>
                        <a:pt x="45" y="58"/>
                      </a:cubicBezTo>
                      <a:close/>
                      <a:moveTo>
                        <a:pt x="13" y="10"/>
                      </a:moveTo>
                      <a:cubicBezTo>
                        <a:pt x="11" y="10"/>
                        <a:pt x="10" y="11"/>
                        <a:pt x="10" y="13"/>
                      </a:cubicBezTo>
                      <a:cubicBezTo>
                        <a:pt x="10" y="45"/>
                        <a:pt x="10" y="45"/>
                        <a:pt x="10" y="45"/>
                      </a:cubicBezTo>
                      <a:cubicBezTo>
                        <a:pt x="10" y="47"/>
                        <a:pt x="11" y="48"/>
                        <a:pt x="13" y="48"/>
                      </a:cubicBezTo>
                      <a:cubicBezTo>
                        <a:pt x="45" y="48"/>
                        <a:pt x="45" y="48"/>
                        <a:pt x="45" y="48"/>
                      </a:cubicBezTo>
                      <a:cubicBezTo>
                        <a:pt x="47" y="48"/>
                        <a:pt x="48" y="47"/>
                        <a:pt x="48" y="45"/>
                      </a:cubicBezTo>
                      <a:cubicBezTo>
                        <a:pt x="48" y="13"/>
                        <a:pt x="48" y="13"/>
                        <a:pt x="48" y="13"/>
                      </a:cubicBezTo>
                      <a:cubicBezTo>
                        <a:pt x="48" y="11"/>
                        <a:pt x="47" y="10"/>
                        <a:pt x="45" y="10"/>
                      </a:cubicBezTo>
                      <a:lnTo>
                        <a:pt x="13"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8" name="Freeform 141"/>
                <p:cNvSpPr>
                  <a:spLocks noEditPoints="1"/>
                </p:cNvSpPr>
                <p:nvPr/>
              </p:nvSpPr>
              <p:spPr bwMode="auto">
                <a:xfrm>
                  <a:off x="1538287" y="3474102"/>
                  <a:ext cx="97073" cy="97073"/>
                </a:xfrm>
                <a:custGeom>
                  <a:avLst/>
                  <a:gdLst>
                    <a:gd name="T0" fmla="*/ 45 w 58"/>
                    <a:gd name="T1" fmla="*/ 58 h 58"/>
                    <a:gd name="T2" fmla="*/ 13 w 58"/>
                    <a:gd name="T3" fmla="*/ 58 h 58"/>
                    <a:gd name="T4" fmla="*/ 0 w 58"/>
                    <a:gd name="T5" fmla="*/ 45 h 58"/>
                    <a:gd name="T6" fmla="*/ 0 w 58"/>
                    <a:gd name="T7" fmla="*/ 13 h 58"/>
                    <a:gd name="T8" fmla="*/ 13 w 58"/>
                    <a:gd name="T9" fmla="*/ 0 h 58"/>
                    <a:gd name="T10" fmla="*/ 45 w 58"/>
                    <a:gd name="T11" fmla="*/ 0 h 58"/>
                    <a:gd name="T12" fmla="*/ 58 w 58"/>
                    <a:gd name="T13" fmla="*/ 13 h 58"/>
                    <a:gd name="T14" fmla="*/ 58 w 58"/>
                    <a:gd name="T15" fmla="*/ 45 h 58"/>
                    <a:gd name="T16" fmla="*/ 45 w 58"/>
                    <a:gd name="T17" fmla="*/ 58 h 58"/>
                    <a:gd name="T18" fmla="*/ 13 w 58"/>
                    <a:gd name="T19" fmla="*/ 10 h 58"/>
                    <a:gd name="T20" fmla="*/ 10 w 58"/>
                    <a:gd name="T21" fmla="*/ 13 h 58"/>
                    <a:gd name="T22" fmla="*/ 10 w 58"/>
                    <a:gd name="T23" fmla="*/ 45 h 58"/>
                    <a:gd name="T24" fmla="*/ 13 w 58"/>
                    <a:gd name="T25" fmla="*/ 48 h 58"/>
                    <a:gd name="T26" fmla="*/ 45 w 58"/>
                    <a:gd name="T27" fmla="*/ 48 h 58"/>
                    <a:gd name="T28" fmla="*/ 48 w 58"/>
                    <a:gd name="T29" fmla="*/ 45 h 58"/>
                    <a:gd name="T30" fmla="*/ 48 w 58"/>
                    <a:gd name="T31" fmla="*/ 13 h 58"/>
                    <a:gd name="T32" fmla="*/ 45 w 58"/>
                    <a:gd name="T33" fmla="*/ 10 h 58"/>
                    <a:gd name="T34" fmla="*/ 13 w 58"/>
                    <a:gd name="T35"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58">
                      <a:moveTo>
                        <a:pt x="45" y="58"/>
                      </a:moveTo>
                      <a:cubicBezTo>
                        <a:pt x="13" y="58"/>
                        <a:pt x="13" y="58"/>
                        <a:pt x="13" y="58"/>
                      </a:cubicBezTo>
                      <a:cubicBezTo>
                        <a:pt x="6" y="58"/>
                        <a:pt x="0" y="52"/>
                        <a:pt x="0" y="45"/>
                      </a:cubicBezTo>
                      <a:cubicBezTo>
                        <a:pt x="0" y="13"/>
                        <a:pt x="0" y="13"/>
                        <a:pt x="0" y="13"/>
                      </a:cubicBezTo>
                      <a:cubicBezTo>
                        <a:pt x="0" y="6"/>
                        <a:pt x="6" y="0"/>
                        <a:pt x="13" y="0"/>
                      </a:cubicBezTo>
                      <a:cubicBezTo>
                        <a:pt x="45" y="0"/>
                        <a:pt x="45" y="0"/>
                        <a:pt x="45" y="0"/>
                      </a:cubicBezTo>
                      <a:cubicBezTo>
                        <a:pt x="52" y="0"/>
                        <a:pt x="58" y="6"/>
                        <a:pt x="58" y="13"/>
                      </a:cubicBezTo>
                      <a:cubicBezTo>
                        <a:pt x="58" y="45"/>
                        <a:pt x="58" y="45"/>
                        <a:pt x="58" y="45"/>
                      </a:cubicBezTo>
                      <a:cubicBezTo>
                        <a:pt x="58" y="52"/>
                        <a:pt x="52" y="58"/>
                        <a:pt x="45" y="58"/>
                      </a:cubicBezTo>
                      <a:close/>
                      <a:moveTo>
                        <a:pt x="13" y="10"/>
                      </a:moveTo>
                      <a:cubicBezTo>
                        <a:pt x="11" y="10"/>
                        <a:pt x="10" y="11"/>
                        <a:pt x="10" y="13"/>
                      </a:cubicBezTo>
                      <a:cubicBezTo>
                        <a:pt x="10" y="45"/>
                        <a:pt x="10" y="45"/>
                        <a:pt x="10" y="45"/>
                      </a:cubicBezTo>
                      <a:cubicBezTo>
                        <a:pt x="10" y="47"/>
                        <a:pt x="11" y="48"/>
                        <a:pt x="13" y="48"/>
                      </a:cubicBezTo>
                      <a:cubicBezTo>
                        <a:pt x="45" y="48"/>
                        <a:pt x="45" y="48"/>
                        <a:pt x="45" y="48"/>
                      </a:cubicBezTo>
                      <a:cubicBezTo>
                        <a:pt x="47" y="48"/>
                        <a:pt x="48" y="47"/>
                        <a:pt x="48" y="45"/>
                      </a:cubicBezTo>
                      <a:cubicBezTo>
                        <a:pt x="48" y="13"/>
                        <a:pt x="48" y="13"/>
                        <a:pt x="48" y="13"/>
                      </a:cubicBezTo>
                      <a:cubicBezTo>
                        <a:pt x="48" y="11"/>
                        <a:pt x="47" y="10"/>
                        <a:pt x="45" y="10"/>
                      </a:cubicBezTo>
                      <a:lnTo>
                        <a:pt x="13"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19" name="Freeform 142"/>
                <p:cNvSpPr>
                  <a:spLocks noEditPoints="1"/>
                </p:cNvSpPr>
                <p:nvPr/>
              </p:nvSpPr>
              <p:spPr bwMode="auto">
                <a:xfrm>
                  <a:off x="1431294" y="3367109"/>
                  <a:ext cx="97073" cy="97073"/>
                </a:xfrm>
                <a:custGeom>
                  <a:avLst/>
                  <a:gdLst>
                    <a:gd name="T0" fmla="*/ 45 w 58"/>
                    <a:gd name="T1" fmla="*/ 58 h 58"/>
                    <a:gd name="T2" fmla="*/ 13 w 58"/>
                    <a:gd name="T3" fmla="*/ 58 h 58"/>
                    <a:gd name="T4" fmla="*/ 0 w 58"/>
                    <a:gd name="T5" fmla="*/ 45 h 58"/>
                    <a:gd name="T6" fmla="*/ 0 w 58"/>
                    <a:gd name="T7" fmla="*/ 13 h 58"/>
                    <a:gd name="T8" fmla="*/ 13 w 58"/>
                    <a:gd name="T9" fmla="*/ 0 h 58"/>
                    <a:gd name="T10" fmla="*/ 45 w 58"/>
                    <a:gd name="T11" fmla="*/ 0 h 58"/>
                    <a:gd name="T12" fmla="*/ 58 w 58"/>
                    <a:gd name="T13" fmla="*/ 13 h 58"/>
                    <a:gd name="T14" fmla="*/ 58 w 58"/>
                    <a:gd name="T15" fmla="*/ 45 h 58"/>
                    <a:gd name="T16" fmla="*/ 45 w 58"/>
                    <a:gd name="T17" fmla="*/ 58 h 58"/>
                    <a:gd name="T18" fmla="*/ 13 w 58"/>
                    <a:gd name="T19" fmla="*/ 10 h 58"/>
                    <a:gd name="T20" fmla="*/ 10 w 58"/>
                    <a:gd name="T21" fmla="*/ 13 h 58"/>
                    <a:gd name="T22" fmla="*/ 10 w 58"/>
                    <a:gd name="T23" fmla="*/ 45 h 58"/>
                    <a:gd name="T24" fmla="*/ 13 w 58"/>
                    <a:gd name="T25" fmla="*/ 48 h 58"/>
                    <a:gd name="T26" fmla="*/ 45 w 58"/>
                    <a:gd name="T27" fmla="*/ 48 h 58"/>
                    <a:gd name="T28" fmla="*/ 48 w 58"/>
                    <a:gd name="T29" fmla="*/ 45 h 58"/>
                    <a:gd name="T30" fmla="*/ 48 w 58"/>
                    <a:gd name="T31" fmla="*/ 13 h 58"/>
                    <a:gd name="T32" fmla="*/ 45 w 58"/>
                    <a:gd name="T33" fmla="*/ 10 h 58"/>
                    <a:gd name="T34" fmla="*/ 13 w 58"/>
                    <a:gd name="T35"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58">
                      <a:moveTo>
                        <a:pt x="45" y="58"/>
                      </a:moveTo>
                      <a:cubicBezTo>
                        <a:pt x="13" y="58"/>
                        <a:pt x="13" y="58"/>
                        <a:pt x="13" y="58"/>
                      </a:cubicBezTo>
                      <a:cubicBezTo>
                        <a:pt x="6" y="58"/>
                        <a:pt x="0" y="52"/>
                        <a:pt x="0" y="45"/>
                      </a:cubicBezTo>
                      <a:cubicBezTo>
                        <a:pt x="0" y="13"/>
                        <a:pt x="0" y="13"/>
                        <a:pt x="0" y="13"/>
                      </a:cubicBezTo>
                      <a:cubicBezTo>
                        <a:pt x="0" y="6"/>
                        <a:pt x="6" y="0"/>
                        <a:pt x="13" y="0"/>
                      </a:cubicBezTo>
                      <a:cubicBezTo>
                        <a:pt x="45" y="0"/>
                        <a:pt x="45" y="0"/>
                        <a:pt x="45" y="0"/>
                      </a:cubicBezTo>
                      <a:cubicBezTo>
                        <a:pt x="52" y="0"/>
                        <a:pt x="58" y="6"/>
                        <a:pt x="58" y="13"/>
                      </a:cubicBezTo>
                      <a:cubicBezTo>
                        <a:pt x="58" y="45"/>
                        <a:pt x="58" y="45"/>
                        <a:pt x="58" y="45"/>
                      </a:cubicBezTo>
                      <a:cubicBezTo>
                        <a:pt x="58" y="52"/>
                        <a:pt x="52" y="58"/>
                        <a:pt x="45" y="58"/>
                      </a:cubicBezTo>
                      <a:close/>
                      <a:moveTo>
                        <a:pt x="13" y="10"/>
                      </a:moveTo>
                      <a:cubicBezTo>
                        <a:pt x="11" y="10"/>
                        <a:pt x="10" y="11"/>
                        <a:pt x="10" y="13"/>
                      </a:cubicBezTo>
                      <a:cubicBezTo>
                        <a:pt x="10" y="45"/>
                        <a:pt x="10" y="45"/>
                        <a:pt x="10" y="45"/>
                      </a:cubicBezTo>
                      <a:cubicBezTo>
                        <a:pt x="10" y="47"/>
                        <a:pt x="11" y="48"/>
                        <a:pt x="13" y="48"/>
                      </a:cubicBezTo>
                      <a:cubicBezTo>
                        <a:pt x="45" y="48"/>
                        <a:pt x="45" y="48"/>
                        <a:pt x="45" y="48"/>
                      </a:cubicBezTo>
                      <a:cubicBezTo>
                        <a:pt x="47" y="48"/>
                        <a:pt x="48" y="47"/>
                        <a:pt x="48" y="45"/>
                      </a:cubicBezTo>
                      <a:cubicBezTo>
                        <a:pt x="48" y="13"/>
                        <a:pt x="48" y="13"/>
                        <a:pt x="48" y="13"/>
                      </a:cubicBezTo>
                      <a:cubicBezTo>
                        <a:pt x="48" y="11"/>
                        <a:pt x="47" y="10"/>
                        <a:pt x="45" y="10"/>
                      </a:cubicBezTo>
                      <a:lnTo>
                        <a:pt x="13"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20" name="Freeform 143"/>
                <p:cNvSpPr>
                  <a:spLocks noEditPoints="1"/>
                </p:cNvSpPr>
                <p:nvPr/>
              </p:nvSpPr>
              <p:spPr bwMode="auto">
                <a:xfrm>
                  <a:off x="1431294" y="3474102"/>
                  <a:ext cx="97073" cy="97073"/>
                </a:xfrm>
                <a:custGeom>
                  <a:avLst/>
                  <a:gdLst>
                    <a:gd name="T0" fmla="*/ 45 w 58"/>
                    <a:gd name="T1" fmla="*/ 58 h 58"/>
                    <a:gd name="T2" fmla="*/ 13 w 58"/>
                    <a:gd name="T3" fmla="*/ 58 h 58"/>
                    <a:gd name="T4" fmla="*/ 0 w 58"/>
                    <a:gd name="T5" fmla="*/ 45 h 58"/>
                    <a:gd name="T6" fmla="*/ 0 w 58"/>
                    <a:gd name="T7" fmla="*/ 13 h 58"/>
                    <a:gd name="T8" fmla="*/ 13 w 58"/>
                    <a:gd name="T9" fmla="*/ 0 h 58"/>
                    <a:gd name="T10" fmla="*/ 45 w 58"/>
                    <a:gd name="T11" fmla="*/ 0 h 58"/>
                    <a:gd name="T12" fmla="*/ 58 w 58"/>
                    <a:gd name="T13" fmla="*/ 13 h 58"/>
                    <a:gd name="T14" fmla="*/ 58 w 58"/>
                    <a:gd name="T15" fmla="*/ 45 h 58"/>
                    <a:gd name="T16" fmla="*/ 45 w 58"/>
                    <a:gd name="T17" fmla="*/ 58 h 58"/>
                    <a:gd name="T18" fmla="*/ 13 w 58"/>
                    <a:gd name="T19" fmla="*/ 10 h 58"/>
                    <a:gd name="T20" fmla="*/ 10 w 58"/>
                    <a:gd name="T21" fmla="*/ 13 h 58"/>
                    <a:gd name="T22" fmla="*/ 10 w 58"/>
                    <a:gd name="T23" fmla="*/ 45 h 58"/>
                    <a:gd name="T24" fmla="*/ 13 w 58"/>
                    <a:gd name="T25" fmla="*/ 48 h 58"/>
                    <a:gd name="T26" fmla="*/ 45 w 58"/>
                    <a:gd name="T27" fmla="*/ 48 h 58"/>
                    <a:gd name="T28" fmla="*/ 48 w 58"/>
                    <a:gd name="T29" fmla="*/ 45 h 58"/>
                    <a:gd name="T30" fmla="*/ 48 w 58"/>
                    <a:gd name="T31" fmla="*/ 13 h 58"/>
                    <a:gd name="T32" fmla="*/ 45 w 58"/>
                    <a:gd name="T33" fmla="*/ 10 h 58"/>
                    <a:gd name="T34" fmla="*/ 13 w 58"/>
                    <a:gd name="T35"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8" h="58">
                      <a:moveTo>
                        <a:pt x="45" y="58"/>
                      </a:moveTo>
                      <a:cubicBezTo>
                        <a:pt x="13" y="58"/>
                        <a:pt x="13" y="58"/>
                        <a:pt x="13" y="58"/>
                      </a:cubicBezTo>
                      <a:cubicBezTo>
                        <a:pt x="6" y="58"/>
                        <a:pt x="0" y="52"/>
                        <a:pt x="0" y="45"/>
                      </a:cubicBezTo>
                      <a:cubicBezTo>
                        <a:pt x="0" y="13"/>
                        <a:pt x="0" y="13"/>
                        <a:pt x="0" y="13"/>
                      </a:cubicBezTo>
                      <a:cubicBezTo>
                        <a:pt x="0" y="6"/>
                        <a:pt x="6" y="0"/>
                        <a:pt x="13" y="0"/>
                      </a:cubicBezTo>
                      <a:cubicBezTo>
                        <a:pt x="45" y="0"/>
                        <a:pt x="45" y="0"/>
                        <a:pt x="45" y="0"/>
                      </a:cubicBezTo>
                      <a:cubicBezTo>
                        <a:pt x="52" y="0"/>
                        <a:pt x="58" y="6"/>
                        <a:pt x="58" y="13"/>
                      </a:cubicBezTo>
                      <a:cubicBezTo>
                        <a:pt x="58" y="45"/>
                        <a:pt x="58" y="45"/>
                        <a:pt x="58" y="45"/>
                      </a:cubicBezTo>
                      <a:cubicBezTo>
                        <a:pt x="58" y="52"/>
                        <a:pt x="52" y="58"/>
                        <a:pt x="45" y="58"/>
                      </a:cubicBezTo>
                      <a:close/>
                      <a:moveTo>
                        <a:pt x="13" y="10"/>
                      </a:moveTo>
                      <a:cubicBezTo>
                        <a:pt x="11" y="10"/>
                        <a:pt x="10" y="11"/>
                        <a:pt x="10" y="13"/>
                      </a:cubicBezTo>
                      <a:cubicBezTo>
                        <a:pt x="10" y="45"/>
                        <a:pt x="10" y="45"/>
                        <a:pt x="10" y="45"/>
                      </a:cubicBezTo>
                      <a:cubicBezTo>
                        <a:pt x="10" y="47"/>
                        <a:pt x="11" y="48"/>
                        <a:pt x="13" y="48"/>
                      </a:cubicBezTo>
                      <a:cubicBezTo>
                        <a:pt x="45" y="48"/>
                        <a:pt x="45" y="48"/>
                        <a:pt x="45" y="48"/>
                      </a:cubicBezTo>
                      <a:cubicBezTo>
                        <a:pt x="47" y="48"/>
                        <a:pt x="48" y="47"/>
                        <a:pt x="48" y="45"/>
                      </a:cubicBezTo>
                      <a:cubicBezTo>
                        <a:pt x="48" y="13"/>
                        <a:pt x="48" y="13"/>
                        <a:pt x="48" y="13"/>
                      </a:cubicBezTo>
                      <a:cubicBezTo>
                        <a:pt x="48" y="11"/>
                        <a:pt x="47" y="10"/>
                        <a:pt x="45" y="10"/>
                      </a:cubicBezTo>
                      <a:lnTo>
                        <a:pt x="13"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j-lt"/>
                  </a:endParaRPr>
                </a:p>
              </p:txBody>
            </p:sp>
          </p:grpSp>
        </p:grpSp>
      </p:grpSp>
      <p:sp>
        <p:nvSpPr>
          <p:cNvPr id="142" name="Freeform 473"/>
          <p:cNvSpPr>
            <a:spLocks noEditPoints="1"/>
          </p:cNvSpPr>
          <p:nvPr/>
        </p:nvSpPr>
        <p:spPr bwMode="auto">
          <a:xfrm>
            <a:off x="5566743" y="1311275"/>
            <a:ext cx="515814" cy="179867"/>
          </a:xfrm>
          <a:custGeom>
            <a:avLst/>
            <a:gdLst/>
            <a:ahLst/>
            <a:cxnLst>
              <a:cxn ang="0">
                <a:pos x="3744" y="1658"/>
              </a:cxn>
              <a:cxn ang="0">
                <a:pos x="1464" y="1486"/>
              </a:cxn>
              <a:cxn ang="0">
                <a:pos x="1256" y="1686"/>
              </a:cxn>
              <a:cxn ang="0">
                <a:pos x="970" y="1710"/>
              </a:cxn>
              <a:cxn ang="0">
                <a:pos x="702" y="1514"/>
              </a:cxn>
              <a:cxn ang="0">
                <a:pos x="214" y="1398"/>
              </a:cxn>
              <a:cxn ang="0">
                <a:pos x="28" y="1182"/>
              </a:cxn>
              <a:cxn ang="0">
                <a:pos x="22" y="850"/>
              </a:cxn>
              <a:cxn ang="0">
                <a:pos x="92" y="622"/>
              </a:cxn>
              <a:cxn ang="0">
                <a:pos x="88" y="444"/>
              </a:cxn>
              <a:cxn ang="0">
                <a:pos x="274" y="354"/>
              </a:cxn>
              <a:cxn ang="0">
                <a:pos x="814" y="258"/>
              </a:cxn>
              <a:cxn ang="0">
                <a:pos x="1448" y="40"/>
              </a:cxn>
              <a:cxn ang="0">
                <a:pos x="2448" y="8"/>
              </a:cxn>
              <a:cxn ang="0">
                <a:pos x="3064" y="160"/>
              </a:cxn>
              <a:cxn ang="0">
                <a:pos x="3562" y="480"/>
              </a:cxn>
              <a:cxn ang="0">
                <a:pos x="4596" y="694"/>
              </a:cxn>
              <a:cxn ang="0">
                <a:pos x="4894" y="898"/>
              </a:cxn>
              <a:cxn ang="0">
                <a:pos x="4934" y="1208"/>
              </a:cxn>
              <a:cxn ang="0">
                <a:pos x="4828" y="1422"/>
              </a:cxn>
              <a:cxn ang="0">
                <a:pos x="4318" y="1486"/>
              </a:cxn>
              <a:cxn ang="0">
                <a:pos x="4178" y="1650"/>
              </a:cxn>
              <a:cxn ang="0">
                <a:pos x="3956" y="1012"/>
              </a:cxn>
              <a:cxn ang="0">
                <a:pos x="3740" y="1120"/>
              </a:cxn>
              <a:cxn ang="0">
                <a:pos x="3678" y="1350"/>
              </a:cxn>
              <a:cxn ang="0">
                <a:pos x="3770" y="1532"/>
              </a:cxn>
              <a:cxn ang="0">
                <a:pos x="3956" y="1608"/>
              </a:cxn>
              <a:cxn ang="0">
                <a:pos x="4156" y="1516"/>
              </a:cxn>
              <a:cxn ang="0">
                <a:pos x="4234" y="1310"/>
              </a:cxn>
              <a:cxn ang="0">
                <a:pos x="4132" y="1080"/>
              </a:cxn>
              <a:cxn ang="0">
                <a:pos x="1078" y="1012"/>
              </a:cxn>
              <a:cxn ang="0">
                <a:pos x="814" y="1144"/>
              </a:cxn>
              <a:cxn ang="0">
                <a:pos x="766" y="1368"/>
              </a:cxn>
              <a:cxn ang="0">
                <a:pos x="934" y="1576"/>
              </a:cxn>
              <a:cxn ang="0">
                <a:pos x="1178" y="1592"/>
              </a:cxn>
              <a:cxn ang="0">
                <a:pos x="1362" y="1434"/>
              </a:cxn>
              <a:cxn ang="0">
                <a:pos x="1386" y="1250"/>
              </a:cxn>
              <a:cxn ang="0">
                <a:pos x="1200" y="1036"/>
              </a:cxn>
              <a:cxn ang="0">
                <a:pos x="4694" y="1346"/>
              </a:cxn>
              <a:cxn ang="0">
                <a:pos x="4806" y="1254"/>
              </a:cxn>
              <a:cxn ang="0">
                <a:pos x="4798" y="960"/>
              </a:cxn>
              <a:cxn ang="0">
                <a:pos x="4428" y="760"/>
              </a:cxn>
              <a:cxn ang="0">
                <a:pos x="3514" y="590"/>
              </a:cxn>
              <a:cxn ang="0">
                <a:pos x="3106" y="310"/>
              </a:cxn>
              <a:cxn ang="0">
                <a:pos x="2516" y="128"/>
              </a:cxn>
              <a:cxn ang="0">
                <a:pos x="1558" y="144"/>
              </a:cxn>
              <a:cxn ang="0">
                <a:pos x="920" y="336"/>
              </a:cxn>
              <a:cxn ang="0">
                <a:pos x="372" y="464"/>
              </a:cxn>
              <a:cxn ang="0">
                <a:pos x="186" y="502"/>
              </a:cxn>
              <a:cxn ang="0">
                <a:pos x="204" y="708"/>
              </a:cxn>
              <a:cxn ang="0">
                <a:pos x="122" y="936"/>
              </a:cxn>
              <a:cxn ang="0">
                <a:pos x="154" y="1184"/>
              </a:cxn>
              <a:cxn ang="0">
                <a:pos x="576" y="1200"/>
              </a:cxn>
              <a:cxn ang="0">
                <a:pos x="864" y="864"/>
              </a:cxn>
              <a:cxn ang="0">
                <a:pos x="1144" y="838"/>
              </a:cxn>
              <a:cxn ang="0">
                <a:pos x="1448" y="1050"/>
              </a:cxn>
              <a:cxn ang="0">
                <a:pos x="1532" y="1334"/>
              </a:cxn>
              <a:cxn ang="0">
                <a:pos x="3494" y="1206"/>
              </a:cxn>
              <a:cxn ang="0">
                <a:pos x="3776" y="868"/>
              </a:cxn>
              <a:cxn ang="0">
                <a:pos x="3992" y="828"/>
              </a:cxn>
              <a:cxn ang="0">
                <a:pos x="4274" y="944"/>
              </a:cxn>
              <a:cxn ang="0">
                <a:pos x="4450" y="1282"/>
              </a:cxn>
            </a:cxnLst>
            <a:rect l="0" t="0" r="r" b="b"/>
            <a:pathLst>
              <a:path w="4944" h="1724">
                <a:moveTo>
                  <a:pt x="3956" y="1724"/>
                </a:moveTo>
                <a:lnTo>
                  <a:pt x="3956" y="1724"/>
                </a:lnTo>
                <a:lnTo>
                  <a:pt x="3928" y="1722"/>
                </a:lnTo>
                <a:lnTo>
                  <a:pt x="3900" y="1720"/>
                </a:lnTo>
                <a:lnTo>
                  <a:pt x="3872" y="1714"/>
                </a:lnTo>
                <a:lnTo>
                  <a:pt x="3844" y="1706"/>
                </a:lnTo>
                <a:lnTo>
                  <a:pt x="3818" y="1698"/>
                </a:lnTo>
                <a:lnTo>
                  <a:pt x="3792" y="1686"/>
                </a:lnTo>
                <a:lnTo>
                  <a:pt x="3768" y="1674"/>
                </a:lnTo>
                <a:lnTo>
                  <a:pt x="3744" y="1658"/>
                </a:lnTo>
                <a:lnTo>
                  <a:pt x="3722" y="1642"/>
                </a:lnTo>
                <a:lnTo>
                  <a:pt x="3700" y="1624"/>
                </a:lnTo>
                <a:lnTo>
                  <a:pt x="3680" y="1604"/>
                </a:lnTo>
                <a:lnTo>
                  <a:pt x="3662" y="1584"/>
                </a:lnTo>
                <a:lnTo>
                  <a:pt x="3644" y="1562"/>
                </a:lnTo>
                <a:lnTo>
                  <a:pt x="3628" y="1538"/>
                </a:lnTo>
                <a:lnTo>
                  <a:pt x="3614" y="1512"/>
                </a:lnTo>
                <a:lnTo>
                  <a:pt x="3600" y="1486"/>
                </a:lnTo>
                <a:lnTo>
                  <a:pt x="1464" y="1486"/>
                </a:lnTo>
                <a:lnTo>
                  <a:pt x="1464" y="1486"/>
                </a:lnTo>
                <a:lnTo>
                  <a:pt x="1450" y="1512"/>
                </a:lnTo>
                <a:lnTo>
                  <a:pt x="1436" y="1538"/>
                </a:lnTo>
                <a:lnTo>
                  <a:pt x="1418" y="1562"/>
                </a:lnTo>
                <a:lnTo>
                  <a:pt x="1398" y="1584"/>
                </a:lnTo>
                <a:lnTo>
                  <a:pt x="1378" y="1604"/>
                </a:lnTo>
                <a:lnTo>
                  <a:pt x="1356" y="1624"/>
                </a:lnTo>
                <a:lnTo>
                  <a:pt x="1332" y="1642"/>
                </a:lnTo>
                <a:lnTo>
                  <a:pt x="1308" y="1658"/>
                </a:lnTo>
                <a:lnTo>
                  <a:pt x="1282" y="1674"/>
                </a:lnTo>
                <a:lnTo>
                  <a:pt x="1256" y="1686"/>
                </a:lnTo>
                <a:lnTo>
                  <a:pt x="1228" y="1698"/>
                </a:lnTo>
                <a:lnTo>
                  <a:pt x="1198" y="1706"/>
                </a:lnTo>
                <a:lnTo>
                  <a:pt x="1170" y="1714"/>
                </a:lnTo>
                <a:lnTo>
                  <a:pt x="1140" y="1720"/>
                </a:lnTo>
                <a:lnTo>
                  <a:pt x="1108" y="1722"/>
                </a:lnTo>
                <a:lnTo>
                  <a:pt x="1078" y="1724"/>
                </a:lnTo>
                <a:lnTo>
                  <a:pt x="1078" y="1724"/>
                </a:lnTo>
                <a:lnTo>
                  <a:pt x="1040" y="1722"/>
                </a:lnTo>
                <a:lnTo>
                  <a:pt x="1004" y="1718"/>
                </a:lnTo>
                <a:lnTo>
                  <a:pt x="970" y="1710"/>
                </a:lnTo>
                <a:lnTo>
                  <a:pt x="936" y="1702"/>
                </a:lnTo>
                <a:lnTo>
                  <a:pt x="904" y="1688"/>
                </a:lnTo>
                <a:lnTo>
                  <a:pt x="872" y="1674"/>
                </a:lnTo>
                <a:lnTo>
                  <a:pt x="842" y="1658"/>
                </a:lnTo>
                <a:lnTo>
                  <a:pt x="814" y="1638"/>
                </a:lnTo>
                <a:lnTo>
                  <a:pt x="788" y="1616"/>
                </a:lnTo>
                <a:lnTo>
                  <a:pt x="764" y="1594"/>
                </a:lnTo>
                <a:lnTo>
                  <a:pt x="740" y="1568"/>
                </a:lnTo>
                <a:lnTo>
                  <a:pt x="720" y="1542"/>
                </a:lnTo>
                <a:lnTo>
                  <a:pt x="702" y="1514"/>
                </a:lnTo>
                <a:lnTo>
                  <a:pt x="686" y="1482"/>
                </a:lnTo>
                <a:lnTo>
                  <a:pt x="672" y="1452"/>
                </a:lnTo>
                <a:lnTo>
                  <a:pt x="662" y="1418"/>
                </a:lnTo>
                <a:lnTo>
                  <a:pt x="612" y="1414"/>
                </a:lnTo>
                <a:lnTo>
                  <a:pt x="612" y="1414"/>
                </a:lnTo>
                <a:lnTo>
                  <a:pt x="522" y="1408"/>
                </a:lnTo>
                <a:lnTo>
                  <a:pt x="434" y="1402"/>
                </a:lnTo>
                <a:lnTo>
                  <a:pt x="346" y="1400"/>
                </a:lnTo>
                <a:lnTo>
                  <a:pt x="256" y="1398"/>
                </a:lnTo>
                <a:lnTo>
                  <a:pt x="214" y="1398"/>
                </a:lnTo>
                <a:lnTo>
                  <a:pt x="198" y="1342"/>
                </a:lnTo>
                <a:lnTo>
                  <a:pt x="116" y="1328"/>
                </a:lnTo>
                <a:lnTo>
                  <a:pt x="102" y="1314"/>
                </a:lnTo>
                <a:lnTo>
                  <a:pt x="102" y="1314"/>
                </a:lnTo>
                <a:lnTo>
                  <a:pt x="96" y="1306"/>
                </a:lnTo>
                <a:lnTo>
                  <a:pt x="80" y="1286"/>
                </a:lnTo>
                <a:lnTo>
                  <a:pt x="60" y="1252"/>
                </a:lnTo>
                <a:lnTo>
                  <a:pt x="50" y="1232"/>
                </a:lnTo>
                <a:lnTo>
                  <a:pt x="38" y="1208"/>
                </a:lnTo>
                <a:lnTo>
                  <a:pt x="28" y="1182"/>
                </a:lnTo>
                <a:lnTo>
                  <a:pt x="20" y="1152"/>
                </a:lnTo>
                <a:lnTo>
                  <a:pt x="12" y="1120"/>
                </a:lnTo>
                <a:lnTo>
                  <a:pt x="6" y="1086"/>
                </a:lnTo>
                <a:lnTo>
                  <a:pt x="2" y="1048"/>
                </a:lnTo>
                <a:lnTo>
                  <a:pt x="0" y="1008"/>
                </a:lnTo>
                <a:lnTo>
                  <a:pt x="2" y="964"/>
                </a:lnTo>
                <a:lnTo>
                  <a:pt x="8" y="918"/>
                </a:lnTo>
                <a:lnTo>
                  <a:pt x="8" y="918"/>
                </a:lnTo>
                <a:lnTo>
                  <a:pt x="14" y="882"/>
                </a:lnTo>
                <a:lnTo>
                  <a:pt x="22" y="850"/>
                </a:lnTo>
                <a:lnTo>
                  <a:pt x="30" y="822"/>
                </a:lnTo>
                <a:lnTo>
                  <a:pt x="40" y="798"/>
                </a:lnTo>
                <a:lnTo>
                  <a:pt x="56" y="756"/>
                </a:lnTo>
                <a:lnTo>
                  <a:pt x="72" y="724"/>
                </a:lnTo>
                <a:lnTo>
                  <a:pt x="72" y="724"/>
                </a:lnTo>
                <a:lnTo>
                  <a:pt x="88" y="694"/>
                </a:lnTo>
                <a:lnTo>
                  <a:pt x="92" y="680"/>
                </a:lnTo>
                <a:lnTo>
                  <a:pt x="94" y="664"/>
                </a:lnTo>
                <a:lnTo>
                  <a:pt x="94" y="646"/>
                </a:lnTo>
                <a:lnTo>
                  <a:pt x="92" y="622"/>
                </a:lnTo>
                <a:lnTo>
                  <a:pt x="86" y="596"/>
                </a:lnTo>
                <a:lnTo>
                  <a:pt x="76" y="562"/>
                </a:lnTo>
                <a:lnTo>
                  <a:pt x="76" y="562"/>
                </a:lnTo>
                <a:lnTo>
                  <a:pt x="72" y="540"/>
                </a:lnTo>
                <a:lnTo>
                  <a:pt x="68" y="520"/>
                </a:lnTo>
                <a:lnTo>
                  <a:pt x="70" y="502"/>
                </a:lnTo>
                <a:lnTo>
                  <a:pt x="72" y="484"/>
                </a:lnTo>
                <a:lnTo>
                  <a:pt x="76" y="470"/>
                </a:lnTo>
                <a:lnTo>
                  <a:pt x="82" y="456"/>
                </a:lnTo>
                <a:lnTo>
                  <a:pt x="88" y="444"/>
                </a:lnTo>
                <a:lnTo>
                  <a:pt x="94" y="434"/>
                </a:lnTo>
                <a:lnTo>
                  <a:pt x="94" y="434"/>
                </a:lnTo>
                <a:lnTo>
                  <a:pt x="102" y="424"/>
                </a:lnTo>
                <a:lnTo>
                  <a:pt x="112" y="414"/>
                </a:lnTo>
                <a:lnTo>
                  <a:pt x="124" y="406"/>
                </a:lnTo>
                <a:lnTo>
                  <a:pt x="136" y="396"/>
                </a:lnTo>
                <a:lnTo>
                  <a:pt x="162" y="382"/>
                </a:lnTo>
                <a:lnTo>
                  <a:pt x="194" y="370"/>
                </a:lnTo>
                <a:lnTo>
                  <a:pt x="232" y="360"/>
                </a:lnTo>
                <a:lnTo>
                  <a:pt x="274" y="354"/>
                </a:lnTo>
                <a:lnTo>
                  <a:pt x="320" y="350"/>
                </a:lnTo>
                <a:lnTo>
                  <a:pt x="372" y="348"/>
                </a:lnTo>
                <a:lnTo>
                  <a:pt x="372" y="348"/>
                </a:lnTo>
                <a:lnTo>
                  <a:pt x="436" y="350"/>
                </a:lnTo>
                <a:lnTo>
                  <a:pt x="496" y="354"/>
                </a:lnTo>
                <a:lnTo>
                  <a:pt x="544" y="360"/>
                </a:lnTo>
                <a:lnTo>
                  <a:pt x="580" y="364"/>
                </a:lnTo>
                <a:lnTo>
                  <a:pt x="580" y="364"/>
                </a:lnTo>
                <a:lnTo>
                  <a:pt x="712" y="302"/>
                </a:lnTo>
                <a:lnTo>
                  <a:pt x="814" y="258"/>
                </a:lnTo>
                <a:lnTo>
                  <a:pt x="924" y="208"/>
                </a:lnTo>
                <a:lnTo>
                  <a:pt x="1040" y="160"/>
                </a:lnTo>
                <a:lnTo>
                  <a:pt x="1150" y="116"/>
                </a:lnTo>
                <a:lnTo>
                  <a:pt x="1200" y="96"/>
                </a:lnTo>
                <a:lnTo>
                  <a:pt x="1246" y="80"/>
                </a:lnTo>
                <a:lnTo>
                  <a:pt x="1286" y="68"/>
                </a:lnTo>
                <a:lnTo>
                  <a:pt x="1320" y="60"/>
                </a:lnTo>
                <a:lnTo>
                  <a:pt x="1320" y="60"/>
                </a:lnTo>
                <a:lnTo>
                  <a:pt x="1372" y="50"/>
                </a:lnTo>
                <a:lnTo>
                  <a:pt x="1448" y="40"/>
                </a:lnTo>
                <a:lnTo>
                  <a:pt x="1540" y="30"/>
                </a:lnTo>
                <a:lnTo>
                  <a:pt x="1648" y="20"/>
                </a:lnTo>
                <a:lnTo>
                  <a:pt x="1768" y="12"/>
                </a:lnTo>
                <a:lnTo>
                  <a:pt x="1894" y="6"/>
                </a:lnTo>
                <a:lnTo>
                  <a:pt x="2026" y="0"/>
                </a:lnTo>
                <a:lnTo>
                  <a:pt x="2160" y="0"/>
                </a:lnTo>
                <a:lnTo>
                  <a:pt x="2160" y="0"/>
                </a:lnTo>
                <a:lnTo>
                  <a:pt x="2262" y="0"/>
                </a:lnTo>
                <a:lnTo>
                  <a:pt x="2358" y="2"/>
                </a:lnTo>
                <a:lnTo>
                  <a:pt x="2448" y="8"/>
                </a:lnTo>
                <a:lnTo>
                  <a:pt x="2532" y="14"/>
                </a:lnTo>
                <a:lnTo>
                  <a:pt x="2608" y="24"/>
                </a:lnTo>
                <a:lnTo>
                  <a:pt x="2680" y="34"/>
                </a:lnTo>
                <a:lnTo>
                  <a:pt x="2744" y="46"/>
                </a:lnTo>
                <a:lnTo>
                  <a:pt x="2800" y="60"/>
                </a:lnTo>
                <a:lnTo>
                  <a:pt x="2800" y="60"/>
                </a:lnTo>
                <a:lnTo>
                  <a:pt x="2868" y="80"/>
                </a:lnTo>
                <a:lnTo>
                  <a:pt x="2936" y="104"/>
                </a:lnTo>
                <a:lnTo>
                  <a:pt x="3000" y="132"/>
                </a:lnTo>
                <a:lnTo>
                  <a:pt x="3064" y="160"/>
                </a:lnTo>
                <a:lnTo>
                  <a:pt x="3124" y="190"/>
                </a:lnTo>
                <a:lnTo>
                  <a:pt x="3182" y="222"/>
                </a:lnTo>
                <a:lnTo>
                  <a:pt x="3238" y="254"/>
                </a:lnTo>
                <a:lnTo>
                  <a:pt x="3292" y="286"/>
                </a:lnTo>
                <a:lnTo>
                  <a:pt x="3340" y="316"/>
                </a:lnTo>
                <a:lnTo>
                  <a:pt x="3386" y="348"/>
                </a:lnTo>
                <a:lnTo>
                  <a:pt x="3464" y="404"/>
                </a:lnTo>
                <a:lnTo>
                  <a:pt x="3524" y="448"/>
                </a:lnTo>
                <a:lnTo>
                  <a:pt x="3562" y="480"/>
                </a:lnTo>
                <a:lnTo>
                  <a:pt x="3562" y="480"/>
                </a:lnTo>
                <a:lnTo>
                  <a:pt x="3642" y="490"/>
                </a:lnTo>
                <a:lnTo>
                  <a:pt x="3774" y="508"/>
                </a:lnTo>
                <a:lnTo>
                  <a:pt x="3940" y="536"/>
                </a:lnTo>
                <a:lnTo>
                  <a:pt x="4032" y="552"/>
                </a:lnTo>
                <a:lnTo>
                  <a:pt x="4128" y="572"/>
                </a:lnTo>
                <a:lnTo>
                  <a:pt x="4226" y="592"/>
                </a:lnTo>
                <a:lnTo>
                  <a:pt x="4322" y="614"/>
                </a:lnTo>
                <a:lnTo>
                  <a:pt x="4418" y="638"/>
                </a:lnTo>
                <a:lnTo>
                  <a:pt x="4510" y="664"/>
                </a:lnTo>
                <a:lnTo>
                  <a:pt x="4596" y="694"/>
                </a:lnTo>
                <a:lnTo>
                  <a:pt x="4674" y="724"/>
                </a:lnTo>
                <a:lnTo>
                  <a:pt x="4710" y="740"/>
                </a:lnTo>
                <a:lnTo>
                  <a:pt x="4744" y="756"/>
                </a:lnTo>
                <a:lnTo>
                  <a:pt x="4776" y="772"/>
                </a:lnTo>
                <a:lnTo>
                  <a:pt x="4804" y="788"/>
                </a:lnTo>
                <a:lnTo>
                  <a:pt x="4814" y="798"/>
                </a:lnTo>
                <a:lnTo>
                  <a:pt x="4814" y="798"/>
                </a:lnTo>
                <a:lnTo>
                  <a:pt x="4854" y="844"/>
                </a:lnTo>
                <a:lnTo>
                  <a:pt x="4874" y="870"/>
                </a:lnTo>
                <a:lnTo>
                  <a:pt x="4894" y="898"/>
                </a:lnTo>
                <a:lnTo>
                  <a:pt x="4912" y="926"/>
                </a:lnTo>
                <a:lnTo>
                  <a:pt x="4928" y="954"/>
                </a:lnTo>
                <a:lnTo>
                  <a:pt x="4938" y="982"/>
                </a:lnTo>
                <a:lnTo>
                  <a:pt x="4942" y="994"/>
                </a:lnTo>
                <a:lnTo>
                  <a:pt x="4944" y="1006"/>
                </a:lnTo>
                <a:lnTo>
                  <a:pt x="4944" y="1006"/>
                </a:lnTo>
                <a:lnTo>
                  <a:pt x="4944" y="1058"/>
                </a:lnTo>
                <a:lnTo>
                  <a:pt x="4942" y="1112"/>
                </a:lnTo>
                <a:lnTo>
                  <a:pt x="4938" y="1176"/>
                </a:lnTo>
                <a:lnTo>
                  <a:pt x="4934" y="1208"/>
                </a:lnTo>
                <a:lnTo>
                  <a:pt x="4926" y="1244"/>
                </a:lnTo>
                <a:lnTo>
                  <a:pt x="4918" y="1276"/>
                </a:lnTo>
                <a:lnTo>
                  <a:pt x="4908" y="1308"/>
                </a:lnTo>
                <a:lnTo>
                  <a:pt x="4896" y="1340"/>
                </a:lnTo>
                <a:lnTo>
                  <a:pt x="4880" y="1366"/>
                </a:lnTo>
                <a:lnTo>
                  <a:pt x="4872" y="1380"/>
                </a:lnTo>
                <a:lnTo>
                  <a:pt x="4862" y="1390"/>
                </a:lnTo>
                <a:lnTo>
                  <a:pt x="4852" y="1402"/>
                </a:lnTo>
                <a:lnTo>
                  <a:pt x="4842" y="1410"/>
                </a:lnTo>
                <a:lnTo>
                  <a:pt x="4828" y="1422"/>
                </a:lnTo>
                <a:lnTo>
                  <a:pt x="4810" y="1422"/>
                </a:lnTo>
                <a:lnTo>
                  <a:pt x="4810" y="1422"/>
                </a:lnTo>
                <a:lnTo>
                  <a:pt x="4802" y="1422"/>
                </a:lnTo>
                <a:lnTo>
                  <a:pt x="4782" y="1428"/>
                </a:lnTo>
                <a:lnTo>
                  <a:pt x="4772" y="1432"/>
                </a:lnTo>
                <a:lnTo>
                  <a:pt x="4760" y="1440"/>
                </a:lnTo>
                <a:lnTo>
                  <a:pt x="4750" y="1448"/>
                </a:lnTo>
                <a:lnTo>
                  <a:pt x="4742" y="1460"/>
                </a:lnTo>
                <a:lnTo>
                  <a:pt x="4724" y="1486"/>
                </a:lnTo>
                <a:lnTo>
                  <a:pt x="4318" y="1486"/>
                </a:lnTo>
                <a:lnTo>
                  <a:pt x="4322" y="1458"/>
                </a:lnTo>
                <a:lnTo>
                  <a:pt x="4322" y="1458"/>
                </a:lnTo>
                <a:lnTo>
                  <a:pt x="4310" y="1486"/>
                </a:lnTo>
                <a:lnTo>
                  <a:pt x="4296" y="1514"/>
                </a:lnTo>
                <a:lnTo>
                  <a:pt x="4280" y="1542"/>
                </a:lnTo>
                <a:lnTo>
                  <a:pt x="4262" y="1566"/>
                </a:lnTo>
                <a:lnTo>
                  <a:pt x="4244" y="1590"/>
                </a:lnTo>
                <a:lnTo>
                  <a:pt x="4222" y="1612"/>
                </a:lnTo>
                <a:lnTo>
                  <a:pt x="4200" y="1632"/>
                </a:lnTo>
                <a:lnTo>
                  <a:pt x="4178" y="1650"/>
                </a:lnTo>
                <a:lnTo>
                  <a:pt x="4152" y="1666"/>
                </a:lnTo>
                <a:lnTo>
                  <a:pt x="4128" y="1682"/>
                </a:lnTo>
                <a:lnTo>
                  <a:pt x="4100" y="1694"/>
                </a:lnTo>
                <a:lnTo>
                  <a:pt x="4072" y="1704"/>
                </a:lnTo>
                <a:lnTo>
                  <a:pt x="4044" y="1712"/>
                </a:lnTo>
                <a:lnTo>
                  <a:pt x="4016" y="1718"/>
                </a:lnTo>
                <a:lnTo>
                  <a:pt x="3986" y="1722"/>
                </a:lnTo>
                <a:lnTo>
                  <a:pt x="3956" y="1724"/>
                </a:lnTo>
                <a:lnTo>
                  <a:pt x="3956" y="1724"/>
                </a:lnTo>
                <a:close/>
                <a:moveTo>
                  <a:pt x="3956" y="1012"/>
                </a:moveTo>
                <a:lnTo>
                  <a:pt x="3956" y="1012"/>
                </a:lnTo>
                <a:lnTo>
                  <a:pt x="3928" y="1014"/>
                </a:lnTo>
                <a:lnTo>
                  <a:pt x="3900" y="1018"/>
                </a:lnTo>
                <a:lnTo>
                  <a:pt x="3872" y="1026"/>
                </a:lnTo>
                <a:lnTo>
                  <a:pt x="3848" y="1036"/>
                </a:lnTo>
                <a:lnTo>
                  <a:pt x="3822" y="1048"/>
                </a:lnTo>
                <a:lnTo>
                  <a:pt x="3800" y="1062"/>
                </a:lnTo>
                <a:lnTo>
                  <a:pt x="3778" y="1080"/>
                </a:lnTo>
                <a:lnTo>
                  <a:pt x="3758" y="1100"/>
                </a:lnTo>
                <a:lnTo>
                  <a:pt x="3740" y="1120"/>
                </a:lnTo>
                <a:lnTo>
                  <a:pt x="3724" y="1144"/>
                </a:lnTo>
                <a:lnTo>
                  <a:pt x="3710" y="1168"/>
                </a:lnTo>
                <a:lnTo>
                  <a:pt x="3698" y="1194"/>
                </a:lnTo>
                <a:lnTo>
                  <a:pt x="3688" y="1222"/>
                </a:lnTo>
                <a:lnTo>
                  <a:pt x="3682" y="1250"/>
                </a:lnTo>
                <a:lnTo>
                  <a:pt x="3678" y="1280"/>
                </a:lnTo>
                <a:lnTo>
                  <a:pt x="3676" y="1310"/>
                </a:lnTo>
                <a:lnTo>
                  <a:pt x="3676" y="1310"/>
                </a:lnTo>
                <a:lnTo>
                  <a:pt x="3676" y="1330"/>
                </a:lnTo>
                <a:lnTo>
                  <a:pt x="3678" y="1350"/>
                </a:lnTo>
                <a:lnTo>
                  <a:pt x="3682" y="1368"/>
                </a:lnTo>
                <a:lnTo>
                  <a:pt x="3688" y="1388"/>
                </a:lnTo>
                <a:lnTo>
                  <a:pt x="3688" y="1388"/>
                </a:lnTo>
                <a:lnTo>
                  <a:pt x="3694" y="1412"/>
                </a:lnTo>
                <a:lnTo>
                  <a:pt x="3704" y="1434"/>
                </a:lnTo>
                <a:lnTo>
                  <a:pt x="3714" y="1458"/>
                </a:lnTo>
                <a:lnTo>
                  <a:pt x="3726" y="1478"/>
                </a:lnTo>
                <a:lnTo>
                  <a:pt x="3740" y="1498"/>
                </a:lnTo>
                <a:lnTo>
                  <a:pt x="3754" y="1516"/>
                </a:lnTo>
                <a:lnTo>
                  <a:pt x="3770" y="1532"/>
                </a:lnTo>
                <a:lnTo>
                  <a:pt x="3786" y="1548"/>
                </a:lnTo>
                <a:lnTo>
                  <a:pt x="3806" y="1562"/>
                </a:lnTo>
                <a:lnTo>
                  <a:pt x="3824" y="1574"/>
                </a:lnTo>
                <a:lnTo>
                  <a:pt x="3844" y="1584"/>
                </a:lnTo>
                <a:lnTo>
                  <a:pt x="3866" y="1592"/>
                </a:lnTo>
                <a:lnTo>
                  <a:pt x="3886" y="1600"/>
                </a:lnTo>
                <a:lnTo>
                  <a:pt x="3910" y="1604"/>
                </a:lnTo>
                <a:lnTo>
                  <a:pt x="3932" y="1608"/>
                </a:lnTo>
                <a:lnTo>
                  <a:pt x="3956" y="1608"/>
                </a:lnTo>
                <a:lnTo>
                  <a:pt x="3956" y="1608"/>
                </a:lnTo>
                <a:lnTo>
                  <a:pt x="3980" y="1608"/>
                </a:lnTo>
                <a:lnTo>
                  <a:pt x="4002" y="1604"/>
                </a:lnTo>
                <a:lnTo>
                  <a:pt x="4024" y="1600"/>
                </a:lnTo>
                <a:lnTo>
                  <a:pt x="4046" y="1592"/>
                </a:lnTo>
                <a:lnTo>
                  <a:pt x="4066" y="1584"/>
                </a:lnTo>
                <a:lnTo>
                  <a:pt x="4086" y="1574"/>
                </a:lnTo>
                <a:lnTo>
                  <a:pt x="4106" y="1562"/>
                </a:lnTo>
                <a:lnTo>
                  <a:pt x="4124" y="1548"/>
                </a:lnTo>
                <a:lnTo>
                  <a:pt x="4140" y="1532"/>
                </a:lnTo>
                <a:lnTo>
                  <a:pt x="4156" y="1516"/>
                </a:lnTo>
                <a:lnTo>
                  <a:pt x="4172" y="1498"/>
                </a:lnTo>
                <a:lnTo>
                  <a:pt x="4184" y="1478"/>
                </a:lnTo>
                <a:lnTo>
                  <a:pt x="4196" y="1458"/>
                </a:lnTo>
                <a:lnTo>
                  <a:pt x="4208" y="1436"/>
                </a:lnTo>
                <a:lnTo>
                  <a:pt x="4216" y="1412"/>
                </a:lnTo>
                <a:lnTo>
                  <a:pt x="4224" y="1388"/>
                </a:lnTo>
                <a:lnTo>
                  <a:pt x="4224" y="1388"/>
                </a:lnTo>
                <a:lnTo>
                  <a:pt x="4232" y="1348"/>
                </a:lnTo>
                <a:lnTo>
                  <a:pt x="4234" y="1328"/>
                </a:lnTo>
                <a:lnTo>
                  <a:pt x="4234" y="1310"/>
                </a:lnTo>
                <a:lnTo>
                  <a:pt x="4234" y="1310"/>
                </a:lnTo>
                <a:lnTo>
                  <a:pt x="4232" y="1280"/>
                </a:lnTo>
                <a:lnTo>
                  <a:pt x="4228" y="1250"/>
                </a:lnTo>
                <a:lnTo>
                  <a:pt x="4222" y="1222"/>
                </a:lnTo>
                <a:lnTo>
                  <a:pt x="4212" y="1194"/>
                </a:lnTo>
                <a:lnTo>
                  <a:pt x="4200" y="1168"/>
                </a:lnTo>
                <a:lnTo>
                  <a:pt x="4186" y="1144"/>
                </a:lnTo>
                <a:lnTo>
                  <a:pt x="4170" y="1120"/>
                </a:lnTo>
                <a:lnTo>
                  <a:pt x="4152" y="1100"/>
                </a:lnTo>
                <a:lnTo>
                  <a:pt x="4132" y="1080"/>
                </a:lnTo>
                <a:lnTo>
                  <a:pt x="4112" y="1062"/>
                </a:lnTo>
                <a:lnTo>
                  <a:pt x="4088" y="1048"/>
                </a:lnTo>
                <a:lnTo>
                  <a:pt x="4064" y="1036"/>
                </a:lnTo>
                <a:lnTo>
                  <a:pt x="4038" y="1026"/>
                </a:lnTo>
                <a:lnTo>
                  <a:pt x="4012" y="1018"/>
                </a:lnTo>
                <a:lnTo>
                  <a:pt x="3984" y="1014"/>
                </a:lnTo>
                <a:lnTo>
                  <a:pt x="3956" y="1012"/>
                </a:lnTo>
                <a:lnTo>
                  <a:pt x="3956" y="1012"/>
                </a:lnTo>
                <a:close/>
                <a:moveTo>
                  <a:pt x="1078" y="1012"/>
                </a:moveTo>
                <a:lnTo>
                  <a:pt x="1078" y="1012"/>
                </a:lnTo>
                <a:lnTo>
                  <a:pt x="1044" y="1014"/>
                </a:lnTo>
                <a:lnTo>
                  <a:pt x="1014" y="1018"/>
                </a:lnTo>
                <a:lnTo>
                  <a:pt x="982" y="1026"/>
                </a:lnTo>
                <a:lnTo>
                  <a:pt x="954" y="1036"/>
                </a:lnTo>
                <a:lnTo>
                  <a:pt x="926" y="1048"/>
                </a:lnTo>
                <a:lnTo>
                  <a:pt x="900" y="1062"/>
                </a:lnTo>
                <a:lnTo>
                  <a:pt x="876" y="1080"/>
                </a:lnTo>
                <a:lnTo>
                  <a:pt x="852" y="1100"/>
                </a:lnTo>
                <a:lnTo>
                  <a:pt x="832" y="1120"/>
                </a:lnTo>
                <a:lnTo>
                  <a:pt x="814" y="1144"/>
                </a:lnTo>
                <a:lnTo>
                  <a:pt x="798" y="1168"/>
                </a:lnTo>
                <a:lnTo>
                  <a:pt x="784" y="1194"/>
                </a:lnTo>
                <a:lnTo>
                  <a:pt x="774" y="1222"/>
                </a:lnTo>
                <a:lnTo>
                  <a:pt x="766" y="1250"/>
                </a:lnTo>
                <a:lnTo>
                  <a:pt x="762" y="1280"/>
                </a:lnTo>
                <a:lnTo>
                  <a:pt x="760" y="1310"/>
                </a:lnTo>
                <a:lnTo>
                  <a:pt x="760" y="1310"/>
                </a:lnTo>
                <a:lnTo>
                  <a:pt x="762" y="1340"/>
                </a:lnTo>
                <a:lnTo>
                  <a:pt x="762" y="1340"/>
                </a:lnTo>
                <a:lnTo>
                  <a:pt x="766" y="1368"/>
                </a:lnTo>
                <a:lnTo>
                  <a:pt x="774" y="1396"/>
                </a:lnTo>
                <a:lnTo>
                  <a:pt x="782" y="1422"/>
                </a:lnTo>
                <a:lnTo>
                  <a:pt x="794" y="1446"/>
                </a:lnTo>
                <a:lnTo>
                  <a:pt x="808" y="1470"/>
                </a:lnTo>
                <a:lnTo>
                  <a:pt x="826" y="1492"/>
                </a:lnTo>
                <a:lnTo>
                  <a:pt x="844" y="1512"/>
                </a:lnTo>
                <a:lnTo>
                  <a:pt x="864" y="1532"/>
                </a:lnTo>
                <a:lnTo>
                  <a:pt x="886" y="1548"/>
                </a:lnTo>
                <a:lnTo>
                  <a:pt x="910" y="1564"/>
                </a:lnTo>
                <a:lnTo>
                  <a:pt x="934" y="1576"/>
                </a:lnTo>
                <a:lnTo>
                  <a:pt x="960" y="1588"/>
                </a:lnTo>
                <a:lnTo>
                  <a:pt x="988" y="1596"/>
                </a:lnTo>
                <a:lnTo>
                  <a:pt x="1018" y="1604"/>
                </a:lnTo>
                <a:lnTo>
                  <a:pt x="1046" y="1608"/>
                </a:lnTo>
                <a:lnTo>
                  <a:pt x="1078" y="1608"/>
                </a:lnTo>
                <a:lnTo>
                  <a:pt x="1078" y="1608"/>
                </a:lnTo>
                <a:lnTo>
                  <a:pt x="1104" y="1608"/>
                </a:lnTo>
                <a:lnTo>
                  <a:pt x="1130" y="1604"/>
                </a:lnTo>
                <a:lnTo>
                  <a:pt x="1154" y="1600"/>
                </a:lnTo>
                <a:lnTo>
                  <a:pt x="1178" y="1592"/>
                </a:lnTo>
                <a:lnTo>
                  <a:pt x="1202" y="1584"/>
                </a:lnTo>
                <a:lnTo>
                  <a:pt x="1226" y="1574"/>
                </a:lnTo>
                <a:lnTo>
                  <a:pt x="1246" y="1560"/>
                </a:lnTo>
                <a:lnTo>
                  <a:pt x="1268" y="1548"/>
                </a:lnTo>
                <a:lnTo>
                  <a:pt x="1286" y="1532"/>
                </a:lnTo>
                <a:lnTo>
                  <a:pt x="1304" y="1514"/>
                </a:lnTo>
                <a:lnTo>
                  <a:pt x="1322" y="1496"/>
                </a:lnTo>
                <a:lnTo>
                  <a:pt x="1336" y="1478"/>
                </a:lnTo>
                <a:lnTo>
                  <a:pt x="1350" y="1456"/>
                </a:lnTo>
                <a:lnTo>
                  <a:pt x="1362" y="1434"/>
                </a:lnTo>
                <a:lnTo>
                  <a:pt x="1372" y="1412"/>
                </a:lnTo>
                <a:lnTo>
                  <a:pt x="1380" y="1388"/>
                </a:lnTo>
                <a:lnTo>
                  <a:pt x="1380" y="1388"/>
                </a:lnTo>
                <a:lnTo>
                  <a:pt x="1386" y="1368"/>
                </a:lnTo>
                <a:lnTo>
                  <a:pt x="1390" y="1348"/>
                </a:lnTo>
                <a:lnTo>
                  <a:pt x="1392" y="1330"/>
                </a:lnTo>
                <a:lnTo>
                  <a:pt x="1392" y="1310"/>
                </a:lnTo>
                <a:lnTo>
                  <a:pt x="1392" y="1310"/>
                </a:lnTo>
                <a:lnTo>
                  <a:pt x="1390" y="1280"/>
                </a:lnTo>
                <a:lnTo>
                  <a:pt x="1386" y="1250"/>
                </a:lnTo>
                <a:lnTo>
                  <a:pt x="1378" y="1222"/>
                </a:lnTo>
                <a:lnTo>
                  <a:pt x="1368" y="1194"/>
                </a:lnTo>
                <a:lnTo>
                  <a:pt x="1354" y="1168"/>
                </a:lnTo>
                <a:lnTo>
                  <a:pt x="1338" y="1144"/>
                </a:lnTo>
                <a:lnTo>
                  <a:pt x="1320" y="1120"/>
                </a:lnTo>
                <a:lnTo>
                  <a:pt x="1300" y="1100"/>
                </a:lnTo>
                <a:lnTo>
                  <a:pt x="1278" y="1080"/>
                </a:lnTo>
                <a:lnTo>
                  <a:pt x="1254" y="1062"/>
                </a:lnTo>
                <a:lnTo>
                  <a:pt x="1228" y="1048"/>
                </a:lnTo>
                <a:lnTo>
                  <a:pt x="1200" y="1036"/>
                </a:lnTo>
                <a:lnTo>
                  <a:pt x="1170" y="1026"/>
                </a:lnTo>
                <a:lnTo>
                  <a:pt x="1140" y="1018"/>
                </a:lnTo>
                <a:lnTo>
                  <a:pt x="1110" y="1014"/>
                </a:lnTo>
                <a:lnTo>
                  <a:pt x="1078" y="1012"/>
                </a:lnTo>
                <a:lnTo>
                  <a:pt x="1078" y="1012"/>
                </a:lnTo>
                <a:close/>
                <a:moveTo>
                  <a:pt x="4450" y="1372"/>
                </a:moveTo>
                <a:lnTo>
                  <a:pt x="4664" y="1372"/>
                </a:lnTo>
                <a:lnTo>
                  <a:pt x="4664" y="1372"/>
                </a:lnTo>
                <a:lnTo>
                  <a:pt x="4678" y="1358"/>
                </a:lnTo>
                <a:lnTo>
                  <a:pt x="4694" y="1346"/>
                </a:lnTo>
                <a:lnTo>
                  <a:pt x="4710" y="1336"/>
                </a:lnTo>
                <a:lnTo>
                  <a:pt x="4726" y="1328"/>
                </a:lnTo>
                <a:lnTo>
                  <a:pt x="4740" y="1320"/>
                </a:lnTo>
                <a:lnTo>
                  <a:pt x="4756" y="1316"/>
                </a:lnTo>
                <a:lnTo>
                  <a:pt x="4780" y="1310"/>
                </a:lnTo>
                <a:lnTo>
                  <a:pt x="4780" y="1310"/>
                </a:lnTo>
                <a:lnTo>
                  <a:pt x="4788" y="1300"/>
                </a:lnTo>
                <a:lnTo>
                  <a:pt x="4794" y="1286"/>
                </a:lnTo>
                <a:lnTo>
                  <a:pt x="4800" y="1270"/>
                </a:lnTo>
                <a:lnTo>
                  <a:pt x="4806" y="1254"/>
                </a:lnTo>
                <a:lnTo>
                  <a:pt x="4816" y="1214"/>
                </a:lnTo>
                <a:lnTo>
                  <a:pt x="4822" y="1172"/>
                </a:lnTo>
                <a:lnTo>
                  <a:pt x="4826" y="1130"/>
                </a:lnTo>
                <a:lnTo>
                  <a:pt x="4830" y="1086"/>
                </a:lnTo>
                <a:lnTo>
                  <a:pt x="4830" y="1048"/>
                </a:lnTo>
                <a:lnTo>
                  <a:pt x="4828" y="1014"/>
                </a:lnTo>
                <a:lnTo>
                  <a:pt x="4828" y="1014"/>
                </a:lnTo>
                <a:lnTo>
                  <a:pt x="4826" y="1006"/>
                </a:lnTo>
                <a:lnTo>
                  <a:pt x="4818" y="992"/>
                </a:lnTo>
                <a:lnTo>
                  <a:pt x="4798" y="960"/>
                </a:lnTo>
                <a:lnTo>
                  <a:pt x="4768" y="922"/>
                </a:lnTo>
                <a:lnTo>
                  <a:pt x="4734" y="882"/>
                </a:lnTo>
                <a:lnTo>
                  <a:pt x="4734" y="882"/>
                </a:lnTo>
                <a:lnTo>
                  <a:pt x="4706" y="864"/>
                </a:lnTo>
                <a:lnTo>
                  <a:pt x="4674" y="848"/>
                </a:lnTo>
                <a:lnTo>
                  <a:pt x="4638" y="832"/>
                </a:lnTo>
                <a:lnTo>
                  <a:pt x="4602" y="816"/>
                </a:lnTo>
                <a:lnTo>
                  <a:pt x="4560" y="802"/>
                </a:lnTo>
                <a:lnTo>
                  <a:pt x="4518" y="788"/>
                </a:lnTo>
                <a:lnTo>
                  <a:pt x="4428" y="760"/>
                </a:lnTo>
                <a:lnTo>
                  <a:pt x="4332" y="734"/>
                </a:lnTo>
                <a:lnTo>
                  <a:pt x="4232" y="710"/>
                </a:lnTo>
                <a:lnTo>
                  <a:pt x="4130" y="688"/>
                </a:lnTo>
                <a:lnTo>
                  <a:pt x="4030" y="670"/>
                </a:lnTo>
                <a:lnTo>
                  <a:pt x="3932" y="652"/>
                </a:lnTo>
                <a:lnTo>
                  <a:pt x="3842" y="636"/>
                </a:lnTo>
                <a:lnTo>
                  <a:pt x="3684" y="612"/>
                </a:lnTo>
                <a:lnTo>
                  <a:pt x="3574" y="596"/>
                </a:lnTo>
                <a:lnTo>
                  <a:pt x="3532" y="592"/>
                </a:lnTo>
                <a:lnTo>
                  <a:pt x="3514" y="590"/>
                </a:lnTo>
                <a:lnTo>
                  <a:pt x="3500" y="578"/>
                </a:lnTo>
                <a:lnTo>
                  <a:pt x="3500" y="578"/>
                </a:lnTo>
                <a:lnTo>
                  <a:pt x="3484" y="564"/>
                </a:lnTo>
                <a:lnTo>
                  <a:pt x="3438" y="528"/>
                </a:lnTo>
                <a:lnTo>
                  <a:pt x="3368" y="476"/>
                </a:lnTo>
                <a:lnTo>
                  <a:pt x="3324" y="444"/>
                </a:lnTo>
                <a:lnTo>
                  <a:pt x="3276" y="412"/>
                </a:lnTo>
                <a:lnTo>
                  <a:pt x="3222" y="378"/>
                </a:lnTo>
                <a:lnTo>
                  <a:pt x="3166" y="344"/>
                </a:lnTo>
                <a:lnTo>
                  <a:pt x="3106" y="310"/>
                </a:lnTo>
                <a:lnTo>
                  <a:pt x="3042" y="278"/>
                </a:lnTo>
                <a:lnTo>
                  <a:pt x="2978" y="246"/>
                </a:lnTo>
                <a:lnTo>
                  <a:pt x="2910" y="218"/>
                </a:lnTo>
                <a:lnTo>
                  <a:pt x="2840" y="192"/>
                </a:lnTo>
                <a:lnTo>
                  <a:pt x="2770" y="172"/>
                </a:lnTo>
                <a:lnTo>
                  <a:pt x="2770" y="172"/>
                </a:lnTo>
                <a:lnTo>
                  <a:pt x="2716" y="158"/>
                </a:lnTo>
                <a:lnTo>
                  <a:pt x="2656" y="146"/>
                </a:lnTo>
                <a:lnTo>
                  <a:pt x="2590" y="136"/>
                </a:lnTo>
                <a:lnTo>
                  <a:pt x="2516" y="128"/>
                </a:lnTo>
                <a:lnTo>
                  <a:pt x="2436" y="122"/>
                </a:lnTo>
                <a:lnTo>
                  <a:pt x="2350" y="118"/>
                </a:lnTo>
                <a:lnTo>
                  <a:pt x="2258" y="116"/>
                </a:lnTo>
                <a:lnTo>
                  <a:pt x="2160" y="114"/>
                </a:lnTo>
                <a:lnTo>
                  <a:pt x="2160" y="114"/>
                </a:lnTo>
                <a:lnTo>
                  <a:pt x="2032" y="116"/>
                </a:lnTo>
                <a:lnTo>
                  <a:pt x="1902" y="120"/>
                </a:lnTo>
                <a:lnTo>
                  <a:pt x="1778" y="126"/>
                </a:lnTo>
                <a:lnTo>
                  <a:pt x="1662" y="134"/>
                </a:lnTo>
                <a:lnTo>
                  <a:pt x="1558" y="144"/>
                </a:lnTo>
                <a:lnTo>
                  <a:pt x="1468" y="152"/>
                </a:lnTo>
                <a:lnTo>
                  <a:pt x="1396" y="162"/>
                </a:lnTo>
                <a:lnTo>
                  <a:pt x="1344" y="172"/>
                </a:lnTo>
                <a:lnTo>
                  <a:pt x="1344" y="172"/>
                </a:lnTo>
                <a:lnTo>
                  <a:pt x="1310" y="180"/>
                </a:lnTo>
                <a:lnTo>
                  <a:pt x="1266" y="194"/>
                </a:lnTo>
                <a:lnTo>
                  <a:pt x="1216" y="212"/>
                </a:lnTo>
                <a:lnTo>
                  <a:pt x="1162" y="234"/>
                </a:lnTo>
                <a:lnTo>
                  <a:pt x="1042" y="282"/>
                </a:lnTo>
                <a:lnTo>
                  <a:pt x="920" y="336"/>
                </a:lnTo>
                <a:lnTo>
                  <a:pt x="706" y="432"/>
                </a:lnTo>
                <a:lnTo>
                  <a:pt x="612" y="476"/>
                </a:lnTo>
                <a:lnTo>
                  <a:pt x="596" y="484"/>
                </a:lnTo>
                <a:lnTo>
                  <a:pt x="578" y="480"/>
                </a:lnTo>
                <a:lnTo>
                  <a:pt x="578" y="480"/>
                </a:lnTo>
                <a:lnTo>
                  <a:pt x="560" y="478"/>
                </a:lnTo>
                <a:lnTo>
                  <a:pt x="514" y="472"/>
                </a:lnTo>
                <a:lnTo>
                  <a:pt x="448" y="466"/>
                </a:lnTo>
                <a:lnTo>
                  <a:pt x="410" y="464"/>
                </a:lnTo>
                <a:lnTo>
                  <a:pt x="372" y="464"/>
                </a:lnTo>
                <a:lnTo>
                  <a:pt x="372" y="464"/>
                </a:lnTo>
                <a:lnTo>
                  <a:pt x="332" y="464"/>
                </a:lnTo>
                <a:lnTo>
                  <a:pt x="296" y="468"/>
                </a:lnTo>
                <a:lnTo>
                  <a:pt x="266" y="472"/>
                </a:lnTo>
                <a:lnTo>
                  <a:pt x="240" y="476"/>
                </a:lnTo>
                <a:lnTo>
                  <a:pt x="220" y="482"/>
                </a:lnTo>
                <a:lnTo>
                  <a:pt x="206" y="490"/>
                </a:lnTo>
                <a:lnTo>
                  <a:pt x="194" y="496"/>
                </a:lnTo>
                <a:lnTo>
                  <a:pt x="186" y="502"/>
                </a:lnTo>
                <a:lnTo>
                  <a:pt x="186" y="502"/>
                </a:lnTo>
                <a:lnTo>
                  <a:pt x="186" y="506"/>
                </a:lnTo>
                <a:lnTo>
                  <a:pt x="184" y="510"/>
                </a:lnTo>
                <a:lnTo>
                  <a:pt x="184" y="518"/>
                </a:lnTo>
                <a:lnTo>
                  <a:pt x="186" y="528"/>
                </a:lnTo>
                <a:lnTo>
                  <a:pt x="186" y="528"/>
                </a:lnTo>
                <a:lnTo>
                  <a:pt x="200" y="576"/>
                </a:lnTo>
                <a:lnTo>
                  <a:pt x="206" y="616"/>
                </a:lnTo>
                <a:lnTo>
                  <a:pt x="210" y="650"/>
                </a:lnTo>
                <a:lnTo>
                  <a:pt x="208" y="680"/>
                </a:lnTo>
                <a:lnTo>
                  <a:pt x="204" y="708"/>
                </a:lnTo>
                <a:lnTo>
                  <a:pt x="196" y="732"/>
                </a:lnTo>
                <a:lnTo>
                  <a:pt x="186" y="754"/>
                </a:lnTo>
                <a:lnTo>
                  <a:pt x="174" y="778"/>
                </a:lnTo>
                <a:lnTo>
                  <a:pt x="174" y="778"/>
                </a:lnTo>
                <a:lnTo>
                  <a:pt x="160" y="806"/>
                </a:lnTo>
                <a:lnTo>
                  <a:pt x="146" y="840"/>
                </a:lnTo>
                <a:lnTo>
                  <a:pt x="140" y="858"/>
                </a:lnTo>
                <a:lnTo>
                  <a:pt x="132" y="882"/>
                </a:lnTo>
                <a:lnTo>
                  <a:pt x="126" y="908"/>
                </a:lnTo>
                <a:lnTo>
                  <a:pt x="122" y="936"/>
                </a:lnTo>
                <a:lnTo>
                  <a:pt x="122" y="936"/>
                </a:lnTo>
                <a:lnTo>
                  <a:pt x="118" y="966"/>
                </a:lnTo>
                <a:lnTo>
                  <a:pt x="116" y="992"/>
                </a:lnTo>
                <a:lnTo>
                  <a:pt x="116" y="1018"/>
                </a:lnTo>
                <a:lnTo>
                  <a:pt x="116" y="1042"/>
                </a:lnTo>
                <a:lnTo>
                  <a:pt x="118" y="1064"/>
                </a:lnTo>
                <a:lnTo>
                  <a:pt x="122" y="1086"/>
                </a:lnTo>
                <a:lnTo>
                  <a:pt x="130" y="1124"/>
                </a:lnTo>
                <a:lnTo>
                  <a:pt x="142" y="1158"/>
                </a:lnTo>
                <a:lnTo>
                  <a:pt x="154" y="1184"/>
                </a:lnTo>
                <a:lnTo>
                  <a:pt x="166" y="1206"/>
                </a:lnTo>
                <a:lnTo>
                  <a:pt x="176" y="1222"/>
                </a:lnTo>
                <a:lnTo>
                  <a:pt x="288" y="1242"/>
                </a:lnTo>
                <a:lnTo>
                  <a:pt x="300" y="1284"/>
                </a:lnTo>
                <a:lnTo>
                  <a:pt x="300" y="1284"/>
                </a:lnTo>
                <a:lnTo>
                  <a:pt x="430" y="1286"/>
                </a:lnTo>
                <a:lnTo>
                  <a:pt x="560" y="1294"/>
                </a:lnTo>
                <a:lnTo>
                  <a:pt x="560" y="1294"/>
                </a:lnTo>
                <a:lnTo>
                  <a:pt x="566" y="1246"/>
                </a:lnTo>
                <a:lnTo>
                  <a:pt x="576" y="1200"/>
                </a:lnTo>
                <a:lnTo>
                  <a:pt x="590" y="1154"/>
                </a:lnTo>
                <a:lnTo>
                  <a:pt x="608" y="1112"/>
                </a:lnTo>
                <a:lnTo>
                  <a:pt x="630" y="1070"/>
                </a:lnTo>
                <a:lnTo>
                  <a:pt x="654" y="1032"/>
                </a:lnTo>
                <a:lnTo>
                  <a:pt x="682" y="996"/>
                </a:lnTo>
                <a:lnTo>
                  <a:pt x="714" y="964"/>
                </a:lnTo>
                <a:lnTo>
                  <a:pt x="748" y="934"/>
                </a:lnTo>
                <a:lnTo>
                  <a:pt x="784" y="906"/>
                </a:lnTo>
                <a:lnTo>
                  <a:pt x="824" y="884"/>
                </a:lnTo>
                <a:lnTo>
                  <a:pt x="864" y="864"/>
                </a:lnTo>
                <a:lnTo>
                  <a:pt x="908" y="848"/>
                </a:lnTo>
                <a:lnTo>
                  <a:pt x="952" y="836"/>
                </a:lnTo>
                <a:lnTo>
                  <a:pt x="998" y="830"/>
                </a:lnTo>
                <a:lnTo>
                  <a:pt x="1022" y="828"/>
                </a:lnTo>
                <a:lnTo>
                  <a:pt x="1046" y="828"/>
                </a:lnTo>
                <a:lnTo>
                  <a:pt x="1046" y="828"/>
                </a:lnTo>
                <a:lnTo>
                  <a:pt x="1072" y="828"/>
                </a:lnTo>
                <a:lnTo>
                  <a:pt x="1096" y="830"/>
                </a:lnTo>
                <a:lnTo>
                  <a:pt x="1120" y="834"/>
                </a:lnTo>
                <a:lnTo>
                  <a:pt x="1144" y="838"/>
                </a:lnTo>
                <a:lnTo>
                  <a:pt x="1168" y="844"/>
                </a:lnTo>
                <a:lnTo>
                  <a:pt x="1190" y="850"/>
                </a:lnTo>
                <a:lnTo>
                  <a:pt x="1214" y="858"/>
                </a:lnTo>
                <a:lnTo>
                  <a:pt x="1236" y="868"/>
                </a:lnTo>
                <a:lnTo>
                  <a:pt x="1278" y="888"/>
                </a:lnTo>
                <a:lnTo>
                  <a:pt x="1318" y="914"/>
                </a:lnTo>
                <a:lnTo>
                  <a:pt x="1354" y="944"/>
                </a:lnTo>
                <a:lnTo>
                  <a:pt x="1390" y="976"/>
                </a:lnTo>
                <a:lnTo>
                  <a:pt x="1420" y="1012"/>
                </a:lnTo>
                <a:lnTo>
                  <a:pt x="1448" y="1050"/>
                </a:lnTo>
                <a:lnTo>
                  <a:pt x="1474" y="1092"/>
                </a:lnTo>
                <a:lnTo>
                  <a:pt x="1494" y="1136"/>
                </a:lnTo>
                <a:lnTo>
                  <a:pt x="1510" y="1182"/>
                </a:lnTo>
                <a:lnTo>
                  <a:pt x="1516" y="1206"/>
                </a:lnTo>
                <a:lnTo>
                  <a:pt x="1522" y="1232"/>
                </a:lnTo>
                <a:lnTo>
                  <a:pt x="1526" y="1256"/>
                </a:lnTo>
                <a:lnTo>
                  <a:pt x="1530" y="1282"/>
                </a:lnTo>
                <a:lnTo>
                  <a:pt x="1532" y="1308"/>
                </a:lnTo>
                <a:lnTo>
                  <a:pt x="1532" y="1334"/>
                </a:lnTo>
                <a:lnTo>
                  <a:pt x="1532" y="1334"/>
                </a:lnTo>
                <a:lnTo>
                  <a:pt x="1530" y="1372"/>
                </a:lnTo>
                <a:lnTo>
                  <a:pt x="3480" y="1372"/>
                </a:lnTo>
                <a:lnTo>
                  <a:pt x="3480" y="1372"/>
                </a:lnTo>
                <a:lnTo>
                  <a:pt x="3478" y="1334"/>
                </a:lnTo>
                <a:lnTo>
                  <a:pt x="3478" y="1334"/>
                </a:lnTo>
                <a:lnTo>
                  <a:pt x="3480" y="1308"/>
                </a:lnTo>
                <a:lnTo>
                  <a:pt x="3482" y="1282"/>
                </a:lnTo>
                <a:lnTo>
                  <a:pt x="3484" y="1256"/>
                </a:lnTo>
                <a:lnTo>
                  <a:pt x="3488" y="1232"/>
                </a:lnTo>
                <a:lnTo>
                  <a:pt x="3494" y="1206"/>
                </a:lnTo>
                <a:lnTo>
                  <a:pt x="3500" y="1182"/>
                </a:lnTo>
                <a:lnTo>
                  <a:pt x="3516" y="1136"/>
                </a:lnTo>
                <a:lnTo>
                  <a:pt x="3538" y="1092"/>
                </a:lnTo>
                <a:lnTo>
                  <a:pt x="3562" y="1050"/>
                </a:lnTo>
                <a:lnTo>
                  <a:pt x="3590" y="1012"/>
                </a:lnTo>
                <a:lnTo>
                  <a:pt x="3622" y="976"/>
                </a:lnTo>
                <a:lnTo>
                  <a:pt x="3656" y="944"/>
                </a:lnTo>
                <a:lnTo>
                  <a:pt x="3694" y="914"/>
                </a:lnTo>
                <a:lnTo>
                  <a:pt x="3734" y="888"/>
                </a:lnTo>
                <a:lnTo>
                  <a:pt x="3776" y="868"/>
                </a:lnTo>
                <a:lnTo>
                  <a:pt x="3798" y="858"/>
                </a:lnTo>
                <a:lnTo>
                  <a:pt x="3822" y="850"/>
                </a:lnTo>
                <a:lnTo>
                  <a:pt x="3844" y="844"/>
                </a:lnTo>
                <a:lnTo>
                  <a:pt x="3868" y="838"/>
                </a:lnTo>
                <a:lnTo>
                  <a:pt x="3892" y="834"/>
                </a:lnTo>
                <a:lnTo>
                  <a:pt x="3916" y="830"/>
                </a:lnTo>
                <a:lnTo>
                  <a:pt x="3942" y="828"/>
                </a:lnTo>
                <a:lnTo>
                  <a:pt x="3966" y="828"/>
                </a:lnTo>
                <a:lnTo>
                  <a:pt x="3966" y="828"/>
                </a:lnTo>
                <a:lnTo>
                  <a:pt x="3992" y="828"/>
                </a:lnTo>
                <a:lnTo>
                  <a:pt x="4016" y="830"/>
                </a:lnTo>
                <a:lnTo>
                  <a:pt x="4040" y="834"/>
                </a:lnTo>
                <a:lnTo>
                  <a:pt x="4064" y="838"/>
                </a:lnTo>
                <a:lnTo>
                  <a:pt x="4088" y="844"/>
                </a:lnTo>
                <a:lnTo>
                  <a:pt x="4110" y="850"/>
                </a:lnTo>
                <a:lnTo>
                  <a:pt x="4132" y="858"/>
                </a:lnTo>
                <a:lnTo>
                  <a:pt x="4154" y="868"/>
                </a:lnTo>
                <a:lnTo>
                  <a:pt x="4198" y="888"/>
                </a:lnTo>
                <a:lnTo>
                  <a:pt x="4238" y="914"/>
                </a:lnTo>
                <a:lnTo>
                  <a:pt x="4274" y="944"/>
                </a:lnTo>
                <a:lnTo>
                  <a:pt x="4310" y="976"/>
                </a:lnTo>
                <a:lnTo>
                  <a:pt x="4340" y="1012"/>
                </a:lnTo>
                <a:lnTo>
                  <a:pt x="4368" y="1050"/>
                </a:lnTo>
                <a:lnTo>
                  <a:pt x="4394" y="1092"/>
                </a:lnTo>
                <a:lnTo>
                  <a:pt x="4414" y="1136"/>
                </a:lnTo>
                <a:lnTo>
                  <a:pt x="4430" y="1182"/>
                </a:lnTo>
                <a:lnTo>
                  <a:pt x="4436" y="1206"/>
                </a:lnTo>
                <a:lnTo>
                  <a:pt x="4442" y="1232"/>
                </a:lnTo>
                <a:lnTo>
                  <a:pt x="4446" y="1256"/>
                </a:lnTo>
                <a:lnTo>
                  <a:pt x="4450" y="1282"/>
                </a:lnTo>
                <a:lnTo>
                  <a:pt x="4452" y="1308"/>
                </a:lnTo>
                <a:lnTo>
                  <a:pt x="4452" y="1334"/>
                </a:lnTo>
                <a:lnTo>
                  <a:pt x="4452" y="1334"/>
                </a:lnTo>
                <a:lnTo>
                  <a:pt x="4450" y="1372"/>
                </a:lnTo>
                <a:lnTo>
                  <a:pt x="4450" y="137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11" name="Freeform 6"/>
          <p:cNvSpPr>
            <a:spLocks/>
          </p:cNvSpPr>
          <p:nvPr/>
        </p:nvSpPr>
        <p:spPr bwMode="auto">
          <a:xfrm>
            <a:off x="3886201" y="1875692"/>
            <a:ext cx="1371600" cy="877888"/>
          </a:xfrm>
          <a:custGeom>
            <a:avLst/>
            <a:gdLst>
              <a:gd name="T0" fmla="*/ 2091 w 2650"/>
              <a:gd name="T1" fmla="*/ 592 h 1708"/>
              <a:gd name="T2" fmla="*/ 2091 w 2650"/>
              <a:gd name="T3" fmla="*/ 592 h 1708"/>
              <a:gd name="T4" fmla="*/ 1499 w 2650"/>
              <a:gd name="T5" fmla="*/ 0 h 1708"/>
              <a:gd name="T6" fmla="*/ 958 w 2650"/>
              <a:gd name="T7" fmla="*/ 350 h 1708"/>
              <a:gd name="T8" fmla="*/ 747 w 2650"/>
              <a:gd name="T9" fmla="*/ 251 h 1708"/>
              <a:gd name="T10" fmla="*/ 474 w 2650"/>
              <a:gd name="T11" fmla="*/ 524 h 1708"/>
              <a:gd name="T12" fmla="*/ 501 w 2650"/>
              <a:gd name="T13" fmla="*/ 642 h 1708"/>
              <a:gd name="T14" fmla="*/ 0 w 2650"/>
              <a:gd name="T15" fmla="*/ 1174 h 1708"/>
              <a:gd name="T16" fmla="*/ 533 w 2650"/>
              <a:gd name="T17" fmla="*/ 1708 h 1708"/>
              <a:gd name="T18" fmla="*/ 2091 w 2650"/>
              <a:gd name="T19" fmla="*/ 1708 h 1708"/>
              <a:gd name="T20" fmla="*/ 2650 w 2650"/>
              <a:gd name="T21" fmla="*/ 1150 h 1708"/>
              <a:gd name="T22" fmla="*/ 2091 w 2650"/>
              <a:gd name="T23" fmla="*/ 592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50" h="1708">
                <a:moveTo>
                  <a:pt x="2091" y="592"/>
                </a:moveTo>
                <a:cubicBezTo>
                  <a:pt x="2091" y="592"/>
                  <a:pt x="2091" y="592"/>
                  <a:pt x="2091" y="592"/>
                </a:cubicBezTo>
                <a:cubicBezTo>
                  <a:pt x="2091" y="265"/>
                  <a:pt x="1826" y="0"/>
                  <a:pt x="1499" y="0"/>
                </a:cubicBezTo>
                <a:cubicBezTo>
                  <a:pt x="1258" y="0"/>
                  <a:pt x="1050" y="143"/>
                  <a:pt x="958" y="350"/>
                </a:cubicBezTo>
                <a:cubicBezTo>
                  <a:pt x="908" y="289"/>
                  <a:pt x="832" y="251"/>
                  <a:pt x="747" y="251"/>
                </a:cubicBezTo>
                <a:cubicBezTo>
                  <a:pt x="597" y="251"/>
                  <a:pt x="474" y="373"/>
                  <a:pt x="474" y="524"/>
                </a:cubicBezTo>
                <a:cubicBezTo>
                  <a:pt x="474" y="566"/>
                  <a:pt x="484" y="606"/>
                  <a:pt x="501" y="642"/>
                </a:cubicBezTo>
                <a:cubicBezTo>
                  <a:pt x="221" y="659"/>
                  <a:pt x="0" y="891"/>
                  <a:pt x="0" y="1174"/>
                </a:cubicBezTo>
                <a:cubicBezTo>
                  <a:pt x="0" y="1469"/>
                  <a:pt x="239" y="1708"/>
                  <a:pt x="533" y="1708"/>
                </a:cubicBezTo>
                <a:cubicBezTo>
                  <a:pt x="2091" y="1708"/>
                  <a:pt x="2091" y="1708"/>
                  <a:pt x="2091" y="1708"/>
                </a:cubicBezTo>
                <a:cubicBezTo>
                  <a:pt x="2400" y="1708"/>
                  <a:pt x="2650" y="1458"/>
                  <a:pt x="2650" y="1150"/>
                </a:cubicBezTo>
                <a:cubicBezTo>
                  <a:pt x="2650" y="842"/>
                  <a:pt x="2400" y="592"/>
                  <a:pt x="2091" y="592"/>
                </a:cubicBezTo>
              </a:path>
            </a:pathLst>
          </a:custGeom>
          <a:gradFill>
            <a:gsLst>
              <a:gs pos="17000">
                <a:schemeClr val="accent5">
                  <a:lumMod val="20000"/>
                  <a:lumOff val="80000"/>
                </a:schemeClr>
              </a:gs>
              <a:gs pos="88000">
                <a:schemeClr val="bg1">
                  <a:alpha val="45000"/>
                </a:schemeClr>
              </a:gs>
            </a:gsLst>
            <a:lin ang="5400000" scaled="1"/>
          </a:gra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437" name="Rectangle 436"/>
          <p:cNvSpPr/>
          <p:nvPr/>
        </p:nvSpPr>
        <p:spPr>
          <a:xfrm>
            <a:off x="3783566" y="2116542"/>
            <a:ext cx="1576867" cy="553998"/>
          </a:xfrm>
          <a:prstGeom prst="rect">
            <a:avLst/>
          </a:prstGeom>
        </p:spPr>
        <p:txBody>
          <a:bodyPr wrap="square" lIns="0" tIns="0" rIns="0" bIns="0">
            <a:spAutoFit/>
          </a:bodyPr>
          <a:lstStyle/>
          <a:p>
            <a:pPr lvl="0" algn="ctr"/>
            <a:r>
              <a:rPr lang="en-US" sz="1200" b="1" kern="0" dirty="0" smtClean="0">
                <a:solidFill>
                  <a:schemeClr val="tx2"/>
                </a:solidFill>
                <a:latin typeface="+mj-lt"/>
              </a:rPr>
              <a:t>Cisco</a:t>
            </a:r>
            <a:br>
              <a:rPr lang="en-US" sz="1200" b="1" kern="0" dirty="0" smtClean="0">
                <a:solidFill>
                  <a:schemeClr val="tx2"/>
                </a:solidFill>
                <a:latin typeface="+mj-lt"/>
              </a:rPr>
            </a:br>
            <a:r>
              <a:rPr lang="en-US" sz="1200" b="1" kern="0" dirty="0" smtClean="0">
                <a:solidFill>
                  <a:schemeClr val="tx2"/>
                </a:solidFill>
                <a:latin typeface="+mj-lt"/>
              </a:rPr>
              <a:t>Ultra Services</a:t>
            </a:r>
            <a:br>
              <a:rPr lang="en-US" sz="1200" b="1" kern="0" dirty="0" smtClean="0">
                <a:solidFill>
                  <a:schemeClr val="tx2"/>
                </a:solidFill>
                <a:latin typeface="+mj-lt"/>
              </a:rPr>
            </a:br>
            <a:r>
              <a:rPr lang="en-US" sz="1200" b="1" kern="0" dirty="0" smtClean="0">
                <a:solidFill>
                  <a:schemeClr val="tx2"/>
                </a:solidFill>
                <a:latin typeface="+mj-lt"/>
              </a:rPr>
              <a:t>Platform</a:t>
            </a:r>
            <a:endParaRPr lang="en-US" sz="1200" b="1" kern="0" dirty="0">
              <a:solidFill>
                <a:schemeClr val="tx2"/>
              </a:solidFill>
              <a:latin typeface="+mj-lt"/>
            </a:endParaRPr>
          </a:p>
        </p:txBody>
      </p:sp>
    </p:spTree>
    <p:extLst>
      <p:ext uri="{BB962C8B-B14F-4D97-AF65-F5344CB8AC3E}">
        <p14:creationId xmlns:p14="http://schemas.microsoft.com/office/powerpoint/2010/main" val="77678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20" y="0"/>
            <a:ext cx="9151620" cy="5158740"/>
          </a:xfrm>
          <a:prstGeom prst="rect">
            <a:avLst/>
          </a:prstGeom>
        </p:spPr>
      </p:pic>
      <p:sp>
        <p:nvSpPr>
          <p:cNvPr id="25" name="TextBox 24"/>
          <p:cNvSpPr txBox="1"/>
          <p:nvPr/>
        </p:nvSpPr>
        <p:spPr>
          <a:xfrm>
            <a:off x="0" y="3021461"/>
            <a:ext cx="9144000" cy="1526475"/>
          </a:xfrm>
          <a:prstGeom prst="rect">
            <a:avLst/>
          </a:prstGeom>
          <a:solidFill>
            <a:schemeClr val="bg1">
              <a:alpha val="7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endParaRPr lang="en-US" dirty="0"/>
          </a:p>
          <a:p>
            <a:endParaRPr lang="en-US" dirty="0"/>
          </a:p>
          <a:p>
            <a:endParaRPr lang="en-US" dirty="0"/>
          </a:p>
          <a:p>
            <a:endParaRPr lang="en-US" dirty="0"/>
          </a:p>
          <a:p>
            <a:endParaRPr lang="en-US" dirty="0"/>
          </a:p>
          <a:p>
            <a:endParaRPr lang="en-US" dirty="0"/>
          </a:p>
        </p:txBody>
      </p:sp>
      <p:cxnSp>
        <p:nvCxnSpPr>
          <p:cNvPr id="58" name="Straight Connector 57"/>
          <p:cNvCxnSpPr/>
          <p:nvPr/>
        </p:nvCxnSpPr>
        <p:spPr>
          <a:xfrm>
            <a:off x="2286000" y="3297952"/>
            <a:ext cx="0" cy="1098510"/>
          </a:xfrm>
          <a:prstGeom prst="line">
            <a:avLst/>
          </a:prstGeom>
          <a:ln w="222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572000" y="3297952"/>
            <a:ext cx="0" cy="1098510"/>
          </a:xfrm>
          <a:prstGeom prst="line">
            <a:avLst/>
          </a:prstGeom>
          <a:ln w="22225"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4</a:t>
            </a:fld>
            <a:endParaRPr lang="en-US" sz="600" dirty="0">
              <a:solidFill>
                <a:schemeClr val="bg1">
                  <a:alpha val="60000"/>
                </a:schemeClr>
              </a:solidFill>
              <a:latin typeface="+mn-lt"/>
              <a:ea typeface="+mn-ea"/>
              <a:cs typeface="CiscoSans Thin"/>
            </a:endParaRPr>
          </a:p>
        </p:txBody>
      </p:sp>
      <p:sp>
        <p:nvSpPr>
          <p:cNvPr id="62"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6  </a:t>
            </a:r>
            <a:r>
              <a:rPr lang="en-US" sz="600" dirty="0">
                <a:solidFill>
                  <a:schemeClr val="bg1">
                    <a:alpha val="60000"/>
                  </a:schemeClr>
                </a:solidFill>
                <a:latin typeface="+mn-lt"/>
                <a:ea typeface="+mn-ea"/>
                <a:cs typeface="CiscoSans Thin"/>
              </a:rPr>
              <a:t>Cisco and/or its affiliates. All rights reserved.   </a:t>
            </a:r>
          </a:p>
        </p:txBody>
      </p:sp>
      <p:pic>
        <p:nvPicPr>
          <p:cNvPr id="67" name="Picture 2" descr="C:\Users\spius\Pictures\cisco logo blue gradient.png"/>
          <p:cNvPicPr>
            <a:picLocks noChangeAspect="1" noChangeArrowheads="1"/>
          </p:cNvPicPr>
          <p:nvPr/>
        </p:nvPicPr>
        <p:blipFill>
          <a:blip r:embed="rId4" cstate="screen">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
        <p:nvSpPr>
          <p:cNvPr id="94" name="Rectangle 93"/>
          <p:cNvSpPr/>
          <p:nvPr/>
        </p:nvSpPr>
        <p:spPr>
          <a:xfrm rot="5400000">
            <a:off x="3132936" y="-3140550"/>
            <a:ext cx="2885748" cy="9151620"/>
          </a:xfrm>
          <a:prstGeom prst="rect">
            <a:avLst/>
          </a:prstGeom>
          <a:gradFill flip="none" rotWithShape="1">
            <a:gsLst>
              <a:gs pos="0">
                <a:srgbClr val="FFFFFF">
                  <a:alpha val="99000"/>
                </a:srgbClr>
              </a:gs>
              <a:gs pos="36000">
                <a:srgbClr val="FFFFFF">
                  <a:alpha val="83000"/>
                </a:srgb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94" tIns="34298" rIns="68594" bIns="34298" spcCol="0" rtlCol="0" anchor="ctr"/>
          <a:lstStyle/>
          <a:p>
            <a:pPr algn="ctr"/>
            <a:endParaRPr lang="en-US" dirty="0" smtClean="0"/>
          </a:p>
        </p:txBody>
      </p:sp>
      <p:sp>
        <p:nvSpPr>
          <p:cNvPr id="3" name="Title 2"/>
          <p:cNvSpPr>
            <a:spLocks noGrp="1"/>
          </p:cNvSpPr>
          <p:nvPr>
            <p:ph type="title"/>
          </p:nvPr>
        </p:nvSpPr>
        <p:spPr>
          <a:xfrm>
            <a:off x="437766" y="219393"/>
            <a:ext cx="8345488" cy="731837"/>
          </a:xfrm>
        </p:spPr>
        <p:txBody>
          <a:bodyPr/>
          <a:lstStyle/>
          <a:p>
            <a:r>
              <a:rPr lang="en-US" dirty="0" smtClean="0"/>
              <a:t>Digitization Leading Cloud, IoT, 5G</a:t>
            </a:r>
            <a:endParaRPr lang="en-US" dirty="0"/>
          </a:p>
        </p:txBody>
      </p:sp>
      <p:grpSp>
        <p:nvGrpSpPr>
          <p:cNvPr id="2" name="Group 1"/>
          <p:cNvGrpSpPr/>
          <p:nvPr/>
        </p:nvGrpSpPr>
        <p:grpSpPr>
          <a:xfrm>
            <a:off x="3303900" y="601110"/>
            <a:ext cx="2523090" cy="2523090"/>
            <a:chOff x="28927" y="804672"/>
            <a:chExt cx="3105958" cy="3105958"/>
          </a:xfrm>
        </p:grpSpPr>
        <p:grpSp>
          <p:nvGrpSpPr>
            <p:cNvPr id="84" name="Group 83"/>
            <p:cNvGrpSpPr/>
            <p:nvPr/>
          </p:nvGrpSpPr>
          <p:grpSpPr>
            <a:xfrm>
              <a:off x="28927" y="804672"/>
              <a:ext cx="3105958" cy="3105958"/>
              <a:chOff x="-8512" y="753130"/>
              <a:chExt cx="3239928" cy="3239928"/>
            </a:xfrm>
          </p:grpSpPr>
          <p:sp>
            <p:nvSpPr>
              <p:cNvPr id="85" name="Oval 84"/>
              <p:cNvSpPr/>
              <p:nvPr/>
            </p:nvSpPr>
            <p:spPr>
              <a:xfrm>
                <a:off x="-8512" y="753130"/>
                <a:ext cx="3239928" cy="3239928"/>
              </a:xfrm>
              <a:prstGeom prst="ellipse">
                <a:avLst/>
              </a:prstGeom>
              <a:solidFill>
                <a:srgbClr val="36A4D7">
                  <a:alpha val="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 name="Arc 85"/>
              <p:cNvSpPr/>
              <p:nvPr/>
            </p:nvSpPr>
            <p:spPr>
              <a:xfrm>
                <a:off x="250819" y="1012461"/>
                <a:ext cx="2721266" cy="2721266"/>
              </a:xfrm>
              <a:prstGeom prst="arc">
                <a:avLst>
                  <a:gd name="adj1" fmla="val 2836177"/>
                  <a:gd name="adj2" fmla="val 2392252"/>
                </a:avLst>
              </a:prstGeom>
              <a:noFill/>
              <a:ln w="15875" cmpd="sng">
                <a:solidFill>
                  <a:schemeClr val="bg1"/>
                </a:solidFill>
                <a:headEnd type="none"/>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a:solidFill>
                    <a:srgbClr val="FFFFFF"/>
                  </a:solidFill>
                  <a:latin typeface="Arial"/>
                </a:endParaRPr>
              </a:p>
            </p:txBody>
          </p:sp>
          <p:sp>
            <p:nvSpPr>
              <p:cNvPr id="87" name="Oval 86"/>
              <p:cNvSpPr/>
              <p:nvPr/>
            </p:nvSpPr>
            <p:spPr>
              <a:xfrm>
                <a:off x="2513279" y="3233619"/>
                <a:ext cx="165435" cy="165435"/>
              </a:xfrm>
              <a:prstGeom prst="ellipse">
                <a:avLst/>
              </a:prstGeom>
              <a:no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88" name="Group 87"/>
            <p:cNvGrpSpPr/>
            <p:nvPr/>
          </p:nvGrpSpPr>
          <p:grpSpPr>
            <a:xfrm>
              <a:off x="397920" y="1173665"/>
              <a:ext cx="2367972" cy="2367972"/>
              <a:chOff x="332602" y="1856276"/>
              <a:chExt cx="3553212" cy="3553212"/>
            </a:xfrm>
          </p:grpSpPr>
          <p:sp>
            <p:nvSpPr>
              <p:cNvPr id="89" name="Rounded Rectangle 88"/>
              <p:cNvSpPr>
                <a:spLocks noChangeAspect="1"/>
              </p:cNvSpPr>
              <p:nvPr/>
            </p:nvSpPr>
            <p:spPr>
              <a:xfrm>
                <a:off x="332602" y="1856276"/>
                <a:ext cx="3553212" cy="3553212"/>
              </a:xfrm>
              <a:prstGeom prst="roundRect">
                <a:avLst>
                  <a:gd name="adj" fmla="val 50000"/>
                </a:avLst>
              </a:prstGeom>
              <a:solidFill>
                <a:schemeClr val="bg1">
                  <a:alpha val="80000"/>
                </a:schemeClr>
              </a:solidFill>
              <a:ln w="22225">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457189"/>
                <a:endParaRPr lang="en-US" sz="1400" dirty="0">
                  <a:solidFill>
                    <a:srgbClr val="FFFFFF"/>
                  </a:solidFill>
                  <a:latin typeface="Arial"/>
                </a:endParaRPr>
              </a:p>
            </p:txBody>
          </p:sp>
          <p:sp>
            <p:nvSpPr>
              <p:cNvPr id="90" name="Rectangle 89"/>
              <p:cNvSpPr/>
              <p:nvPr/>
            </p:nvSpPr>
            <p:spPr>
              <a:xfrm>
                <a:off x="376182" y="2261459"/>
                <a:ext cx="3466051" cy="2217215"/>
              </a:xfrm>
              <a:prstGeom prst="rect">
                <a:avLst/>
              </a:prstGeom>
            </p:spPr>
            <p:txBody>
              <a:bodyPr wrap="square">
                <a:spAutoFit/>
              </a:bodyPr>
              <a:lstStyle/>
              <a:p>
                <a:pPr algn="ctr">
                  <a:lnSpc>
                    <a:spcPct val="90000"/>
                  </a:lnSpc>
                  <a:spcAft>
                    <a:spcPts val="0"/>
                  </a:spcAft>
                </a:pPr>
                <a:r>
                  <a:rPr lang="en-US" sz="4800" b="1" dirty="0" smtClean="0">
                    <a:solidFill>
                      <a:schemeClr val="accent4"/>
                    </a:solidFill>
                  </a:rPr>
                  <a:t>$2 </a:t>
                </a:r>
                <a:r>
                  <a:rPr lang="en-US" sz="3200" b="1" dirty="0" smtClean="0">
                    <a:solidFill>
                      <a:schemeClr val="accent4"/>
                    </a:solidFill>
                  </a:rPr>
                  <a:t>Trillion</a:t>
                </a:r>
                <a:endParaRPr lang="en-US" sz="3200" b="1" dirty="0">
                  <a:solidFill>
                    <a:schemeClr val="accent4"/>
                  </a:solidFill>
                </a:endParaRPr>
              </a:p>
            </p:txBody>
          </p:sp>
          <p:sp>
            <p:nvSpPr>
              <p:cNvPr id="91" name="Rectangle 90"/>
              <p:cNvSpPr/>
              <p:nvPr/>
            </p:nvSpPr>
            <p:spPr>
              <a:xfrm>
                <a:off x="572404" y="4199451"/>
                <a:ext cx="3073607" cy="785107"/>
              </a:xfrm>
              <a:prstGeom prst="rect">
                <a:avLst/>
              </a:prstGeom>
            </p:spPr>
            <p:txBody>
              <a:bodyPr wrap="square">
                <a:spAutoFit/>
              </a:bodyPr>
              <a:lstStyle/>
              <a:p>
                <a:pPr algn="ctr">
                  <a:spcAft>
                    <a:spcPts val="300"/>
                  </a:spcAft>
                </a:pPr>
                <a:r>
                  <a:rPr lang="en-US" sz="1400" dirty="0" smtClean="0">
                    <a:solidFill>
                      <a:srgbClr val="676767">
                        <a:lumMod val="75000"/>
                      </a:srgbClr>
                    </a:solidFill>
                    <a:latin typeface="Arial"/>
                  </a:rPr>
                  <a:t>SP Economic Opportunity</a:t>
                </a:r>
                <a:endParaRPr lang="en-US" sz="1400" dirty="0">
                  <a:solidFill>
                    <a:srgbClr val="676767">
                      <a:lumMod val="75000"/>
                    </a:srgbClr>
                  </a:solidFill>
                  <a:latin typeface="Arial"/>
                </a:endParaRPr>
              </a:p>
            </p:txBody>
          </p:sp>
        </p:grpSp>
      </p:grpSp>
      <p:grpSp>
        <p:nvGrpSpPr>
          <p:cNvPr id="6" name="Group 5"/>
          <p:cNvGrpSpPr/>
          <p:nvPr/>
        </p:nvGrpSpPr>
        <p:grpSpPr>
          <a:xfrm>
            <a:off x="331738" y="3118020"/>
            <a:ext cx="1675459" cy="1420583"/>
            <a:chOff x="776344" y="3118020"/>
            <a:chExt cx="1675459" cy="1420583"/>
          </a:xfrm>
        </p:grpSpPr>
        <p:sp>
          <p:nvSpPr>
            <p:cNvPr id="34" name="TextBox 33"/>
            <p:cNvSpPr txBox="1"/>
            <p:nvPr/>
          </p:nvSpPr>
          <p:spPr>
            <a:xfrm>
              <a:off x="1282213" y="3796685"/>
              <a:ext cx="663720" cy="560153"/>
            </a:xfrm>
            <a:prstGeom prst="rect">
              <a:avLst/>
            </a:prstGeom>
            <a:noFill/>
            <a:effectLst/>
          </p:spPr>
          <p:txBody>
            <a:bodyPr wrap="square" lIns="45720" tIns="45720" rIns="45720" bIns="45720" rtlCol="0" anchor="ctr">
              <a:spAutoFit/>
            </a:bodyPr>
            <a:lstStyle/>
            <a:p>
              <a:pPr algn="ctr">
                <a:lnSpc>
                  <a:spcPct val="95000"/>
                </a:lnSpc>
                <a:spcBef>
                  <a:spcPts val="0"/>
                </a:spcBef>
                <a:spcAft>
                  <a:spcPts val="0"/>
                </a:spcAft>
              </a:pPr>
              <a:r>
                <a:rPr lang="en-IN" sz="3200" b="1" dirty="0" smtClean="0">
                  <a:ln w="0"/>
                  <a:solidFill>
                    <a:schemeClr val="accent4">
                      <a:lumMod val="75000"/>
                    </a:schemeClr>
                  </a:solidFill>
                  <a:latin typeface="+mn-lt"/>
                  <a:cs typeface="Avenir Book"/>
                </a:rPr>
                <a:t>4X</a:t>
              </a:r>
              <a:endParaRPr lang="en-IN" sz="1400" b="1" dirty="0">
                <a:ln w="0"/>
                <a:solidFill>
                  <a:schemeClr val="accent4">
                    <a:lumMod val="75000"/>
                  </a:schemeClr>
                </a:solidFill>
                <a:latin typeface="+mn-lt"/>
                <a:cs typeface="Avenir Book"/>
              </a:endParaRPr>
            </a:p>
          </p:txBody>
        </p:sp>
        <p:sp>
          <p:nvSpPr>
            <p:cNvPr id="8" name="Rectangle 7"/>
            <p:cNvSpPr/>
            <p:nvPr/>
          </p:nvSpPr>
          <p:spPr>
            <a:xfrm>
              <a:off x="776344" y="4270837"/>
              <a:ext cx="1675459" cy="267766"/>
            </a:xfrm>
            <a:prstGeom prst="rect">
              <a:avLst/>
            </a:prstGeom>
          </p:spPr>
          <p:txBody>
            <a:bodyPr wrap="none">
              <a:spAutoFit/>
            </a:bodyPr>
            <a:lstStyle/>
            <a:p>
              <a:pPr algn="ctr">
                <a:lnSpc>
                  <a:spcPct val="95000"/>
                </a:lnSpc>
                <a:spcBef>
                  <a:spcPts val="0"/>
                </a:spcBef>
                <a:spcAft>
                  <a:spcPts val="0"/>
                </a:spcAft>
              </a:pPr>
              <a:r>
                <a:rPr lang="en-IN" sz="1200" dirty="0">
                  <a:solidFill>
                    <a:schemeClr val="accent1"/>
                  </a:solidFill>
                  <a:cs typeface="Avenir Book"/>
                </a:rPr>
                <a:t>Cloud Traffic Increase</a:t>
              </a:r>
            </a:p>
          </p:txBody>
        </p:sp>
        <p:sp>
          <p:nvSpPr>
            <p:cNvPr id="71" name="TextBox 70"/>
            <p:cNvSpPr txBox="1"/>
            <p:nvPr/>
          </p:nvSpPr>
          <p:spPr>
            <a:xfrm>
              <a:off x="801813" y="3400303"/>
              <a:ext cx="1624522" cy="480131"/>
            </a:xfrm>
            <a:prstGeom prst="rect">
              <a:avLst/>
            </a:prstGeom>
            <a:noFill/>
            <a:effectLst/>
          </p:spPr>
          <p:txBody>
            <a:bodyPr wrap="square" lIns="45720" tIns="45720" rIns="45720" bIns="45720" rtlCol="0" anchor="ctr">
              <a:spAutoFit/>
            </a:bodyPr>
            <a:lstStyle/>
            <a:p>
              <a:pPr algn="ctr">
                <a:lnSpc>
                  <a:spcPct val="90000"/>
                </a:lnSpc>
                <a:spcBef>
                  <a:spcPts val="0"/>
                </a:spcBef>
                <a:spcAft>
                  <a:spcPts val="0"/>
                </a:spcAft>
              </a:pPr>
              <a:r>
                <a:rPr lang="en-IN" sz="1400" b="1" dirty="0" smtClean="0">
                  <a:solidFill>
                    <a:schemeClr val="accent1"/>
                  </a:solidFill>
                  <a:latin typeface="+mn-lt"/>
                  <a:cs typeface="Avenir Book"/>
                </a:rPr>
                <a:t>More Cloudification</a:t>
              </a:r>
            </a:p>
          </p:txBody>
        </p:sp>
        <p:sp>
          <p:nvSpPr>
            <p:cNvPr id="70" name="Freeform 69"/>
            <p:cNvSpPr>
              <a:spLocks/>
            </p:cNvSpPr>
            <p:nvPr/>
          </p:nvSpPr>
          <p:spPr bwMode="auto">
            <a:xfrm>
              <a:off x="1375447" y="3118020"/>
              <a:ext cx="477252" cy="272880"/>
            </a:xfrm>
            <a:custGeom>
              <a:avLst/>
              <a:gdLst>
                <a:gd name="T0" fmla="*/ 255 w 301"/>
                <a:gd name="T1" fmla="*/ 182 h 182"/>
                <a:gd name="T2" fmla="*/ 301 w 301"/>
                <a:gd name="T3" fmla="*/ 136 h 182"/>
                <a:gd name="T4" fmla="*/ 262 w 301"/>
                <a:gd name="T5" fmla="*/ 91 h 182"/>
                <a:gd name="T6" fmla="*/ 264 w 301"/>
                <a:gd name="T7" fmla="*/ 73 h 182"/>
                <a:gd name="T8" fmla="*/ 191 w 301"/>
                <a:gd name="T9" fmla="*/ 0 h 182"/>
                <a:gd name="T10" fmla="*/ 122 w 301"/>
                <a:gd name="T11" fmla="*/ 51 h 182"/>
                <a:gd name="T12" fmla="*/ 85 w 301"/>
                <a:gd name="T13" fmla="*/ 34 h 182"/>
                <a:gd name="T14" fmla="*/ 38 w 301"/>
                <a:gd name="T15" fmla="*/ 82 h 182"/>
                <a:gd name="T16" fmla="*/ 38 w 301"/>
                <a:gd name="T17" fmla="*/ 91 h 182"/>
                <a:gd name="T18" fmla="*/ 0 w 301"/>
                <a:gd name="T19" fmla="*/ 136 h 182"/>
                <a:gd name="T20" fmla="*/ 46 w 301"/>
                <a:gd name="T21" fmla="*/ 182 h 182"/>
                <a:gd name="T22" fmla="*/ 255 w 301"/>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182">
                  <a:moveTo>
                    <a:pt x="255" y="182"/>
                  </a:moveTo>
                  <a:cubicBezTo>
                    <a:pt x="280" y="182"/>
                    <a:pt x="301" y="162"/>
                    <a:pt x="301" y="136"/>
                  </a:cubicBezTo>
                  <a:cubicBezTo>
                    <a:pt x="301" y="112"/>
                    <a:pt x="284" y="93"/>
                    <a:pt x="262" y="91"/>
                  </a:cubicBezTo>
                  <a:cubicBezTo>
                    <a:pt x="263" y="85"/>
                    <a:pt x="264" y="79"/>
                    <a:pt x="264" y="73"/>
                  </a:cubicBezTo>
                  <a:cubicBezTo>
                    <a:pt x="264" y="33"/>
                    <a:pt x="231" y="0"/>
                    <a:pt x="191" y="0"/>
                  </a:cubicBezTo>
                  <a:cubicBezTo>
                    <a:pt x="158" y="0"/>
                    <a:pt x="131" y="22"/>
                    <a:pt x="122" y="51"/>
                  </a:cubicBezTo>
                  <a:cubicBezTo>
                    <a:pt x="113" y="41"/>
                    <a:pt x="99" y="34"/>
                    <a:pt x="85" y="34"/>
                  </a:cubicBezTo>
                  <a:cubicBezTo>
                    <a:pt x="59" y="34"/>
                    <a:pt x="38" y="56"/>
                    <a:pt x="38" y="82"/>
                  </a:cubicBezTo>
                  <a:cubicBezTo>
                    <a:pt x="38" y="84"/>
                    <a:pt x="38" y="88"/>
                    <a:pt x="38" y="91"/>
                  </a:cubicBezTo>
                  <a:cubicBezTo>
                    <a:pt x="16" y="94"/>
                    <a:pt x="0" y="113"/>
                    <a:pt x="0" y="136"/>
                  </a:cubicBezTo>
                  <a:cubicBezTo>
                    <a:pt x="0" y="162"/>
                    <a:pt x="20" y="182"/>
                    <a:pt x="46" y="182"/>
                  </a:cubicBezTo>
                  <a:lnTo>
                    <a:pt x="255" y="182"/>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87385"/>
              <a:endParaRPr lang="en-US" sz="1100" dirty="0">
                <a:solidFill>
                  <a:schemeClr val="bg1"/>
                </a:solidFill>
              </a:endParaRPr>
            </a:p>
          </p:txBody>
        </p:sp>
      </p:grpSp>
      <p:grpSp>
        <p:nvGrpSpPr>
          <p:cNvPr id="10" name="Group 9"/>
          <p:cNvGrpSpPr/>
          <p:nvPr/>
        </p:nvGrpSpPr>
        <p:grpSpPr>
          <a:xfrm>
            <a:off x="7074353" y="3137737"/>
            <a:ext cx="1737908" cy="1400866"/>
            <a:chOff x="6710139" y="3137737"/>
            <a:chExt cx="1737908" cy="1400866"/>
          </a:xfrm>
        </p:grpSpPr>
        <p:grpSp>
          <p:nvGrpSpPr>
            <p:cNvPr id="9" name="Group 8"/>
            <p:cNvGrpSpPr/>
            <p:nvPr/>
          </p:nvGrpSpPr>
          <p:grpSpPr>
            <a:xfrm>
              <a:off x="6710139" y="3137737"/>
              <a:ext cx="1737908" cy="1219101"/>
              <a:chOff x="6710139" y="3137737"/>
              <a:chExt cx="1737908" cy="1219101"/>
            </a:xfrm>
          </p:grpSpPr>
          <p:sp>
            <p:nvSpPr>
              <p:cNvPr id="78" name="TextBox 77"/>
              <p:cNvSpPr txBox="1"/>
              <p:nvPr/>
            </p:nvSpPr>
            <p:spPr>
              <a:xfrm>
                <a:off x="6710139" y="3555060"/>
                <a:ext cx="1737908" cy="307777"/>
              </a:xfrm>
              <a:prstGeom prst="rect">
                <a:avLst/>
              </a:prstGeom>
              <a:noFill/>
              <a:effectLst/>
            </p:spPr>
            <p:txBody>
              <a:bodyPr wrap="square" lIns="45720" tIns="45720" rIns="45720" bIns="45720" rtlCol="0" anchor="ctr">
                <a:spAutoFit/>
              </a:bodyPr>
              <a:lstStyle/>
              <a:p>
                <a:pPr algn="ctr">
                  <a:spcBef>
                    <a:spcPts val="600"/>
                  </a:spcBef>
                  <a:spcAft>
                    <a:spcPts val="0"/>
                  </a:spcAft>
                </a:pPr>
                <a:r>
                  <a:rPr lang="en-IN" sz="1400" b="1" dirty="0" smtClean="0">
                    <a:solidFill>
                      <a:schemeClr val="accent1"/>
                    </a:solidFill>
                    <a:latin typeface="+mn-lt"/>
                    <a:cs typeface="Avenir Book"/>
                  </a:rPr>
                  <a:t>More Video</a:t>
                </a:r>
              </a:p>
            </p:txBody>
          </p:sp>
          <p:grpSp>
            <p:nvGrpSpPr>
              <p:cNvPr id="79" name="Group 78"/>
              <p:cNvGrpSpPr/>
              <p:nvPr/>
            </p:nvGrpSpPr>
            <p:grpSpPr>
              <a:xfrm>
                <a:off x="7339771" y="3137737"/>
                <a:ext cx="478658" cy="387194"/>
                <a:chOff x="9286369" y="4380074"/>
                <a:chExt cx="1034234" cy="836610"/>
              </a:xfrm>
              <a:solidFill>
                <a:schemeClr val="accent1"/>
              </a:solidFill>
            </p:grpSpPr>
            <p:sp>
              <p:nvSpPr>
                <p:cNvPr id="80" name="Freeform 176"/>
                <p:cNvSpPr>
                  <a:spLocks/>
                </p:cNvSpPr>
                <p:nvPr/>
              </p:nvSpPr>
              <p:spPr bwMode="auto">
                <a:xfrm>
                  <a:off x="9688201" y="4979534"/>
                  <a:ext cx="237149" cy="237150"/>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77"/>
                <p:cNvSpPr>
                  <a:spLocks/>
                </p:cNvSpPr>
                <p:nvPr/>
              </p:nvSpPr>
              <p:spPr bwMode="auto">
                <a:xfrm>
                  <a:off x="9576216" y="4788498"/>
                  <a:ext cx="461122" cy="164689"/>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78"/>
                <p:cNvSpPr>
                  <a:spLocks/>
                </p:cNvSpPr>
                <p:nvPr/>
              </p:nvSpPr>
              <p:spPr bwMode="auto">
                <a:xfrm>
                  <a:off x="9431293" y="4584285"/>
                  <a:ext cx="750972" cy="23056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79"/>
                <p:cNvSpPr>
                  <a:spLocks/>
                </p:cNvSpPr>
                <p:nvPr/>
              </p:nvSpPr>
              <p:spPr bwMode="auto">
                <a:xfrm>
                  <a:off x="9286369" y="4380074"/>
                  <a:ext cx="1034234" cy="29643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TextBox 55"/>
              <p:cNvSpPr txBox="1"/>
              <p:nvPr/>
            </p:nvSpPr>
            <p:spPr>
              <a:xfrm>
                <a:off x="6946193" y="3796685"/>
                <a:ext cx="1265800" cy="560153"/>
              </a:xfrm>
              <a:prstGeom prst="rect">
                <a:avLst/>
              </a:prstGeom>
              <a:noFill/>
              <a:effectLst/>
            </p:spPr>
            <p:txBody>
              <a:bodyPr wrap="square" lIns="45720" tIns="45720" rIns="45720" bIns="45720" rtlCol="0" anchor="ctr">
                <a:spAutoFit/>
              </a:bodyPr>
              <a:lstStyle/>
              <a:p>
                <a:pPr algn="ctr">
                  <a:lnSpc>
                    <a:spcPct val="95000"/>
                  </a:lnSpc>
                  <a:spcBef>
                    <a:spcPts val="0"/>
                  </a:spcBef>
                  <a:spcAft>
                    <a:spcPts val="0"/>
                  </a:spcAft>
                </a:pPr>
                <a:r>
                  <a:rPr lang="en-IN" sz="3200" b="1" dirty="0" smtClean="0">
                    <a:ln w="0"/>
                    <a:solidFill>
                      <a:schemeClr val="accent4">
                        <a:lumMod val="75000"/>
                      </a:schemeClr>
                    </a:solidFill>
                    <a:latin typeface="+mn-lt"/>
                    <a:cs typeface="Avenir Book"/>
                  </a:rPr>
                  <a:t>7X</a:t>
                </a:r>
                <a:endParaRPr lang="en-IN" sz="1400" b="1" dirty="0">
                  <a:ln w="0"/>
                  <a:solidFill>
                    <a:schemeClr val="accent4">
                      <a:lumMod val="75000"/>
                    </a:schemeClr>
                  </a:solidFill>
                  <a:latin typeface="+mn-lt"/>
                  <a:cs typeface="Avenir Book"/>
                </a:endParaRPr>
              </a:p>
            </p:txBody>
          </p:sp>
        </p:grpSp>
        <p:sp>
          <p:nvSpPr>
            <p:cNvPr id="60" name="Rectangle 59"/>
            <p:cNvSpPr/>
            <p:nvPr/>
          </p:nvSpPr>
          <p:spPr>
            <a:xfrm>
              <a:off x="6715715" y="4270837"/>
              <a:ext cx="1726756" cy="267766"/>
            </a:xfrm>
            <a:prstGeom prst="rect">
              <a:avLst/>
            </a:prstGeom>
          </p:spPr>
          <p:txBody>
            <a:bodyPr wrap="none">
              <a:spAutoFit/>
            </a:bodyPr>
            <a:lstStyle/>
            <a:p>
              <a:pPr algn="ctr">
                <a:lnSpc>
                  <a:spcPct val="95000"/>
                </a:lnSpc>
                <a:spcBef>
                  <a:spcPts val="0"/>
                </a:spcBef>
                <a:spcAft>
                  <a:spcPts val="0"/>
                </a:spcAft>
              </a:pPr>
              <a:r>
                <a:rPr lang="en-IN" sz="1200" dirty="0" smtClean="0">
                  <a:solidFill>
                    <a:schemeClr val="accent1"/>
                  </a:solidFill>
                  <a:cs typeface="Avenir Book"/>
                </a:rPr>
                <a:t>Mobile </a:t>
              </a:r>
              <a:r>
                <a:rPr lang="en-IN" sz="1200" dirty="0">
                  <a:solidFill>
                    <a:schemeClr val="accent1"/>
                  </a:solidFill>
                  <a:cs typeface="Avenir Book"/>
                </a:rPr>
                <a:t>Traffic Increase</a:t>
              </a:r>
            </a:p>
          </p:txBody>
        </p:sp>
      </p:grpSp>
      <p:grpSp>
        <p:nvGrpSpPr>
          <p:cNvPr id="75" name="Group 74"/>
          <p:cNvGrpSpPr/>
          <p:nvPr/>
        </p:nvGrpSpPr>
        <p:grpSpPr>
          <a:xfrm>
            <a:off x="2338935" y="3071094"/>
            <a:ext cx="2171941" cy="1467509"/>
            <a:chOff x="3485336" y="3071094"/>
            <a:chExt cx="2171941" cy="1467509"/>
          </a:xfrm>
        </p:grpSpPr>
        <p:sp>
          <p:nvSpPr>
            <p:cNvPr id="92" name="TextBox 91"/>
            <p:cNvSpPr txBox="1"/>
            <p:nvPr/>
          </p:nvSpPr>
          <p:spPr>
            <a:xfrm>
              <a:off x="4097981" y="3539430"/>
              <a:ext cx="915428" cy="307777"/>
            </a:xfrm>
            <a:prstGeom prst="rect">
              <a:avLst/>
            </a:prstGeom>
            <a:noFill/>
            <a:effectLst/>
          </p:spPr>
          <p:txBody>
            <a:bodyPr wrap="square" lIns="45720" tIns="45720" rIns="45720" bIns="45720" rtlCol="0" anchor="ctr">
              <a:spAutoFit/>
            </a:bodyPr>
            <a:lstStyle/>
            <a:p>
              <a:pPr algn="ctr">
                <a:spcBef>
                  <a:spcPts val="600"/>
                </a:spcBef>
                <a:spcAft>
                  <a:spcPts val="0"/>
                </a:spcAft>
              </a:pPr>
              <a:r>
                <a:rPr lang="en-IN" sz="1400" b="1" dirty="0" smtClean="0">
                  <a:solidFill>
                    <a:schemeClr val="accent1"/>
                  </a:solidFill>
                  <a:latin typeface="+mn-lt"/>
                  <a:cs typeface="Avenir Book"/>
                </a:rPr>
                <a:t>More IoT</a:t>
              </a:r>
            </a:p>
          </p:txBody>
        </p:sp>
        <p:sp>
          <p:nvSpPr>
            <p:cNvPr id="93" name="Freeform 92"/>
            <p:cNvSpPr>
              <a:spLocks noEditPoints="1"/>
            </p:cNvSpPr>
            <p:nvPr/>
          </p:nvSpPr>
          <p:spPr bwMode="auto">
            <a:xfrm>
              <a:off x="4282077" y="3071094"/>
              <a:ext cx="547236" cy="522020"/>
            </a:xfrm>
            <a:custGeom>
              <a:avLst/>
              <a:gdLst>
                <a:gd name="T0" fmla="*/ 4598 w 5557"/>
                <a:gd name="T1" fmla="*/ 3107 h 5300"/>
                <a:gd name="T2" fmla="*/ 5516 w 5557"/>
                <a:gd name="T3" fmla="*/ 2721 h 5300"/>
                <a:gd name="T4" fmla="*/ 4190 w 5557"/>
                <a:gd name="T5" fmla="*/ 2817 h 5300"/>
                <a:gd name="T6" fmla="*/ 5326 w 5557"/>
                <a:gd name="T7" fmla="*/ 2592 h 5300"/>
                <a:gd name="T8" fmla="*/ 4676 w 5557"/>
                <a:gd name="T9" fmla="*/ 2851 h 5300"/>
                <a:gd name="T10" fmla="*/ 5049 w 5557"/>
                <a:gd name="T11" fmla="*/ 2787 h 5300"/>
                <a:gd name="T12" fmla="*/ 5434 w 5557"/>
                <a:gd name="T13" fmla="*/ 3107 h 5300"/>
                <a:gd name="T14" fmla="*/ 4044 w 5557"/>
                <a:gd name="T15" fmla="*/ 2066 h 5300"/>
                <a:gd name="T16" fmla="*/ 1678 w 5557"/>
                <a:gd name="T17" fmla="*/ 1180 h 5300"/>
                <a:gd name="T18" fmla="*/ 2138 w 5557"/>
                <a:gd name="T19" fmla="*/ 4528 h 5300"/>
                <a:gd name="T20" fmla="*/ 1553 w 5557"/>
                <a:gd name="T21" fmla="*/ 3776 h 5300"/>
                <a:gd name="T22" fmla="*/ 3527 w 5557"/>
                <a:gd name="T23" fmla="*/ 4092 h 5300"/>
                <a:gd name="T24" fmla="*/ 2004 w 5557"/>
                <a:gd name="T25" fmla="*/ 3052 h 5300"/>
                <a:gd name="T26" fmla="*/ 2547 w 5557"/>
                <a:gd name="T27" fmla="*/ 2192 h 5300"/>
                <a:gd name="T28" fmla="*/ 2227 w 5557"/>
                <a:gd name="T29" fmla="*/ 2530 h 5300"/>
                <a:gd name="T30" fmla="*/ 1838 w 5557"/>
                <a:gd name="T31" fmla="*/ 2680 h 5300"/>
                <a:gd name="T32" fmla="*/ 3457 w 5557"/>
                <a:gd name="T33" fmla="*/ 2346 h 5300"/>
                <a:gd name="T34" fmla="*/ 2793 w 5557"/>
                <a:gd name="T35" fmla="*/ 1828 h 5300"/>
                <a:gd name="T36" fmla="*/ 3605 w 5557"/>
                <a:gd name="T37" fmla="*/ 2488 h 5300"/>
                <a:gd name="T38" fmla="*/ 3526 w 5557"/>
                <a:gd name="T39" fmla="*/ 2512 h 5300"/>
                <a:gd name="T40" fmla="*/ 2723 w 5557"/>
                <a:gd name="T41" fmla="*/ 3371 h 5300"/>
                <a:gd name="T42" fmla="*/ 3418 w 5557"/>
                <a:gd name="T43" fmla="*/ 3403 h 5300"/>
                <a:gd name="T44" fmla="*/ 2633 w 5557"/>
                <a:gd name="T45" fmla="*/ 3339 h 5300"/>
                <a:gd name="T46" fmla="*/ 3018 w 5557"/>
                <a:gd name="T47" fmla="*/ 0 h 5300"/>
                <a:gd name="T48" fmla="*/ 2693 w 5557"/>
                <a:gd name="T49" fmla="*/ 1218 h 5300"/>
                <a:gd name="T50" fmla="*/ 2693 w 5557"/>
                <a:gd name="T51" fmla="*/ 1309 h 5300"/>
                <a:gd name="T52" fmla="*/ 2783 w 5557"/>
                <a:gd name="T53" fmla="*/ 1138 h 5300"/>
                <a:gd name="T54" fmla="*/ 3022 w 5557"/>
                <a:gd name="T55" fmla="*/ 786 h 5300"/>
                <a:gd name="T56" fmla="*/ 2831 w 5557"/>
                <a:gd name="T57" fmla="*/ 779 h 5300"/>
                <a:gd name="T58" fmla="*/ 2752 w 5557"/>
                <a:gd name="T59" fmla="*/ 860 h 5300"/>
                <a:gd name="T60" fmla="*/ 2492 w 5557"/>
                <a:gd name="T61" fmla="*/ 988 h 5300"/>
                <a:gd name="T62" fmla="*/ 2546 w 5557"/>
                <a:gd name="T63" fmla="*/ 1160 h 5300"/>
                <a:gd name="T64" fmla="*/ 2640 w 5557"/>
                <a:gd name="T65" fmla="*/ 1440 h 5300"/>
                <a:gd name="T66" fmla="*/ 3039 w 5557"/>
                <a:gd name="T67" fmla="*/ 1332 h 5300"/>
                <a:gd name="T68" fmla="*/ 3039 w 5557"/>
                <a:gd name="T69" fmla="*/ 1103 h 5300"/>
                <a:gd name="T70" fmla="*/ 2949 w 5557"/>
                <a:gd name="T71" fmla="*/ 1023 h 5300"/>
                <a:gd name="T72" fmla="*/ 2483 w 5557"/>
                <a:gd name="T73" fmla="*/ 113 h 5300"/>
                <a:gd name="T74" fmla="*/ 2450 w 5557"/>
                <a:gd name="T75" fmla="*/ 4927 h 5300"/>
                <a:gd name="T76" fmla="*/ 2602 w 5557"/>
                <a:gd name="T77" fmla="*/ 4631 h 5300"/>
                <a:gd name="T78" fmla="*/ 2814 w 5557"/>
                <a:gd name="T79" fmla="*/ 4365 h 5300"/>
                <a:gd name="T80" fmla="*/ 2526 w 5557"/>
                <a:gd name="T81" fmla="*/ 5300 h 5300"/>
                <a:gd name="T82" fmla="*/ 2602 w 5557"/>
                <a:gd name="T83" fmla="*/ 4927 h 5300"/>
                <a:gd name="T84" fmla="*/ 2450 w 5557"/>
                <a:gd name="T85" fmla="*/ 4631 h 5300"/>
                <a:gd name="T86" fmla="*/ 2602 w 5557"/>
                <a:gd name="T87" fmla="*/ 4570 h 5300"/>
                <a:gd name="T88" fmla="*/ 2367 w 5557"/>
                <a:gd name="T89" fmla="*/ 5300 h 5300"/>
                <a:gd name="T90" fmla="*/ 2814 w 5557"/>
                <a:gd name="T91" fmla="*/ 4927 h 5300"/>
                <a:gd name="T92" fmla="*/ 2450 w 5557"/>
                <a:gd name="T93" fmla="*/ 4745 h 5300"/>
                <a:gd name="T94" fmla="*/ 2602 w 5557"/>
                <a:gd name="T95" fmla="*/ 4418 h 5300"/>
                <a:gd name="T96" fmla="*/ 2367 w 5557"/>
                <a:gd name="T97" fmla="*/ 4083 h 5300"/>
                <a:gd name="T98" fmla="*/ 3367 w 5557"/>
                <a:gd name="T99" fmla="*/ 4821 h 5300"/>
                <a:gd name="T100" fmla="*/ 3147 w 5557"/>
                <a:gd name="T101" fmla="*/ 4768 h 5300"/>
                <a:gd name="T102" fmla="*/ 3443 w 5557"/>
                <a:gd name="T103" fmla="*/ 4479 h 5300"/>
                <a:gd name="T104" fmla="*/ 3367 w 5557"/>
                <a:gd name="T105" fmla="*/ 4768 h 5300"/>
                <a:gd name="T106" fmla="*/ 3079 w 5557"/>
                <a:gd name="T107" fmla="*/ 5300 h 5300"/>
                <a:gd name="T108" fmla="*/ 3147 w 5557"/>
                <a:gd name="T109" fmla="*/ 4981 h 5300"/>
                <a:gd name="T110" fmla="*/ 2996 w 5557"/>
                <a:gd name="T111" fmla="*/ 4608 h 5300"/>
                <a:gd name="T112" fmla="*/ 697 w 5557"/>
                <a:gd name="T113" fmla="*/ 2398 h 5300"/>
                <a:gd name="T114" fmla="*/ 363 w 5557"/>
                <a:gd name="T115" fmla="*/ 3164 h 5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7" h="5300">
                  <a:moveTo>
                    <a:pt x="4221" y="2564"/>
                  </a:moveTo>
                  <a:cubicBezTo>
                    <a:pt x="4271" y="2579"/>
                    <a:pt x="4271" y="2579"/>
                    <a:pt x="4271" y="2579"/>
                  </a:cubicBezTo>
                  <a:cubicBezTo>
                    <a:pt x="4302" y="2588"/>
                    <a:pt x="4336" y="2574"/>
                    <a:pt x="4345" y="2547"/>
                  </a:cubicBezTo>
                  <a:cubicBezTo>
                    <a:pt x="4354" y="2521"/>
                    <a:pt x="4354" y="2521"/>
                    <a:pt x="4354" y="2521"/>
                  </a:cubicBezTo>
                  <a:cubicBezTo>
                    <a:pt x="4364" y="2494"/>
                    <a:pt x="4345" y="2473"/>
                    <a:pt x="4312" y="2473"/>
                  </a:cubicBezTo>
                  <a:cubicBezTo>
                    <a:pt x="4242" y="2473"/>
                    <a:pt x="4242" y="2473"/>
                    <a:pt x="4242" y="2473"/>
                  </a:cubicBezTo>
                  <a:cubicBezTo>
                    <a:pt x="4209" y="2473"/>
                    <a:pt x="4178" y="2490"/>
                    <a:pt x="4173" y="2510"/>
                  </a:cubicBezTo>
                  <a:cubicBezTo>
                    <a:pt x="4168" y="2531"/>
                    <a:pt x="4189" y="2555"/>
                    <a:pt x="4221" y="2564"/>
                  </a:cubicBezTo>
                  <a:close/>
                  <a:moveTo>
                    <a:pt x="4291" y="3107"/>
                  </a:moveTo>
                  <a:cubicBezTo>
                    <a:pt x="4291" y="3149"/>
                    <a:pt x="4331" y="3183"/>
                    <a:pt x="4381" y="3183"/>
                  </a:cubicBezTo>
                  <a:cubicBezTo>
                    <a:pt x="4508" y="3183"/>
                    <a:pt x="4508" y="3183"/>
                    <a:pt x="4508" y="3183"/>
                  </a:cubicBezTo>
                  <a:cubicBezTo>
                    <a:pt x="4558" y="3183"/>
                    <a:pt x="4598" y="3149"/>
                    <a:pt x="4598" y="3107"/>
                  </a:cubicBezTo>
                  <a:cubicBezTo>
                    <a:pt x="4598" y="3041"/>
                    <a:pt x="4598" y="3041"/>
                    <a:pt x="4598" y="3041"/>
                  </a:cubicBezTo>
                  <a:cubicBezTo>
                    <a:pt x="4291" y="3041"/>
                    <a:pt x="4291" y="3041"/>
                    <a:pt x="4291" y="3041"/>
                  </a:cubicBezTo>
                  <a:lnTo>
                    <a:pt x="4291" y="3107"/>
                  </a:lnTo>
                  <a:close/>
                  <a:moveTo>
                    <a:pt x="5380" y="2547"/>
                  </a:moveTo>
                  <a:cubicBezTo>
                    <a:pt x="5389" y="2574"/>
                    <a:pt x="5422" y="2588"/>
                    <a:pt x="5454" y="2579"/>
                  </a:cubicBezTo>
                  <a:cubicBezTo>
                    <a:pt x="5504" y="2564"/>
                    <a:pt x="5504" y="2564"/>
                    <a:pt x="5504" y="2564"/>
                  </a:cubicBezTo>
                  <a:cubicBezTo>
                    <a:pt x="5536" y="2555"/>
                    <a:pt x="5557" y="2531"/>
                    <a:pt x="5552" y="2510"/>
                  </a:cubicBezTo>
                  <a:cubicBezTo>
                    <a:pt x="5547" y="2490"/>
                    <a:pt x="5516" y="2473"/>
                    <a:pt x="5483" y="2473"/>
                  </a:cubicBezTo>
                  <a:cubicBezTo>
                    <a:pt x="5413" y="2473"/>
                    <a:pt x="5413" y="2473"/>
                    <a:pt x="5413" y="2473"/>
                  </a:cubicBezTo>
                  <a:cubicBezTo>
                    <a:pt x="5380" y="2473"/>
                    <a:pt x="5361" y="2494"/>
                    <a:pt x="5370" y="2521"/>
                  </a:cubicBezTo>
                  <a:lnTo>
                    <a:pt x="5380" y="2547"/>
                  </a:lnTo>
                  <a:close/>
                  <a:moveTo>
                    <a:pt x="5516" y="2721"/>
                  </a:moveTo>
                  <a:cubicBezTo>
                    <a:pt x="5491" y="2627"/>
                    <a:pt x="5374" y="2582"/>
                    <a:pt x="5374" y="2582"/>
                  </a:cubicBezTo>
                  <a:cubicBezTo>
                    <a:pt x="5314" y="2467"/>
                    <a:pt x="5200" y="2387"/>
                    <a:pt x="5200" y="2387"/>
                  </a:cubicBezTo>
                  <a:cubicBezTo>
                    <a:pt x="5200" y="2387"/>
                    <a:pt x="5135" y="2377"/>
                    <a:pt x="5040" y="2370"/>
                  </a:cubicBezTo>
                  <a:cubicBezTo>
                    <a:pt x="5036" y="2355"/>
                    <a:pt x="5033" y="2345"/>
                    <a:pt x="5028" y="2329"/>
                  </a:cubicBezTo>
                  <a:cubicBezTo>
                    <a:pt x="5019" y="2299"/>
                    <a:pt x="4987" y="2275"/>
                    <a:pt x="4955" y="2275"/>
                  </a:cubicBezTo>
                  <a:cubicBezTo>
                    <a:pt x="4770" y="2275"/>
                    <a:pt x="4770" y="2275"/>
                    <a:pt x="4770" y="2275"/>
                  </a:cubicBezTo>
                  <a:cubicBezTo>
                    <a:pt x="4738" y="2275"/>
                    <a:pt x="4705" y="2299"/>
                    <a:pt x="4697" y="2329"/>
                  </a:cubicBezTo>
                  <a:cubicBezTo>
                    <a:pt x="4692" y="2345"/>
                    <a:pt x="4689" y="2355"/>
                    <a:pt x="4685" y="2370"/>
                  </a:cubicBezTo>
                  <a:cubicBezTo>
                    <a:pt x="4589" y="2377"/>
                    <a:pt x="4525" y="2387"/>
                    <a:pt x="4525" y="2387"/>
                  </a:cubicBezTo>
                  <a:cubicBezTo>
                    <a:pt x="4525" y="2387"/>
                    <a:pt x="4411" y="2467"/>
                    <a:pt x="4351" y="2582"/>
                  </a:cubicBezTo>
                  <a:cubicBezTo>
                    <a:pt x="4351" y="2582"/>
                    <a:pt x="4234" y="2627"/>
                    <a:pt x="4209" y="2721"/>
                  </a:cubicBezTo>
                  <a:cubicBezTo>
                    <a:pt x="4209" y="2721"/>
                    <a:pt x="4190" y="2777"/>
                    <a:pt x="4190" y="2817"/>
                  </a:cubicBezTo>
                  <a:cubicBezTo>
                    <a:pt x="4190" y="2817"/>
                    <a:pt x="4177" y="2862"/>
                    <a:pt x="4177" y="2912"/>
                  </a:cubicBezTo>
                  <a:cubicBezTo>
                    <a:pt x="4177" y="3016"/>
                    <a:pt x="4228" y="3017"/>
                    <a:pt x="4228" y="3017"/>
                  </a:cubicBezTo>
                  <a:cubicBezTo>
                    <a:pt x="5497" y="3017"/>
                    <a:pt x="5497" y="3017"/>
                    <a:pt x="5497" y="3017"/>
                  </a:cubicBezTo>
                  <a:cubicBezTo>
                    <a:pt x="5497" y="3017"/>
                    <a:pt x="5548" y="3016"/>
                    <a:pt x="5548" y="2912"/>
                  </a:cubicBezTo>
                  <a:cubicBezTo>
                    <a:pt x="5548" y="2862"/>
                    <a:pt x="5535" y="2817"/>
                    <a:pt x="5535" y="2817"/>
                  </a:cubicBezTo>
                  <a:cubicBezTo>
                    <a:pt x="5535" y="2777"/>
                    <a:pt x="5516" y="2721"/>
                    <a:pt x="5516" y="2721"/>
                  </a:cubicBezTo>
                  <a:close/>
                  <a:moveTo>
                    <a:pt x="4400" y="2589"/>
                  </a:moveTo>
                  <a:cubicBezTo>
                    <a:pt x="4445" y="2503"/>
                    <a:pt x="4523" y="2442"/>
                    <a:pt x="4550" y="2423"/>
                  </a:cubicBezTo>
                  <a:cubicBezTo>
                    <a:pt x="4590" y="2417"/>
                    <a:pt x="4718" y="2404"/>
                    <a:pt x="4862" y="2404"/>
                  </a:cubicBezTo>
                  <a:cubicBezTo>
                    <a:pt x="5008" y="2404"/>
                    <a:pt x="5135" y="2417"/>
                    <a:pt x="5175" y="2423"/>
                  </a:cubicBezTo>
                  <a:cubicBezTo>
                    <a:pt x="5202" y="2441"/>
                    <a:pt x="5280" y="2503"/>
                    <a:pt x="5325" y="2589"/>
                  </a:cubicBezTo>
                  <a:cubicBezTo>
                    <a:pt x="5325" y="2591"/>
                    <a:pt x="5325" y="2591"/>
                    <a:pt x="5326" y="2592"/>
                  </a:cubicBezTo>
                  <a:cubicBezTo>
                    <a:pt x="5018" y="2561"/>
                    <a:pt x="4706" y="2561"/>
                    <a:pt x="4399" y="2592"/>
                  </a:cubicBezTo>
                  <a:cubicBezTo>
                    <a:pt x="4399" y="2591"/>
                    <a:pt x="4400" y="2591"/>
                    <a:pt x="4400" y="2589"/>
                  </a:cubicBezTo>
                  <a:close/>
                  <a:moveTo>
                    <a:pt x="4319" y="2852"/>
                  </a:moveTo>
                  <a:cubicBezTo>
                    <a:pt x="4301" y="2852"/>
                    <a:pt x="4287" y="2840"/>
                    <a:pt x="4287" y="2825"/>
                  </a:cubicBezTo>
                  <a:cubicBezTo>
                    <a:pt x="4287" y="2779"/>
                    <a:pt x="4287" y="2779"/>
                    <a:pt x="4287" y="2779"/>
                  </a:cubicBezTo>
                  <a:cubicBezTo>
                    <a:pt x="4287" y="2749"/>
                    <a:pt x="4315" y="2727"/>
                    <a:pt x="4350" y="2730"/>
                  </a:cubicBezTo>
                  <a:cubicBezTo>
                    <a:pt x="4465" y="2735"/>
                    <a:pt x="4465" y="2735"/>
                    <a:pt x="4465" y="2735"/>
                  </a:cubicBezTo>
                  <a:cubicBezTo>
                    <a:pt x="4500" y="2737"/>
                    <a:pt x="4535" y="2762"/>
                    <a:pt x="4544" y="2790"/>
                  </a:cubicBezTo>
                  <a:cubicBezTo>
                    <a:pt x="4564" y="2854"/>
                    <a:pt x="4564" y="2854"/>
                    <a:pt x="4564" y="2854"/>
                  </a:cubicBezTo>
                  <a:lnTo>
                    <a:pt x="4319" y="2852"/>
                  </a:lnTo>
                  <a:close/>
                  <a:moveTo>
                    <a:pt x="5049" y="2851"/>
                  </a:moveTo>
                  <a:cubicBezTo>
                    <a:pt x="4676" y="2851"/>
                    <a:pt x="4676" y="2851"/>
                    <a:pt x="4676" y="2851"/>
                  </a:cubicBezTo>
                  <a:cubicBezTo>
                    <a:pt x="4665" y="2851"/>
                    <a:pt x="4656" y="2843"/>
                    <a:pt x="4656" y="2834"/>
                  </a:cubicBezTo>
                  <a:cubicBezTo>
                    <a:pt x="4656" y="2824"/>
                    <a:pt x="4665" y="2816"/>
                    <a:pt x="4676" y="2816"/>
                  </a:cubicBezTo>
                  <a:cubicBezTo>
                    <a:pt x="5049" y="2816"/>
                    <a:pt x="5049" y="2816"/>
                    <a:pt x="5049" y="2816"/>
                  </a:cubicBezTo>
                  <a:cubicBezTo>
                    <a:pt x="5060" y="2816"/>
                    <a:pt x="5069" y="2824"/>
                    <a:pt x="5069" y="2834"/>
                  </a:cubicBezTo>
                  <a:cubicBezTo>
                    <a:pt x="5069" y="2843"/>
                    <a:pt x="5060" y="2851"/>
                    <a:pt x="5049" y="2851"/>
                  </a:cubicBezTo>
                  <a:close/>
                  <a:moveTo>
                    <a:pt x="5049" y="2787"/>
                  </a:moveTo>
                  <a:cubicBezTo>
                    <a:pt x="4676" y="2787"/>
                    <a:pt x="4676" y="2787"/>
                    <a:pt x="4676" y="2787"/>
                  </a:cubicBezTo>
                  <a:cubicBezTo>
                    <a:pt x="4665" y="2787"/>
                    <a:pt x="4656" y="2780"/>
                    <a:pt x="4656" y="2770"/>
                  </a:cubicBezTo>
                  <a:cubicBezTo>
                    <a:pt x="4656" y="2761"/>
                    <a:pt x="4665" y="2753"/>
                    <a:pt x="4676" y="2753"/>
                  </a:cubicBezTo>
                  <a:cubicBezTo>
                    <a:pt x="5049" y="2753"/>
                    <a:pt x="5049" y="2753"/>
                    <a:pt x="5049" y="2753"/>
                  </a:cubicBezTo>
                  <a:cubicBezTo>
                    <a:pt x="5060" y="2753"/>
                    <a:pt x="5069" y="2761"/>
                    <a:pt x="5069" y="2770"/>
                  </a:cubicBezTo>
                  <a:cubicBezTo>
                    <a:pt x="5069" y="2780"/>
                    <a:pt x="5060" y="2787"/>
                    <a:pt x="5049" y="2787"/>
                  </a:cubicBezTo>
                  <a:close/>
                  <a:moveTo>
                    <a:pt x="5438" y="2825"/>
                  </a:moveTo>
                  <a:cubicBezTo>
                    <a:pt x="5438" y="2840"/>
                    <a:pt x="5424" y="2852"/>
                    <a:pt x="5406" y="2852"/>
                  </a:cubicBezTo>
                  <a:cubicBezTo>
                    <a:pt x="5161" y="2854"/>
                    <a:pt x="5161" y="2854"/>
                    <a:pt x="5161" y="2854"/>
                  </a:cubicBezTo>
                  <a:cubicBezTo>
                    <a:pt x="5181" y="2790"/>
                    <a:pt x="5181" y="2790"/>
                    <a:pt x="5181" y="2790"/>
                  </a:cubicBezTo>
                  <a:cubicBezTo>
                    <a:pt x="5190" y="2762"/>
                    <a:pt x="5225" y="2737"/>
                    <a:pt x="5260" y="2735"/>
                  </a:cubicBezTo>
                  <a:cubicBezTo>
                    <a:pt x="5375" y="2730"/>
                    <a:pt x="5375" y="2730"/>
                    <a:pt x="5375" y="2730"/>
                  </a:cubicBezTo>
                  <a:cubicBezTo>
                    <a:pt x="5410" y="2727"/>
                    <a:pt x="5438" y="2749"/>
                    <a:pt x="5438" y="2779"/>
                  </a:cubicBezTo>
                  <a:lnTo>
                    <a:pt x="5438" y="2825"/>
                  </a:lnTo>
                  <a:close/>
                  <a:moveTo>
                    <a:pt x="5127" y="3107"/>
                  </a:moveTo>
                  <a:cubicBezTo>
                    <a:pt x="5127" y="3149"/>
                    <a:pt x="5167" y="3183"/>
                    <a:pt x="5217" y="3183"/>
                  </a:cubicBezTo>
                  <a:cubicBezTo>
                    <a:pt x="5344" y="3183"/>
                    <a:pt x="5344" y="3183"/>
                    <a:pt x="5344" y="3183"/>
                  </a:cubicBezTo>
                  <a:cubicBezTo>
                    <a:pt x="5393" y="3183"/>
                    <a:pt x="5434" y="3149"/>
                    <a:pt x="5434" y="3107"/>
                  </a:cubicBezTo>
                  <a:cubicBezTo>
                    <a:pt x="5434" y="3041"/>
                    <a:pt x="5434" y="3041"/>
                    <a:pt x="5434" y="3041"/>
                  </a:cubicBezTo>
                  <a:cubicBezTo>
                    <a:pt x="5127" y="3041"/>
                    <a:pt x="5127" y="3041"/>
                    <a:pt x="5127" y="3041"/>
                  </a:cubicBezTo>
                  <a:lnTo>
                    <a:pt x="5127" y="3107"/>
                  </a:lnTo>
                  <a:close/>
                  <a:moveTo>
                    <a:pt x="3398" y="1056"/>
                  </a:moveTo>
                  <a:cubicBezTo>
                    <a:pt x="3571" y="1096"/>
                    <a:pt x="3739" y="1172"/>
                    <a:pt x="3889" y="1287"/>
                  </a:cubicBezTo>
                  <a:cubicBezTo>
                    <a:pt x="4044" y="1405"/>
                    <a:pt x="4164" y="1552"/>
                    <a:pt x="4248" y="1715"/>
                  </a:cubicBezTo>
                  <a:cubicBezTo>
                    <a:pt x="4463" y="1598"/>
                    <a:pt x="4463" y="1598"/>
                    <a:pt x="4463" y="1598"/>
                  </a:cubicBezTo>
                  <a:cubicBezTo>
                    <a:pt x="4419" y="1746"/>
                    <a:pt x="4419" y="1746"/>
                    <a:pt x="4419" y="1746"/>
                  </a:cubicBezTo>
                  <a:cubicBezTo>
                    <a:pt x="4349" y="1981"/>
                    <a:pt x="4349" y="1981"/>
                    <a:pt x="4349" y="1981"/>
                  </a:cubicBezTo>
                  <a:cubicBezTo>
                    <a:pt x="4321" y="2077"/>
                    <a:pt x="4321" y="2077"/>
                    <a:pt x="4321" y="2077"/>
                  </a:cubicBezTo>
                  <a:cubicBezTo>
                    <a:pt x="4301" y="2143"/>
                    <a:pt x="4301" y="2143"/>
                    <a:pt x="4301" y="2143"/>
                  </a:cubicBezTo>
                  <a:cubicBezTo>
                    <a:pt x="4044" y="2066"/>
                    <a:pt x="4044" y="2066"/>
                    <a:pt x="4044" y="2066"/>
                  </a:cubicBezTo>
                  <a:cubicBezTo>
                    <a:pt x="4029" y="2062"/>
                    <a:pt x="4029" y="2062"/>
                    <a:pt x="4029" y="2062"/>
                  </a:cubicBezTo>
                  <a:cubicBezTo>
                    <a:pt x="3934" y="2033"/>
                    <a:pt x="3934" y="2033"/>
                    <a:pt x="3934" y="2033"/>
                  </a:cubicBezTo>
                  <a:cubicBezTo>
                    <a:pt x="3756" y="1980"/>
                    <a:pt x="3756" y="1980"/>
                    <a:pt x="3756" y="1980"/>
                  </a:cubicBezTo>
                  <a:cubicBezTo>
                    <a:pt x="3969" y="1865"/>
                    <a:pt x="3969" y="1865"/>
                    <a:pt x="3969" y="1865"/>
                  </a:cubicBezTo>
                  <a:cubicBezTo>
                    <a:pt x="3906" y="1741"/>
                    <a:pt x="3815" y="1629"/>
                    <a:pt x="3697" y="1539"/>
                  </a:cubicBezTo>
                  <a:cubicBezTo>
                    <a:pt x="3589" y="1457"/>
                    <a:pt x="3470" y="1401"/>
                    <a:pt x="3347" y="1370"/>
                  </a:cubicBezTo>
                  <a:lnTo>
                    <a:pt x="3398" y="1056"/>
                  </a:lnTo>
                  <a:close/>
                  <a:moveTo>
                    <a:pt x="1048" y="2193"/>
                  </a:moveTo>
                  <a:cubicBezTo>
                    <a:pt x="1083" y="2008"/>
                    <a:pt x="1159" y="1829"/>
                    <a:pt x="1279" y="1668"/>
                  </a:cubicBezTo>
                  <a:cubicBezTo>
                    <a:pt x="1379" y="1534"/>
                    <a:pt x="1500" y="1426"/>
                    <a:pt x="1635" y="1343"/>
                  </a:cubicBezTo>
                  <a:cubicBezTo>
                    <a:pt x="1519" y="1134"/>
                    <a:pt x="1519" y="1134"/>
                    <a:pt x="1519" y="1134"/>
                  </a:cubicBezTo>
                  <a:cubicBezTo>
                    <a:pt x="1678" y="1180"/>
                    <a:pt x="1678" y="1180"/>
                    <a:pt x="1678" y="1180"/>
                  </a:cubicBezTo>
                  <a:cubicBezTo>
                    <a:pt x="1864" y="1233"/>
                    <a:pt x="1864" y="1233"/>
                    <a:pt x="1864" y="1233"/>
                  </a:cubicBezTo>
                  <a:cubicBezTo>
                    <a:pt x="1970" y="1263"/>
                    <a:pt x="1970" y="1263"/>
                    <a:pt x="1970" y="1263"/>
                  </a:cubicBezTo>
                  <a:cubicBezTo>
                    <a:pt x="2065" y="1290"/>
                    <a:pt x="2065" y="1290"/>
                    <a:pt x="2065" y="1290"/>
                  </a:cubicBezTo>
                  <a:cubicBezTo>
                    <a:pt x="2000" y="1518"/>
                    <a:pt x="2000" y="1518"/>
                    <a:pt x="2000" y="1518"/>
                  </a:cubicBezTo>
                  <a:cubicBezTo>
                    <a:pt x="1999" y="1521"/>
                    <a:pt x="1999" y="1521"/>
                    <a:pt x="1999" y="1521"/>
                  </a:cubicBezTo>
                  <a:cubicBezTo>
                    <a:pt x="1928" y="1771"/>
                    <a:pt x="1928" y="1771"/>
                    <a:pt x="1928" y="1771"/>
                  </a:cubicBezTo>
                  <a:cubicBezTo>
                    <a:pt x="1909" y="1837"/>
                    <a:pt x="1909" y="1837"/>
                    <a:pt x="1909" y="1837"/>
                  </a:cubicBezTo>
                  <a:cubicBezTo>
                    <a:pt x="1789" y="1620"/>
                    <a:pt x="1789" y="1620"/>
                    <a:pt x="1789" y="1620"/>
                  </a:cubicBezTo>
                  <a:cubicBezTo>
                    <a:pt x="1692" y="1682"/>
                    <a:pt x="1605" y="1761"/>
                    <a:pt x="1532" y="1858"/>
                  </a:cubicBezTo>
                  <a:cubicBezTo>
                    <a:pt x="1444" y="1976"/>
                    <a:pt x="1387" y="2108"/>
                    <a:pt x="1360" y="2243"/>
                  </a:cubicBezTo>
                  <a:lnTo>
                    <a:pt x="1048" y="2193"/>
                  </a:lnTo>
                  <a:close/>
                  <a:moveTo>
                    <a:pt x="2138" y="4528"/>
                  </a:moveTo>
                  <a:cubicBezTo>
                    <a:pt x="1947" y="4493"/>
                    <a:pt x="1760" y="4413"/>
                    <a:pt x="1595" y="4287"/>
                  </a:cubicBezTo>
                  <a:cubicBezTo>
                    <a:pt x="1462" y="4185"/>
                    <a:pt x="1355" y="4062"/>
                    <a:pt x="1274" y="3926"/>
                  </a:cubicBezTo>
                  <a:cubicBezTo>
                    <a:pt x="1064" y="4040"/>
                    <a:pt x="1064" y="4040"/>
                    <a:pt x="1064" y="4040"/>
                  </a:cubicBezTo>
                  <a:cubicBezTo>
                    <a:pt x="1111" y="3881"/>
                    <a:pt x="1111" y="3881"/>
                    <a:pt x="1111" y="3881"/>
                  </a:cubicBezTo>
                  <a:cubicBezTo>
                    <a:pt x="1166" y="3696"/>
                    <a:pt x="1166" y="3696"/>
                    <a:pt x="1166" y="3696"/>
                  </a:cubicBezTo>
                  <a:cubicBezTo>
                    <a:pt x="1198" y="3590"/>
                    <a:pt x="1198" y="3590"/>
                    <a:pt x="1198" y="3590"/>
                  </a:cubicBezTo>
                  <a:cubicBezTo>
                    <a:pt x="1226" y="3496"/>
                    <a:pt x="1226" y="3496"/>
                    <a:pt x="1226" y="3496"/>
                  </a:cubicBezTo>
                  <a:cubicBezTo>
                    <a:pt x="1454" y="3563"/>
                    <a:pt x="1454" y="3563"/>
                    <a:pt x="1454" y="3563"/>
                  </a:cubicBezTo>
                  <a:cubicBezTo>
                    <a:pt x="1456" y="3564"/>
                    <a:pt x="1456" y="3564"/>
                    <a:pt x="1456" y="3564"/>
                  </a:cubicBezTo>
                  <a:cubicBezTo>
                    <a:pt x="1705" y="3639"/>
                    <a:pt x="1705" y="3639"/>
                    <a:pt x="1705" y="3639"/>
                  </a:cubicBezTo>
                  <a:cubicBezTo>
                    <a:pt x="1771" y="3658"/>
                    <a:pt x="1771" y="3658"/>
                    <a:pt x="1771" y="3658"/>
                  </a:cubicBezTo>
                  <a:cubicBezTo>
                    <a:pt x="1553" y="3776"/>
                    <a:pt x="1553" y="3776"/>
                    <a:pt x="1553" y="3776"/>
                  </a:cubicBezTo>
                  <a:cubicBezTo>
                    <a:pt x="1613" y="3873"/>
                    <a:pt x="1691" y="3962"/>
                    <a:pt x="1787" y="4035"/>
                  </a:cubicBezTo>
                  <a:cubicBezTo>
                    <a:pt x="1910" y="4128"/>
                    <a:pt x="2047" y="4188"/>
                    <a:pt x="2189" y="4215"/>
                  </a:cubicBezTo>
                  <a:lnTo>
                    <a:pt x="2138" y="4528"/>
                  </a:lnTo>
                  <a:close/>
                  <a:moveTo>
                    <a:pt x="4525" y="3453"/>
                  </a:moveTo>
                  <a:cubicBezTo>
                    <a:pt x="4486" y="3620"/>
                    <a:pt x="4413" y="3781"/>
                    <a:pt x="4305" y="3927"/>
                  </a:cubicBezTo>
                  <a:cubicBezTo>
                    <a:pt x="4188" y="4083"/>
                    <a:pt x="4043" y="4205"/>
                    <a:pt x="3881" y="4291"/>
                  </a:cubicBezTo>
                  <a:cubicBezTo>
                    <a:pt x="4000" y="4505"/>
                    <a:pt x="4000" y="4505"/>
                    <a:pt x="4000" y="4505"/>
                  </a:cubicBezTo>
                  <a:cubicBezTo>
                    <a:pt x="3852" y="4463"/>
                    <a:pt x="3852" y="4463"/>
                    <a:pt x="3852" y="4463"/>
                  </a:cubicBezTo>
                  <a:cubicBezTo>
                    <a:pt x="3616" y="4396"/>
                    <a:pt x="3616" y="4396"/>
                    <a:pt x="3616" y="4396"/>
                  </a:cubicBezTo>
                  <a:cubicBezTo>
                    <a:pt x="3520" y="4368"/>
                    <a:pt x="3520" y="4368"/>
                    <a:pt x="3520" y="4368"/>
                  </a:cubicBezTo>
                  <a:cubicBezTo>
                    <a:pt x="3454" y="4349"/>
                    <a:pt x="3454" y="4349"/>
                    <a:pt x="3454" y="4349"/>
                  </a:cubicBezTo>
                  <a:cubicBezTo>
                    <a:pt x="3527" y="4092"/>
                    <a:pt x="3527" y="4092"/>
                    <a:pt x="3527" y="4092"/>
                  </a:cubicBezTo>
                  <a:cubicBezTo>
                    <a:pt x="3532" y="4076"/>
                    <a:pt x="3532" y="4076"/>
                    <a:pt x="3532" y="4076"/>
                  </a:cubicBezTo>
                  <a:cubicBezTo>
                    <a:pt x="3559" y="3981"/>
                    <a:pt x="3559" y="3981"/>
                    <a:pt x="3559" y="3981"/>
                  </a:cubicBezTo>
                  <a:cubicBezTo>
                    <a:pt x="3610" y="3803"/>
                    <a:pt x="3610" y="3803"/>
                    <a:pt x="3610" y="3803"/>
                  </a:cubicBezTo>
                  <a:cubicBezTo>
                    <a:pt x="3727" y="4014"/>
                    <a:pt x="3727" y="4014"/>
                    <a:pt x="3727" y="4014"/>
                  </a:cubicBezTo>
                  <a:cubicBezTo>
                    <a:pt x="3851" y="3949"/>
                    <a:pt x="3962" y="3857"/>
                    <a:pt x="4051" y="3738"/>
                  </a:cubicBezTo>
                  <a:cubicBezTo>
                    <a:pt x="4128" y="3634"/>
                    <a:pt x="4181" y="3520"/>
                    <a:pt x="4212" y="3402"/>
                  </a:cubicBezTo>
                  <a:lnTo>
                    <a:pt x="4525" y="3453"/>
                  </a:lnTo>
                  <a:close/>
                  <a:moveTo>
                    <a:pt x="1826" y="2772"/>
                  </a:moveTo>
                  <a:cubicBezTo>
                    <a:pt x="1860" y="2816"/>
                    <a:pt x="1898" y="2862"/>
                    <a:pt x="1942" y="2903"/>
                  </a:cubicBezTo>
                  <a:cubicBezTo>
                    <a:pt x="1946" y="2907"/>
                    <a:pt x="1953" y="2910"/>
                    <a:pt x="1956" y="2917"/>
                  </a:cubicBezTo>
                  <a:cubicBezTo>
                    <a:pt x="1949" y="2931"/>
                    <a:pt x="1942" y="2945"/>
                    <a:pt x="1946" y="2962"/>
                  </a:cubicBezTo>
                  <a:cubicBezTo>
                    <a:pt x="1946" y="3000"/>
                    <a:pt x="1967" y="3035"/>
                    <a:pt x="2004" y="3052"/>
                  </a:cubicBezTo>
                  <a:cubicBezTo>
                    <a:pt x="1987" y="3156"/>
                    <a:pt x="1980" y="3242"/>
                    <a:pt x="1977" y="3308"/>
                  </a:cubicBezTo>
                  <a:cubicBezTo>
                    <a:pt x="1881" y="3156"/>
                    <a:pt x="1826" y="2986"/>
                    <a:pt x="1826" y="2813"/>
                  </a:cubicBezTo>
                  <a:cubicBezTo>
                    <a:pt x="1826" y="2799"/>
                    <a:pt x="1826" y="2785"/>
                    <a:pt x="1826" y="2772"/>
                  </a:cubicBezTo>
                  <a:moveTo>
                    <a:pt x="2111" y="3037"/>
                  </a:moveTo>
                  <a:cubicBezTo>
                    <a:pt x="2252" y="3134"/>
                    <a:pt x="2411" y="3210"/>
                    <a:pt x="2586" y="3258"/>
                  </a:cubicBezTo>
                  <a:cubicBezTo>
                    <a:pt x="2600" y="3262"/>
                    <a:pt x="2611" y="3265"/>
                    <a:pt x="2621" y="3269"/>
                  </a:cubicBezTo>
                  <a:cubicBezTo>
                    <a:pt x="2621" y="3272"/>
                    <a:pt x="2621" y="3272"/>
                    <a:pt x="2621" y="3275"/>
                  </a:cubicBezTo>
                  <a:cubicBezTo>
                    <a:pt x="2366" y="3393"/>
                    <a:pt x="2159" y="3424"/>
                    <a:pt x="2073" y="3431"/>
                  </a:cubicBezTo>
                  <a:cubicBezTo>
                    <a:pt x="2063" y="3417"/>
                    <a:pt x="2049" y="3400"/>
                    <a:pt x="2035" y="3386"/>
                  </a:cubicBezTo>
                  <a:cubicBezTo>
                    <a:pt x="2035" y="3324"/>
                    <a:pt x="2035" y="3206"/>
                    <a:pt x="2063" y="3057"/>
                  </a:cubicBezTo>
                  <a:cubicBezTo>
                    <a:pt x="2080" y="3057"/>
                    <a:pt x="2097" y="3051"/>
                    <a:pt x="2111" y="3037"/>
                  </a:cubicBezTo>
                  <a:moveTo>
                    <a:pt x="2547" y="2192"/>
                  </a:moveTo>
                  <a:cubicBezTo>
                    <a:pt x="2664" y="2192"/>
                    <a:pt x="2781" y="2199"/>
                    <a:pt x="2894" y="2220"/>
                  </a:cubicBezTo>
                  <a:cubicBezTo>
                    <a:pt x="2939" y="2227"/>
                    <a:pt x="2987" y="2237"/>
                    <a:pt x="3032" y="2248"/>
                  </a:cubicBezTo>
                  <a:cubicBezTo>
                    <a:pt x="3035" y="2279"/>
                    <a:pt x="3052" y="2310"/>
                    <a:pt x="3083" y="2328"/>
                  </a:cubicBezTo>
                  <a:cubicBezTo>
                    <a:pt x="3049" y="2512"/>
                    <a:pt x="2994" y="2690"/>
                    <a:pt x="2918" y="2857"/>
                  </a:cubicBezTo>
                  <a:cubicBezTo>
                    <a:pt x="2870" y="2965"/>
                    <a:pt x="2815" y="3070"/>
                    <a:pt x="2750" y="3171"/>
                  </a:cubicBezTo>
                  <a:cubicBezTo>
                    <a:pt x="2743" y="3167"/>
                    <a:pt x="2732" y="3164"/>
                    <a:pt x="2722" y="3164"/>
                  </a:cubicBezTo>
                  <a:cubicBezTo>
                    <a:pt x="2691" y="3164"/>
                    <a:pt x="2657" y="3181"/>
                    <a:pt x="2640" y="3209"/>
                  </a:cubicBezTo>
                  <a:cubicBezTo>
                    <a:pt x="2629" y="3206"/>
                    <a:pt x="2616" y="3202"/>
                    <a:pt x="2605" y="3202"/>
                  </a:cubicBezTo>
                  <a:cubicBezTo>
                    <a:pt x="2433" y="3154"/>
                    <a:pt x="2278" y="3080"/>
                    <a:pt x="2144" y="2986"/>
                  </a:cubicBezTo>
                  <a:cubicBezTo>
                    <a:pt x="2148" y="2979"/>
                    <a:pt x="2148" y="2969"/>
                    <a:pt x="2148" y="2958"/>
                  </a:cubicBezTo>
                  <a:cubicBezTo>
                    <a:pt x="2148" y="2927"/>
                    <a:pt x="2131" y="2896"/>
                    <a:pt x="2103" y="2875"/>
                  </a:cubicBezTo>
                  <a:cubicBezTo>
                    <a:pt x="2134" y="2753"/>
                    <a:pt x="2175" y="2638"/>
                    <a:pt x="2227" y="2530"/>
                  </a:cubicBezTo>
                  <a:cubicBezTo>
                    <a:pt x="2272" y="2439"/>
                    <a:pt x="2323" y="2349"/>
                    <a:pt x="2385" y="2262"/>
                  </a:cubicBezTo>
                  <a:cubicBezTo>
                    <a:pt x="2392" y="2262"/>
                    <a:pt x="2402" y="2265"/>
                    <a:pt x="2409" y="2265"/>
                  </a:cubicBezTo>
                  <a:cubicBezTo>
                    <a:pt x="2409" y="2265"/>
                    <a:pt x="2409" y="2265"/>
                    <a:pt x="2413" y="2265"/>
                  </a:cubicBezTo>
                  <a:cubicBezTo>
                    <a:pt x="2454" y="2265"/>
                    <a:pt x="2495" y="2234"/>
                    <a:pt x="2505" y="2192"/>
                  </a:cubicBezTo>
                  <a:cubicBezTo>
                    <a:pt x="2509" y="2192"/>
                    <a:pt x="2509" y="2192"/>
                    <a:pt x="2512" y="2192"/>
                  </a:cubicBezTo>
                  <a:cubicBezTo>
                    <a:pt x="2523" y="2192"/>
                    <a:pt x="2536" y="2192"/>
                    <a:pt x="2547" y="2192"/>
                  </a:cubicBezTo>
                  <a:moveTo>
                    <a:pt x="2320" y="2204"/>
                  </a:moveTo>
                  <a:cubicBezTo>
                    <a:pt x="2324" y="2215"/>
                    <a:pt x="2330" y="2225"/>
                    <a:pt x="2337" y="2232"/>
                  </a:cubicBezTo>
                  <a:cubicBezTo>
                    <a:pt x="2275" y="2323"/>
                    <a:pt x="2220" y="2414"/>
                    <a:pt x="2175" y="2509"/>
                  </a:cubicBezTo>
                  <a:cubicBezTo>
                    <a:pt x="2124" y="2621"/>
                    <a:pt x="2079" y="2740"/>
                    <a:pt x="2045" y="2866"/>
                  </a:cubicBezTo>
                  <a:cubicBezTo>
                    <a:pt x="2031" y="2866"/>
                    <a:pt x="2014" y="2869"/>
                    <a:pt x="2000" y="2876"/>
                  </a:cubicBezTo>
                  <a:cubicBezTo>
                    <a:pt x="1910" y="2792"/>
                    <a:pt x="1862" y="2719"/>
                    <a:pt x="1838" y="2680"/>
                  </a:cubicBezTo>
                  <a:cubicBezTo>
                    <a:pt x="1859" y="2533"/>
                    <a:pt x="1924" y="2386"/>
                    <a:pt x="2017" y="2257"/>
                  </a:cubicBezTo>
                  <a:cubicBezTo>
                    <a:pt x="2072" y="2243"/>
                    <a:pt x="2179" y="2218"/>
                    <a:pt x="2320" y="2204"/>
                  </a:cubicBezTo>
                  <a:moveTo>
                    <a:pt x="3590" y="2285"/>
                  </a:moveTo>
                  <a:cubicBezTo>
                    <a:pt x="3636" y="2344"/>
                    <a:pt x="3671" y="2410"/>
                    <a:pt x="3700" y="2476"/>
                  </a:cubicBezTo>
                  <a:cubicBezTo>
                    <a:pt x="3679" y="2462"/>
                    <a:pt x="3657" y="2448"/>
                    <a:pt x="3632" y="2437"/>
                  </a:cubicBezTo>
                  <a:cubicBezTo>
                    <a:pt x="3636" y="2430"/>
                    <a:pt x="3636" y="2423"/>
                    <a:pt x="3636" y="2413"/>
                  </a:cubicBezTo>
                  <a:cubicBezTo>
                    <a:pt x="3632" y="2378"/>
                    <a:pt x="3615" y="2347"/>
                    <a:pt x="3583" y="2330"/>
                  </a:cubicBezTo>
                  <a:cubicBezTo>
                    <a:pt x="3586" y="2312"/>
                    <a:pt x="3590" y="2298"/>
                    <a:pt x="3590" y="2285"/>
                  </a:cubicBezTo>
                  <a:moveTo>
                    <a:pt x="3174" y="1921"/>
                  </a:moveTo>
                  <a:cubicBezTo>
                    <a:pt x="3312" y="1991"/>
                    <a:pt x="3436" y="2097"/>
                    <a:pt x="3540" y="2220"/>
                  </a:cubicBezTo>
                  <a:cubicBezTo>
                    <a:pt x="3536" y="2244"/>
                    <a:pt x="3533" y="2276"/>
                    <a:pt x="3522" y="2318"/>
                  </a:cubicBezTo>
                  <a:cubicBezTo>
                    <a:pt x="3498" y="2318"/>
                    <a:pt x="3474" y="2329"/>
                    <a:pt x="3457" y="2346"/>
                  </a:cubicBezTo>
                  <a:cubicBezTo>
                    <a:pt x="3381" y="2311"/>
                    <a:pt x="3305" y="2276"/>
                    <a:pt x="3226" y="2248"/>
                  </a:cubicBezTo>
                  <a:cubicBezTo>
                    <a:pt x="3226" y="2248"/>
                    <a:pt x="3226" y="2248"/>
                    <a:pt x="3226" y="2248"/>
                  </a:cubicBezTo>
                  <a:cubicBezTo>
                    <a:pt x="3226" y="2205"/>
                    <a:pt x="3201" y="2167"/>
                    <a:pt x="3163" y="2153"/>
                  </a:cubicBezTo>
                  <a:cubicBezTo>
                    <a:pt x="3170" y="2072"/>
                    <a:pt x="3174" y="1995"/>
                    <a:pt x="3174" y="1921"/>
                  </a:cubicBezTo>
                  <a:moveTo>
                    <a:pt x="2676" y="1834"/>
                  </a:moveTo>
                  <a:cubicBezTo>
                    <a:pt x="2621" y="1887"/>
                    <a:pt x="2541" y="1967"/>
                    <a:pt x="2458" y="2068"/>
                  </a:cubicBezTo>
                  <a:cubicBezTo>
                    <a:pt x="2447" y="2061"/>
                    <a:pt x="2433" y="2061"/>
                    <a:pt x="2419" y="2061"/>
                  </a:cubicBezTo>
                  <a:cubicBezTo>
                    <a:pt x="2416" y="2061"/>
                    <a:pt x="2416" y="2061"/>
                    <a:pt x="2416" y="2061"/>
                  </a:cubicBezTo>
                  <a:cubicBezTo>
                    <a:pt x="2367" y="2061"/>
                    <a:pt x="2329" y="2096"/>
                    <a:pt x="2315" y="2141"/>
                  </a:cubicBezTo>
                  <a:cubicBezTo>
                    <a:pt x="2215" y="2152"/>
                    <a:pt x="2131" y="2169"/>
                    <a:pt x="2072" y="2180"/>
                  </a:cubicBezTo>
                  <a:cubicBezTo>
                    <a:pt x="2235" y="1995"/>
                    <a:pt x="2451" y="1869"/>
                    <a:pt x="2676" y="1834"/>
                  </a:cubicBezTo>
                  <a:moveTo>
                    <a:pt x="2793" y="1828"/>
                  </a:moveTo>
                  <a:cubicBezTo>
                    <a:pt x="2904" y="1828"/>
                    <a:pt x="3014" y="1849"/>
                    <a:pt x="3117" y="1895"/>
                  </a:cubicBezTo>
                  <a:cubicBezTo>
                    <a:pt x="3120" y="1977"/>
                    <a:pt x="3117" y="2058"/>
                    <a:pt x="3107" y="2146"/>
                  </a:cubicBezTo>
                  <a:cubicBezTo>
                    <a:pt x="3079" y="2150"/>
                    <a:pt x="3055" y="2167"/>
                    <a:pt x="3041" y="2192"/>
                  </a:cubicBezTo>
                  <a:cubicBezTo>
                    <a:pt x="2996" y="2181"/>
                    <a:pt x="2948" y="2171"/>
                    <a:pt x="2900" y="2164"/>
                  </a:cubicBezTo>
                  <a:cubicBezTo>
                    <a:pt x="2787" y="2143"/>
                    <a:pt x="2670" y="2135"/>
                    <a:pt x="2553" y="2135"/>
                  </a:cubicBezTo>
                  <a:cubicBezTo>
                    <a:pt x="2539" y="2135"/>
                    <a:pt x="2525" y="2135"/>
                    <a:pt x="2511" y="2135"/>
                  </a:cubicBezTo>
                  <a:cubicBezTo>
                    <a:pt x="2508" y="2135"/>
                    <a:pt x="2508" y="2135"/>
                    <a:pt x="2508" y="2135"/>
                  </a:cubicBezTo>
                  <a:cubicBezTo>
                    <a:pt x="2504" y="2128"/>
                    <a:pt x="2501" y="2118"/>
                    <a:pt x="2498" y="2111"/>
                  </a:cubicBezTo>
                  <a:cubicBezTo>
                    <a:pt x="2618" y="1962"/>
                    <a:pt x="2728" y="1867"/>
                    <a:pt x="2769" y="1828"/>
                  </a:cubicBezTo>
                  <a:cubicBezTo>
                    <a:pt x="2776" y="1828"/>
                    <a:pt x="2787" y="1828"/>
                    <a:pt x="2793" y="1828"/>
                  </a:cubicBezTo>
                  <a:cubicBezTo>
                    <a:pt x="2793" y="1828"/>
                    <a:pt x="2793" y="1828"/>
                    <a:pt x="2793" y="1828"/>
                  </a:cubicBezTo>
                  <a:moveTo>
                    <a:pt x="3605" y="2488"/>
                  </a:moveTo>
                  <a:cubicBezTo>
                    <a:pt x="3660" y="2519"/>
                    <a:pt x="3702" y="2547"/>
                    <a:pt x="3729" y="2568"/>
                  </a:cubicBezTo>
                  <a:cubicBezTo>
                    <a:pt x="3733" y="2586"/>
                    <a:pt x="3740" y="2603"/>
                    <a:pt x="3743" y="2620"/>
                  </a:cubicBezTo>
                  <a:cubicBezTo>
                    <a:pt x="3726" y="2701"/>
                    <a:pt x="3650" y="2955"/>
                    <a:pt x="3464" y="3207"/>
                  </a:cubicBezTo>
                  <a:cubicBezTo>
                    <a:pt x="3453" y="3203"/>
                    <a:pt x="3439" y="3203"/>
                    <a:pt x="3429" y="3203"/>
                  </a:cubicBezTo>
                  <a:cubicBezTo>
                    <a:pt x="3426" y="3203"/>
                    <a:pt x="3426" y="3203"/>
                    <a:pt x="3426" y="3203"/>
                  </a:cubicBezTo>
                  <a:cubicBezTo>
                    <a:pt x="3381" y="3203"/>
                    <a:pt x="3339" y="3234"/>
                    <a:pt x="3329" y="3280"/>
                  </a:cubicBezTo>
                  <a:cubicBezTo>
                    <a:pt x="3305" y="3280"/>
                    <a:pt x="3284" y="3283"/>
                    <a:pt x="3260" y="3283"/>
                  </a:cubicBezTo>
                  <a:cubicBezTo>
                    <a:pt x="3243" y="3283"/>
                    <a:pt x="3225" y="3283"/>
                    <a:pt x="3208" y="3283"/>
                  </a:cubicBezTo>
                  <a:cubicBezTo>
                    <a:pt x="3077" y="3283"/>
                    <a:pt x="2949" y="3273"/>
                    <a:pt x="2822" y="3248"/>
                  </a:cubicBezTo>
                  <a:cubicBezTo>
                    <a:pt x="2822" y="3248"/>
                    <a:pt x="2822" y="3245"/>
                    <a:pt x="2818" y="3245"/>
                  </a:cubicBezTo>
                  <a:cubicBezTo>
                    <a:pt x="2904" y="3196"/>
                    <a:pt x="2984" y="3144"/>
                    <a:pt x="3060" y="3084"/>
                  </a:cubicBezTo>
                  <a:cubicBezTo>
                    <a:pt x="3329" y="2886"/>
                    <a:pt x="3464" y="2666"/>
                    <a:pt x="3526" y="2512"/>
                  </a:cubicBezTo>
                  <a:cubicBezTo>
                    <a:pt x="3532" y="2512"/>
                    <a:pt x="3536" y="2512"/>
                    <a:pt x="3539" y="2512"/>
                  </a:cubicBezTo>
                  <a:cubicBezTo>
                    <a:pt x="3567" y="2512"/>
                    <a:pt x="3588" y="2502"/>
                    <a:pt x="3605" y="2488"/>
                  </a:cubicBezTo>
                  <a:moveTo>
                    <a:pt x="2815" y="3308"/>
                  </a:moveTo>
                  <a:cubicBezTo>
                    <a:pt x="2942" y="3332"/>
                    <a:pt x="3069" y="3343"/>
                    <a:pt x="3199" y="3343"/>
                  </a:cubicBezTo>
                  <a:cubicBezTo>
                    <a:pt x="3220" y="3343"/>
                    <a:pt x="3237" y="3343"/>
                    <a:pt x="3254" y="3343"/>
                  </a:cubicBezTo>
                  <a:cubicBezTo>
                    <a:pt x="3278" y="3339"/>
                    <a:pt x="3302" y="3339"/>
                    <a:pt x="3326" y="3339"/>
                  </a:cubicBezTo>
                  <a:cubicBezTo>
                    <a:pt x="3329" y="3346"/>
                    <a:pt x="3329" y="3353"/>
                    <a:pt x="3336" y="3357"/>
                  </a:cubicBezTo>
                  <a:cubicBezTo>
                    <a:pt x="3082" y="3629"/>
                    <a:pt x="2788" y="3755"/>
                    <a:pt x="2699" y="3783"/>
                  </a:cubicBezTo>
                  <a:cubicBezTo>
                    <a:pt x="2592" y="3772"/>
                    <a:pt x="2486" y="3737"/>
                    <a:pt x="2387" y="3685"/>
                  </a:cubicBezTo>
                  <a:cubicBezTo>
                    <a:pt x="2452" y="3633"/>
                    <a:pt x="2565" y="3528"/>
                    <a:pt x="2688" y="3364"/>
                  </a:cubicBezTo>
                  <a:cubicBezTo>
                    <a:pt x="2699" y="3367"/>
                    <a:pt x="2712" y="3371"/>
                    <a:pt x="2723" y="3371"/>
                  </a:cubicBezTo>
                  <a:cubicBezTo>
                    <a:pt x="2723" y="3371"/>
                    <a:pt x="2723" y="3371"/>
                    <a:pt x="2723" y="3371"/>
                  </a:cubicBezTo>
                  <a:cubicBezTo>
                    <a:pt x="2764" y="3371"/>
                    <a:pt x="2798" y="3346"/>
                    <a:pt x="2815" y="3308"/>
                  </a:cubicBezTo>
                  <a:moveTo>
                    <a:pt x="3758" y="2765"/>
                  </a:moveTo>
                  <a:cubicBezTo>
                    <a:pt x="3761" y="2779"/>
                    <a:pt x="3761" y="2797"/>
                    <a:pt x="3761" y="2811"/>
                  </a:cubicBezTo>
                  <a:cubicBezTo>
                    <a:pt x="3761" y="2961"/>
                    <a:pt x="3721" y="3108"/>
                    <a:pt x="3645" y="3244"/>
                  </a:cubicBezTo>
                  <a:cubicBezTo>
                    <a:pt x="3618" y="3251"/>
                    <a:pt x="3574" y="3258"/>
                    <a:pt x="3519" y="3265"/>
                  </a:cubicBezTo>
                  <a:cubicBezTo>
                    <a:pt x="3516" y="3258"/>
                    <a:pt x="3512" y="3251"/>
                    <a:pt x="3509" y="3247"/>
                  </a:cubicBezTo>
                  <a:cubicBezTo>
                    <a:pt x="3635" y="3073"/>
                    <a:pt x="3717" y="2895"/>
                    <a:pt x="3758" y="2765"/>
                  </a:cubicBezTo>
                  <a:moveTo>
                    <a:pt x="3607" y="3308"/>
                  </a:moveTo>
                  <a:cubicBezTo>
                    <a:pt x="3432" y="3578"/>
                    <a:pt x="3142" y="3771"/>
                    <a:pt x="2843" y="3789"/>
                  </a:cubicBezTo>
                  <a:cubicBezTo>
                    <a:pt x="2974" y="3726"/>
                    <a:pt x="3191" y="3599"/>
                    <a:pt x="3380" y="3396"/>
                  </a:cubicBezTo>
                  <a:cubicBezTo>
                    <a:pt x="3390" y="3399"/>
                    <a:pt x="3404" y="3403"/>
                    <a:pt x="3415" y="3403"/>
                  </a:cubicBezTo>
                  <a:cubicBezTo>
                    <a:pt x="3418" y="3403"/>
                    <a:pt x="3418" y="3403"/>
                    <a:pt x="3418" y="3403"/>
                  </a:cubicBezTo>
                  <a:cubicBezTo>
                    <a:pt x="3466" y="3403"/>
                    <a:pt x="3508" y="3368"/>
                    <a:pt x="3518" y="3322"/>
                  </a:cubicBezTo>
                  <a:cubicBezTo>
                    <a:pt x="3549" y="3315"/>
                    <a:pt x="3580" y="3311"/>
                    <a:pt x="3607" y="3308"/>
                  </a:cubicBezTo>
                  <a:moveTo>
                    <a:pt x="3215" y="2303"/>
                  </a:moveTo>
                  <a:cubicBezTo>
                    <a:pt x="3288" y="2331"/>
                    <a:pt x="3364" y="2362"/>
                    <a:pt x="3437" y="2397"/>
                  </a:cubicBezTo>
                  <a:cubicBezTo>
                    <a:pt x="3437" y="2404"/>
                    <a:pt x="3437" y="2408"/>
                    <a:pt x="3437" y="2415"/>
                  </a:cubicBezTo>
                  <a:cubicBezTo>
                    <a:pt x="3437" y="2442"/>
                    <a:pt x="3451" y="2470"/>
                    <a:pt x="3472" y="2491"/>
                  </a:cubicBezTo>
                  <a:cubicBezTo>
                    <a:pt x="3385" y="2704"/>
                    <a:pt x="3232" y="2889"/>
                    <a:pt x="3024" y="3042"/>
                  </a:cubicBezTo>
                  <a:cubicBezTo>
                    <a:pt x="2958" y="3091"/>
                    <a:pt x="2885" y="3137"/>
                    <a:pt x="2812" y="3178"/>
                  </a:cubicBezTo>
                  <a:cubicBezTo>
                    <a:pt x="2871" y="3088"/>
                    <a:pt x="2923" y="2990"/>
                    <a:pt x="2972" y="2885"/>
                  </a:cubicBezTo>
                  <a:cubicBezTo>
                    <a:pt x="3048" y="2715"/>
                    <a:pt x="3104" y="2533"/>
                    <a:pt x="3138" y="2345"/>
                  </a:cubicBezTo>
                  <a:cubicBezTo>
                    <a:pt x="3170" y="2345"/>
                    <a:pt x="3197" y="2327"/>
                    <a:pt x="3215" y="2303"/>
                  </a:cubicBezTo>
                  <a:moveTo>
                    <a:pt x="2633" y="3339"/>
                  </a:moveTo>
                  <a:cubicBezTo>
                    <a:pt x="2499" y="3508"/>
                    <a:pt x="2382" y="3609"/>
                    <a:pt x="2331" y="3647"/>
                  </a:cubicBezTo>
                  <a:cubicBezTo>
                    <a:pt x="2258" y="3602"/>
                    <a:pt x="2190" y="3550"/>
                    <a:pt x="2128" y="3488"/>
                  </a:cubicBezTo>
                  <a:cubicBezTo>
                    <a:pt x="2227" y="3474"/>
                    <a:pt x="2413" y="3436"/>
                    <a:pt x="2633" y="3339"/>
                  </a:cubicBezTo>
                  <a:moveTo>
                    <a:pt x="3018" y="0"/>
                  </a:moveTo>
                  <a:cubicBezTo>
                    <a:pt x="2513" y="0"/>
                    <a:pt x="2513" y="0"/>
                    <a:pt x="2513" y="0"/>
                  </a:cubicBezTo>
                  <a:cubicBezTo>
                    <a:pt x="2456" y="0"/>
                    <a:pt x="2409" y="47"/>
                    <a:pt x="2409" y="103"/>
                  </a:cubicBezTo>
                  <a:cubicBezTo>
                    <a:pt x="2409" y="1416"/>
                    <a:pt x="2409" y="1416"/>
                    <a:pt x="2409" y="1416"/>
                  </a:cubicBezTo>
                  <a:cubicBezTo>
                    <a:pt x="2409" y="1473"/>
                    <a:pt x="2456" y="1519"/>
                    <a:pt x="2513" y="1519"/>
                  </a:cubicBezTo>
                  <a:cubicBezTo>
                    <a:pt x="3018" y="1519"/>
                    <a:pt x="3018" y="1519"/>
                    <a:pt x="3018" y="1519"/>
                  </a:cubicBezTo>
                  <a:cubicBezTo>
                    <a:pt x="3076" y="1519"/>
                    <a:pt x="3121" y="1473"/>
                    <a:pt x="3121" y="1416"/>
                  </a:cubicBezTo>
                  <a:cubicBezTo>
                    <a:pt x="3121" y="103"/>
                    <a:pt x="3121" y="103"/>
                    <a:pt x="3121" y="103"/>
                  </a:cubicBezTo>
                  <a:cubicBezTo>
                    <a:pt x="3121" y="47"/>
                    <a:pt x="3076" y="0"/>
                    <a:pt x="3018" y="0"/>
                  </a:cubicBezTo>
                  <a:close/>
                  <a:moveTo>
                    <a:pt x="2582" y="1368"/>
                  </a:moveTo>
                  <a:cubicBezTo>
                    <a:pt x="2546" y="1368"/>
                    <a:pt x="2546" y="1368"/>
                    <a:pt x="2546" y="1368"/>
                  </a:cubicBezTo>
                  <a:cubicBezTo>
                    <a:pt x="2517" y="1368"/>
                    <a:pt x="2492" y="1352"/>
                    <a:pt x="2492" y="1332"/>
                  </a:cubicBezTo>
                  <a:cubicBezTo>
                    <a:pt x="2492" y="1309"/>
                    <a:pt x="2492" y="1309"/>
                    <a:pt x="2492" y="1309"/>
                  </a:cubicBezTo>
                  <a:cubicBezTo>
                    <a:pt x="2492" y="1290"/>
                    <a:pt x="2517" y="1275"/>
                    <a:pt x="2546" y="1275"/>
                  </a:cubicBezTo>
                  <a:cubicBezTo>
                    <a:pt x="2582" y="1275"/>
                    <a:pt x="2582" y="1275"/>
                    <a:pt x="2582" y="1275"/>
                  </a:cubicBezTo>
                  <a:cubicBezTo>
                    <a:pt x="2612" y="1275"/>
                    <a:pt x="2636" y="1290"/>
                    <a:pt x="2636" y="1309"/>
                  </a:cubicBezTo>
                  <a:cubicBezTo>
                    <a:pt x="2636" y="1332"/>
                    <a:pt x="2636" y="1332"/>
                    <a:pt x="2636" y="1332"/>
                  </a:cubicBezTo>
                  <a:cubicBezTo>
                    <a:pt x="2636" y="1352"/>
                    <a:pt x="2612" y="1368"/>
                    <a:pt x="2582" y="1368"/>
                  </a:cubicBezTo>
                  <a:close/>
                  <a:moveTo>
                    <a:pt x="2783" y="1253"/>
                  </a:moveTo>
                  <a:cubicBezTo>
                    <a:pt x="2747" y="1253"/>
                    <a:pt x="2747" y="1253"/>
                    <a:pt x="2747" y="1253"/>
                  </a:cubicBezTo>
                  <a:cubicBezTo>
                    <a:pt x="2718" y="1253"/>
                    <a:pt x="2693" y="1238"/>
                    <a:pt x="2693" y="1218"/>
                  </a:cubicBezTo>
                  <a:cubicBezTo>
                    <a:pt x="2693" y="1195"/>
                    <a:pt x="2693" y="1195"/>
                    <a:pt x="2693" y="1195"/>
                  </a:cubicBezTo>
                  <a:cubicBezTo>
                    <a:pt x="2693" y="1176"/>
                    <a:pt x="2718" y="1160"/>
                    <a:pt x="2747" y="1160"/>
                  </a:cubicBezTo>
                  <a:cubicBezTo>
                    <a:pt x="2783" y="1160"/>
                    <a:pt x="2783" y="1160"/>
                    <a:pt x="2783" y="1160"/>
                  </a:cubicBezTo>
                  <a:cubicBezTo>
                    <a:pt x="2813" y="1160"/>
                    <a:pt x="2837" y="1176"/>
                    <a:pt x="2837" y="1195"/>
                  </a:cubicBezTo>
                  <a:cubicBezTo>
                    <a:pt x="2837" y="1218"/>
                    <a:pt x="2837" y="1218"/>
                    <a:pt x="2837" y="1218"/>
                  </a:cubicBezTo>
                  <a:cubicBezTo>
                    <a:pt x="2837" y="1238"/>
                    <a:pt x="2813" y="1253"/>
                    <a:pt x="2783" y="1253"/>
                  </a:cubicBezTo>
                  <a:close/>
                  <a:moveTo>
                    <a:pt x="2837" y="1309"/>
                  </a:moveTo>
                  <a:cubicBezTo>
                    <a:pt x="2837" y="1332"/>
                    <a:pt x="2837" y="1332"/>
                    <a:pt x="2837" y="1332"/>
                  </a:cubicBezTo>
                  <a:cubicBezTo>
                    <a:pt x="2837" y="1352"/>
                    <a:pt x="2813" y="1368"/>
                    <a:pt x="2783" y="1368"/>
                  </a:cubicBezTo>
                  <a:cubicBezTo>
                    <a:pt x="2747" y="1368"/>
                    <a:pt x="2747" y="1368"/>
                    <a:pt x="2747" y="1368"/>
                  </a:cubicBezTo>
                  <a:cubicBezTo>
                    <a:pt x="2718" y="1368"/>
                    <a:pt x="2693" y="1352"/>
                    <a:pt x="2693" y="1332"/>
                  </a:cubicBezTo>
                  <a:cubicBezTo>
                    <a:pt x="2693" y="1309"/>
                    <a:pt x="2693" y="1309"/>
                    <a:pt x="2693" y="1309"/>
                  </a:cubicBezTo>
                  <a:cubicBezTo>
                    <a:pt x="2693" y="1290"/>
                    <a:pt x="2718" y="1275"/>
                    <a:pt x="2747" y="1275"/>
                  </a:cubicBezTo>
                  <a:cubicBezTo>
                    <a:pt x="2783" y="1275"/>
                    <a:pt x="2783" y="1275"/>
                    <a:pt x="2783" y="1275"/>
                  </a:cubicBezTo>
                  <a:cubicBezTo>
                    <a:pt x="2813" y="1275"/>
                    <a:pt x="2837" y="1290"/>
                    <a:pt x="2837" y="1309"/>
                  </a:cubicBezTo>
                  <a:close/>
                  <a:moveTo>
                    <a:pt x="2783" y="1138"/>
                  </a:moveTo>
                  <a:cubicBezTo>
                    <a:pt x="2747" y="1138"/>
                    <a:pt x="2747" y="1138"/>
                    <a:pt x="2747" y="1138"/>
                  </a:cubicBezTo>
                  <a:cubicBezTo>
                    <a:pt x="2718" y="1138"/>
                    <a:pt x="2693" y="1122"/>
                    <a:pt x="2693" y="1103"/>
                  </a:cubicBezTo>
                  <a:cubicBezTo>
                    <a:pt x="2693" y="1080"/>
                    <a:pt x="2693" y="1080"/>
                    <a:pt x="2693" y="1080"/>
                  </a:cubicBezTo>
                  <a:cubicBezTo>
                    <a:pt x="2693" y="1060"/>
                    <a:pt x="2718" y="1045"/>
                    <a:pt x="2747" y="1045"/>
                  </a:cubicBezTo>
                  <a:cubicBezTo>
                    <a:pt x="2783" y="1045"/>
                    <a:pt x="2783" y="1045"/>
                    <a:pt x="2783" y="1045"/>
                  </a:cubicBezTo>
                  <a:cubicBezTo>
                    <a:pt x="2813" y="1045"/>
                    <a:pt x="2837" y="1060"/>
                    <a:pt x="2837" y="1080"/>
                  </a:cubicBezTo>
                  <a:cubicBezTo>
                    <a:pt x="2837" y="1103"/>
                    <a:pt x="2837" y="1103"/>
                    <a:pt x="2837" y="1103"/>
                  </a:cubicBezTo>
                  <a:cubicBezTo>
                    <a:pt x="2837" y="1122"/>
                    <a:pt x="2813" y="1138"/>
                    <a:pt x="2783" y="1138"/>
                  </a:cubicBezTo>
                  <a:close/>
                  <a:moveTo>
                    <a:pt x="2783" y="1023"/>
                  </a:moveTo>
                  <a:cubicBezTo>
                    <a:pt x="2747" y="1023"/>
                    <a:pt x="2747" y="1023"/>
                    <a:pt x="2747" y="1023"/>
                  </a:cubicBezTo>
                  <a:cubicBezTo>
                    <a:pt x="2718" y="1023"/>
                    <a:pt x="2693" y="1008"/>
                    <a:pt x="2693" y="988"/>
                  </a:cubicBezTo>
                  <a:cubicBezTo>
                    <a:pt x="2693" y="965"/>
                    <a:pt x="2693" y="965"/>
                    <a:pt x="2693" y="965"/>
                  </a:cubicBezTo>
                  <a:cubicBezTo>
                    <a:pt x="2693" y="946"/>
                    <a:pt x="2718" y="930"/>
                    <a:pt x="2747" y="930"/>
                  </a:cubicBezTo>
                  <a:cubicBezTo>
                    <a:pt x="2783" y="930"/>
                    <a:pt x="2783" y="930"/>
                    <a:pt x="2783" y="930"/>
                  </a:cubicBezTo>
                  <a:cubicBezTo>
                    <a:pt x="2813" y="930"/>
                    <a:pt x="2837" y="946"/>
                    <a:pt x="2837" y="965"/>
                  </a:cubicBezTo>
                  <a:cubicBezTo>
                    <a:pt x="2837" y="988"/>
                    <a:pt x="2837" y="988"/>
                    <a:pt x="2837" y="988"/>
                  </a:cubicBezTo>
                  <a:cubicBezTo>
                    <a:pt x="2837" y="1008"/>
                    <a:pt x="2813" y="1023"/>
                    <a:pt x="2783" y="1023"/>
                  </a:cubicBezTo>
                  <a:close/>
                  <a:moveTo>
                    <a:pt x="2780" y="860"/>
                  </a:moveTo>
                  <a:cubicBezTo>
                    <a:pt x="2816" y="854"/>
                    <a:pt x="2844" y="824"/>
                    <a:pt x="2847" y="786"/>
                  </a:cubicBezTo>
                  <a:cubicBezTo>
                    <a:pt x="3022" y="786"/>
                    <a:pt x="3022" y="786"/>
                    <a:pt x="3022" y="786"/>
                  </a:cubicBezTo>
                  <a:cubicBezTo>
                    <a:pt x="3022" y="787"/>
                    <a:pt x="3022" y="787"/>
                    <a:pt x="3022" y="787"/>
                  </a:cubicBezTo>
                  <a:cubicBezTo>
                    <a:pt x="3022" y="828"/>
                    <a:pt x="2990" y="860"/>
                    <a:pt x="2949" y="860"/>
                  </a:cubicBezTo>
                  <a:cubicBezTo>
                    <a:pt x="2780" y="860"/>
                    <a:pt x="2780" y="860"/>
                    <a:pt x="2780" y="860"/>
                  </a:cubicBezTo>
                  <a:cubicBezTo>
                    <a:pt x="2780" y="860"/>
                    <a:pt x="2780" y="860"/>
                    <a:pt x="2780" y="860"/>
                  </a:cubicBezTo>
                  <a:close/>
                  <a:moveTo>
                    <a:pt x="2847" y="777"/>
                  </a:moveTo>
                  <a:cubicBezTo>
                    <a:pt x="2846" y="742"/>
                    <a:pt x="2822" y="712"/>
                    <a:pt x="2790" y="702"/>
                  </a:cubicBezTo>
                  <a:cubicBezTo>
                    <a:pt x="2949" y="702"/>
                    <a:pt x="2949" y="702"/>
                    <a:pt x="2949" y="702"/>
                  </a:cubicBezTo>
                  <a:cubicBezTo>
                    <a:pt x="2990" y="702"/>
                    <a:pt x="3022" y="735"/>
                    <a:pt x="3022" y="775"/>
                  </a:cubicBezTo>
                  <a:cubicBezTo>
                    <a:pt x="3022" y="777"/>
                    <a:pt x="3022" y="777"/>
                    <a:pt x="3022" y="777"/>
                  </a:cubicBezTo>
                  <a:cubicBezTo>
                    <a:pt x="2847" y="777"/>
                    <a:pt x="2847" y="777"/>
                    <a:pt x="2847" y="777"/>
                  </a:cubicBezTo>
                  <a:cubicBezTo>
                    <a:pt x="2847" y="777"/>
                    <a:pt x="2847" y="777"/>
                    <a:pt x="2847" y="777"/>
                  </a:cubicBezTo>
                  <a:close/>
                  <a:moveTo>
                    <a:pt x="2831" y="779"/>
                  </a:moveTo>
                  <a:cubicBezTo>
                    <a:pt x="2831" y="816"/>
                    <a:pt x="2802" y="845"/>
                    <a:pt x="2765" y="845"/>
                  </a:cubicBezTo>
                  <a:cubicBezTo>
                    <a:pt x="2729" y="845"/>
                    <a:pt x="2700" y="816"/>
                    <a:pt x="2700" y="779"/>
                  </a:cubicBezTo>
                  <a:cubicBezTo>
                    <a:pt x="2700" y="742"/>
                    <a:pt x="2729" y="713"/>
                    <a:pt x="2765" y="713"/>
                  </a:cubicBezTo>
                  <a:cubicBezTo>
                    <a:pt x="2802" y="713"/>
                    <a:pt x="2831" y="742"/>
                    <a:pt x="2831" y="779"/>
                  </a:cubicBezTo>
                  <a:close/>
                  <a:moveTo>
                    <a:pt x="2684" y="777"/>
                  </a:moveTo>
                  <a:cubicBezTo>
                    <a:pt x="2509" y="777"/>
                    <a:pt x="2509" y="777"/>
                    <a:pt x="2509" y="777"/>
                  </a:cubicBezTo>
                  <a:cubicBezTo>
                    <a:pt x="2509" y="775"/>
                    <a:pt x="2509" y="775"/>
                    <a:pt x="2509" y="775"/>
                  </a:cubicBezTo>
                  <a:cubicBezTo>
                    <a:pt x="2509" y="735"/>
                    <a:pt x="2542" y="702"/>
                    <a:pt x="2582" y="702"/>
                  </a:cubicBezTo>
                  <a:cubicBezTo>
                    <a:pt x="2741" y="702"/>
                    <a:pt x="2741" y="702"/>
                    <a:pt x="2741" y="702"/>
                  </a:cubicBezTo>
                  <a:cubicBezTo>
                    <a:pt x="2709" y="712"/>
                    <a:pt x="2685" y="742"/>
                    <a:pt x="2684" y="777"/>
                  </a:cubicBezTo>
                  <a:close/>
                  <a:moveTo>
                    <a:pt x="2685" y="786"/>
                  </a:moveTo>
                  <a:cubicBezTo>
                    <a:pt x="2687" y="824"/>
                    <a:pt x="2715" y="854"/>
                    <a:pt x="2752" y="860"/>
                  </a:cubicBezTo>
                  <a:cubicBezTo>
                    <a:pt x="2582" y="860"/>
                    <a:pt x="2582" y="860"/>
                    <a:pt x="2582" y="860"/>
                  </a:cubicBezTo>
                  <a:cubicBezTo>
                    <a:pt x="2542" y="860"/>
                    <a:pt x="2509" y="828"/>
                    <a:pt x="2509" y="787"/>
                  </a:cubicBezTo>
                  <a:cubicBezTo>
                    <a:pt x="2509" y="786"/>
                    <a:pt x="2509" y="786"/>
                    <a:pt x="2509" y="786"/>
                  </a:cubicBezTo>
                  <a:cubicBezTo>
                    <a:pt x="2685" y="786"/>
                    <a:pt x="2685" y="786"/>
                    <a:pt x="2685" y="786"/>
                  </a:cubicBezTo>
                  <a:cubicBezTo>
                    <a:pt x="2685" y="786"/>
                    <a:pt x="2685" y="786"/>
                    <a:pt x="2685" y="786"/>
                  </a:cubicBezTo>
                  <a:close/>
                  <a:moveTo>
                    <a:pt x="2546" y="930"/>
                  </a:moveTo>
                  <a:cubicBezTo>
                    <a:pt x="2582" y="930"/>
                    <a:pt x="2582" y="930"/>
                    <a:pt x="2582" y="930"/>
                  </a:cubicBezTo>
                  <a:cubicBezTo>
                    <a:pt x="2612" y="930"/>
                    <a:pt x="2636" y="946"/>
                    <a:pt x="2636" y="965"/>
                  </a:cubicBezTo>
                  <a:cubicBezTo>
                    <a:pt x="2636" y="988"/>
                    <a:pt x="2636" y="988"/>
                    <a:pt x="2636" y="988"/>
                  </a:cubicBezTo>
                  <a:cubicBezTo>
                    <a:pt x="2636" y="1008"/>
                    <a:pt x="2612" y="1023"/>
                    <a:pt x="2582" y="1023"/>
                  </a:cubicBezTo>
                  <a:cubicBezTo>
                    <a:pt x="2546" y="1023"/>
                    <a:pt x="2546" y="1023"/>
                    <a:pt x="2546" y="1023"/>
                  </a:cubicBezTo>
                  <a:cubicBezTo>
                    <a:pt x="2517" y="1023"/>
                    <a:pt x="2492" y="1008"/>
                    <a:pt x="2492" y="988"/>
                  </a:cubicBezTo>
                  <a:cubicBezTo>
                    <a:pt x="2492" y="965"/>
                    <a:pt x="2492" y="965"/>
                    <a:pt x="2492" y="965"/>
                  </a:cubicBezTo>
                  <a:cubicBezTo>
                    <a:pt x="2492" y="946"/>
                    <a:pt x="2517" y="930"/>
                    <a:pt x="2546" y="930"/>
                  </a:cubicBezTo>
                  <a:close/>
                  <a:moveTo>
                    <a:pt x="2546" y="1045"/>
                  </a:moveTo>
                  <a:cubicBezTo>
                    <a:pt x="2582" y="1045"/>
                    <a:pt x="2582" y="1045"/>
                    <a:pt x="2582" y="1045"/>
                  </a:cubicBezTo>
                  <a:cubicBezTo>
                    <a:pt x="2612" y="1045"/>
                    <a:pt x="2636" y="1060"/>
                    <a:pt x="2636" y="1080"/>
                  </a:cubicBezTo>
                  <a:cubicBezTo>
                    <a:pt x="2636" y="1103"/>
                    <a:pt x="2636" y="1103"/>
                    <a:pt x="2636" y="1103"/>
                  </a:cubicBezTo>
                  <a:cubicBezTo>
                    <a:pt x="2636" y="1122"/>
                    <a:pt x="2612" y="1138"/>
                    <a:pt x="2582" y="1138"/>
                  </a:cubicBezTo>
                  <a:cubicBezTo>
                    <a:pt x="2546" y="1138"/>
                    <a:pt x="2546" y="1138"/>
                    <a:pt x="2546" y="1138"/>
                  </a:cubicBezTo>
                  <a:cubicBezTo>
                    <a:pt x="2517" y="1138"/>
                    <a:pt x="2492" y="1122"/>
                    <a:pt x="2492" y="1103"/>
                  </a:cubicBezTo>
                  <a:cubicBezTo>
                    <a:pt x="2492" y="1080"/>
                    <a:pt x="2492" y="1080"/>
                    <a:pt x="2492" y="1080"/>
                  </a:cubicBezTo>
                  <a:cubicBezTo>
                    <a:pt x="2492" y="1060"/>
                    <a:pt x="2517" y="1045"/>
                    <a:pt x="2546" y="1045"/>
                  </a:cubicBezTo>
                  <a:close/>
                  <a:moveTo>
                    <a:pt x="2546" y="1160"/>
                  </a:moveTo>
                  <a:cubicBezTo>
                    <a:pt x="2582" y="1160"/>
                    <a:pt x="2582" y="1160"/>
                    <a:pt x="2582" y="1160"/>
                  </a:cubicBezTo>
                  <a:cubicBezTo>
                    <a:pt x="2612" y="1160"/>
                    <a:pt x="2636" y="1176"/>
                    <a:pt x="2636" y="1195"/>
                  </a:cubicBezTo>
                  <a:cubicBezTo>
                    <a:pt x="2636" y="1218"/>
                    <a:pt x="2636" y="1218"/>
                    <a:pt x="2636" y="1218"/>
                  </a:cubicBezTo>
                  <a:cubicBezTo>
                    <a:pt x="2636" y="1238"/>
                    <a:pt x="2612" y="1253"/>
                    <a:pt x="2582" y="1253"/>
                  </a:cubicBezTo>
                  <a:cubicBezTo>
                    <a:pt x="2546" y="1253"/>
                    <a:pt x="2546" y="1253"/>
                    <a:pt x="2546" y="1253"/>
                  </a:cubicBezTo>
                  <a:cubicBezTo>
                    <a:pt x="2517" y="1253"/>
                    <a:pt x="2492" y="1238"/>
                    <a:pt x="2492" y="1218"/>
                  </a:cubicBezTo>
                  <a:cubicBezTo>
                    <a:pt x="2492" y="1195"/>
                    <a:pt x="2492" y="1195"/>
                    <a:pt x="2492" y="1195"/>
                  </a:cubicBezTo>
                  <a:cubicBezTo>
                    <a:pt x="2492" y="1176"/>
                    <a:pt x="2517" y="1160"/>
                    <a:pt x="2546" y="1160"/>
                  </a:cubicBezTo>
                  <a:close/>
                  <a:moveTo>
                    <a:pt x="2891" y="1461"/>
                  </a:moveTo>
                  <a:cubicBezTo>
                    <a:pt x="2640" y="1461"/>
                    <a:pt x="2640" y="1461"/>
                    <a:pt x="2640" y="1461"/>
                  </a:cubicBezTo>
                  <a:cubicBezTo>
                    <a:pt x="2635" y="1461"/>
                    <a:pt x="2629" y="1456"/>
                    <a:pt x="2629" y="1450"/>
                  </a:cubicBezTo>
                  <a:cubicBezTo>
                    <a:pt x="2629" y="1444"/>
                    <a:pt x="2635" y="1440"/>
                    <a:pt x="2640" y="1440"/>
                  </a:cubicBezTo>
                  <a:cubicBezTo>
                    <a:pt x="2891" y="1440"/>
                    <a:pt x="2891" y="1440"/>
                    <a:pt x="2891" y="1440"/>
                  </a:cubicBezTo>
                  <a:cubicBezTo>
                    <a:pt x="2897" y="1440"/>
                    <a:pt x="2901" y="1444"/>
                    <a:pt x="2901" y="1450"/>
                  </a:cubicBezTo>
                  <a:cubicBezTo>
                    <a:pt x="2901" y="1456"/>
                    <a:pt x="2897" y="1461"/>
                    <a:pt x="2891" y="1461"/>
                  </a:cubicBezTo>
                  <a:close/>
                  <a:moveTo>
                    <a:pt x="3039" y="1332"/>
                  </a:moveTo>
                  <a:cubicBezTo>
                    <a:pt x="3039" y="1352"/>
                    <a:pt x="3015" y="1368"/>
                    <a:pt x="2984" y="1368"/>
                  </a:cubicBezTo>
                  <a:cubicBezTo>
                    <a:pt x="2949" y="1368"/>
                    <a:pt x="2949" y="1368"/>
                    <a:pt x="2949" y="1368"/>
                  </a:cubicBezTo>
                  <a:cubicBezTo>
                    <a:pt x="2919" y="1368"/>
                    <a:pt x="2895" y="1352"/>
                    <a:pt x="2895" y="1332"/>
                  </a:cubicBezTo>
                  <a:cubicBezTo>
                    <a:pt x="2895" y="1309"/>
                    <a:pt x="2895" y="1309"/>
                    <a:pt x="2895" y="1309"/>
                  </a:cubicBezTo>
                  <a:cubicBezTo>
                    <a:pt x="2895" y="1290"/>
                    <a:pt x="2919" y="1275"/>
                    <a:pt x="2949" y="1275"/>
                  </a:cubicBezTo>
                  <a:cubicBezTo>
                    <a:pt x="2984" y="1275"/>
                    <a:pt x="2984" y="1275"/>
                    <a:pt x="2984" y="1275"/>
                  </a:cubicBezTo>
                  <a:cubicBezTo>
                    <a:pt x="3015" y="1275"/>
                    <a:pt x="3039" y="1290"/>
                    <a:pt x="3039" y="1309"/>
                  </a:cubicBezTo>
                  <a:cubicBezTo>
                    <a:pt x="3039" y="1332"/>
                    <a:pt x="3039" y="1332"/>
                    <a:pt x="3039" y="1332"/>
                  </a:cubicBezTo>
                  <a:cubicBezTo>
                    <a:pt x="3039" y="1332"/>
                    <a:pt x="3039" y="1332"/>
                    <a:pt x="3039" y="1332"/>
                  </a:cubicBezTo>
                  <a:close/>
                  <a:moveTo>
                    <a:pt x="3039" y="1218"/>
                  </a:moveTo>
                  <a:cubicBezTo>
                    <a:pt x="3039" y="1238"/>
                    <a:pt x="3015" y="1253"/>
                    <a:pt x="2984" y="1253"/>
                  </a:cubicBezTo>
                  <a:cubicBezTo>
                    <a:pt x="2949" y="1253"/>
                    <a:pt x="2949" y="1253"/>
                    <a:pt x="2949" y="1253"/>
                  </a:cubicBezTo>
                  <a:cubicBezTo>
                    <a:pt x="2919" y="1253"/>
                    <a:pt x="2895" y="1238"/>
                    <a:pt x="2895" y="1218"/>
                  </a:cubicBezTo>
                  <a:cubicBezTo>
                    <a:pt x="2895" y="1195"/>
                    <a:pt x="2895" y="1195"/>
                    <a:pt x="2895" y="1195"/>
                  </a:cubicBezTo>
                  <a:cubicBezTo>
                    <a:pt x="2895" y="1176"/>
                    <a:pt x="2919" y="1160"/>
                    <a:pt x="2949" y="1160"/>
                  </a:cubicBezTo>
                  <a:cubicBezTo>
                    <a:pt x="2984" y="1160"/>
                    <a:pt x="2984" y="1160"/>
                    <a:pt x="2984" y="1160"/>
                  </a:cubicBezTo>
                  <a:cubicBezTo>
                    <a:pt x="3015" y="1160"/>
                    <a:pt x="3039" y="1176"/>
                    <a:pt x="3039" y="1195"/>
                  </a:cubicBezTo>
                  <a:cubicBezTo>
                    <a:pt x="3039" y="1218"/>
                    <a:pt x="3039" y="1218"/>
                    <a:pt x="3039" y="1218"/>
                  </a:cubicBezTo>
                  <a:cubicBezTo>
                    <a:pt x="3039" y="1218"/>
                    <a:pt x="3039" y="1218"/>
                    <a:pt x="3039" y="1218"/>
                  </a:cubicBezTo>
                  <a:close/>
                  <a:moveTo>
                    <a:pt x="3039" y="1103"/>
                  </a:moveTo>
                  <a:cubicBezTo>
                    <a:pt x="3039" y="1122"/>
                    <a:pt x="3015" y="1138"/>
                    <a:pt x="2984" y="1138"/>
                  </a:cubicBezTo>
                  <a:cubicBezTo>
                    <a:pt x="2949" y="1138"/>
                    <a:pt x="2949" y="1138"/>
                    <a:pt x="2949" y="1138"/>
                  </a:cubicBezTo>
                  <a:cubicBezTo>
                    <a:pt x="2919" y="1138"/>
                    <a:pt x="2895" y="1122"/>
                    <a:pt x="2895" y="1103"/>
                  </a:cubicBezTo>
                  <a:cubicBezTo>
                    <a:pt x="2895" y="1080"/>
                    <a:pt x="2895" y="1080"/>
                    <a:pt x="2895" y="1080"/>
                  </a:cubicBezTo>
                  <a:cubicBezTo>
                    <a:pt x="2895" y="1060"/>
                    <a:pt x="2919" y="1045"/>
                    <a:pt x="2949" y="1045"/>
                  </a:cubicBezTo>
                  <a:cubicBezTo>
                    <a:pt x="2984" y="1045"/>
                    <a:pt x="2984" y="1045"/>
                    <a:pt x="2984" y="1045"/>
                  </a:cubicBezTo>
                  <a:cubicBezTo>
                    <a:pt x="3015" y="1045"/>
                    <a:pt x="3039" y="1060"/>
                    <a:pt x="3039" y="1080"/>
                  </a:cubicBezTo>
                  <a:cubicBezTo>
                    <a:pt x="3039" y="1103"/>
                    <a:pt x="3039" y="1103"/>
                    <a:pt x="3039" y="1103"/>
                  </a:cubicBezTo>
                  <a:cubicBezTo>
                    <a:pt x="3039" y="1103"/>
                    <a:pt x="3039" y="1103"/>
                    <a:pt x="3039" y="1103"/>
                  </a:cubicBezTo>
                  <a:close/>
                  <a:moveTo>
                    <a:pt x="3039" y="988"/>
                  </a:moveTo>
                  <a:cubicBezTo>
                    <a:pt x="3039" y="1008"/>
                    <a:pt x="3015" y="1023"/>
                    <a:pt x="2984" y="1023"/>
                  </a:cubicBezTo>
                  <a:cubicBezTo>
                    <a:pt x="2949" y="1023"/>
                    <a:pt x="2949" y="1023"/>
                    <a:pt x="2949" y="1023"/>
                  </a:cubicBezTo>
                  <a:cubicBezTo>
                    <a:pt x="2919" y="1023"/>
                    <a:pt x="2895" y="1008"/>
                    <a:pt x="2895" y="988"/>
                  </a:cubicBezTo>
                  <a:cubicBezTo>
                    <a:pt x="2895" y="965"/>
                    <a:pt x="2895" y="965"/>
                    <a:pt x="2895" y="965"/>
                  </a:cubicBezTo>
                  <a:cubicBezTo>
                    <a:pt x="2895" y="946"/>
                    <a:pt x="2919" y="930"/>
                    <a:pt x="2949" y="930"/>
                  </a:cubicBezTo>
                  <a:cubicBezTo>
                    <a:pt x="2984" y="930"/>
                    <a:pt x="2984" y="930"/>
                    <a:pt x="2984" y="930"/>
                  </a:cubicBezTo>
                  <a:cubicBezTo>
                    <a:pt x="3015" y="930"/>
                    <a:pt x="3039" y="946"/>
                    <a:pt x="3039" y="965"/>
                  </a:cubicBezTo>
                  <a:cubicBezTo>
                    <a:pt x="3039" y="988"/>
                    <a:pt x="3039" y="988"/>
                    <a:pt x="3039" y="988"/>
                  </a:cubicBezTo>
                  <a:cubicBezTo>
                    <a:pt x="3039" y="988"/>
                    <a:pt x="3039" y="988"/>
                    <a:pt x="3039" y="988"/>
                  </a:cubicBezTo>
                  <a:close/>
                  <a:moveTo>
                    <a:pt x="3047" y="604"/>
                  </a:moveTo>
                  <a:cubicBezTo>
                    <a:pt x="3047" y="624"/>
                    <a:pt x="3031" y="641"/>
                    <a:pt x="3011" y="641"/>
                  </a:cubicBezTo>
                  <a:cubicBezTo>
                    <a:pt x="2520" y="641"/>
                    <a:pt x="2520" y="641"/>
                    <a:pt x="2520" y="641"/>
                  </a:cubicBezTo>
                  <a:cubicBezTo>
                    <a:pt x="2501" y="641"/>
                    <a:pt x="2483" y="624"/>
                    <a:pt x="2483" y="604"/>
                  </a:cubicBezTo>
                  <a:cubicBezTo>
                    <a:pt x="2483" y="113"/>
                    <a:pt x="2483" y="113"/>
                    <a:pt x="2483" y="113"/>
                  </a:cubicBezTo>
                  <a:cubicBezTo>
                    <a:pt x="2483" y="92"/>
                    <a:pt x="2501" y="76"/>
                    <a:pt x="2520" y="76"/>
                  </a:cubicBezTo>
                  <a:cubicBezTo>
                    <a:pt x="3011" y="76"/>
                    <a:pt x="3011" y="76"/>
                    <a:pt x="3011" y="76"/>
                  </a:cubicBezTo>
                  <a:cubicBezTo>
                    <a:pt x="3031" y="76"/>
                    <a:pt x="3047" y="92"/>
                    <a:pt x="3047" y="113"/>
                  </a:cubicBezTo>
                  <a:cubicBezTo>
                    <a:pt x="3047" y="604"/>
                    <a:pt x="3047" y="604"/>
                    <a:pt x="3047" y="604"/>
                  </a:cubicBezTo>
                  <a:cubicBezTo>
                    <a:pt x="3047" y="604"/>
                    <a:pt x="3047" y="604"/>
                    <a:pt x="3047" y="604"/>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close/>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close/>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close/>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close/>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close/>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close/>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close/>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close/>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close/>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close/>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close/>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close/>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close/>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close/>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close/>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close/>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close/>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close/>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close/>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close/>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close/>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close/>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close/>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close/>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close/>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close/>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moveTo>
                    <a:pt x="697" y="2398"/>
                  </a:moveTo>
                  <a:cubicBezTo>
                    <a:pt x="794" y="2398"/>
                    <a:pt x="875" y="2464"/>
                    <a:pt x="920" y="2559"/>
                  </a:cubicBezTo>
                  <a:cubicBezTo>
                    <a:pt x="972" y="2522"/>
                    <a:pt x="1031" y="2500"/>
                    <a:pt x="1098" y="2500"/>
                  </a:cubicBezTo>
                  <a:cubicBezTo>
                    <a:pt x="1247" y="2500"/>
                    <a:pt x="1373" y="2602"/>
                    <a:pt x="1402" y="2741"/>
                  </a:cubicBezTo>
                  <a:cubicBezTo>
                    <a:pt x="1417" y="2734"/>
                    <a:pt x="1440" y="2726"/>
                    <a:pt x="1462" y="2726"/>
                  </a:cubicBezTo>
                  <a:cubicBezTo>
                    <a:pt x="1543" y="2726"/>
                    <a:pt x="1610" y="2792"/>
                    <a:pt x="1610" y="2872"/>
                  </a:cubicBezTo>
                  <a:cubicBezTo>
                    <a:pt x="1610" y="2953"/>
                    <a:pt x="1543" y="3018"/>
                    <a:pt x="1462" y="3018"/>
                  </a:cubicBezTo>
                  <a:cubicBezTo>
                    <a:pt x="1432" y="3018"/>
                    <a:pt x="1410" y="3011"/>
                    <a:pt x="1388" y="2996"/>
                  </a:cubicBezTo>
                  <a:cubicBezTo>
                    <a:pt x="1343" y="3106"/>
                    <a:pt x="1232" y="3186"/>
                    <a:pt x="1098" y="3186"/>
                  </a:cubicBezTo>
                  <a:cubicBezTo>
                    <a:pt x="1016" y="3186"/>
                    <a:pt x="935" y="3150"/>
                    <a:pt x="883" y="3099"/>
                  </a:cubicBezTo>
                  <a:cubicBezTo>
                    <a:pt x="838" y="3150"/>
                    <a:pt x="772" y="3179"/>
                    <a:pt x="697" y="3179"/>
                  </a:cubicBezTo>
                  <a:cubicBezTo>
                    <a:pt x="608" y="3179"/>
                    <a:pt x="534" y="3135"/>
                    <a:pt x="489" y="3077"/>
                  </a:cubicBezTo>
                  <a:cubicBezTo>
                    <a:pt x="475" y="3128"/>
                    <a:pt x="423" y="3164"/>
                    <a:pt x="363" y="3164"/>
                  </a:cubicBezTo>
                  <a:cubicBezTo>
                    <a:pt x="296" y="3164"/>
                    <a:pt x="244" y="3120"/>
                    <a:pt x="230" y="3062"/>
                  </a:cubicBezTo>
                  <a:cubicBezTo>
                    <a:pt x="207" y="3091"/>
                    <a:pt x="170" y="3106"/>
                    <a:pt x="133" y="3106"/>
                  </a:cubicBezTo>
                  <a:cubicBezTo>
                    <a:pt x="59" y="3106"/>
                    <a:pt x="0" y="3047"/>
                    <a:pt x="0" y="2982"/>
                  </a:cubicBezTo>
                  <a:cubicBezTo>
                    <a:pt x="0" y="2909"/>
                    <a:pt x="59" y="2850"/>
                    <a:pt x="133" y="2850"/>
                  </a:cubicBezTo>
                  <a:cubicBezTo>
                    <a:pt x="155" y="2850"/>
                    <a:pt x="170" y="2858"/>
                    <a:pt x="193" y="2865"/>
                  </a:cubicBezTo>
                  <a:cubicBezTo>
                    <a:pt x="193" y="2858"/>
                    <a:pt x="193" y="2850"/>
                    <a:pt x="193" y="2843"/>
                  </a:cubicBezTo>
                  <a:cubicBezTo>
                    <a:pt x="193" y="2726"/>
                    <a:pt x="289" y="2632"/>
                    <a:pt x="408" y="2632"/>
                  </a:cubicBezTo>
                  <a:cubicBezTo>
                    <a:pt x="423" y="2632"/>
                    <a:pt x="430" y="2632"/>
                    <a:pt x="445" y="2632"/>
                  </a:cubicBezTo>
                  <a:cubicBezTo>
                    <a:pt x="467" y="2500"/>
                    <a:pt x="571" y="2398"/>
                    <a:pt x="697" y="2398"/>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178"/>
              <a:endParaRPr lang="en-US" sz="800" dirty="0">
                <a:solidFill>
                  <a:srgbClr val="2F2E7E"/>
                </a:solidFill>
              </a:endParaRPr>
            </a:p>
          </p:txBody>
        </p:sp>
        <p:sp>
          <p:nvSpPr>
            <p:cNvPr id="95" name="TextBox 94"/>
            <p:cNvSpPr txBox="1"/>
            <p:nvPr/>
          </p:nvSpPr>
          <p:spPr>
            <a:xfrm>
              <a:off x="3938401" y="3796685"/>
              <a:ext cx="1265800" cy="560153"/>
            </a:xfrm>
            <a:prstGeom prst="rect">
              <a:avLst/>
            </a:prstGeom>
            <a:noFill/>
            <a:effectLst/>
          </p:spPr>
          <p:txBody>
            <a:bodyPr wrap="square" lIns="45720" tIns="45720" rIns="45720" bIns="45720" rtlCol="0" anchor="ctr">
              <a:spAutoFit/>
            </a:bodyPr>
            <a:lstStyle/>
            <a:p>
              <a:pPr algn="ctr">
                <a:lnSpc>
                  <a:spcPct val="95000"/>
                </a:lnSpc>
                <a:spcBef>
                  <a:spcPts val="0"/>
                </a:spcBef>
                <a:spcAft>
                  <a:spcPts val="0"/>
                </a:spcAft>
              </a:pPr>
              <a:r>
                <a:rPr lang="en-IN" sz="3200" b="1" dirty="0" smtClean="0">
                  <a:ln w="0"/>
                  <a:solidFill>
                    <a:schemeClr val="accent4">
                      <a:lumMod val="75000"/>
                    </a:schemeClr>
                  </a:solidFill>
                  <a:latin typeface="+mn-lt"/>
                  <a:cs typeface="Avenir Book"/>
                </a:rPr>
                <a:t>HALF</a:t>
              </a:r>
              <a:endParaRPr lang="en-IN" sz="1400" b="1" dirty="0">
                <a:ln w="0"/>
                <a:solidFill>
                  <a:schemeClr val="accent4">
                    <a:lumMod val="75000"/>
                  </a:schemeClr>
                </a:solidFill>
                <a:latin typeface="+mn-lt"/>
                <a:cs typeface="Avenir Book"/>
              </a:endParaRPr>
            </a:p>
          </p:txBody>
        </p:sp>
        <p:sp>
          <p:nvSpPr>
            <p:cNvPr id="96" name="Rectangle 95"/>
            <p:cNvSpPr/>
            <p:nvPr/>
          </p:nvSpPr>
          <p:spPr>
            <a:xfrm>
              <a:off x="3485336" y="4270837"/>
              <a:ext cx="2171941" cy="267766"/>
            </a:xfrm>
            <a:prstGeom prst="rect">
              <a:avLst/>
            </a:prstGeom>
          </p:spPr>
          <p:txBody>
            <a:bodyPr wrap="none">
              <a:spAutoFit/>
            </a:bodyPr>
            <a:lstStyle/>
            <a:p>
              <a:pPr algn="ctr">
                <a:lnSpc>
                  <a:spcPct val="95000"/>
                </a:lnSpc>
                <a:spcBef>
                  <a:spcPts val="0"/>
                </a:spcBef>
                <a:spcAft>
                  <a:spcPts val="0"/>
                </a:spcAft>
              </a:pPr>
              <a:r>
                <a:rPr lang="en-IN" sz="1200" dirty="0" smtClean="0">
                  <a:solidFill>
                    <a:schemeClr val="accent1"/>
                  </a:solidFill>
                  <a:cs typeface="Avenir Book"/>
                </a:rPr>
                <a:t>Connected Devices Are M2M</a:t>
              </a:r>
              <a:endParaRPr lang="en-IN" sz="1200" dirty="0">
                <a:solidFill>
                  <a:schemeClr val="accent1"/>
                </a:solidFill>
                <a:cs typeface="Avenir Book"/>
              </a:endParaRPr>
            </a:p>
          </p:txBody>
        </p:sp>
      </p:grpSp>
      <p:grpSp>
        <p:nvGrpSpPr>
          <p:cNvPr id="97" name="Group 96"/>
          <p:cNvGrpSpPr/>
          <p:nvPr/>
        </p:nvGrpSpPr>
        <p:grpSpPr>
          <a:xfrm>
            <a:off x="4842614" y="3071094"/>
            <a:ext cx="1900001" cy="1467509"/>
            <a:chOff x="3619898" y="3071094"/>
            <a:chExt cx="1900001" cy="1467509"/>
          </a:xfrm>
        </p:grpSpPr>
        <p:sp>
          <p:nvSpPr>
            <p:cNvPr id="98" name="TextBox 97"/>
            <p:cNvSpPr txBox="1"/>
            <p:nvPr/>
          </p:nvSpPr>
          <p:spPr>
            <a:xfrm>
              <a:off x="3619898" y="3539430"/>
              <a:ext cx="1900001" cy="307777"/>
            </a:xfrm>
            <a:prstGeom prst="rect">
              <a:avLst/>
            </a:prstGeom>
            <a:noFill/>
            <a:effectLst/>
          </p:spPr>
          <p:txBody>
            <a:bodyPr wrap="square" lIns="45720" tIns="45720" rIns="45720" bIns="45720" rtlCol="0" anchor="ctr">
              <a:spAutoFit/>
            </a:bodyPr>
            <a:lstStyle/>
            <a:p>
              <a:pPr algn="ctr">
                <a:spcBef>
                  <a:spcPts val="600"/>
                </a:spcBef>
                <a:spcAft>
                  <a:spcPts val="0"/>
                </a:spcAft>
              </a:pPr>
              <a:r>
                <a:rPr lang="en-IN" sz="1400" b="1" dirty="0" smtClean="0">
                  <a:solidFill>
                    <a:schemeClr val="accent1"/>
                  </a:solidFill>
                  <a:latin typeface="+mn-lt"/>
                  <a:cs typeface="Avenir Book"/>
                </a:rPr>
                <a:t>5G Rollouts Begin</a:t>
              </a:r>
            </a:p>
          </p:txBody>
        </p:sp>
        <p:sp>
          <p:nvSpPr>
            <p:cNvPr id="99" name="Freeform 98"/>
            <p:cNvSpPr>
              <a:spLocks noEditPoints="1"/>
            </p:cNvSpPr>
            <p:nvPr/>
          </p:nvSpPr>
          <p:spPr bwMode="auto">
            <a:xfrm>
              <a:off x="4282077" y="3071094"/>
              <a:ext cx="547236" cy="522020"/>
            </a:xfrm>
            <a:custGeom>
              <a:avLst/>
              <a:gdLst>
                <a:gd name="T0" fmla="*/ 4598 w 5557"/>
                <a:gd name="T1" fmla="*/ 3107 h 5300"/>
                <a:gd name="T2" fmla="*/ 5516 w 5557"/>
                <a:gd name="T3" fmla="*/ 2721 h 5300"/>
                <a:gd name="T4" fmla="*/ 4190 w 5557"/>
                <a:gd name="T5" fmla="*/ 2817 h 5300"/>
                <a:gd name="T6" fmla="*/ 5326 w 5557"/>
                <a:gd name="T7" fmla="*/ 2592 h 5300"/>
                <a:gd name="T8" fmla="*/ 4676 w 5557"/>
                <a:gd name="T9" fmla="*/ 2851 h 5300"/>
                <a:gd name="T10" fmla="*/ 5049 w 5557"/>
                <a:gd name="T11" fmla="*/ 2787 h 5300"/>
                <a:gd name="T12" fmla="*/ 5434 w 5557"/>
                <a:gd name="T13" fmla="*/ 3107 h 5300"/>
                <a:gd name="T14" fmla="*/ 4044 w 5557"/>
                <a:gd name="T15" fmla="*/ 2066 h 5300"/>
                <a:gd name="T16" fmla="*/ 1678 w 5557"/>
                <a:gd name="T17" fmla="*/ 1180 h 5300"/>
                <a:gd name="T18" fmla="*/ 2138 w 5557"/>
                <a:gd name="T19" fmla="*/ 4528 h 5300"/>
                <a:gd name="T20" fmla="*/ 1553 w 5557"/>
                <a:gd name="T21" fmla="*/ 3776 h 5300"/>
                <a:gd name="T22" fmla="*/ 3527 w 5557"/>
                <a:gd name="T23" fmla="*/ 4092 h 5300"/>
                <a:gd name="T24" fmla="*/ 2004 w 5557"/>
                <a:gd name="T25" fmla="*/ 3052 h 5300"/>
                <a:gd name="T26" fmla="*/ 2547 w 5557"/>
                <a:gd name="T27" fmla="*/ 2192 h 5300"/>
                <a:gd name="T28" fmla="*/ 2227 w 5557"/>
                <a:gd name="T29" fmla="*/ 2530 h 5300"/>
                <a:gd name="T30" fmla="*/ 1838 w 5557"/>
                <a:gd name="T31" fmla="*/ 2680 h 5300"/>
                <a:gd name="T32" fmla="*/ 3457 w 5557"/>
                <a:gd name="T33" fmla="*/ 2346 h 5300"/>
                <a:gd name="T34" fmla="*/ 2793 w 5557"/>
                <a:gd name="T35" fmla="*/ 1828 h 5300"/>
                <a:gd name="T36" fmla="*/ 3605 w 5557"/>
                <a:gd name="T37" fmla="*/ 2488 h 5300"/>
                <a:gd name="T38" fmla="*/ 3526 w 5557"/>
                <a:gd name="T39" fmla="*/ 2512 h 5300"/>
                <a:gd name="T40" fmla="*/ 2723 w 5557"/>
                <a:gd name="T41" fmla="*/ 3371 h 5300"/>
                <a:gd name="T42" fmla="*/ 3418 w 5557"/>
                <a:gd name="T43" fmla="*/ 3403 h 5300"/>
                <a:gd name="T44" fmla="*/ 2633 w 5557"/>
                <a:gd name="T45" fmla="*/ 3339 h 5300"/>
                <a:gd name="T46" fmla="*/ 3018 w 5557"/>
                <a:gd name="T47" fmla="*/ 0 h 5300"/>
                <a:gd name="T48" fmla="*/ 2693 w 5557"/>
                <a:gd name="T49" fmla="*/ 1218 h 5300"/>
                <a:gd name="T50" fmla="*/ 2693 w 5557"/>
                <a:gd name="T51" fmla="*/ 1309 h 5300"/>
                <a:gd name="T52" fmla="*/ 2783 w 5557"/>
                <a:gd name="T53" fmla="*/ 1138 h 5300"/>
                <a:gd name="T54" fmla="*/ 3022 w 5557"/>
                <a:gd name="T55" fmla="*/ 786 h 5300"/>
                <a:gd name="T56" fmla="*/ 2831 w 5557"/>
                <a:gd name="T57" fmla="*/ 779 h 5300"/>
                <a:gd name="T58" fmla="*/ 2752 w 5557"/>
                <a:gd name="T59" fmla="*/ 860 h 5300"/>
                <a:gd name="T60" fmla="*/ 2492 w 5557"/>
                <a:gd name="T61" fmla="*/ 988 h 5300"/>
                <a:gd name="T62" fmla="*/ 2546 w 5557"/>
                <a:gd name="T63" fmla="*/ 1160 h 5300"/>
                <a:gd name="T64" fmla="*/ 2640 w 5557"/>
                <a:gd name="T65" fmla="*/ 1440 h 5300"/>
                <a:gd name="T66" fmla="*/ 3039 w 5557"/>
                <a:gd name="T67" fmla="*/ 1332 h 5300"/>
                <a:gd name="T68" fmla="*/ 3039 w 5557"/>
                <a:gd name="T69" fmla="*/ 1103 h 5300"/>
                <a:gd name="T70" fmla="*/ 2949 w 5557"/>
                <a:gd name="T71" fmla="*/ 1023 h 5300"/>
                <a:gd name="T72" fmla="*/ 2483 w 5557"/>
                <a:gd name="T73" fmla="*/ 113 h 5300"/>
                <a:gd name="T74" fmla="*/ 2450 w 5557"/>
                <a:gd name="T75" fmla="*/ 4927 h 5300"/>
                <a:gd name="T76" fmla="*/ 2602 w 5557"/>
                <a:gd name="T77" fmla="*/ 4631 h 5300"/>
                <a:gd name="T78" fmla="*/ 2814 w 5557"/>
                <a:gd name="T79" fmla="*/ 4365 h 5300"/>
                <a:gd name="T80" fmla="*/ 2526 w 5557"/>
                <a:gd name="T81" fmla="*/ 5300 h 5300"/>
                <a:gd name="T82" fmla="*/ 2602 w 5557"/>
                <a:gd name="T83" fmla="*/ 4927 h 5300"/>
                <a:gd name="T84" fmla="*/ 2450 w 5557"/>
                <a:gd name="T85" fmla="*/ 4631 h 5300"/>
                <a:gd name="T86" fmla="*/ 2602 w 5557"/>
                <a:gd name="T87" fmla="*/ 4570 h 5300"/>
                <a:gd name="T88" fmla="*/ 2367 w 5557"/>
                <a:gd name="T89" fmla="*/ 5300 h 5300"/>
                <a:gd name="T90" fmla="*/ 2814 w 5557"/>
                <a:gd name="T91" fmla="*/ 4927 h 5300"/>
                <a:gd name="T92" fmla="*/ 2450 w 5557"/>
                <a:gd name="T93" fmla="*/ 4745 h 5300"/>
                <a:gd name="T94" fmla="*/ 2602 w 5557"/>
                <a:gd name="T95" fmla="*/ 4418 h 5300"/>
                <a:gd name="T96" fmla="*/ 2367 w 5557"/>
                <a:gd name="T97" fmla="*/ 4083 h 5300"/>
                <a:gd name="T98" fmla="*/ 3367 w 5557"/>
                <a:gd name="T99" fmla="*/ 4821 h 5300"/>
                <a:gd name="T100" fmla="*/ 3147 w 5557"/>
                <a:gd name="T101" fmla="*/ 4768 h 5300"/>
                <a:gd name="T102" fmla="*/ 3443 w 5557"/>
                <a:gd name="T103" fmla="*/ 4479 h 5300"/>
                <a:gd name="T104" fmla="*/ 3367 w 5557"/>
                <a:gd name="T105" fmla="*/ 4768 h 5300"/>
                <a:gd name="T106" fmla="*/ 3079 w 5557"/>
                <a:gd name="T107" fmla="*/ 5300 h 5300"/>
                <a:gd name="T108" fmla="*/ 3147 w 5557"/>
                <a:gd name="T109" fmla="*/ 4981 h 5300"/>
                <a:gd name="T110" fmla="*/ 2996 w 5557"/>
                <a:gd name="T111" fmla="*/ 4608 h 5300"/>
                <a:gd name="T112" fmla="*/ 697 w 5557"/>
                <a:gd name="T113" fmla="*/ 2398 h 5300"/>
                <a:gd name="T114" fmla="*/ 363 w 5557"/>
                <a:gd name="T115" fmla="*/ 3164 h 5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57" h="5300">
                  <a:moveTo>
                    <a:pt x="4221" y="2564"/>
                  </a:moveTo>
                  <a:cubicBezTo>
                    <a:pt x="4271" y="2579"/>
                    <a:pt x="4271" y="2579"/>
                    <a:pt x="4271" y="2579"/>
                  </a:cubicBezTo>
                  <a:cubicBezTo>
                    <a:pt x="4302" y="2588"/>
                    <a:pt x="4336" y="2574"/>
                    <a:pt x="4345" y="2547"/>
                  </a:cubicBezTo>
                  <a:cubicBezTo>
                    <a:pt x="4354" y="2521"/>
                    <a:pt x="4354" y="2521"/>
                    <a:pt x="4354" y="2521"/>
                  </a:cubicBezTo>
                  <a:cubicBezTo>
                    <a:pt x="4364" y="2494"/>
                    <a:pt x="4345" y="2473"/>
                    <a:pt x="4312" y="2473"/>
                  </a:cubicBezTo>
                  <a:cubicBezTo>
                    <a:pt x="4242" y="2473"/>
                    <a:pt x="4242" y="2473"/>
                    <a:pt x="4242" y="2473"/>
                  </a:cubicBezTo>
                  <a:cubicBezTo>
                    <a:pt x="4209" y="2473"/>
                    <a:pt x="4178" y="2490"/>
                    <a:pt x="4173" y="2510"/>
                  </a:cubicBezTo>
                  <a:cubicBezTo>
                    <a:pt x="4168" y="2531"/>
                    <a:pt x="4189" y="2555"/>
                    <a:pt x="4221" y="2564"/>
                  </a:cubicBezTo>
                  <a:close/>
                  <a:moveTo>
                    <a:pt x="4291" y="3107"/>
                  </a:moveTo>
                  <a:cubicBezTo>
                    <a:pt x="4291" y="3149"/>
                    <a:pt x="4331" y="3183"/>
                    <a:pt x="4381" y="3183"/>
                  </a:cubicBezTo>
                  <a:cubicBezTo>
                    <a:pt x="4508" y="3183"/>
                    <a:pt x="4508" y="3183"/>
                    <a:pt x="4508" y="3183"/>
                  </a:cubicBezTo>
                  <a:cubicBezTo>
                    <a:pt x="4558" y="3183"/>
                    <a:pt x="4598" y="3149"/>
                    <a:pt x="4598" y="3107"/>
                  </a:cubicBezTo>
                  <a:cubicBezTo>
                    <a:pt x="4598" y="3041"/>
                    <a:pt x="4598" y="3041"/>
                    <a:pt x="4598" y="3041"/>
                  </a:cubicBezTo>
                  <a:cubicBezTo>
                    <a:pt x="4291" y="3041"/>
                    <a:pt x="4291" y="3041"/>
                    <a:pt x="4291" y="3041"/>
                  </a:cubicBezTo>
                  <a:lnTo>
                    <a:pt x="4291" y="3107"/>
                  </a:lnTo>
                  <a:close/>
                  <a:moveTo>
                    <a:pt x="5380" y="2547"/>
                  </a:moveTo>
                  <a:cubicBezTo>
                    <a:pt x="5389" y="2574"/>
                    <a:pt x="5422" y="2588"/>
                    <a:pt x="5454" y="2579"/>
                  </a:cubicBezTo>
                  <a:cubicBezTo>
                    <a:pt x="5504" y="2564"/>
                    <a:pt x="5504" y="2564"/>
                    <a:pt x="5504" y="2564"/>
                  </a:cubicBezTo>
                  <a:cubicBezTo>
                    <a:pt x="5536" y="2555"/>
                    <a:pt x="5557" y="2531"/>
                    <a:pt x="5552" y="2510"/>
                  </a:cubicBezTo>
                  <a:cubicBezTo>
                    <a:pt x="5547" y="2490"/>
                    <a:pt x="5516" y="2473"/>
                    <a:pt x="5483" y="2473"/>
                  </a:cubicBezTo>
                  <a:cubicBezTo>
                    <a:pt x="5413" y="2473"/>
                    <a:pt x="5413" y="2473"/>
                    <a:pt x="5413" y="2473"/>
                  </a:cubicBezTo>
                  <a:cubicBezTo>
                    <a:pt x="5380" y="2473"/>
                    <a:pt x="5361" y="2494"/>
                    <a:pt x="5370" y="2521"/>
                  </a:cubicBezTo>
                  <a:lnTo>
                    <a:pt x="5380" y="2547"/>
                  </a:lnTo>
                  <a:close/>
                  <a:moveTo>
                    <a:pt x="5516" y="2721"/>
                  </a:moveTo>
                  <a:cubicBezTo>
                    <a:pt x="5491" y="2627"/>
                    <a:pt x="5374" y="2582"/>
                    <a:pt x="5374" y="2582"/>
                  </a:cubicBezTo>
                  <a:cubicBezTo>
                    <a:pt x="5314" y="2467"/>
                    <a:pt x="5200" y="2387"/>
                    <a:pt x="5200" y="2387"/>
                  </a:cubicBezTo>
                  <a:cubicBezTo>
                    <a:pt x="5200" y="2387"/>
                    <a:pt x="5135" y="2377"/>
                    <a:pt x="5040" y="2370"/>
                  </a:cubicBezTo>
                  <a:cubicBezTo>
                    <a:pt x="5036" y="2355"/>
                    <a:pt x="5033" y="2345"/>
                    <a:pt x="5028" y="2329"/>
                  </a:cubicBezTo>
                  <a:cubicBezTo>
                    <a:pt x="5019" y="2299"/>
                    <a:pt x="4987" y="2275"/>
                    <a:pt x="4955" y="2275"/>
                  </a:cubicBezTo>
                  <a:cubicBezTo>
                    <a:pt x="4770" y="2275"/>
                    <a:pt x="4770" y="2275"/>
                    <a:pt x="4770" y="2275"/>
                  </a:cubicBezTo>
                  <a:cubicBezTo>
                    <a:pt x="4738" y="2275"/>
                    <a:pt x="4705" y="2299"/>
                    <a:pt x="4697" y="2329"/>
                  </a:cubicBezTo>
                  <a:cubicBezTo>
                    <a:pt x="4692" y="2345"/>
                    <a:pt x="4689" y="2355"/>
                    <a:pt x="4685" y="2370"/>
                  </a:cubicBezTo>
                  <a:cubicBezTo>
                    <a:pt x="4589" y="2377"/>
                    <a:pt x="4525" y="2387"/>
                    <a:pt x="4525" y="2387"/>
                  </a:cubicBezTo>
                  <a:cubicBezTo>
                    <a:pt x="4525" y="2387"/>
                    <a:pt x="4411" y="2467"/>
                    <a:pt x="4351" y="2582"/>
                  </a:cubicBezTo>
                  <a:cubicBezTo>
                    <a:pt x="4351" y="2582"/>
                    <a:pt x="4234" y="2627"/>
                    <a:pt x="4209" y="2721"/>
                  </a:cubicBezTo>
                  <a:cubicBezTo>
                    <a:pt x="4209" y="2721"/>
                    <a:pt x="4190" y="2777"/>
                    <a:pt x="4190" y="2817"/>
                  </a:cubicBezTo>
                  <a:cubicBezTo>
                    <a:pt x="4190" y="2817"/>
                    <a:pt x="4177" y="2862"/>
                    <a:pt x="4177" y="2912"/>
                  </a:cubicBezTo>
                  <a:cubicBezTo>
                    <a:pt x="4177" y="3016"/>
                    <a:pt x="4228" y="3017"/>
                    <a:pt x="4228" y="3017"/>
                  </a:cubicBezTo>
                  <a:cubicBezTo>
                    <a:pt x="5497" y="3017"/>
                    <a:pt x="5497" y="3017"/>
                    <a:pt x="5497" y="3017"/>
                  </a:cubicBezTo>
                  <a:cubicBezTo>
                    <a:pt x="5497" y="3017"/>
                    <a:pt x="5548" y="3016"/>
                    <a:pt x="5548" y="2912"/>
                  </a:cubicBezTo>
                  <a:cubicBezTo>
                    <a:pt x="5548" y="2862"/>
                    <a:pt x="5535" y="2817"/>
                    <a:pt x="5535" y="2817"/>
                  </a:cubicBezTo>
                  <a:cubicBezTo>
                    <a:pt x="5535" y="2777"/>
                    <a:pt x="5516" y="2721"/>
                    <a:pt x="5516" y="2721"/>
                  </a:cubicBezTo>
                  <a:close/>
                  <a:moveTo>
                    <a:pt x="4400" y="2589"/>
                  </a:moveTo>
                  <a:cubicBezTo>
                    <a:pt x="4445" y="2503"/>
                    <a:pt x="4523" y="2442"/>
                    <a:pt x="4550" y="2423"/>
                  </a:cubicBezTo>
                  <a:cubicBezTo>
                    <a:pt x="4590" y="2417"/>
                    <a:pt x="4718" y="2404"/>
                    <a:pt x="4862" y="2404"/>
                  </a:cubicBezTo>
                  <a:cubicBezTo>
                    <a:pt x="5008" y="2404"/>
                    <a:pt x="5135" y="2417"/>
                    <a:pt x="5175" y="2423"/>
                  </a:cubicBezTo>
                  <a:cubicBezTo>
                    <a:pt x="5202" y="2441"/>
                    <a:pt x="5280" y="2503"/>
                    <a:pt x="5325" y="2589"/>
                  </a:cubicBezTo>
                  <a:cubicBezTo>
                    <a:pt x="5325" y="2591"/>
                    <a:pt x="5325" y="2591"/>
                    <a:pt x="5326" y="2592"/>
                  </a:cubicBezTo>
                  <a:cubicBezTo>
                    <a:pt x="5018" y="2561"/>
                    <a:pt x="4706" y="2561"/>
                    <a:pt x="4399" y="2592"/>
                  </a:cubicBezTo>
                  <a:cubicBezTo>
                    <a:pt x="4399" y="2591"/>
                    <a:pt x="4400" y="2591"/>
                    <a:pt x="4400" y="2589"/>
                  </a:cubicBezTo>
                  <a:close/>
                  <a:moveTo>
                    <a:pt x="4319" y="2852"/>
                  </a:moveTo>
                  <a:cubicBezTo>
                    <a:pt x="4301" y="2852"/>
                    <a:pt x="4287" y="2840"/>
                    <a:pt x="4287" y="2825"/>
                  </a:cubicBezTo>
                  <a:cubicBezTo>
                    <a:pt x="4287" y="2779"/>
                    <a:pt x="4287" y="2779"/>
                    <a:pt x="4287" y="2779"/>
                  </a:cubicBezTo>
                  <a:cubicBezTo>
                    <a:pt x="4287" y="2749"/>
                    <a:pt x="4315" y="2727"/>
                    <a:pt x="4350" y="2730"/>
                  </a:cubicBezTo>
                  <a:cubicBezTo>
                    <a:pt x="4465" y="2735"/>
                    <a:pt x="4465" y="2735"/>
                    <a:pt x="4465" y="2735"/>
                  </a:cubicBezTo>
                  <a:cubicBezTo>
                    <a:pt x="4500" y="2737"/>
                    <a:pt x="4535" y="2762"/>
                    <a:pt x="4544" y="2790"/>
                  </a:cubicBezTo>
                  <a:cubicBezTo>
                    <a:pt x="4564" y="2854"/>
                    <a:pt x="4564" y="2854"/>
                    <a:pt x="4564" y="2854"/>
                  </a:cubicBezTo>
                  <a:lnTo>
                    <a:pt x="4319" y="2852"/>
                  </a:lnTo>
                  <a:close/>
                  <a:moveTo>
                    <a:pt x="5049" y="2851"/>
                  </a:moveTo>
                  <a:cubicBezTo>
                    <a:pt x="4676" y="2851"/>
                    <a:pt x="4676" y="2851"/>
                    <a:pt x="4676" y="2851"/>
                  </a:cubicBezTo>
                  <a:cubicBezTo>
                    <a:pt x="4665" y="2851"/>
                    <a:pt x="4656" y="2843"/>
                    <a:pt x="4656" y="2834"/>
                  </a:cubicBezTo>
                  <a:cubicBezTo>
                    <a:pt x="4656" y="2824"/>
                    <a:pt x="4665" y="2816"/>
                    <a:pt x="4676" y="2816"/>
                  </a:cubicBezTo>
                  <a:cubicBezTo>
                    <a:pt x="5049" y="2816"/>
                    <a:pt x="5049" y="2816"/>
                    <a:pt x="5049" y="2816"/>
                  </a:cubicBezTo>
                  <a:cubicBezTo>
                    <a:pt x="5060" y="2816"/>
                    <a:pt x="5069" y="2824"/>
                    <a:pt x="5069" y="2834"/>
                  </a:cubicBezTo>
                  <a:cubicBezTo>
                    <a:pt x="5069" y="2843"/>
                    <a:pt x="5060" y="2851"/>
                    <a:pt x="5049" y="2851"/>
                  </a:cubicBezTo>
                  <a:close/>
                  <a:moveTo>
                    <a:pt x="5049" y="2787"/>
                  </a:moveTo>
                  <a:cubicBezTo>
                    <a:pt x="4676" y="2787"/>
                    <a:pt x="4676" y="2787"/>
                    <a:pt x="4676" y="2787"/>
                  </a:cubicBezTo>
                  <a:cubicBezTo>
                    <a:pt x="4665" y="2787"/>
                    <a:pt x="4656" y="2780"/>
                    <a:pt x="4656" y="2770"/>
                  </a:cubicBezTo>
                  <a:cubicBezTo>
                    <a:pt x="4656" y="2761"/>
                    <a:pt x="4665" y="2753"/>
                    <a:pt x="4676" y="2753"/>
                  </a:cubicBezTo>
                  <a:cubicBezTo>
                    <a:pt x="5049" y="2753"/>
                    <a:pt x="5049" y="2753"/>
                    <a:pt x="5049" y="2753"/>
                  </a:cubicBezTo>
                  <a:cubicBezTo>
                    <a:pt x="5060" y="2753"/>
                    <a:pt x="5069" y="2761"/>
                    <a:pt x="5069" y="2770"/>
                  </a:cubicBezTo>
                  <a:cubicBezTo>
                    <a:pt x="5069" y="2780"/>
                    <a:pt x="5060" y="2787"/>
                    <a:pt x="5049" y="2787"/>
                  </a:cubicBezTo>
                  <a:close/>
                  <a:moveTo>
                    <a:pt x="5438" y="2825"/>
                  </a:moveTo>
                  <a:cubicBezTo>
                    <a:pt x="5438" y="2840"/>
                    <a:pt x="5424" y="2852"/>
                    <a:pt x="5406" y="2852"/>
                  </a:cubicBezTo>
                  <a:cubicBezTo>
                    <a:pt x="5161" y="2854"/>
                    <a:pt x="5161" y="2854"/>
                    <a:pt x="5161" y="2854"/>
                  </a:cubicBezTo>
                  <a:cubicBezTo>
                    <a:pt x="5181" y="2790"/>
                    <a:pt x="5181" y="2790"/>
                    <a:pt x="5181" y="2790"/>
                  </a:cubicBezTo>
                  <a:cubicBezTo>
                    <a:pt x="5190" y="2762"/>
                    <a:pt x="5225" y="2737"/>
                    <a:pt x="5260" y="2735"/>
                  </a:cubicBezTo>
                  <a:cubicBezTo>
                    <a:pt x="5375" y="2730"/>
                    <a:pt x="5375" y="2730"/>
                    <a:pt x="5375" y="2730"/>
                  </a:cubicBezTo>
                  <a:cubicBezTo>
                    <a:pt x="5410" y="2727"/>
                    <a:pt x="5438" y="2749"/>
                    <a:pt x="5438" y="2779"/>
                  </a:cubicBezTo>
                  <a:lnTo>
                    <a:pt x="5438" y="2825"/>
                  </a:lnTo>
                  <a:close/>
                  <a:moveTo>
                    <a:pt x="5127" y="3107"/>
                  </a:moveTo>
                  <a:cubicBezTo>
                    <a:pt x="5127" y="3149"/>
                    <a:pt x="5167" y="3183"/>
                    <a:pt x="5217" y="3183"/>
                  </a:cubicBezTo>
                  <a:cubicBezTo>
                    <a:pt x="5344" y="3183"/>
                    <a:pt x="5344" y="3183"/>
                    <a:pt x="5344" y="3183"/>
                  </a:cubicBezTo>
                  <a:cubicBezTo>
                    <a:pt x="5393" y="3183"/>
                    <a:pt x="5434" y="3149"/>
                    <a:pt x="5434" y="3107"/>
                  </a:cubicBezTo>
                  <a:cubicBezTo>
                    <a:pt x="5434" y="3041"/>
                    <a:pt x="5434" y="3041"/>
                    <a:pt x="5434" y="3041"/>
                  </a:cubicBezTo>
                  <a:cubicBezTo>
                    <a:pt x="5127" y="3041"/>
                    <a:pt x="5127" y="3041"/>
                    <a:pt x="5127" y="3041"/>
                  </a:cubicBezTo>
                  <a:lnTo>
                    <a:pt x="5127" y="3107"/>
                  </a:lnTo>
                  <a:close/>
                  <a:moveTo>
                    <a:pt x="3398" y="1056"/>
                  </a:moveTo>
                  <a:cubicBezTo>
                    <a:pt x="3571" y="1096"/>
                    <a:pt x="3739" y="1172"/>
                    <a:pt x="3889" y="1287"/>
                  </a:cubicBezTo>
                  <a:cubicBezTo>
                    <a:pt x="4044" y="1405"/>
                    <a:pt x="4164" y="1552"/>
                    <a:pt x="4248" y="1715"/>
                  </a:cubicBezTo>
                  <a:cubicBezTo>
                    <a:pt x="4463" y="1598"/>
                    <a:pt x="4463" y="1598"/>
                    <a:pt x="4463" y="1598"/>
                  </a:cubicBezTo>
                  <a:cubicBezTo>
                    <a:pt x="4419" y="1746"/>
                    <a:pt x="4419" y="1746"/>
                    <a:pt x="4419" y="1746"/>
                  </a:cubicBezTo>
                  <a:cubicBezTo>
                    <a:pt x="4349" y="1981"/>
                    <a:pt x="4349" y="1981"/>
                    <a:pt x="4349" y="1981"/>
                  </a:cubicBezTo>
                  <a:cubicBezTo>
                    <a:pt x="4321" y="2077"/>
                    <a:pt x="4321" y="2077"/>
                    <a:pt x="4321" y="2077"/>
                  </a:cubicBezTo>
                  <a:cubicBezTo>
                    <a:pt x="4301" y="2143"/>
                    <a:pt x="4301" y="2143"/>
                    <a:pt x="4301" y="2143"/>
                  </a:cubicBezTo>
                  <a:cubicBezTo>
                    <a:pt x="4044" y="2066"/>
                    <a:pt x="4044" y="2066"/>
                    <a:pt x="4044" y="2066"/>
                  </a:cubicBezTo>
                  <a:cubicBezTo>
                    <a:pt x="4029" y="2062"/>
                    <a:pt x="4029" y="2062"/>
                    <a:pt x="4029" y="2062"/>
                  </a:cubicBezTo>
                  <a:cubicBezTo>
                    <a:pt x="3934" y="2033"/>
                    <a:pt x="3934" y="2033"/>
                    <a:pt x="3934" y="2033"/>
                  </a:cubicBezTo>
                  <a:cubicBezTo>
                    <a:pt x="3756" y="1980"/>
                    <a:pt x="3756" y="1980"/>
                    <a:pt x="3756" y="1980"/>
                  </a:cubicBezTo>
                  <a:cubicBezTo>
                    <a:pt x="3969" y="1865"/>
                    <a:pt x="3969" y="1865"/>
                    <a:pt x="3969" y="1865"/>
                  </a:cubicBezTo>
                  <a:cubicBezTo>
                    <a:pt x="3906" y="1741"/>
                    <a:pt x="3815" y="1629"/>
                    <a:pt x="3697" y="1539"/>
                  </a:cubicBezTo>
                  <a:cubicBezTo>
                    <a:pt x="3589" y="1457"/>
                    <a:pt x="3470" y="1401"/>
                    <a:pt x="3347" y="1370"/>
                  </a:cubicBezTo>
                  <a:lnTo>
                    <a:pt x="3398" y="1056"/>
                  </a:lnTo>
                  <a:close/>
                  <a:moveTo>
                    <a:pt x="1048" y="2193"/>
                  </a:moveTo>
                  <a:cubicBezTo>
                    <a:pt x="1083" y="2008"/>
                    <a:pt x="1159" y="1829"/>
                    <a:pt x="1279" y="1668"/>
                  </a:cubicBezTo>
                  <a:cubicBezTo>
                    <a:pt x="1379" y="1534"/>
                    <a:pt x="1500" y="1426"/>
                    <a:pt x="1635" y="1343"/>
                  </a:cubicBezTo>
                  <a:cubicBezTo>
                    <a:pt x="1519" y="1134"/>
                    <a:pt x="1519" y="1134"/>
                    <a:pt x="1519" y="1134"/>
                  </a:cubicBezTo>
                  <a:cubicBezTo>
                    <a:pt x="1678" y="1180"/>
                    <a:pt x="1678" y="1180"/>
                    <a:pt x="1678" y="1180"/>
                  </a:cubicBezTo>
                  <a:cubicBezTo>
                    <a:pt x="1864" y="1233"/>
                    <a:pt x="1864" y="1233"/>
                    <a:pt x="1864" y="1233"/>
                  </a:cubicBezTo>
                  <a:cubicBezTo>
                    <a:pt x="1970" y="1263"/>
                    <a:pt x="1970" y="1263"/>
                    <a:pt x="1970" y="1263"/>
                  </a:cubicBezTo>
                  <a:cubicBezTo>
                    <a:pt x="2065" y="1290"/>
                    <a:pt x="2065" y="1290"/>
                    <a:pt x="2065" y="1290"/>
                  </a:cubicBezTo>
                  <a:cubicBezTo>
                    <a:pt x="2000" y="1518"/>
                    <a:pt x="2000" y="1518"/>
                    <a:pt x="2000" y="1518"/>
                  </a:cubicBezTo>
                  <a:cubicBezTo>
                    <a:pt x="1999" y="1521"/>
                    <a:pt x="1999" y="1521"/>
                    <a:pt x="1999" y="1521"/>
                  </a:cubicBezTo>
                  <a:cubicBezTo>
                    <a:pt x="1928" y="1771"/>
                    <a:pt x="1928" y="1771"/>
                    <a:pt x="1928" y="1771"/>
                  </a:cubicBezTo>
                  <a:cubicBezTo>
                    <a:pt x="1909" y="1837"/>
                    <a:pt x="1909" y="1837"/>
                    <a:pt x="1909" y="1837"/>
                  </a:cubicBezTo>
                  <a:cubicBezTo>
                    <a:pt x="1789" y="1620"/>
                    <a:pt x="1789" y="1620"/>
                    <a:pt x="1789" y="1620"/>
                  </a:cubicBezTo>
                  <a:cubicBezTo>
                    <a:pt x="1692" y="1682"/>
                    <a:pt x="1605" y="1761"/>
                    <a:pt x="1532" y="1858"/>
                  </a:cubicBezTo>
                  <a:cubicBezTo>
                    <a:pt x="1444" y="1976"/>
                    <a:pt x="1387" y="2108"/>
                    <a:pt x="1360" y="2243"/>
                  </a:cubicBezTo>
                  <a:lnTo>
                    <a:pt x="1048" y="2193"/>
                  </a:lnTo>
                  <a:close/>
                  <a:moveTo>
                    <a:pt x="2138" y="4528"/>
                  </a:moveTo>
                  <a:cubicBezTo>
                    <a:pt x="1947" y="4493"/>
                    <a:pt x="1760" y="4413"/>
                    <a:pt x="1595" y="4287"/>
                  </a:cubicBezTo>
                  <a:cubicBezTo>
                    <a:pt x="1462" y="4185"/>
                    <a:pt x="1355" y="4062"/>
                    <a:pt x="1274" y="3926"/>
                  </a:cubicBezTo>
                  <a:cubicBezTo>
                    <a:pt x="1064" y="4040"/>
                    <a:pt x="1064" y="4040"/>
                    <a:pt x="1064" y="4040"/>
                  </a:cubicBezTo>
                  <a:cubicBezTo>
                    <a:pt x="1111" y="3881"/>
                    <a:pt x="1111" y="3881"/>
                    <a:pt x="1111" y="3881"/>
                  </a:cubicBezTo>
                  <a:cubicBezTo>
                    <a:pt x="1166" y="3696"/>
                    <a:pt x="1166" y="3696"/>
                    <a:pt x="1166" y="3696"/>
                  </a:cubicBezTo>
                  <a:cubicBezTo>
                    <a:pt x="1198" y="3590"/>
                    <a:pt x="1198" y="3590"/>
                    <a:pt x="1198" y="3590"/>
                  </a:cubicBezTo>
                  <a:cubicBezTo>
                    <a:pt x="1226" y="3496"/>
                    <a:pt x="1226" y="3496"/>
                    <a:pt x="1226" y="3496"/>
                  </a:cubicBezTo>
                  <a:cubicBezTo>
                    <a:pt x="1454" y="3563"/>
                    <a:pt x="1454" y="3563"/>
                    <a:pt x="1454" y="3563"/>
                  </a:cubicBezTo>
                  <a:cubicBezTo>
                    <a:pt x="1456" y="3564"/>
                    <a:pt x="1456" y="3564"/>
                    <a:pt x="1456" y="3564"/>
                  </a:cubicBezTo>
                  <a:cubicBezTo>
                    <a:pt x="1705" y="3639"/>
                    <a:pt x="1705" y="3639"/>
                    <a:pt x="1705" y="3639"/>
                  </a:cubicBezTo>
                  <a:cubicBezTo>
                    <a:pt x="1771" y="3658"/>
                    <a:pt x="1771" y="3658"/>
                    <a:pt x="1771" y="3658"/>
                  </a:cubicBezTo>
                  <a:cubicBezTo>
                    <a:pt x="1553" y="3776"/>
                    <a:pt x="1553" y="3776"/>
                    <a:pt x="1553" y="3776"/>
                  </a:cubicBezTo>
                  <a:cubicBezTo>
                    <a:pt x="1613" y="3873"/>
                    <a:pt x="1691" y="3962"/>
                    <a:pt x="1787" y="4035"/>
                  </a:cubicBezTo>
                  <a:cubicBezTo>
                    <a:pt x="1910" y="4128"/>
                    <a:pt x="2047" y="4188"/>
                    <a:pt x="2189" y="4215"/>
                  </a:cubicBezTo>
                  <a:lnTo>
                    <a:pt x="2138" y="4528"/>
                  </a:lnTo>
                  <a:close/>
                  <a:moveTo>
                    <a:pt x="4525" y="3453"/>
                  </a:moveTo>
                  <a:cubicBezTo>
                    <a:pt x="4486" y="3620"/>
                    <a:pt x="4413" y="3781"/>
                    <a:pt x="4305" y="3927"/>
                  </a:cubicBezTo>
                  <a:cubicBezTo>
                    <a:pt x="4188" y="4083"/>
                    <a:pt x="4043" y="4205"/>
                    <a:pt x="3881" y="4291"/>
                  </a:cubicBezTo>
                  <a:cubicBezTo>
                    <a:pt x="4000" y="4505"/>
                    <a:pt x="4000" y="4505"/>
                    <a:pt x="4000" y="4505"/>
                  </a:cubicBezTo>
                  <a:cubicBezTo>
                    <a:pt x="3852" y="4463"/>
                    <a:pt x="3852" y="4463"/>
                    <a:pt x="3852" y="4463"/>
                  </a:cubicBezTo>
                  <a:cubicBezTo>
                    <a:pt x="3616" y="4396"/>
                    <a:pt x="3616" y="4396"/>
                    <a:pt x="3616" y="4396"/>
                  </a:cubicBezTo>
                  <a:cubicBezTo>
                    <a:pt x="3520" y="4368"/>
                    <a:pt x="3520" y="4368"/>
                    <a:pt x="3520" y="4368"/>
                  </a:cubicBezTo>
                  <a:cubicBezTo>
                    <a:pt x="3454" y="4349"/>
                    <a:pt x="3454" y="4349"/>
                    <a:pt x="3454" y="4349"/>
                  </a:cubicBezTo>
                  <a:cubicBezTo>
                    <a:pt x="3527" y="4092"/>
                    <a:pt x="3527" y="4092"/>
                    <a:pt x="3527" y="4092"/>
                  </a:cubicBezTo>
                  <a:cubicBezTo>
                    <a:pt x="3532" y="4076"/>
                    <a:pt x="3532" y="4076"/>
                    <a:pt x="3532" y="4076"/>
                  </a:cubicBezTo>
                  <a:cubicBezTo>
                    <a:pt x="3559" y="3981"/>
                    <a:pt x="3559" y="3981"/>
                    <a:pt x="3559" y="3981"/>
                  </a:cubicBezTo>
                  <a:cubicBezTo>
                    <a:pt x="3610" y="3803"/>
                    <a:pt x="3610" y="3803"/>
                    <a:pt x="3610" y="3803"/>
                  </a:cubicBezTo>
                  <a:cubicBezTo>
                    <a:pt x="3727" y="4014"/>
                    <a:pt x="3727" y="4014"/>
                    <a:pt x="3727" y="4014"/>
                  </a:cubicBezTo>
                  <a:cubicBezTo>
                    <a:pt x="3851" y="3949"/>
                    <a:pt x="3962" y="3857"/>
                    <a:pt x="4051" y="3738"/>
                  </a:cubicBezTo>
                  <a:cubicBezTo>
                    <a:pt x="4128" y="3634"/>
                    <a:pt x="4181" y="3520"/>
                    <a:pt x="4212" y="3402"/>
                  </a:cubicBezTo>
                  <a:lnTo>
                    <a:pt x="4525" y="3453"/>
                  </a:lnTo>
                  <a:close/>
                  <a:moveTo>
                    <a:pt x="1826" y="2772"/>
                  </a:moveTo>
                  <a:cubicBezTo>
                    <a:pt x="1860" y="2816"/>
                    <a:pt x="1898" y="2862"/>
                    <a:pt x="1942" y="2903"/>
                  </a:cubicBezTo>
                  <a:cubicBezTo>
                    <a:pt x="1946" y="2907"/>
                    <a:pt x="1953" y="2910"/>
                    <a:pt x="1956" y="2917"/>
                  </a:cubicBezTo>
                  <a:cubicBezTo>
                    <a:pt x="1949" y="2931"/>
                    <a:pt x="1942" y="2945"/>
                    <a:pt x="1946" y="2962"/>
                  </a:cubicBezTo>
                  <a:cubicBezTo>
                    <a:pt x="1946" y="3000"/>
                    <a:pt x="1967" y="3035"/>
                    <a:pt x="2004" y="3052"/>
                  </a:cubicBezTo>
                  <a:cubicBezTo>
                    <a:pt x="1987" y="3156"/>
                    <a:pt x="1980" y="3242"/>
                    <a:pt x="1977" y="3308"/>
                  </a:cubicBezTo>
                  <a:cubicBezTo>
                    <a:pt x="1881" y="3156"/>
                    <a:pt x="1826" y="2986"/>
                    <a:pt x="1826" y="2813"/>
                  </a:cubicBezTo>
                  <a:cubicBezTo>
                    <a:pt x="1826" y="2799"/>
                    <a:pt x="1826" y="2785"/>
                    <a:pt x="1826" y="2772"/>
                  </a:cubicBezTo>
                  <a:moveTo>
                    <a:pt x="2111" y="3037"/>
                  </a:moveTo>
                  <a:cubicBezTo>
                    <a:pt x="2252" y="3134"/>
                    <a:pt x="2411" y="3210"/>
                    <a:pt x="2586" y="3258"/>
                  </a:cubicBezTo>
                  <a:cubicBezTo>
                    <a:pt x="2600" y="3262"/>
                    <a:pt x="2611" y="3265"/>
                    <a:pt x="2621" y="3269"/>
                  </a:cubicBezTo>
                  <a:cubicBezTo>
                    <a:pt x="2621" y="3272"/>
                    <a:pt x="2621" y="3272"/>
                    <a:pt x="2621" y="3275"/>
                  </a:cubicBezTo>
                  <a:cubicBezTo>
                    <a:pt x="2366" y="3393"/>
                    <a:pt x="2159" y="3424"/>
                    <a:pt x="2073" y="3431"/>
                  </a:cubicBezTo>
                  <a:cubicBezTo>
                    <a:pt x="2063" y="3417"/>
                    <a:pt x="2049" y="3400"/>
                    <a:pt x="2035" y="3386"/>
                  </a:cubicBezTo>
                  <a:cubicBezTo>
                    <a:pt x="2035" y="3324"/>
                    <a:pt x="2035" y="3206"/>
                    <a:pt x="2063" y="3057"/>
                  </a:cubicBezTo>
                  <a:cubicBezTo>
                    <a:pt x="2080" y="3057"/>
                    <a:pt x="2097" y="3051"/>
                    <a:pt x="2111" y="3037"/>
                  </a:cubicBezTo>
                  <a:moveTo>
                    <a:pt x="2547" y="2192"/>
                  </a:moveTo>
                  <a:cubicBezTo>
                    <a:pt x="2664" y="2192"/>
                    <a:pt x="2781" y="2199"/>
                    <a:pt x="2894" y="2220"/>
                  </a:cubicBezTo>
                  <a:cubicBezTo>
                    <a:pt x="2939" y="2227"/>
                    <a:pt x="2987" y="2237"/>
                    <a:pt x="3032" y="2248"/>
                  </a:cubicBezTo>
                  <a:cubicBezTo>
                    <a:pt x="3035" y="2279"/>
                    <a:pt x="3052" y="2310"/>
                    <a:pt x="3083" y="2328"/>
                  </a:cubicBezTo>
                  <a:cubicBezTo>
                    <a:pt x="3049" y="2512"/>
                    <a:pt x="2994" y="2690"/>
                    <a:pt x="2918" y="2857"/>
                  </a:cubicBezTo>
                  <a:cubicBezTo>
                    <a:pt x="2870" y="2965"/>
                    <a:pt x="2815" y="3070"/>
                    <a:pt x="2750" y="3171"/>
                  </a:cubicBezTo>
                  <a:cubicBezTo>
                    <a:pt x="2743" y="3167"/>
                    <a:pt x="2732" y="3164"/>
                    <a:pt x="2722" y="3164"/>
                  </a:cubicBezTo>
                  <a:cubicBezTo>
                    <a:pt x="2691" y="3164"/>
                    <a:pt x="2657" y="3181"/>
                    <a:pt x="2640" y="3209"/>
                  </a:cubicBezTo>
                  <a:cubicBezTo>
                    <a:pt x="2629" y="3206"/>
                    <a:pt x="2616" y="3202"/>
                    <a:pt x="2605" y="3202"/>
                  </a:cubicBezTo>
                  <a:cubicBezTo>
                    <a:pt x="2433" y="3154"/>
                    <a:pt x="2278" y="3080"/>
                    <a:pt x="2144" y="2986"/>
                  </a:cubicBezTo>
                  <a:cubicBezTo>
                    <a:pt x="2148" y="2979"/>
                    <a:pt x="2148" y="2969"/>
                    <a:pt x="2148" y="2958"/>
                  </a:cubicBezTo>
                  <a:cubicBezTo>
                    <a:pt x="2148" y="2927"/>
                    <a:pt x="2131" y="2896"/>
                    <a:pt x="2103" y="2875"/>
                  </a:cubicBezTo>
                  <a:cubicBezTo>
                    <a:pt x="2134" y="2753"/>
                    <a:pt x="2175" y="2638"/>
                    <a:pt x="2227" y="2530"/>
                  </a:cubicBezTo>
                  <a:cubicBezTo>
                    <a:pt x="2272" y="2439"/>
                    <a:pt x="2323" y="2349"/>
                    <a:pt x="2385" y="2262"/>
                  </a:cubicBezTo>
                  <a:cubicBezTo>
                    <a:pt x="2392" y="2262"/>
                    <a:pt x="2402" y="2265"/>
                    <a:pt x="2409" y="2265"/>
                  </a:cubicBezTo>
                  <a:cubicBezTo>
                    <a:pt x="2409" y="2265"/>
                    <a:pt x="2409" y="2265"/>
                    <a:pt x="2413" y="2265"/>
                  </a:cubicBezTo>
                  <a:cubicBezTo>
                    <a:pt x="2454" y="2265"/>
                    <a:pt x="2495" y="2234"/>
                    <a:pt x="2505" y="2192"/>
                  </a:cubicBezTo>
                  <a:cubicBezTo>
                    <a:pt x="2509" y="2192"/>
                    <a:pt x="2509" y="2192"/>
                    <a:pt x="2512" y="2192"/>
                  </a:cubicBezTo>
                  <a:cubicBezTo>
                    <a:pt x="2523" y="2192"/>
                    <a:pt x="2536" y="2192"/>
                    <a:pt x="2547" y="2192"/>
                  </a:cubicBezTo>
                  <a:moveTo>
                    <a:pt x="2320" y="2204"/>
                  </a:moveTo>
                  <a:cubicBezTo>
                    <a:pt x="2324" y="2215"/>
                    <a:pt x="2330" y="2225"/>
                    <a:pt x="2337" y="2232"/>
                  </a:cubicBezTo>
                  <a:cubicBezTo>
                    <a:pt x="2275" y="2323"/>
                    <a:pt x="2220" y="2414"/>
                    <a:pt x="2175" y="2509"/>
                  </a:cubicBezTo>
                  <a:cubicBezTo>
                    <a:pt x="2124" y="2621"/>
                    <a:pt x="2079" y="2740"/>
                    <a:pt x="2045" y="2866"/>
                  </a:cubicBezTo>
                  <a:cubicBezTo>
                    <a:pt x="2031" y="2866"/>
                    <a:pt x="2014" y="2869"/>
                    <a:pt x="2000" y="2876"/>
                  </a:cubicBezTo>
                  <a:cubicBezTo>
                    <a:pt x="1910" y="2792"/>
                    <a:pt x="1862" y="2719"/>
                    <a:pt x="1838" y="2680"/>
                  </a:cubicBezTo>
                  <a:cubicBezTo>
                    <a:pt x="1859" y="2533"/>
                    <a:pt x="1924" y="2386"/>
                    <a:pt x="2017" y="2257"/>
                  </a:cubicBezTo>
                  <a:cubicBezTo>
                    <a:pt x="2072" y="2243"/>
                    <a:pt x="2179" y="2218"/>
                    <a:pt x="2320" y="2204"/>
                  </a:cubicBezTo>
                  <a:moveTo>
                    <a:pt x="3590" y="2285"/>
                  </a:moveTo>
                  <a:cubicBezTo>
                    <a:pt x="3636" y="2344"/>
                    <a:pt x="3671" y="2410"/>
                    <a:pt x="3700" y="2476"/>
                  </a:cubicBezTo>
                  <a:cubicBezTo>
                    <a:pt x="3679" y="2462"/>
                    <a:pt x="3657" y="2448"/>
                    <a:pt x="3632" y="2437"/>
                  </a:cubicBezTo>
                  <a:cubicBezTo>
                    <a:pt x="3636" y="2430"/>
                    <a:pt x="3636" y="2423"/>
                    <a:pt x="3636" y="2413"/>
                  </a:cubicBezTo>
                  <a:cubicBezTo>
                    <a:pt x="3632" y="2378"/>
                    <a:pt x="3615" y="2347"/>
                    <a:pt x="3583" y="2330"/>
                  </a:cubicBezTo>
                  <a:cubicBezTo>
                    <a:pt x="3586" y="2312"/>
                    <a:pt x="3590" y="2298"/>
                    <a:pt x="3590" y="2285"/>
                  </a:cubicBezTo>
                  <a:moveTo>
                    <a:pt x="3174" y="1921"/>
                  </a:moveTo>
                  <a:cubicBezTo>
                    <a:pt x="3312" y="1991"/>
                    <a:pt x="3436" y="2097"/>
                    <a:pt x="3540" y="2220"/>
                  </a:cubicBezTo>
                  <a:cubicBezTo>
                    <a:pt x="3536" y="2244"/>
                    <a:pt x="3533" y="2276"/>
                    <a:pt x="3522" y="2318"/>
                  </a:cubicBezTo>
                  <a:cubicBezTo>
                    <a:pt x="3498" y="2318"/>
                    <a:pt x="3474" y="2329"/>
                    <a:pt x="3457" y="2346"/>
                  </a:cubicBezTo>
                  <a:cubicBezTo>
                    <a:pt x="3381" y="2311"/>
                    <a:pt x="3305" y="2276"/>
                    <a:pt x="3226" y="2248"/>
                  </a:cubicBezTo>
                  <a:cubicBezTo>
                    <a:pt x="3226" y="2248"/>
                    <a:pt x="3226" y="2248"/>
                    <a:pt x="3226" y="2248"/>
                  </a:cubicBezTo>
                  <a:cubicBezTo>
                    <a:pt x="3226" y="2205"/>
                    <a:pt x="3201" y="2167"/>
                    <a:pt x="3163" y="2153"/>
                  </a:cubicBezTo>
                  <a:cubicBezTo>
                    <a:pt x="3170" y="2072"/>
                    <a:pt x="3174" y="1995"/>
                    <a:pt x="3174" y="1921"/>
                  </a:cubicBezTo>
                  <a:moveTo>
                    <a:pt x="2676" y="1834"/>
                  </a:moveTo>
                  <a:cubicBezTo>
                    <a:pt x="2621" y="1887"/>
                    <a:pt x="2541" y="1967"/>
                    <a:pt x="2458" y="2068"/>
                  </a:cubicBezTo>
                  <a:cubicBezTo>
                    <a:pt x="2447" y="2061"/>
                    <a:pt x="2433" y="2061"/>
                    <a:pt x="2419" y="2061"/>
                  </a:cubicBezTo>
                  <a:cubicBezTo>
                    <a:pt x="2416" y="2061"/>
                    <a:pt x="2416" y="2061"/>
                    <a:pt x="2416" y="2061"/>
                  </a:cubicBezTo>
                  <a:cubicBezTo>
                    <a:pt x="2367" y="2061"/>
                    <a:pt x="2329" y="2096"/>
                    <a:pt x="2315" y="2141"/>
                  </a:cubicBezTo>
                  <a:cubicBezTo>
                    <a:pt x="2215" y="2152"/>
                    <a:pt x="2131" y="2169"/>
                    <a:pt x="2072" y="2180"/>
                  </a:cubicBezTo>
                  <a:cubicBezTo>
                    <a:pt x="2235" y="1995"/>
                    <a:pt x="2451" y="1869"/>
                    <a:pt x="2676" y="1834"/>
                  </a:cubicBezTo>
                  <a:moveTo>
                    <a:pt x="2793" y="1828"/>
                  </a:moveTo>
                  <a:cubicBezTo>
                    <a:pt x="2904" y="1828"/>
                    <a:pt x="3014" y="1849"/>
                    <a:pt x="3117" y="1895"/>
                  </a:cubicBezTo>
                  <a:cubicBezTo>
                    <a:pt x="3120" y="1977"/>
                    <a:pt x="3117" y="2058"/>
                    <a:pt x="3107" y="2146"/>
                  </a:cubicBezTo>
                  <a:cubicBezTo>
                    <a:pt x="3079" y="2150"/>
                    <a:pt x="3055" y="2167"/>
                    <a:pt x="3041" y="2192"/>
                  </a:cubicBezTo>
                  <a:cubicBezTo>
                    <a:pt x="2996" y="2181"/>
                    <a:pt x="2948" y="2171"/>
                    <a:pt x="2900" y="2164"/>
                  </a:cubicBezTo>
                  <a:cubicBezTo>
                    <a:pt x="2787" y="2143"/>
                    <a:pt x="2670" y="2135"/>
                    <a:pt x="2553" y="2135"/>
                  </a:cubicBezTo>
                  <a:cubicBezTo>
                    <a:pt x="2539" y="2135"/>
                    <a:pt x="2525" y="2135"/>
                    <a:pt x="2511" y="2135"/>
                  </a:cubicBezTo>
                  <a:cubicBezTo>
                    <a:pt x="2508" y="2135"/>
                    <a:pt x="2508" y="2135"/>
                    <a:pt x="2508" y="2135"/>
                  </a:cubicBezTo>
                  <a:cubicBezTo>
                    <a:pt x="2504" y="2128"/>
                    <a:pt x="2501" y="2118"/>
                    <a:pt x="2498" y="2111"/>
                  </a:cubicBezTo>
                  <a:cubicBezTo>
                    <a:pt x="2618" y="1962"/>
                    <a:pt x="2728" y="1867"/>
                    <a:pt x="2769" y="1828"/>
                  </a:cubicBezTo>
                  <a:cubicBezTo>
                    <a:pt x="2776" y="1828"/>
                    <a:pt x="2787" y="1828"/>
                    <a:pt x="2793" y="1828"/>
                  </a:cubicBezTo>
                  <a:cubicBezTo>
                    <a:pt x="2793" y="1828"/>
                    <a:pt x="2793" y="1828"/>
                    <a:pt x="2793" y="1828"/>
                  </a:cubicBezTo>
                  <a:moveTo>
                    <a:pt x="3605" y="2488"/>
                  </a:moveTo>
                  <a:cubicBezTo>
                    <a:pt x="3660" y="2519"/>
                    <a:pt x="3702" y="2547"/>
                    <a:pt x="3729" y="2568"/>
                  </a:cubicBezTo>
                  <a:cubicBezTo>
                    <a:pt x="3733" y="2586"/>
                    <a:pt x="3740" y="2603"/>
                    <a:pt x="3743" y="2620"/>
                  </a:cubicBezTo>
                  <a:cubicBezTo>
                    <a:pt x="3726" y="2701"/>
                    <a:pt x="3650" y="2955"/>
                    <a:pt x="3464" y="3207"/>
                  </a:cubicBezTo>
                  <a:cubicBezTo>
                    <a:pt x="3453" y="3203"/>
                    <a:pt x="3439" y="3203"/>
                    <a:pt x="3429" y="3203"/>
                  </a:cubicBezTo>
                  <a:cubicBezTo>
                    <a:pt x="3426" y="3203"/>
                    <a:pt x="3426" y="3203"/>
                    <a:pt x="3426" y="3203"/>
                  </a:cubicBezTo>
                  <a:cubicBezTo>
                    <a:pt x="3381" y="3203"/>
                    <a:pt x="3339" y="3234"/>
                    <a:pt x="3329" y="3280"/>
                  </a:cubicBezTo>
                  <a:cubicBezTo>
                    <a:pt x="3305" y="3280"/>
                    <a:pt x="3284" y="3283"/>
                    <a:pt x="3260" y="3283"/>
                  </a:cubicBezTo>
                  <a:cubicBezTo>
                    <a:pt x="3243" y="3283"/>
                    <a:pt x="3225" y="3283"/>
                    <a:pt x="3208" y="3283"/>
                  </a:cubicBezTo>
                  <a:cubicBezTo>
                    <a:pt x="3077" y="3283"/>
                    <a:pt x="2949" y="3273"/>
                    <a:pt x="2822" y="3248"/>
                  </a:cubicBezTo>
                  <a:cubicBezTo>
                    <a:pt x="2822" y="3248"/>
                    <a:pt x="2822" y="3245"/>
                    <a:pt x="2818" y="3245"/>
                  </a:cubicBezTo>
                  <a:cubicBezTo>
                    <a:pt x="2904" y="3196"/>
                    <a:pt x="2984" y="3144"/>
                    <a:pt x="3060" y="3084"/>
                  </a:cubicBezTo>
                  <a:cubicBezTo>
                    <a:pt x="3329" y="2886"/>
                    <a:pt x="3464" y="2666"/>
                    <a:pt x="3526" y="2512"/>
                  </a:cubicBezTo>
                  <a:cubicBezTo>
                    <a:pt x="3532" y="2512"/>
                    <a:pt x="3536" y="2512"/>
                    <a:pt x="3539" y="2512"/>
                  </a:cubicBezTo>
                  <a:cubicBezTo>
                    <a:pt x="3567" y="2512"/>
                    <a:pt x="3588" y="2502"/>
                    <a:pt x="3605" y="2488"/>
                  </a:cubicBezTo>
                  <a:moveTo>
                    <a:pt x="2815" y="3308"/>
                  </a:moveTo>
                  <a:cubicBezTo>
                    <a:pt x="2942" y="3332"/>
                    <a:pt x="3069" y="3343"/>
                    <a:pt x="3199" y="3343"/>
                  </a:cubicBezTo>
                  <a:cubicBezTo>
                    <a:pt x="3220" y="3343"/>
                    <a:pt x="3237" y="3343"/>
                    <a:pt x="3254" y="3343"/>
                  </a:cubicBezTo>
                  <a:cubicBezTo>
                    <a:pt x="3278" y="3339"/>
                    <a:pt x="3302" y="3339"/>
                    <a:pt x="3326" y="3339"/>
                  </a:cubicBezTo>
                  <a:cubicBezTo>
                    <a:pt x="3329" y="3346"/>
                    <a:pt x="3329" y="3353"/>
                    <a:pt x="3336" y="3357"/>
                  </a:cubicBezTo>
                  <a:cubicBezTo>
                    <a:pt x="3082" y="3629"/>
                    <a:pt x="2788" y="3755"/>
                    <a:pt x="2699" y="3783"/>
                  </a:cubicBezTo>
                  <a:cubicBezTo>
                    <a:pt x="2592" y="3772"/>
                    <a:pt x="2486" y="3737"/>
                    <a:pt x="2387" y="3685"/>
                  </a:cubicBezTo>
                  <a:cubicBezTo>
                    <a:pt x="2452" y="3633"/>
                    <a:pt x="2565" y="3528"/>
                    <a:pt x="2688" y="3364"/>
                  </a:cubicBezTo>
                  <a:cubicBezTo>
                    <a:pt x="2699" y="3367"/>
                    <a:pt x="2712" y="3371"/>
                    <a:pt x="2723" y="3371"/>
                  </a:cubicBezTo>
                  <a:cubicBezTo>
                    <a:pt x="2723" y="3371"/>
                    <a:pt x="2723" y="3371"/>
                    <a:pt x="2723" y="3371"/>
                  </a:cubicBezTo>
                  <a:cubicBezTo>
                    <a:pt x="2764" y="3371"/>
                    <a:pt x="2798" y="3346"/>
                    <a:pt x="2815" y="3308"/>
                  </a:cubicBezTo>
                  <a:moveTo>
                    <a:pt x="3758" y="2765"/>
                  </a:moveTo>
                  <a:cubicBezTo>
                    <a:pt x="3761" y="2779"/>
                    <a:pt x="3761" y="2797"/>
                    <a:pt x="3761" y="2811"/>
                  </a:cubicBezTo>
                  <a:cubicBezTo>
                    <a:pt x="3761" y="2961"/>
                    <a:pt x="3721" y="3108"/>
                    <a:pt x="3645" y="3244"/>
                  </a:cubicBezTo>
                  <a:cubicBezTo>
                    <a:pt x="3618" y="3251"/>
                    <a:pt x="3574" y="3258"/>
                    <a:pt x="3519" y="3265"/>
                  </a:cubicBezTo>
                  <a:cubicBezTo>
                    <a:pt x="3516" y="3258"/>
                    <a:pt x="3512" y="3251"/>
                    <a:pt x="3509" y="3247"/>
                  </a:cubicBezTo>
                  <a:cubicBezTo>
                    <a:pt x="3635" y="3073"/>
                    <a:pt x="3717" y="2895"/>
                    <a:pt x="3758" y="2765"/>
                  </a:cubicBezTo>
                  <a:moveTo>
                    <a:pt x="3607" y="3308"/>
                  </a:moveTo>
                  <a:cubicBezTo>
                    <a:pt x="3432" y="3578"/>
                    <a:pt x="3142" y="3771"/>
                    <a:pt x="2843" y="3789"/>
                  </a:cubicBezTo>
                  <a:cubicBezTo>
                    <a:pt x="2974" y="3726"/>
                    <a:pt x="3191" y="3599"/>
                    <a:pt x="3380" y="3396"/>
                  </a:cubicBezTo>
                  <a:cubicBezTo>
                    <a:pt x="3390" y="3399"/>
                    <a:pt x="3404" y="3403"/>
                    <a:pt x="3415" y="3403"/>
                  </a:cubicBezTo>
                  <a:cubicBezTo>
                    <a:pt x="3418" y="3403"/>
                    <a:pt x="3418" y="3403"/>
                    <a:pt x="3418" y="3403"/>
                  </a:cubicBezTo>
                  <a:cubicBezTo>
                    <a:pt x="3466" y="3403"/>
                    <a:pt x="3508" y="3368"/>
                    <a:pt x="3518" y="3322"/>
                  </a:cubicBezTo>
                  <a:cubicBezTo>
                    <a:pt x="3549" y="3315"/>
                    <a:pt x="3580" y="3311"/>
                    <a:pt x="3607" y="3308"/>
                  </a:cubicBezTo>
                  <a:moveTo>
                    <a:pt x="3215" y="2303"/>
                  </a:moveTo>
                  <a:cubicBezTo>
                    <a:pt x="3288" y="2331"/>
                    <a:pt x="3364" y="2362"/>
                    <a:pt x="3437" y="2397"/>
                  </a:cubicBezTo>
                  <a:cubicBezTo>
                    <a:pt x="3437" y="2404"/>
                    <a:pt x="3437" y="2408"/>
                    <a:pt x="3437" y="2415"/>
                  </a:cubicBezTo>
                  <a:cubicBezTo>
                    <a:pt x="3437" y="2442"/>
                    <a:pt x="3451" y="2470"/>
                    <a:pt x="3472" y="2491"/>
                  </a:cubicBezTo>
                  <a:cubicBezTo>
                    <a:pt x="3385" y="2704"/>
                    <a:pt x="3232" y="2889"/>
                    <a:pt x="3024" y="3042"/>
                  </a:cubicBezTo>
                  <a:cubicBezTo>
                    <a:pt x="2958" y="3091"/>
                    <a:pt x="2885" y="3137"/>
                    <a:pt x="2812" y="3178"/>
                  </a:cubicBezTo>
                  <a:cubicBezTo>
                    <a:pt x="2871" y="3088"/>
                    <a:pt x="2923" y="2990"/>
                    <a:pt x="2972" y="2885"/>
                  </a:cubicBezTo>
                  <a:cubicBezTo>
                    <a:pt x="3048" y="2715"/>
                    <a:pt x="3104" y="2533"/>
                    <a:pt x="3138" y="2345"/>
                  </a:cubicBezTo>
                  <a:cubicBezTo>
                    <a:pt x="3170" y="2345"/>
                    <a:pt x="3197" y="2327"/>
                    <a:pt x="3215" y="2303"/>
                  </a:cubicBezTo>
                  <a:moveTo>
                    <a:pt x="2633" y="3339"/>
                  </a:moveTo>
                  <a:cubicBezTo>
                    <a:pt x="2499" y="3508"/>
                    <a:pt x="2382" y="3609"/>
                    <a:pt x="2331" y="3647"/>
                  </a:cubicBezTo>
                  <a:cubicBezTo>
                    <a:pt x="2258" y="3602"/>
                    <a:pt x="2190" y="3550"/>
                    <a:pt x="2128" y="3488"/>
                  </a:cubicBezTo>
                  <a:cubicBezTo>
                    <a:pt x="2227" y="3474"/>
                    <a:pt x="2413" y="3436"/>
                    <a:pt x="2633" y="3339"/>
                  </a:cubicBezTo>
                  <a:moveTo>
                    <a:pt x="3018" y="0"/>
                  </a:moveTo>
                  <a:cubicBezTo>
                    <a:pt x="2513" y="0"/>
                    <a:pt x="2513" y="0"/>
                    <a:pt x="2513" y="0"/>
                  </a:cubicBezTo>
                  <a:cubicBezTo>
                    <a:pt x="2456" y="0"/>
                    <a:pt x="2409" y="47"/>
                    <a:pt x="2409" y="103"/>
                  </a:cubicBezTo>
                  <a:cubicBezTo>
                    <a:pt x="2409" y="1416"/>
                    <a:pt x="2409" y="1416"/>
                    <a:pt x="2409" y="1416"/>
                  </a:cubicBezTo>
                  <a:cubicBezTo>
                    <a:pt x="2409" y="1473"/>
                    <a:pt x="2456" y="1519"/>
                    <a:pt x="2513" y="1519"/>
                  </a:cubicBezTo>
                  <a:cubicBezTo>
                    <a:pt x="3018" y="1519"/>
                    <a:pt x="3018" y="1519"/>
                    <a:pt x="3018" y="1519"/>
                  </a:cubicBezTo>
                  <a:cubicBezTo>
                    <a:pt x="3076" y="1519"/>
                    <a:pt x="3121" y="1473"/>
                    <a:pt x="3121" y="1416"/>
                  </a:cubicBezTo>
                  <a:cubicBezTo>
                    <a:pt x="3121" y="103"/>
                    <a:pt x="3121" y="103"/>
                    <a:pt x="3121" y="103"/>
                  </a:cubicBezTo>
                  <a:cubicBezTo>
                    <a:pt x="3121" y="47"/>
                    <a:pt x="3076" y="0"/>
                    <a:pt x="3018" y="0"/>
                  </a:cubicBezTo>
                  <a:close/>
                  <a:moveTo>
                    <a:pt x="2582" y="1368"/>
                  </a:moveTo>
                  <a:cubicBezTo>
                    <a:pt x="2546" y="1368"/>
                    <a:pt x="2546" y="1368"/>
                    <a:pt x="2546" y="1368"/>
                  </a:cubicBezTo>
                  <a:cubicBezTo>
                    <a:pt x="2517" y="1368"/>
                    <a:pt x="2492" y="1352"/>
                    <a:pt x="2492" y="1332"/>
                  </a:cubicBezTo>
                  <a:cubicBezTo>
                    <a:pt x="2492" y="1309"/>
                    <a:pt x="2492" y="1309"/>
                    <a:pt x="2492" y="1309"/>
                  </a:cubicBezTo>
                  <a:cubicBezTo>
                    <a:pt x="2492" y="1290"/>
                    <a:pt x="2517" y="1275"/>
                    <a:pt x="2546" y="1275"/>
                  </a:cubicBezTo>
                  <a:cubicBezTo>
                    <a:pt x="2582" y="1275"/>
                    <a:pt x="2582" y="1275"/>
                    <a:pt x="2582" y="1275"/>
                  </a:cubicBezTo>
                  <a:cubicBezTo>
                    <a:pt x="2612" y="1275"/>
                    <a:pt x="2636" y="1290"/>
                    <a:pt x="2636" y="1309"/>
                  </a:cubicBezTo>
                  <a:cubicBezTo>
                    <a:pt x="2636" y="1332"/>
                    <a:pt x="2636" y="1332"/>
                    <a:pt x="2636" y="1332"/>
                  </a:cubicBezTo>
                  <a:cubicBezTo>
                    <a:pt x="2636" y="1352"/>
                    <a:pt x="2612" y="1368"/>
                    <a:pt x="2582" y="1368"/>
                  </a:cubicBezTo>
                  <a:close/>
                  <a:moveTo>
                    <a:pt x="2783" y="1253"/>
                  </a:moveTo>
                  <a:cubicBezTo>
                    <a:pt x="2747" y="1253"/>
                    <a:pt x="2747" y="1253"/>
                    <a:pt x="2747" y="1253"/>
                  </a:cubicBezTo>
                  <a:cubicBezTo>
                    <a:pt x="2718" y="1253"/>
                    <a:pt x="2693" y="1238"/>
                    <a:pt x="2693" y="1218"/>
                  </a:cubicBezTo>
                  <a:cubicBezTo>
                    <a:pt x="2693" y="1195"/>
                    <a:pt x="2693" y="1195"/>
                    <a:pt x="2693" y="1195"/>
                  </a:cubicBezTo>
                  <a:cubicBezTo>
                    <a:pt x="2693" y="1176"/>
                    <a:pt x="2718" y="1160"/>
                    <a:pt x="2747" y="1160"/>
                  </a:cubicBezTo>
                  <a:cubicBezTo>
                    <a:pt x="2783" y="1160"/>
                    <a:pt x="2783" y="1160"/>
                    <a:pt x="2783" y="1160"/>
                  </a:cubicBezTo>
                  <a:cubicBezTo>
                    <a:pt x="2813" y="1160"/>
                    <a:pt x="2837" y="1176"/>
                    <a:pt x="2837" y="1195"/>
                  </a:cubicBezTo>
                  <a:cubicBezTo>
                    <a:pt x="2837" y="1218"/>
                    <a:pt x="2837" y="1218"/>
                    <a:pt x="2837" y="1218"/>
                  </a:cubicBezTo>
                  <a:cubicBezTo>
                    <a:pt x="2837" y="1238"/>
                    <a:pt x="2813" y="1253"/>
                    <a:pt x="2783" y="1253"/>
                  </a:cubicBezTo>
                  <a:close/>
                  <a:moveTo>
                    <a:pt x="2837" y="1309"/>
                  </a:moveTo>
                  <a:cubicBezTo>
                    <a:pt x="2837" y="1332"/>
                    <a:pt x="2837" y="1332"/>
                    <a:pt x="2837" y="1332"/>
                  </a:cubicBezTo>
                  <a:cubicBezTo>
                    <a:pt x="2837" y="1352"/>
                    <a:pt x="2813" y="1368"/>
                    <a:pt x="2783" y="1368"/>
                  </a:cubicBezTo>
                  <a:cubicBezTo>
                    <a:pt x="2747" y="1368"/>
                    <a:pt x="2747" y="1368"/>
                    <a:pt x="2747" y="1368"/>
                  </a:cubicBezTo>
                  <a:cubicBezTo>
                    <a:pt x="2718" y="1368"/>
                    <a:pt x="2693" y="1352"/>
                    <a:pt x="2693" y="1332"/>
                  </a:cubicBezTo>
                  <a:cubicBezTo>
                    <a:pt x="2693" y="1309"/>
                    <a:pt x="2693" y="1309"/>
                    <a:pt x="2693" y="1309"/>
                  </a:cubicBezTo>
                  <a:cubicBezTo>
                    <a:pt x="2693" y="1290"/>
                    <a:pt x="2718" y="1275"/>
                    <a:pt x="2747" y="1275"/>
                  </a:cubicBezTo>
                  <a:cubicBezTo>
                    <a:pt x="2783" y="1275"/>
                    <a:pt x="2783" y="1275"/>
                    <a:pt x="2783" y="1275"/>
                  </a:cubicBezTo>
                  <a:cubicBezTo>
                    <a:pt x="2813" y="1275"/>
                    <a:pt x="2837" y="1290"/>
                    <a:pt x="2837" y="1309"/>
                  </a:cubicBezTo>
                  <a:close/>
                  <a:moveTo>
                    <a:pt x="2783" y="1138"/>
                  </a:moveTo>
                  <a:cubicBezTo>
                    <a:pt x="2747" y="1138"/>
                    <a:pt x="2747" y="1138"/>
                    <a:pt x="2747" y="1138"/>
                  </a:cubicBezTo>
                  <a:cubicBezTo>
                    <a:pt x="2718" y="1138"/>
                    <a:pt x="2693" y="1122"/>
                    <a:pt x="2693" y="1103"/>
                  </a:cubicBezTo>
                  <a:cubicBezTo>
                    <a:pt x="2693" y="1080"/>
                    <a:pt x="2693" y="1080"/>
                    <a:pt x="2693" y="1080"/>
                  </a:cubicBezTo>
                  <a:cubicBezTo>
                    <a:pt x="2693" y="1060"/>
                    <a:pt x="2718" y="1045"/>
                    <a:pt x="2747" y="1045"/>
                  </a:cubicBezTo>
                  <a:cubicBezTo>
                    <a:pt x="2783" y="1045"/>
                    <a:pt x="2783" y="1045"/>
                    <a:pt x="2783" y="1045"/>
                  </a:cubicBezTo>
                  <a:cubicBezTo>
                    <a:pt x="2813" y="1045"/>
                    <a:pt x="2837" y="1060"/>
                    <a:pt x="2837" y="1080"/>
                  </a:cubicBezTo>
                  <a:cubicBezTo>
                    <a:pt x="2837" y="1103"/>
                    <a:pt x="2837" y="1103"/>
                    <a:pt x="2837" y="1103"/>
                  </a:cubicBezTo>
                  <a:cubicBezTo>
                    <a:pt x="2837" y="1122"/>
                    <a:pt x="2813" y="1138"/>
                    <a:pt x="2783" y="1138"/>
                  </a:cubicBezTo>
                  <a:close/>
                  <a:moveTo>
                    <a:pt x="2783" y="1023"/>
                  </a:moveTo>
                  <a:cubicBezTo>
                    <a:pt x="2747" y="1023"/>
                    <a:pt x="2747" y="1023"/>
                    <a:pt x="2747" y="1023"/>
                  </a:cubicBezTo>
                  <a:cubicBezTo>
                    <a:pt x="2718" y="1023"/>
                    <a:pt x="2693" y="1008"/>
                    <a:pt x="2693" y="988"/>
                  </a:cubicBezTo>
                  <a:cubicBezTo>
                    <a:pt x="2693" y="965"/>
                    <a:pt x="2693" y="965"/>
                    <a:pt x="2693" y="965"/>
                  </a:cubicBezTo>
                  <a:cubicBezTo>
                    <a:pt x="2693" y="946"/>
                    <a:pt x="2718" y="930"/>
                    <a:pt x="2747" y="930"/>
                  </a:cubicBezTo>
                  <a:cubicBezTo>
                    <a:pt x="2783" y="930"/>
                    <a:pt x="2783" y="930"/>
                    <a:pt x="2783" y="930"/>
                  </a:cubicBezTo>
                  <a:cubicBezTo>
                    <a:pt x="2813" y="930"/>
                    <a:pt x="2837" y="946"/>
                    <a:pt x="2837" y="965"/>
                  </a:cubicBezTo>
                  <a:cubicBezTo>
                    <a:pt x="2837" y="988"/>
                    <a:pt x="2837" y="988"/>
                    <a:pt x="2837" y="988"/>
                  </a:cubicBezTo>
                  <a:cubicBezTo>
                    <a:pt x="2837" y="1008"/>
                    <a:pt x="2813" y="1023"/>
                    <a:pt x="2783" y="1023"/>
                  </a:cubicBezTo>
                  <a:close/>
                  <a:moveTo>
                    <a:pt x="2780" y="860"/>
                  </a:moveTo>
                  <a:cubicBezTo>
                    <a:pt x="2816" y="854"/>
                    <a:pt x="2844" y="824"/>
                    <a:pt x="2847" y="786"/>
                  </a:cubicBezTo>
                  <a:cubicBezTo>
                    <a:pt x="3022" y="786"/>
                    <a:pt x="3022" y="786"/>
                    <a:pt x="3022" y="786"/>
                  </a:cubicBezTo>
                  <a:cubicBezTo>
                    <a:pt x="3022" y="787"/>
                    <a:pt x="3022" y="787"/>
                    <a:pt x="3022" y="787"/>
                  </a:cubicBezTo>
                  <a:cubicBezTo>
                    <a:pt x="3022" y="828"/>
                    <a:pt x="2990" y="860"/>
                    <a:pt x="2949" y="860"/>
                  </a:cubicBezTo>
                  <a:cubicBezTo>
                    <a:pt x="2780" y="860"/>
                    <a:pt x="2780" y="860"/>
                    <a:pt x="2780" y="860"/>
                  </a:cubicBezTo>
                  <a:cubicBezTo>
                    <a:pt x="2780" y="860"/>
                    <a:pt x="2780" y="860"/>
                    <a:pt x="2780" y="860"/>
                  </a:cubicBezTo>
                  <a:close/>
                  <a:moveTo>
                    <a:pt x="2847" y="777"/>
                  </a:moveTo>
                  <a:cubicBezTo>
                    <a:pt x="2846" y="742"/>
                    <a:pt x="2822" y="712"/>
                    <a:pt x="2790" y="702"/>
                  </a:cubicBezTo>
                  <a:cubicBezTo>
                    <a:pt x="2949" y="702"/>
                    <a:pt x="2949" y="702"/>
                    <a:pt x="2949" y="702"/>
                  </a:cubicBezTo>
                  <a:cubicBezTo>
                    <a:pt x="2990" y="702"/>
                    <a:pt x="3022" y="735"/>
                    <a:pt x="3022" y="775"/>
                  </a:cubicBezTo>
                  <a:cubicBezTo>
                    <a:pt x="3022" y="777"/>
                    <a:pt x="3022" y="777"/>
                    <a:pt x="3022" y="777"/>
                  </a:cubicBezTo>
                  <a:cubicBezTo>
                    <a:pt x="2847" y="777"/>
                    <a:pt x="2847" y="777"/>
                    <a:pt x="2847" y="777"/>
                  </a:cubicBezTo>
                  <a:cubicBezTo>
                    <a:pt x="2847" y="777"/>
                    <a:pt x="2847" y="777"/>
                    <a:pt x="2847" y="777"/>
                  </a:cubicBezTo>
                  <a:close/>
                  <a:moveTo>
                    <a:pt x="2831" y="779"/>
                  </a:moveTo>
                  <a:cubicBezTo>
                    <a:pt x="2831" y="816"/>
                    <a:pt x="2802" y="845"/>
                    <a:pt x="2765" y="845"/>
                  </a:cubicBezTo>
                  <a:cubicBezTo>
                    <a:pt x="2729" y="845"/>
                    <a:pt x="2700" y="816"/>
                    <a:pt x="2700" y="779"/>
                  </a:cubicBezTo>
                  <a:cubicBezTo>
                    <a:pt x="2700" y="742"/>
                    <a:pt x="2729" y="713"/>
                    <a:pt x="2765" y="713"/>
                  </a:cubicBezTo>
                  <a:cubicBezTo>
                    <a:pt x="2802" y="713"/>
                    <a:pt x="2831" y="742"/>
                    <a:pt x="2831" y="779"/>
                  </a:cubicBezTo>
                  <a:close/>
                  <a:moveTo>
                    <a:pt x="2684" y="777"/>
                  </a:moveTo>
                  <a:cubicBezTo>
                    <a:pt x="2509" y="777"/>
                    <a:pt x="2509" y="777"/>
                    <a:pt x="2509" y="777"/>
                  </a:cubicBezTo>
                  <a:cubicBezTo>
                    <a:pt x="2509" y="775"/>
                    <a:pt x="2509" y="775"/>
                    <a:pt x="2509" y="775"/>
                  </a:cubicBezTo>
                  <a:cubicBezTo>
                    <a:pt x="2509" y="735"/>
                    <a:pt x="2542" y="702"/>
                    <a:pt x="2582" y="702"/>
                  </a:cubicBezTo>
                  <a:cubicBezTo>
                    <a:pt x="2741" y="702"/>
                    <a:pt x="2741" y="702"/>
                    <a:pt x="2741" y="702"/>
                  </a:cubicBezTo>
                  <a:cubicBezTo>
                    <a:pt x="2709" y="712"/>
                    <a:pt x="2685" y="742"/>
                    <a:pt x="2684" y="777"/>
                  </a:cubicBezTo>
                  <a:close/>
                  <a:moveTo>
                    <a:pt x="2685" y="786"/>
                  </a:moveTo>
                  <a:cubicBezTo>
                    <a:pt x="2687" y="824"/>
                    <a:pt x="2715" y="854"/>
                    <a:pt x="2752" y="860"/>
                  </a:cubicBezTo>
                  <a:cubicBezTo>
                    <a:pt x="2582" y="860"/>
                    <a:pt x="2582" y="860"/>
                    <a:pt x="2582" y="860"/>
                  </a:cubicBezTo>
                  <a:cubicBezTo>
                    <a:pt x="2542" y="860"/>
                    <a:pt x="2509" y="828"/>
                    <a:pt x="2509" y="787"/>
                  </a:cubicBezTo>
                  <a:cubicBezTo>
                    <a:pt x="2509" y="786"/>
                    <a:pt x="2509" y="786"/>
                    <a:pt x="2509" y="786"/>
                  </a:cubicBezTo>
                  <a:cubicBezTo>
                    <a:pt x="2685" y="786"/>
                    <a:pt x="2685" y="786"/>
                    <a:pt x="2685" y="786"/>
                  </a:cubicBezTo>
                  <a:cubicBezTo>
                    <a:pt x="2685" y="786"/>
                    <a:pt x="2685" y="786"/>
                    <a:pt x="2685" y="786"/>
                  </a:cubicBezTo>
                  <a:close/>
                  <a:moveTo>
                    <a:pt x="2546" y="930"/>
                  </a:moveTo>
                  <a:cubicBezTo>
                    <a:pt x="2582" y="930"/>
                    <a:pt x="2582" y="930"/>
                    <a:pt x="2582" y="930"/>
                  </a:cubicBezTo>
                  <a:cubicBezTo>
                    <a:pt x="2612" y="930"/>
                    <a:pt x="2636" y="946"/>
                    <a:pt x="2636" y="965"/>
                  </a:cubicBezTo>
                  <a:cubicBezTo>
                    <a:pt x="2636" y="988"/>
                    <a:pt x="2636" y="988"/>
                    <a:pt x="2636" y="988"/>
                  </a:cubicBezTo>
                  <a:cubicBezTo>
                    <a:pt x="2636" y="1008"/>
                    <a:pt x="2612" y="1023"/>
                    <a:pt x="2582" y="1023"/>
                  </a:cubicBezTo>
                  <a:cubicBezTo>
                    <a:pt x="2546" y="1023"/>
                    <a:pt x="2546" y="1023"/>
                    <a:pt x="2546" y="1023"/>
                  </a:cubicBezTo>
                  <a:cubicBezTo>
                    <a:pt x="2517" y="1023"/>
                    <a:pt x="2492" y="1008"/>
                    <a:pt x="2492" y="988"/>
                  </a:cubicBezTo>
                  <a:cubicBezTo>
                    <a:pt x="2492" y="965"/>
                    <a:pt x="2492" y="965"/>
                    <a:pt x="2492" y="965"/>
                  </a:cubicBezTo>
                  <a:cubicBezTo>
                    <a:pt x="2492" y="946"/>
                    <a:pt x="2517" y="930"/>
                    <a:pt x="2546" y="930"/>
                  </a:cubicBezTo>
                  <a:close/>
                  <a:moveTo>
                    <a:pt x="2546" y="1045"/>
                  </a:moveTo>
                  <a:cubicBezTo>
                    <a:pt x="2582" y="1045"/>
                    <a:pt x="2582" y="1045"/>
                    <a:pt x="2582" y="1045"/>
                  </a:cubicBezTo>
                  <a:cubicBezTo>
                    <a:pt x="2612" y="1045"/>
                    <a:pt x="2636" y="1060"/>
                    <a:pt x="2636" y="1080"/>
                  </a:cubicBezTo>
                  <a:cubicBezTo>
                    <a:pt x="2636" y="1103"/>
                    <a:pt x="2636" y="1103"/>
                    <a:pt x="2636" y="1103"/>
                  </a:cubicBezTo>
                  <a:cubicBezTo>
                    <a:pt x="2636" y="1122"/>
                    <a:pt x="2612" y="1138"/>
                    <a:pt x="2582" y="1138"/>
                  </a:cubicBezTo>
                  <a:cubicBezTo>
                    <a:pt x="2546" y="1138"/>
                    <a:pt x="2546" y="1138"/>
                    <a:pt x="2546" y="1138"/>
                  </a:cubicBezTo>
                  <a:cubicBezTo>
                    <a:pt x="2517" y="1138"/>
                    <a:pt x="2492" y="1122"/>
                    <a:pt x="2492" y="1103"/>
                  </a:cubicBezTo>
                  <a:cubicBezTo>
                    <a:pt x="2492" y="1080"/>
                    <a:pt x="2492" y="1080"/>
                    <a:pt x="2492" y="1080"/>
                  </a:cubicBezTo>
                  <a:cubicBezTo>
                    <a:pt x="2492" y="1060"/>
                    <a:pt x="2517" y="1045"/>
                    <a:pt x="2546" y="1045"/>
                  </a:cubicBezTo>
                  <a:close/>
                  <a:moveTo>
                    <a:pt x="2546" y="1160"/>
                  </a:moveTo>
                  <a:cubicBezTo>
                    <a:pt x="2582" y="1160"/>
                    <a:pt x="2582" y="1160"/>
                    <a:pt x="2582" y="1160"/>
                  </a:cubicBezTo>
                  <a:cubicBezTo>
                    <a:pt x="2612" y="1160"/>
                    <a:pt x="2636" y="1176"/>
                    <a:pt x="2636" y="1195"/>
                  </a:cubicBezTo>
                  <a:cubicBezTo>
                    <a:pt x="2636" y="1218"/>
                    <a:pt x="2636" y="1218"/>
                    <a:pt x="2636" y="1218"/>
                  </a:cubicBezTo>
                  <a:cubicBezTo>
                    <a:pt x="2636" y="1238"/>
                    <a:pt x="2612" y="1253"/>
                    <a:pt x="2582" y="1253"/>
                  </a:cubicBezTo>
                  <a:cubicBezTo>
                    <a:pt x="2546" y="1253"/>
                    <a:pt x="2546" y="1253"/>
                    <a:pt x="2546" y="1253"/>
                  </a:cubicBezTo>
                  <a:cubicBezTo>
                    <a:pt x="2517" y="1253"/>
                    <a:pt x="2492" y="1238"/>
                    <a:pt x="2492" y="1218"/>
                  </a:cubicBezTo>
                  <a:cubicBezTo>
                    <a:pt x="2492" y="1195"/>
                    <a:pt x="2492" y="1195"/>
                    <a:pt x="2492" y="1195"/>
                  </a:cubicBezTo>
                  <a:cubicBezTo>
                    <a:pt x="2492" y="1176"/>
                    <a:pt x="2517" y="1160"/>
                    <a:pt x="2546" y="1160"/>
                  </a:cubicBezTo>
                  <a:close/>
                  <a:moveTo>
                    <a:pt x="2891" y="1461"/>
                  </a:moveTo>
                  <a:cubicBezTo>
                    <a:pt x="2640" y="1461"/>
                    <a:pt x="2640" y="1461"/>
                    <a:pt x="2640" y="1461"/>
                  </a:cubicBezTo>
                  <a:cubicBezTo>
                    <a:pt x="2635" y="1461"/>
                    <a:pt x="2629" y="1456"/>
                    <a:pt x="2629" y="1450"/>
                  </a:cubicBezTo>
                  <a:cubicBezTo>
                    <a:pt x="2629" y="1444"/>
                    <a:pt x="2635" y="1440"/>
                    <a:pt x="2640" y="1440"/>
                  </a:cubicBezTo>
                  <a:cubicBezTo>
                    <a:pt x="2891" y="1440"/>
                    <a:pt x="2891" y="1440"/>
                    <a:pt x="2891" y="1440"/>
                  </a:cubicBezTo>
                  <a:cubicBezTo>
                    <a:pt x="2897" y="1440"/>
                    <a:pt x="2901" y="1444"/>
                    <a:pt x="2901" y="1450"/>
                  </a:cubicBezTo>
                  <a:cubicBezTo>
                    <a:pt x="2901" y="1456"/>
                    <a:pt x="2897" y="1461"/>
                    <a:pt x="2891" y="1461"/>
                  </a:cubicBezTo>
                  <a:close/>
                  <a:moveTo>
                    <a:pt x="3039" y="1332"/>
                  </a:moveTo>
                  <a:cubicBezTo>
                    <a:pt x="3039" y="1352"/>
                    <a:pt x="3015" y="1368"/>
                    <a:pt x="2984" y="1368"/>
                  </a:cubicBezTo>
                  <a:cubicBezTo>
                    <a:pt x="2949" y="1368"/>
                    <a:pt x="2949" y="1368"/>
                    <a:pt x="2949" y="1368"/>
                  </a:cubicBezTo>
                  <a:cubicBezTo>
                    <a:pt x="2919" y="1368"/>
                    <a:pt x="2895" y="1352"/>
                    <a:pt x="2895" y="1332"/>
                  </a:cubicBezTo>
                  <a:cubicBezTo>
                    <a:pt x="2895" y="1309"/>
                    <a:pt x="2895" y="1309"/>
                    <a:pt x="2895" y="1309"/>
                  </a:cubicBezTo>
                  <a:cubicBezTo>
                    <a:pt x="2895" y="1290"/>
                    <a:pt x="2919" y="1275"/>
                    <a:pt x="2949" y="1275"/>
                  </a:cubicBezTo>
                  <a:cubicBezTo>
                    <a:pt x="2984" y="1275"/>
                    <a:pt x="2984" y="1275"/>
                    <a:pt x="2984" y="1275"/>
                  </a:cubicBezTo>
                  <a:cubicBezTo>
                    <a:pt x="3015" y="1275"/>
                    <a:pt x="3039" y="1290"/>
                    <a:pt x="3039" y="1309"/>
                  </a:cubicBezTo>
                  <a:cubicBezTo>
                    <a:pt x="3039" y="1332"/>
                    <a:pt x="3039" y="1332"/>
                    <a:pt x="3039" y="1332"/>
                  </a:cubicBezTo>
                  <a:cubicBezTo>
                    <a:pt x="3039" y="1332"/>
                    <a:pt x="3039" y="1332"/>
                    <a:pt x="3039" y="1332"/>
                  </a:cubicBezTo>
                  <a:close/>
                  <a:moveTo>
                    <a:pt x="3039" y="1218"/>
                  </a:moveTo>
                  <a:cubicBezTo>
                    <a:pt x="3039" y="1238"/>
                    <a:pt x="3015" y="1253"/>
                    <a:pt x="2984" y="1253"/>
                  </a:cubicBezTo>
                  <a:cubicBezTo>
                    <a:pt x="2949" y="1253"/>
                    <a:pt x="2949" y="1253"/>
                    <a:pt x="2949" y="1253"/>
                  </a:cubicBezTo>
                  <a:cubicBezTo>
                    <a:pt x="2919" y="1253"/>
                    <a:pt x="2895" y="1238"/>
                    <a:pt x="2895" y="1218"/>
                  </a:cubicBezTo>
                  <a:cubicBezTo>
                    <a:pt x="2895" y="1195"/>
                    <a:pt x="2895" y="1195"/>
                    <a:pt x="2895" y="1195"/>
                  </a:cubicBezTo>
                  <a:cubicBezTo>
                    <a:pt x="2895" y="1176"/>
                    <a:pt x="2919" y="1160"/>
                    <a:pt x="2949" y="1160"/>
                  </a:cubicBezTo>
                  <a:cubicBezTo>
                    <a:pt x="2984" y="1160"/>
                    <a:pt x="2984" y="1160"/>
                    <a:pt x="2984" y="1160"/>
                  </a:cubicBezTo>
                  <a:cubicBezTo>
                    <a:pt x="3015" y="1160"/>
                    <a:pt x="3039" y="1176"/>
                    <a:pt x="3039" y="1195"/>
                  </a:cubicBezTo>
                  <a:cubicBezTo>
                    <a:pt x="3039" y="1218"/>
                    <a:pt x="3039" y="1218"/>
                    <a:pt x="3039" y="1218"/>
                  </a:cubicBezTo>
                  <a:cubicBezTo>
                    <a:pt x="3039" y="1218"/>
                    <a:pt x="3039" y="1218"/>
                    <a:pt x="3039" y="1218"/>
                  </a:cubicBezTo>
                  <a:close/>
                  <a:moveTo>
                    <a:pt x="3039" y="1103"/>
                  </a:moveTo>
                  <a:cubicBezTo>
                    <a:pt x="3039" y="1122"/>
                    <a:pt x="3015" y="1138"/>
                    <a:pt x="2984" y="1138"/>
                  </a:cubicBezTo>
                  <a:cubicBezTo>
                    <a:pt x="2949" y="1138"/>
                    <a:pt x="2949" y="1138"/>
                    <a:pt x="2949" y="1138"/>
                  </a:cubicBezTo>
                  <a:cubicBezTo>
                    <a:pt x="2919" y="1138"/>
                    <a:pt x="2895" y="1122"/>
                    <a:pt x="2895" y="1103"/>
                  </a:cubicBezTo>
                  <a:cubicBezTo>
                    <a:pt x="2895" y="1080"/>
                    <a:pt x="2895" y="1080"/>
                    <a:pt x="2895" y="1080"/>
                  </a:cubicBezTo>
                  <a:cubicBezTo>
                    <a:pt x="2895" y="1060"/>
                    <a:pt x="2919" y="1045"/>
                    <a:pt x="2949" y="1045"/>
                  </a:cubicBezTo>
                  <a:cubicBezTo>
                    <a:pt x="2984" y="1045"/>
                    <a:pt x="2984" y="1045"/>
                    <a:pt x="2984" y="1045"/>
                  </a:cubicBezTo>
                  <a:cubicBezTo>
                    <a:pt x="3015" y="1045"/>
                    <a:pt x="3039" y="1060"/>
                    <a:pt x="3039" y="1080"/>
                  </a:cubicBezTo>
                  <a:cubicBezTo>
                    <a:pt x="3039" y="1103"/>
                    <a:pt x="3039" y="1103"/>
                    <a:pt x="3039" y="1103"/>
                  </a:cubicBezTo>
                  <a:cubicBezTo>
                    <a:pt x="3039" y="1103"/>
                    <a:pt x="3039" y="1103"/>
                    <a:pt x="3039" y="1103"/>
                  </a:cubicBezTo>
                  <a:close/>
                  <a:moveTo>
                    <a:pt x="3039" y="988"/>
                  </a:moveTo>
                  <a:cubicBezTo>
                    <a:pt x="3039" y="1008"/>
                    <a:pt x="3015" y="1023"/>
                    <a:pt x="2984" y="1023"/>
                  </a:cubicBezTo>
                  <a:cubicBezTo>
                    <a:pt x="2949" y="1023"/>
                    <a:pt x="2949" y="1023"/>
                    <a:pt x="2949" y="1023"/>
                  </a:cubicBezTo>
                  <a:cubicBezTo>
                    <a:pt x="2919" y="1023"/>
                    <a:pt x="2895" y="1008"/>
                    <a:pt x="2895" y="988"/>
                  </a:cubicBezTo>
                  <a:cubicBezTo>
                    <a:pt x="2895" y="965"/>
                    <a:pt x="2895" y="965"/>
                    <a:pt x="2895" y="965"/>
                  </a:cubicBezTo>
                  <a:cubicBezTo>
                    <a:pt x="2895" y="946"/>
                    <a:pt x="2919" y="930"/>
                    <a:pt x="2949" y="930"/>
                  </a:cubicBezTo>
                  <a:cubicBezTo>
                    <a:pt x="2984" y="930"/>
                    <a:pt x="2984" y="930"/>
                    <a:pt x="2984" y="930"/>
                  </a:cubicBezTo>
                  <a:cubicBezTo>
                    <a:pt x="3015" y="930"/>
                    <a:pt x="3039" y="946"/>
                    <a:pt x="3039" y="965"/>
                  </a:cubicBezTo>
                  <a:cubicBezTo>
                    <a:pt x="3039" y="988"/>
                    <a:pt x="3039" y="988"/>
                    <a:pt x="3039" y="988"/>
                  </a:cubicBezTo>
                  <a:cubicBezTo>
                    <a:pt x="3039" y="988"/>
                    <a:pt x="3039" y="988"/>
                    <a:pt x="3039" y="988"/>
                  </a:cubicBezTo>
                  <a:close/>
                  <a:moveTo>
                    <a:pt x="3047" y="604"/>
                  </a:moveTo>
                  <a:cubicBezTo>
                    <a:pt x="3047" y="624"/>
                    <a:pt x="3031" y="641"/>
                    <a:pt x="3011" y="641"/>
                  </a:cubicBezTo>
                  <a:cubicBezTo>
                    <a:pt x="2520" y="641"/>
                    <a:pt x="2520" y="641"/>
                    <a:pt x="2520" y="641"/>
                  </a:cubicBezTo>
                  <a:cubicBezTo>
                    <a:pt x="2501" y="641"/>
                    <a:pt x="2483" y="624"/>
                    <a:pt x="2483" y="604"/>
                  </a:cubicBezTo>
                  <a:cubicBezTo>
                    <a:pt x="2483" y="113"/>
                    <a:pt x="2483" y="113"/>
                    <a:pt x="2483" y="113"/>
                  </a:cubicBezTo>
                  <a:cubicBezTo>
                    <a:pt x="2483" y="92"/>
                    <a:pt x="2501" y="76"/>
                    <a:pt x="2520" y="76"/>
                  </a:cubicBezTo>
                  <a:cubicBezTo>
                    <a:pt x="3011" y="76"/>
                    <a:pt x="3011" y="76"/>
                    <a:pt x="3011" y="76"/>
                  </a:cubicBezTo>
                  <a:cubicBezTo>
                    <a:pt x="3031" y="76"/>
                    <a:pt x="3047" y="92"/>
                    <a:pt x="3047" y="113"/>
                  </a:cubicBezTo>
                  <a:cubicBezTo>
                    <a:pt x="3047" y="604"/>
                    <a:pt x="3047" y="604"/>
                    <a:pt x="3047" y="604"/>
                  </a:cubicBezTo>
                  <a:cubicBezTo>
                    <a:pt x="3047" y="604"/>
                    <a:pt x="3047" y="604"/>
                    <a:pt x="3047" y="604"/>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close/>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close/>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close/>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close/>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close/>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close/>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close/>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close/>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close/>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close/>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close/>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close/>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close/>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close/>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close/>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close/>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close/>
                  <a:moveTo>
                    <a:pt x="2814" y="4927"/>
                  </a:moveTo>
                  <a:cubicBezTo>
                    <a:pt x="2662" y="4927"/>
                    <a:pt x="2662" y="4927"/>
                    <a:pt x="2662" y="4927"/>
                  </a:cubicBezTo>
                  <a:cubicBezTo>
                    <a:pt x="2662" y="4813"/>
                    <a:pt x="2662" y="4813"/>
                    <a:pt x="2662" y="4813"/>
                  </a:cubicBezTo>
                  <a:cubicBezTo>
                    <a:pt x="2814" y="4813"/>
                    <a:pt x="2814" y="4813"/>
                    <a:pt x="2814" y="4813"/>
                  </a:cubicBezTo>
                  <a:cubicBezTo>
                    <a:pt x="2814" y="4927"/>
                    <a:pt x="2814" y="4927"/>
                    <a:pt x="2814" y="4927"/>
                  </a:cubicBezTo>
                  <a:moveTo>
                    <a:pt x="2602" y="4927"/>
                  </a:moveTo>
                  <a:cubicBezTo>
                    <a:pt x="2450" y="4927"/>
                    <a:pt x="2450" y="4927"/>
                    <a:pt x="2450" y="4927"/>
                  </a:cubicBezTo>
                  <a:cubicBezTo>
                    <a:pt x="2450" y="4813"/>
                    <a:pt x="2450" y="4813"/>
                    <a:pt x="2450" y="4813"/>
                  </a:cubicBezTo>
                  <a:cubicBezTo>
                    <a:pt x="2602" y="4813"/>
                    <a:pt x="2602" y="4813"/>
                    <a:pt x="2602" y="4813"/>
                  </a:cubicBezTo>
                  <a:cubicBezTo>
                    <a:pt x="2602" y="4927"/>
                    <a:pt x="2602" y="4927"/>
                    <a:pt x="2602" y="4927"/>
                  </a:cubicBezTo>
                  <a:moveTo>
                    <a:pt x="2814" y="4745"/>
                  </a:moveTo>
                  <a:cubicBezTo>
                    <a:pt x="2662" y="4745"/>
                    <a:pt x="2662" y="4745"/>
                    <a:pt x="2662" y="4745"/>
                  </a:cubicBezTo>
                  <a:cubicBezTo>
                    <a:pt x="2662" y="4631"/>
                    <a:pt x="2662" y="4631"/>
                    <a:pt x="2662" y="4631"/>
                  </a:cubicBezTo>
                  <a:cubicBezTo>
                    <a:pt x="2814" y="4631"/>
                    <a:pt x="2814" y="4631"/>
                    <a:pt x="2814" y="4631"/>
                  </a:cubicBezTo>
                  <a:cubicBezTo>
                    <a:pt x="2814" y="4745"/>
                    <a:pt x="2814" y="4745"/>
                    <a:pt x="2814" y="4745"/>
                  </a:cubicBezTo>
                  <a:moveTo>
                    <a:pt x="2602" y="4745"/>
                  </a:moveTo>
                  <a:cubicBezTo>
                    <a:pt x="2450" y="4745"/>
                    <a:pt x="2450" y="4745"/>
                    <a:pt x="2450" y="4745"/>
                  </a:cubicBezTo>
                  <a:cubicBezTo>
                    <a:pt x="2450" y="4631"/>
                    <a:pt x="2450" y="4631"/>
                    <a:pt x="2450" y="4631"/>
                  </a:cubicBezTo>
                  <a:cubicBezTo>
                    <a:pt x="2602" y="4631"/>
                    <a:pt x="2602" y="4631"/>
                    <a:pt x="2602" y="4631"/>
                  </a:cubicBezTo>
                  <a:cubicBezTo>
                    <a:pt x="2602" y="4745"/>
                    <a:pt x="2602" y="4745"/>
                    <a:pt x="2602" y="4745"/>
                  </a:cubicBezTo>
                  <a:moveTo>
                    <a:pt x="2814" y="4570"/>
                  </a:moveTo>
                  <a:cubicBezTo>
                    <a:pt x="2662" y="4570"/>
                    <a:pt x="2662" y="4570"/>
                    <a:pt x="2662" y="4570"/>
                  </a:cubicBezTo>
                  <a:cubicBezTo>
                    <a:pt x="2662" y="4418"/>
                    <a:pt x="2662" y="4418"/>
                    <a:pt x="2662" y="4418"/>
                  </a:cubicBezTo>
                  <a:cubicBezTo>
                    <a:pt x="2814" y="4418"/>
                    <a:pt x="2814" y="4418"/>
                    <a:pt x="2814" y="4418"/>
                  </a:cubicBezTo>
                  <a:cubicBezTo>
                    <a:pt x="2814" y="4570"/>
                    <a:pt x="2814" y="4570"/>
                    <a:pt x="2814" y="4570"/>
                  </a:cubicBezTo>
                  <a:moveTo>
                    <a:pt x="2602" y="4570"/>
                  </a:moveTo>
                  <a:cubicBezTo>
                    <a:pt x="2450" y="4570"/>
                    <a:pt x="2450" y="4570"/>
                    <a:pt x="2450" y="4570"/>
                  </a:cubicBezTo>
                  <a:cubicBezTo>
                    <a:pt x="2450" y="4418"/>
                    <a:pt x="2450" y="4418"/>
                    <a:pt x="2450" y="4418"/>
                  </a:cubicBezTo>
                  <a:cubicBezTo>
                    <a:pt x="2602" y="4418"/>
                    <a:pt x="2602" y="4418"/>
                    <a:pt x="2602" y="4418"/>
                  </a:cubicBezTo>
                  <a:cubicBezTo>
                    <a:pt x="2602" y="4570"/>
                    <a:pt x="2602" y="4570"/>
                    <a:pt x="2602" y="4570"/>
                  </a:cubicBezTo>
                  <a:moveTo>
                    <a:pt x="2814" y="4365"/>
                  </a:moveTo>
                  <a:cubicBezTo>
                    <a:pt x="2662" y="4365"/>
                    <a:pt x="2662" y="4365"/>
                    <a:pt x="2662" y="4365"/>
                  </a:cubicBezTo>
                  <a:cubicBezTo>
                    <a:pt x="2662" y="4220"/>
                    <a:pt x="2662" y="4220"/>
                    <a:pt x="2662" y="4220"/>
                  </a:cubicBezTo>
                  <a:cubicBezTo>
                    <a:pt x="2814" y="4220"/>
                    <a:pt x="2814" y="4220"/>
                    <a:pt x="2814" y="4220"/>
                  </a:cubicBezTo>
                  <a:cubicBezTo>
                    <a:pt x="2814" y="4365"/>
                    <a:pt x="2814" y="4365"/>
                    <a:pt x="2814" y="4365"/>
                  </a:cubicBezTo>
                  <a:moveTo>
                    <a:pt x="2602" y="4365"/>
                  </a:moveTo>
                  <a:cubicBezTo>
                    <a:pt x="2450" y="4365"/>
                    <a:pt x="2450" y="4365"/>
                    <a:pt x="2450" y="4365"/>
                  </a:cubicBezTo>
                  <a:cubicBezTo>
                    <a:pt x="2450" y="4220"/>
                    <a:pt x="2450" y="4220"/>
                    <a:pt x="2450" y="4220"/>
                  </a:cubicBezTo>
                  <a:cubicBezTo>
                    <a:pt x="2602" y="4220"/>
                    <a:pt x="2602" y="4220"/>
                    <a:pt x="2602" y="4220"/>
                  </a:cubicBezTo>
                  <a:cubicBezTo>
                    <a:pt x="2602" y="4365"/>
                    <a:pt x="2602" y="4365"/>
                    <a:pt x="2602" y="4365"/>
                  </a:cubicBezTo>
                  <a:moveTo>
                    <a:pt x="2367" y="4083"/>
                  </a:moveTo>
                  <a:cubicBezTo>
                    <a:pt x="2367" y="5300"/>
                    <a:pt x="2367" y="5300"/>
                    <a:pt x="2367" y="5300"/>
                  </a:cubicBezTo>
                  <a:cubicBezTo>
                    <a:pt x="2526" y="5300"/>
                    <a:pt x="2526" y="5300"/>
                    <a:pt x="2526" y="5300"/>
                  </a:cubicBezTo>
                  <a:cubicBezTo>
                    <a:pt x="2526" y="5095"/>
                    <a:pt x="2526" y="5095"/>
                    <a:pt x="2526" y="5095"/>
                  </a:cubicBezTo>
                  <a:cubicBezTo>
                    <a:pt x="2738" y="5095"/>
                    <a:pt x="2738" y="5095"/>
                    <a:pt x="2738" y="5095"/>
                  </a:cubicBezTo>
                  <a:cubicBezTo>
                    <a:pt x="2738" y="5300"/>
                    <a:pt x="2738" y="5300"/>
                    <a:pt x="2738" y="5300"/>
                  </a:cubicBezTo>
                  <a:cubicBezTo>
                    <a:pt x="2890" y="5300"/>
                    <a:pt x="2890" y="5300"/>
                    <a:pt x="2890" y="5300"/>
                  </a:cubicBezTo>
                  <a:cubicBezTo>
                    <a:pt x="2890" y="4083"/>
                    <a:pt x="2890" y="4083"/>
                    <a:pt x="2890" y="4083"/>
                  </a:cubicBezTo>
                  <a:cubicBezTo>
                    <a:pt x="2367" y="4083"/>
                    <a:pt x="2367" y="4083"/>
                    <a:pt x="2367" y="4083"/>
                  </a:cubicBezTo>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close/>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close/>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close/>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close/>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close/>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close/>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close/>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close/>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close/>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close/>
                  <a:moveTo>
                    <a:pt x="3367" y="4981"/>
                  </a:moveTo>
                  <a:cubicBezTo>
                    <a:pt x="3208" y="4981"/>
                    <a:pt x="3208" y="4981"/>
                    <a:pt x="3208" y="4981"/>
                  </a:cubicBezTo>
                  <a:cubicBezTo>
                    <a:pt x="3208" y="4821"/>
                    <a:pt x="3208" y="4821"/>
                    <a:pt x="3208" y="4821"/>
                  </a:cubicBezTo>
                  <a:cubicBezTo>
                    <a:pt x="3367" y="4821"/>
                    <a:pt x="3367" y="4821"/>
                    <a:pt x="3367" y="4821"/>
                  </a:cubicBezTo>
                  <a:cubicBezTo>
                    <a:pt x="3367" y="4981"/>
                    <a:pt x="3367" y="4981"/>
                    <a:pt x="3367" y="4981"/>
                  </a:cubicBezTo>
                  <a:moveTo>
                    <a:pt x="3147" y="4981"/>
                  </a:moveTo>
                  <a:cubicBezTo>
                    <a:pt x="2996" y="4981"/>
                    <a:pt x="2996" y="4981"/>
                    <a:pt x="2996" y="4981"/>
                  </a:cubicBezTo>
                  <a:cubicBezTo>
                    <a:pt x="2996" y="4821"/>
                    <a:pt x="2996" y="4821"/>
                    <a:pt x="2996" y="4821"/>
                  </a:cubicBezTo>
                  <a:cubicBezTo>
                    <a:pt x="3147" y="4821"/>
                    <a:pt x="3147" y="4821"/>
                    <a:pt x="3147" y="4821"/>
                  </a:cubicBezTo>
                  <a:cubicBezTo>
                    <a:pt x="3147" y="4981"/>
                    <a:pt x="3147" y="4981"/>
                    <a:pt x="3147" y="4981"/>
                  </a:cubicBezTo>
                  <a:moveTo>
                    <a:pt x="3367" y="4768"/>
                  </a:moveTo>
                  <a:cubicBezTo>
                    <a:pt x="3208" y="4768"/>
                    <a:pt x="3208" y="4768"/>
                    <a:pt x="3208" y="4768"/>
                  </a:cubicBezTo>
                  <a:cubicBezTo>
                    <a:pt x="3208" y="4608"/>
                    <a:pt x="3208" y="4608"/>
                    <a:pt x="3208" y="4608"/>
                  </a:cubicBezTo>
                  <a:cubicBezTo>
                    <a:pt x="3367" y="4608"/>
                    <a:pt x="3367" y="4608"/>
                    <a:pt x="3367" y="4608"/>
                  </a:cubicBezTo>
                  <a:cubicBezTo>
                    <a:pt x="3367" y="4768"/>
                    <a:pt x="3367" y="4768"/>
                    <a:pt x="3367" y="4768"/>
                  </a:cubicBezTo>
                  <a:moveTo>
                    <a:pt x="3147" y="4768"/>
                  </a:moveTo>
                  <a:cubicBezTo>
                    <a:pt x="2996" y="4768"/>
                    <a:pt x="2996" y="4768"/>
                    <a:pt x="2996" y="4768"/>
                  </a:cubicBezTo>
                  <a:cubicBezTo>
                    <a:pt x="2996" y="4608"/>
                    <a:pt x="2996" y="4608"/>
                    <a:pt x="2996" y="4608"/>
                  </a:cubicBezTo>
                  <a:cubicBezTo>
                    <a:pt x="3147" y="4608"/>
                    <a:pt x="3147" y="4608"/>
                    <a:pt x="3147" y="4608"/>
                  </a:cubicBezTo>
                  <a:cubicBezTo>
                    <a:pt x="3147" y="4768"/>
                    <a:pt x="3147" y="4768"/>
                    <a:pt x="3147" y="4768"/>
                  </a:cubicBezTo>
                  <a:moveTo>
                    <a:pt x="2920" y="4479"/>
                  </a:moveTo>
                  <a:cubicBezTo>
                    <a:pt x="2920" y="5300"/>
                    <a:pt x="2920" y="5300"/>
                    <a:pt x="2920" y="5300"/>
                  </a:cubicBezTo>
                  <a:cubicBezTo>
                    <a:pt x="3079" y="5300"/>
                    <a:pt x="3079" y="5300"/>
                    <a:pt x="3079" y="5300"/>
                  </a:cubicBezTo>
                  <a:cubicBezTo>
                    <a:pt x="3079" y="5095"/>
                    <a:pt x="3079" y="5095"/>
                    <a:pt x="3079" y="5095"/>
                  </a:cubicBezTo>
                  <a:cubicBezTo>
                    <a:pt x="3284" y="5095"/>
                    <a:pt x="3284" y="5095"/>
                    <a:pt x="3284" y="5095"/>
                  </a:cubicBezTo>
                  <a:cubicBezTo>
                    <a:pt x="3284" y="5300"/>
                    <a:pt x="3284" y="5300"/>
                    <a:pt x="3284" y="5300"/>
                  </a:cubicBezTo>
                  <a:cubicBezTo>
                    <a:pt x="3443" y="5300"/>
                    <a:pt x="3443" y="5300"/>
                    <a:pt x="3443" y="5300"/>
                  </a:cubicBezTo>
                  <a:cubicBezTo>
                    <a:pt x="3443" y="4479"/>
                    <a:pt x="3443" y="4479"/>
                    <a:pt x="3443" y="4479"/>
                  </a:cubicBezTo>
                  <a:cubicBezTo>
                    <a:pt x="2920" y="4479"/>
                    <a:pt x="2920" y="4479"/>
                    <a:pt x="2920" y="4479"/>
                  </a:cubicBezTo>
                  <a:moveTo>
                    <a:pt x="697" y="2398"/>
                  </a:moveTo>
                  <a:cubicBezTo>
                    <a:pt x="794" y="2398"/>
                    <a:pt x="875" y="2464"/>
                    <a:pt x="920" y="2559"/>
                  </a:cubicBezTo>
                  <a:cubicBezTo>
                    <a:pt x="972" y="2522"/>
                    <a:pt x="1031" y="2500"/>
                    <a:pt x="1098" y="2500"/>
                  </a:cubicBezTo>
                  <a:cubicBezTo>
                    <a:pt x="1247" y="2500"/>
                    <a:pt x="1373" y="2602"/>
                    <a:pt x="1402" y="2741"/>
                  </a:cubicBezTo>
                  <a:cubicBezTo>
                    <a:pt x="1417" y="2734"/>
                    <a:pt x="1440" y="2726"/>
                    <a:pt x="1462" y="2726"/>
                  </a:cubicBezTo>
                  <a:cubicBezTo>
                    <a:pt x="1543" y="2726"/>
                    <a:pt x="1610" y="2792"/>
                    <a:pt x="1610" y="2872"/>
                  </a:cubicBezTo>
                  <a:cubicBezTo>
                    <a:pt x="1610" y="2953"/>
                    <a:pt x="1543" y="3018"/>
                    <a:pt x="1462" y="3018"/>
                  </a:cubicBezTo>
                  <a:cubicBezTo>
                    <a:pt x="1432" y="3018"/>
                    <a:pt x="1410" y="3011"/>
                    <a:pt x="1388" y="2996"/>
                  </a:cubicBezTo>
                  <a:cubicBezTo>
                    <a:pt x="1343" y="3106"/>
                    <a:pt x="1232" y="3186"/>
                    <a:pt x="1098" y="3186"/>
                  </a:cubicBezTo>
                  <a:cubicBezTo>
                    <a:pt x="1016" y="3186"/>
                    <a:pt x="935" y="3150"/>
                    <a:pt x="883" y="3099"/>
                  </a:cubicBezTo>
                  <a:cubicBezTo>
                    <a:pt x="838" y="3150"/>
                    <a:pt x="772" y="3179"/>
                    <a:pt x="697" y="3179"/>
                  </a:cubicBezTo>
                  <a:cubicBezTo>
                    <a:pt x="608" y="3179"/>
                    <a:pt x="534" y="3135"/>
                    <a:pt x="489" y="3077"/>
                  </a:cubicBezTo>
                  <a:cubicBezTo>
                    <a:pt x="475" y="3128"/>
                    <a:pt x="423" y="3164"/>
                    <a:pt x="363" y="3164"/>
                  </a:cubicBezTo>
                  <a:cubicBezTo>
                    <a:pt x="296" y="3164"/>
                    <a:pt x="244" y="3120"/>
                    <a:pt x="230" y="3062"/>
                  </a:cubicBezTo>
                  <a:cubicBezTo>
                    <a:pt x="207" y="3091"/>
                    <a:pt x="170" y="3106"/>
                    <a:pt x="133" y="3106"/>
                  </a:cubicBezTo>
                  <a:cubicBezTo>
                    <a:pt x="59" y="3106"/>
                    <a:pt x="0" y="3047"/>
                    <a:pt x="0" y="2982"/>
                  </a:cubicBezTo>
                  <a:cubicBezTo>
                    <a:pt x="0" y="2909"/>
                    <a:pt x="59" y="2850"/>
                    <a:pt x="133" y="2850"/>
                  </a:cubicBezTo>
                  <a:cubicBezTo>
                    <a:pt x="155" y="2850"/>
                    <a:pt x="170" y="2858"/>
                    <a:pt x="193" y="2865"/>
                  </a:cubicBezTo>
                  <a:cubicBezTo>
                    <a:pt x="193" y="2858"/>
                    <a:pt x="193" y="2850"/>
                    <a:pt x="193" y="2843"/>
                  </a:cubicBezTo>
                  <a:cubicBezTo>
                    <a:pt x="193" y="2726"/>
                    <a:pt x="289" y="2632"/>
                    <a:pt x="408" y="2632"/>
                  </a:cubicBezTo>
                  <a:cubicBezTo>
                    <a:pt x="423" y="2632"/>
                    <a:pt x="430" y="2632"/>
                    <a:pt x="445" y="2632"/>
                  </a:cubicBezTo>
                  <a:cubicBezTo>
                    <a:pt x="467" y="2500"/>
                    <a:pt x="571" y="2398"/>
                    <a:pt x="697" y="2398"/>
                  </a:cubicBezTo>
                </a:path>
              </a:pathLst>
            </a:custGeom>
            <a:solidFill>
              <a:schemeClr val="accent1"/>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178"/>
              <a:endParaRPr lang="en-US" sz="800" dirty="0">
                <a:solidFill>
                  <a:srgbClr val="2F2E7E"/>
                </a:solidFill>
              </a:endParaRPr>
            </a:p>
          </p:txBody>
        </p:sp>
        <p:sp>
          <p:nvSpPr>
            <p:cNvPr id="100" name="TextBox 99"/>
            <p:cNvSpPr txBox="1"/>
            <p:nvPr/>
          </p:nvSpPr>
          <p:spPr>
            <a:xfrm>
              <a:off x="3938401" y="3796685"/>
              <a:ext cx="1265800" cy="560153"/>
            </a:xfrm>
            <a:prstGeom prst="rect">
              <a:avLst/>
            </a:prstGeom>
            <a:noFill/>
            <a:effectLst/>
          </p:spPr>
          <p:txBody>
            <a:bodyPr wrap="square" lIns="45720" tIns="45720" rIns="45720" bIns="45720" rtlCol="0" anchor="ctr">
              <a:spAutoFit/>
            </a:bodyPr>
            <a:lstStyle/>
            <a:p>
              <a:pPr algn="ctr">
                <a:lnSpc>
                  <a:spcPct val="95000"/>
                </a:lnSpc>
                <a:spcBef>
                  <a:spcPts val="0"/>
                </a:spcBef>
                <a:spcAft>
                  <a:spcPts val="0"/>
                </a:spcAft>
              </a:pPr>
              <a:r>
                <a:rPr lang="en-IN" sz="3200" b="1" dirty="0" smtClean="0">
                  <a:ln w="0"/>
                  <a:solidFill>
                    <a:schemeClr val="accent4">
                      <a:lumMod val="75000"/>
                    </a:schemeClr>
                  </a:solidFill>
                  <a:latin typeface="+mn-lt"/>
                  <a:cs typeface="Avenir Book"/>
                </a:rPr>
                <a:t>4.7X</a:t>
              </a:r>
              <a:endParaRPr lang="en-IN" sz="1400" b="1" dirty="0">
                <a:ln w="0"/>
                <a:solidFill>
                  <a:schemeClr val="accent4">
                    <a:lumMod val="75000"/>
                  </a:schemeClr>
                </a:solidFill>
                <a:latin typeface="+mn-lt"/>
                <a:cs typeface="Avenir Book"/>
              </a:endParaRPr>
            </a:p>
          </p:txBody>
        </p:sp>
        <p:sp>
          <p:nvSpPr>
            <p:cNvPr id="101" name="Rectangle 100"/>
            <p:cNvSpPr/>
            <p:nvPr/>
          </p:nvSpPr>
          <p:spPr>
            <a:xfrm>
              <a:off x="4026447" y="4270837"/>
              <a:ext cx="1089722" cy="267766"/>
            </a:xfrm>
            <a:prstGeom prst="rect">
              <a:avLst/>
            </a:prstGeom>
          </p:spPr>
          <p:txBody>
            <a:bodyPr wrap="none">
              <a:spAutoFit/>
            </a:bodyPr>
            <a:lstStyle/>
            <a:p>
              <a:pPr algn="ctr">
                <a:lnSpc>
                  <a:spcPct val="95000"/>
                </a:lnSpc>
                <a:spcBef>
                  <a:spcPts val="0"/>
                </a:spcBef>
                <a:spcAft>
                  <a:spcPts val="0"/>
                </a:spcAft>
              </a:pPr>
              <a:r>
                <a:rPr lang="en-IN" sz="1200" dirty="0" smtClean="0">
                  <a:solidFill>
                    <a:schemeClr val="accent1"/>
                  </a:solidFill>
                  <a:cs typeface="Avenir Book"/>
                </a:rPr>
                <a:t>Traffic of LTE</a:t>
              </a:r>
              <a:endParaRPr lang="en-IN" sz="1200" dirty="0">
                <a:solidFill>
                  <a:schemeClr val="accent1"/>
                </a:solidFill>
                <a:cs typeface="Avenir Book"/>
              </a:endParaRPr>
            </a:p>
          </p:txBody>
        </p:sp>
      </p:grpSp>
      <p:cxnSp>
        <p:nvCxnSpPr>
          <p:cNvPr id="102" name="Straight Connector 101"/>
          <p:cNvCxnSpPr/>
          <p:nvPr/>
        </p:nvCxnSpPr>
        <p:spPr>
          <a:xfrm>
            <a:off x="6858000" y="3301069"/>
            <a:ext cx="0" cy="1098510"/>
          </a:xfrm>
          <a:prstGeom prst="line">
            <a:avLst/>
          </a:prstGeom>
          <a:ln w="22225" cap="rnd">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379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9988" y="1073151"/>
            <a:ext cx="9173988" cy="4070349"/>
          </a:xfrm>
          <a:prstGeom prst="rect">
            <a:avLst/>
          </a:prstGeom>
        </p:spPr>
      </p:pic>
      <p:sp>
        <p:nvSpPr>
          <p:cNvPr id="2" name="Title 1"/>
          <p:cNvSpPr>
            <a:spLocks noGrp="1"/>
          </p:cNvSpPr>
          <p:nvPr>
            <p:ph type="title"/>
          </p:nvPr>
        </p:nvSpPr>
        <p:spPr/>
        <p:txBody>
          <a:bodyPr/>
          <a:lstStyle/>
          <a:p>
            <a:r>
              <a:rPr lang="en-US" dirty="0" smtClean="0"/>
              <a:t>Operator Revenue Growth Opportunities</a:t>
            </a:r>
            <a:endParaRPr lang="en-US" dirty="0"/>
          </a:p>
        </p:txBody>
      </p:sp>
      <p:sp>
        <p:nvSpPr>
          <p:cNvPr id="2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solidFill>
                <a:latin typeface="+mn-lt"/>
                <a:ea typeface="+mn-ea"/>
                <a:cs typeface="CiscoSans Thin"/>
              </a:rPr>
              <a:t>© </a:t>
            </a:r>
            <a:r>
              <a:rPr lang="en-US" sz="600" dirty="0" smtClean="0">
                <a:solidFill>
                  <a:schemeClr val="bg1"/>
                </a:solidFill>
                <a:latin typeface="+mn-lt"/>
                <a:ea typeface="+mn-ea"/>
                <a:cs typeface="CiscoSans Thin"/>
              </a:rPr>
              <a:t>2016  </a:t>
            </a:r>
            <a:r>
              <a:rPr lang="en-US" sz="600" dirty="0">
                <a:solidFill>
                  <a:schemeClr val="bg1"/>
                </a:solidFill>
                <a:latin typeface="+mn-lt"/>
                <a:ea typeface="+mn-ea"/>
                <a:cs typeface="CiscoSans Thin"/>
              </a:rPr>
              <a:t>Cisco and/or its affiliates. All rights reserved.   </a:t>
            </a:r>
          </a:p>
        </p:txBody>
      </p:sp>
      <p:pic>
        <p:nvPicPr>
          <p:cNvPr id="24" name="Picture 2" descr="C:\Users\spius\Pictures\cisco logo blue gradient.png"/>
          <p:cNvPicPr>
            <a:picLocks noChangeAspect="1" noChangeArrowheads="1"/>
          </p:cNvPicPr>
          <p:nvPr/>
        </p:nvPicPr>
        <p:blipFill>
          <a:blip r:embed="rId4" cstate="screen">
            <a:biLevel thresh="25000"/>
            <a:extLst>
              <a:ext uri="{28A0092B-C50C-407E-A947-70E740481C1C}">
                <a14:useLocalDpi xmlns:a14="http://schemas.microsoft.com/office/drawing/2010/main"/>
              </a:ext>
            </a:extLst>
          </a:blip>
          <a:srcRect/>
          <a:stretch>
            <a:fillRect/>
          </a:stretch>
        </p:blipFill>
        <p:spPr bwMode="auto">
          <a:xfrm>
            <a:off x="474663" y="4625975"/>
            <a:ext cx="430212"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1"/>
          <p:cNvSpPr txBox="1"/>
          <p:nvPr/>
        </p:nvSpPr>
        <p:spPr>
          <a:xfrm>
            <a:off x="467066" y="3164953"/>
            <a:ext cx="875561" cy="276999"/>
          </a:xfrm>
          <a:prstGeom prst="rect">
            <a:avLst/>
          </a:prstGeom>
          <a:noFill/>
        </p:spPr>
        <p:txBody>
          <a:bodyPr wrap="none" rtlCol="0">
            <a:spAutoFit/>
          </a:bodyPr>
          <a:lstStyle/>
          <a:p>
            <a:r>
              <a:rPr lang="en-US" sz="1200" dirty="0" smtClean="0">
                <a:solidFill>
                  <a:schemeClr val="tx1">
                    <a:lumMod val="50000"/>
                  </a:schemeClr>
                </a:solidFill>
              </a:rPr>
              <a:t>Illustrative</a:t>
            </a:r>
            <a:endParaRPr lang="en-US" sz="1200" dirty="0">
              <a:solidFill>
                <a:schemeClr val="tx1">
                  <a:lumMod val="50000"/>
                </a:schemeClr>
              </a:solidFill>
            </a:endParaRPr>
          </a:p>
        </p:txBody>
      </p:sp>
      <p:sp>
        <p:nvSpPr>
          <p:cNvPr id="68" name="TextBox 67"/>
          <p:cNvSpPr txBox="1"/>
          <p:nvPr/>
        </p:nvSpPr>
        <p:spPr>
          <a:xfrm>
            <a:off x="4322085" y="2274111"/>
            <a:ext cx="1042273" cy="246221"/>
          </a:xfrm>
          <a:prstGeom prst="rect">
            <a:avLst/>
          </a:prstGeom>
          <a:noFill/>
        </p:spPr>
        <p:txBody>
          <a:bodyPr wrap="none" rtlCol="0">
            <a:spAutoFit/>
          </a:bodyPr>
          <a:lstStyle/>
          <a:p>
            <a:r>
              <a:rPr lang="en-US" sz="1000" dirty="0" smtClean="0"/>
              <a:t>Connected Car</a:t>
            </a:r>
            <a:endParaRPr lang="en-US" sz="1000" dirty="0"/>
          </a:p>
        </p:txBody>
      </p:sp>
      <p:sp>
        <p:nvSpPr>
          <p:cNvPr id="69" name="TextBox 68"/>
          <p:cNvSpPr txBox="1"/>
          <p:nvPr/>
        </p:nvSpPr>
        <p:spPr>
          <a:xfrm>
            <a:off x="4902853" y="1998570"/>
            <a:ext cx="881973" cy="246221"/>
          </a:xfrm>
          <a:prstGeom prst="rect">
            <a:avLst/>
          </a:prstGeom>
          <a:noFill/>
        </p:spPr>
        <p:txBody>
          <a:bodyPr wrap="none" rtlCol="0">
            <a:spAutoFit/>
          </a:bodyPr>
          <a:lstStyle/>
          <a:p>
            <a:r>
              <a:rPr lang="en-US" sz="1000" dirty="0" smtClean="0"/>
              <a:t>Smart Cities</a:t>
            </a:r>
            <a:endParaRPr lang="en-US" sz="1000" dirty="0"/>
          </a:p>
        </p:txBody>
      </p:sp>
      <p:sp>
        <p:nvSpPr>
          <p:cNvPr id="70" name="TextBox 69"/>
          <p:cNvSpPr txBox="1"/>
          <p:nvPr/>
        </p:nvSpPr>
        <p:spPr>
          <a:xfrm>
            <a:off x="5482499" y="1731788"/>
            <a:ext cx="766557" cy="246221"/>
          </a:xfrm>
          <a:prstGeom prst="rect">
            <a:avLst/>
          </a:prstGeom>
          <a:noFill/>
        </p:spPr>
        <p:txBody>
          <a:bodyPr wrap="none" rtlCol="0">
            <a:spAutoFit/>
          </a:bodyPr>
          <a:lstStyle/>
          <a:p>
            <a:r>
              <a:rPr lang="en-US" sz="1000" dirty="0" smtClean="0"/>
              <a:t>Enterprise</a:t>
            </a:r>
            <a:endParaRPr lang="en-US" sz="1000" dirty="0"/>
          </a:p>
        </p:txBody>
      </p:sp>
      <p:sp>
        <p:nvSpPr>
          <p:cNvPr id="71" name="TextBox 70"/>
          <p:cNvSpPr txBox="1"/>
          <p:nvPr/>
        </p:nvSpPr>
        <p:spPr>
          <a:xfrm>
            <a:off x="6263483" y="1465006"/>
            <a:ext cx="801823" cy="246221"/>
          </a:xfrm>
          <a:prstGeom prst="rect">
            <a:avLst/>
          </a:prstGeom>
          <a:noFill/>
        </p:spPr>
        <p:txBody>
          <a:bodyPr wrap="none" rtlCol="0">
            <a:spAutoFit/>
          </a:bodyPr>
          <a:lstStyle/>
          <a:p>
            <a:r>
              <a:rPr lang="en-US" sz="1000" dirty="0" smtClean="0"/>
              <a:t>Healthcare</a:t>
            </a:r>
            <a:endParaRPr lang="en-US" sz="1000" dirty="0"/>
          </a:p>
        </p:txBody>
      </p:sp>
      <p:sp>
        <p:nvSpPr>
          <p:cNvPr id="72" name="TextBox 71"/>
          <p:cNvSpPr txBox="1"/>
          <p:nvPr/>
        </p:nvSpPr>
        <p:spPr>
          <a:xfrm>
            <a:off x="6849541" y="1732684"/>
            <a:ext cx="598241" cy="246221"/>
          </a:xfrm>
          <a:prstGeom prst="rect">
            <a:avLst/>
          </a:prstGeom>
          <a:noFill/>
        </p:spPr>
        <p:txBody>
          <a:bodyPr wrap="none" rtlCol="0">
            <a:spAutoFit/>
          </a:bodyPr>
          <a:lstStyle/>
          <a:p>
            <a:r>
              <a:rPr lang="en-US" sz="1000" dirty="0" smtClean="0"/>
              <a:t>Utilities</a:t>
            </a:r>
            <a:endParaRPr lang="en-US" sz="1000" dirty="0"/>
          </a:p>
        </p:txBody>
      </p:sp>
      <p:cxnSp>
        <p:nvCxnSpPr>
          <p:cNvPr id="73" name="Straight Connector 72"/>
          <p:cNvCxnSpPr>
            <a:endCxn id="72" idx="2"/>
          </p:cNvCxnSpPr>
          <p:nvPr/>
        </p:nvCxnSpPr>
        <p:spPr>
          <a:xfrm flipV="1">
            <a:off x="6807250" y="1978905"/>
            <a:ext cx="341412" cy="119430"/>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71" idx="2"/>
          </p:cNvCxnSpPr>
          <p:nvPr/>
        </p:nvCxnSpPr>
        <p:spPr>
          <a:xfrm flipH="1">
            <a:off x="6497233" y="1711227"/>
            <a:ext cx="167162" cy="410453"/>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70" idx="2"/>
          </p:cNvCxnSpPr>
          <p:nvPr/>
        </p:nvCxnSpPr>
        <p:spPr>
          <a:xfrm>
            <a:off x="5865778" y="1978009"/>
            <a:ext cx="252153" cy="240652"/>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stCxn id="69" idx="2"/>
          </p:cNvCxnSpPr>
          <p:nvPr/>
        </p:nvCxnSpPr>
        <p:spPr>
          <a:xfrm>
            <a:off x="5343840" y="2244791"/>
            <a:ext cx="642021" cy="152430"/>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68" idx="2"/>
          </p:cNvCxnSpPr>
          <p:nvPr/>
        </p:nvCxnSpPr>
        <p:spPr>
          <a:xfrm>
            <a:off x="4843222" y="2520332"/>
            <a:ext cx="821628" cy="33315"/>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5532541" y="2012220"/>
            <a:ext cx="2699045" cy="1683113"/>
            <a:chOff x="5932865" y="2304687"/>
            <a:chExt cx="2699045" cy="1683113"/>
          </a:xfrm>
        </p:grpSpPr>
        <p:pic>
          <p:nvPicPr>
            <p:cNvPr id="79" name="Picture 7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932865" y="2304687"/>
              <a:ext cx="2699045" cy="1683113"/>
            </a:xfrm>
            <a:prstGeom prst="rect">
              <a:avLst/>
            </a:prstGeom>
          </p:spPr>
        </p:pic>
        <p:sp>
          <p:nvSpPr>
            <p:cNvPr id="80" name="TextBox 79"/>
            <p:cNvSpPr txBox="1"/>
            <p:nvPr/>
          </p:nvSpPr>
          <p:spPr>
            <a:xfrm>
              <a:off x="6878211" y="3196554"/>
              <a:ext cx="1010213" cy="307777"/>
            </a:xfrm>
            <a:prstGeom prst="rect">
              <a:avLst/>
            </a:prstGeom>
            <a:noFill/>
          </p:spPr>
          <p:txBody>
            <a:bodyPr wrap="none" rtlCol="0">
              <a:spAutoFit/>
            </a:bodyPr>
            <a:lstStyle/>
            <a:p>
              <a:r>
                <a:rPr lang="en-US" sz="1400" dirty="0" smtClean="0">
                  <a:solidFill>
                    <a:schemeClr val="bg1"/>
                  </a:solidFill>
                </a:rPr>
                <a:t>Consumer</a:t>
              </a:r>
              <a:endParaRPr lang="en-US" sz="1400" dirty="0">
                <a:solidFill>
                  <a:schemeClr val="bg1"/>
                </a:solidFill>
              </a:endParaRPr>
            </a:p>
          </p:txBody>
        </p:sp>
      </p:grpSp>
      <p:sp>
        <p:nvSpPr>
          <p:cNvPr id="81" name="TextBox 80"/>
          <p:cNvSpPr txBox="1"/>
          <p:nvPr/>
        </p:nvSpPr>
        <p:spPr>
          <a:xfrm>
            <a:off x="355160" y="2163896"/>
            <a:ext cx="1042273" cy="246221"/>
          </a:xfrm>
          <a:prstGeom prst="rect">
            <a:avLst/>
          </a:prstGeom>
          <a:noFill/>
        </p:spPr>
        <p:txBody>
          <a:bodyPr wrap="none" rtlCol="0">
            <a:spAutoFit/>
          </a:bodyPr>
          <a:lstStyle/>
          <a:p>
            <a:r>
              <a:rPr lang="en-US" sz="1000" dirty="0" smtClean="0"/>
              <a:t>Connected Car</a:t>
            </a:r>
            <a:endParaRPr lang="en-US" sz="1000" dirty="0"/>
          </a:p>
        </p:txBody>
      </p:sp>
      <p:sp>
        <p:nvSpPr>
          <p:cNvPr id="82" name="TextBox 81"/>
          <p:cNvSpPr txBox="1"/>
          <p:nvPr/>
        </p:nvSpPr>
        <p:spPr>
          <a:xfrm>
            <a:off x="935928" y="1888355"/>
            <a:ext cx="881973" cy="246221"/>
          </a:xfrm>
          <a:prstGeom prst="rect">
            <a:avLst/>
          </a:prstGeom>
          <a:noFill/>
        </p:spPr>
        <p:txBody>
          <a:bodyPr wrap="none" rtlCol="0">
            <a:spAutoFit/>
          </a:bodyPr>
          <a:lstStyle/>
          <a:p>
            <a:r>
              <a:rPr lang="en-US" sz="1000" dirty="0" smtClean="0"/>
              <a:t>Smart Cities</a:t>
            </a:r>
            <a:endParaRPr lang="en-US" sz="1000" dirty="0"/>
          </a:p>
        </p:txBody>
      </p:sp>
      <p:sp>
        <p:nvSpPr>
          <p:cNvPr id="83" name="TextBox 82"/>
          <p:cNvSpPr txBox="1"/>
          <p:nvPr/>
        </p:nvSpPr>
        <p:spPr>
          <a:xfrm>
            <a:off x="1515574" y="1621573"/>
            <a:ext cx="766557" cy="246221"/>
          </a:xfrm>
          <a:prstGeom prst="rect">
            <a:avLst/>
          </a:prstGeom>
          <a:noFill/>
        </p:spPr>
        <p:txBody>
          <a:bodyPr wrap="none" rtlCol="0">
            <a:spAutoFit/>
          </a:bodyPr>
          <a:lstStyle/>
          <a:p>
            <a:r>
              <a:rPr lang="en-US" sz="1000" dirty="0" smtClean="0"/>
              <a:t>Enterprise</a:t>
            </a:r>
            <a:endParaRPr lang="en-US" sz="1000" dirty="0"/>
          </a:p>
        </p:txBody>
      </p:sp>
      <p:sp>
        <p:nvSpPr>
          <p:cNvPr id="84" name="TextBox 83"/>
          <p:cNvSpPr txBox="1"/>
          <p:nvPr/>
        </p:nvSpPr>
        <p:spPr>
          <a:xfrm>
            <a:off x="2296558" y="1498321"/>
            <a:ext cx="801823" cy="246221"/>
          </a:xfrm>
          <a:prstGeom prst="rect">
            <a:avLst/>
          </a:prstGeom>
          <a:noFill/>
        </p:spPr>
        <p:txBody>
          <a:bodyPr wrap="none" rtlCol="0">
            <a:spAutoFit/>
          </a:bodyPr>
          <a:lstStyle/>
          <a:p>
            <a:r>
              <a:rPr lang="en-US" sz="1000" dirty="0" smtClean="0"/>
              <a:t>Healthcare</a:t>
            </a:r>
            <a:endParaRPr lang="en-US" sz="1000" dirty="0"/>
          </a:p>
        </p:txBody>
      </p:sp>
      <p:sp>
        <p:nvSpPr>
          <p:cNvPr id="85" name="TextBox 84"/>
          <p:cNvSpPr txBox="1"/>
          <p:nvPr/>
        </p:nvSpPr>
        <p:spPr>
          <a:xfrm>
            <a:off x="2882616" y="1765999"/>
            <a:ext cx="598241" cy="246221"/>
          </a:xfrm>
          <a:prstGeom prst="rect">
            <a:avLst/>
          </a:prstGeom>
          <a:noFill/>
        </p:spPr>
        <p:txBody>
          <a:bodyPr wrap="none" rtlCol="0">
            <a:spAutoFit/>
          </a:bodyPr>
          <a:lstStyle/>
          <a:p>
            <a:r>
              <a:rPr lang="en-US" sz="1000" dirty="0" smtClean="0"/>
              <a:t>Utilities</a:t>
            </a:r>
            <a:endParaRPr lang="en-US" sz="1000" dirty="0"/>
          </a:p>
        </p:txBody>
      </p:sp>
      <p:cxnSp>
        <p:nvCxnSpPr>
          <p:cNvPr id="86" name="Straight Connector 85"/>
          <p:cNvCxnSpPr>
            <a:stCxn id="81" idx="3"/>
          </p:cNvCxnSpPr>
          <p:nvPr/>
        </p:nvCxnSpPr>
        <p:spPr>
          <a:xfrm flipV="1">
            <a:off x="1397433" y="2274111"/>
            <a:ext cx="278966" cy="12896"/>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544045" y="2079070"/>
            <a:ext cx="294375" cy="139591"/>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84" idx="2"/>
          </p:cNvCxnSpPr>
          <p:nvPr/>
        </p:nvCxnSpPr>
        <p:spPr>
          <a:xfrm flipH="1">
            <a:off x="2111412" y="1744542"/>
            <a:ext cx="586058" cy="429249"/>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stCxn id="85" idx="1"/>
          </p:cNvCxnSpPr>
          <p:nvPr/>
        </p:nvCxnSpPr>
        <p:spPr>
          <a:xfrm flipH="1">
            <a:off x="2294467" y="1889110"/>
            <a:ext cx="588149" cy="288429"/>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83" idx="2"/>
          </p:cNvCxnSpPr>
          <p:nvPr/>
        </p:nvCxnSpPr>
        <p:spPr>
          <a:xfrm>
            <a:off x="1898853" y="1867794"/>
            <a:ext cx="86179" cy="350867"/>
          </a:xfrm>
          <a:prstGeom prst="line">
            <a:avLst/>
          </a:prstGeom>
          <a:ln w="127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grpSp>
        <p:nvGrpSpPr>
          <p:cNvPr id="91" name="Group 90"/>
          <p:cNvGrpSpPr/>
          <p:nvPr/>
        </p:nvGrpSpPr>
        <p:grpSpPr>
          <a:xfrm>
            <a:off x="1166769" y="2065292"/>
            <a:ext cx="2661138" cy="1630042"/>
            <a:chOff x="1397433" y="2357759"/>
            <a:chExt cx="2661138" cy="1630042"/>
          </a:xfrm>
        </p:grpSpPr>
        <p:pic>
          <p:nvPicPr>
            <p:cNvPr id="92" name="Picture 91"/>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397433" y="2357759"/>
              <a:ext cx="2661138" cy="1630042"/>
            </a:xfrm>
            <a:prstGeom prst="rect">
              <a:avLst/>
            </a:prstGeom>
          </p:spPr>
        </p:pic>
        <p:sp>
          <p:nvSpPr>
            <p:cNvPr id="93" name="TextBox 92"/>
            <p:cNvSpPr txBox="1"/>
            <p:nvPr/>
          </p:nvSpPr>
          <p:spPr>
            <a:xfrm>
              <a:off x="2190449" y="3195144"/>
              <a:ext cx="1010213" cy="307777"/>
            </a:xfrm>
            <a:prstGeom prst="rect">
              <a:avLst/>
            </a:prstGeom>
            <a:noFill/>
          </p:spPr>
          <p:txBody>
            <a:bodyPr wrap="none" rtlCol="0">
              <a:spAutoFit/>
            </a:bodyPr>
            <a:lstStyle/>
            <a:p>
              <a:r>
                <a:rPr lang="en-US" sz="1400" dirty="0" smtClean="0">
                  <a:solidFill>
                    <a:schemeClr val="bg1"/>
                  </a:solidFill>
                </a:rPr>
                <a:t>Consumer</a:t>
              </a:r>
              <a:endParaRPr lang="en-US" sz="1400" dirty="0">
                <a:solidFill>
                  <a:schemeClr val="bg1"/>
                </a:solidFill>
              </a:endParaRPr>
            </a:p>
          </p:txBody>
        </p:sp>
      </p:grpSp>
      <p:sp>
        <p:nvSpPr>
          <p:cNvPr id="94" name="TextBox 93"/>
          <p:cNvSpPr txBox="1"/>
          <p:nvPr/>
        </p:nvSpPr>
        <p:spPr>
          <a:xfrm>
            <a:off x="4378724" y="2106291"/>
            <a:ext cx="490840" cy="276999"/>
          </a:xfrm>
          <a:prstGeom prst="rect">
            <a:avLst/>
          </a:prstGeom>
          <a:noFill/>
        </p:spPr>
        <p:txBody>
          <a:bodyPr wrap="none" rtlCol="0">
            <a:spAutoFit/>
          </a:bodyPr>
          <a:lstStyle/>
          <a:p>
            <a:r>
              <a:rPr lang="en-US" sz="1200" dirty="0" smtClean="0"/>
              <a:t>42%</a:t>
            </a:r>
            <a:endParaRPr lang="en-US" sz="1200" dirty="0"/>
          </a:p>
        </p:txBody>
      </p:sp>
      <p:sp>
        <p:nvSpPr>
          <p:cNvPr id="95" name="TextBox 94"/>
          <p:cNvSpPr txBox="1"/>
          <p:nvPr/>
        </p:nvSpPr>
        <p:spPr>
          <a:xfrm>
            <a:off x="6418975" y="1283059"/>
            <a:ext cx="490840" cy="276999"/>
          </a:xfrm>
          <a:prstGeom prst="rect">
            <a:avLst/>
          </a:prstGeom>
          <a:noFill/>
        </p:spPr>
        <p:txBody>
          <a:bodyPr wrap="none" rtlCol="0">
            <a:spAutoFit/>
          </a:bodyPr>
          <a:lstStyle/>
          <a:p>
            <a:r>
              <a:rPr lang="en-US" sz="1200" dirty="0" smtClean="0"/>
              <a:t>52%</a:t>
            </a:r>
            <a:endParaRPr lang="en-US" sz="1200" dirty="0"/>
          </a:p>
        </p:txBody>
      </p:sp>
      <p:sp>
        <p:nvSpPr>
          <p:cNvPr id="96" name="TextBox 95"/>
          <p:cNvSpPr txBox="1"/>
          <p:nvPr/>
        </p:nvSpPr>
        <p:spPr>
          <a:xfrm>
            <a:off x="4947351" y="1839509"/>
            <a:ext cx="490840" cy="276999"/>
          </a:xfrm>
          <a:prstGeom prst="rect">
            <a:avLst/>
          </a:prstGeom>
          <a:noFill/>
        </p:spPr>
        <p:txBody>
          <a:bodyPr wrap="none" rtlCol="0">
            <a:spAutoFit/>
          </a:bodyPr>
          <a:lstStyle/>
          <a:p>
            <a:r>
              <a:rPr lang="en-US" sz="1200" dirty="0" smtClean="0"/>
              <a:t>42%</a:t>
            </a:r>
            <a:endParaRPr lang="en-US" sz="1200" dirty="0"/>
          </a:p>
        </p:txBody>
      </p:sp>
      <p:sp>
        <p:nvSpPr>
          <p:cNvPr id="97" name="TextBox 96"/>
          <p:cNvSpPr txBox="1"/>
          <p:nvPr/>
        </p:nvSpPr>
        <p:spPr>
          <a:xfrm>
            <a:off x="5558627" y="1562510"/>
            <a:ext cx="490840" cy="276999"/>
          </a:xfrm>
          <a:prstGeom prst="rect">
            <a:avLst/>
          </a:prstGeom>
          <a:noFill/>
        </p:spPr>
        <p:txBody>
          <a:bodyPr wrap="none" rtlCol="0">
            <a:spAutoFit/>
          </a:bodyPr>
          <a:lstStyle/>
          <a:p>
            <a:r>
              <a:rPr lang="en-US" sz="1200" dirty="0" smtClean="0"/>
              <a:t>46%</a:t>
            </a:r>
            <a:endParaRPr lang="en-US" sz="1200" dirty="0"/>
          </a:p>
        </p:txBody>
      </p:sp>
      <p:sp>
        <p:nvSpPr>
          <p:cNvPr id="98" name="TextBox 97"/>
          <p:cNvSpPr txBox="1"/>
          <p:nvPr/>
        </p:nvSpPr>
        <p:spPr>
          <a:xfrm>
            <a:off x="7032010" y="1577079"/>
            <a:ext cx="490840" cy="276999"/>
          </a:xfrm>
          <a:prstGeom prst="rect">
            <a:avLst/>
          </a:prstGeom>
          <a:noFill/>
        </p:spPr>
        <p:txBody>
          <a:bodyPr wrap="none" rtlCol="0">
            <a:spAutoFit/>
          </a:bodyPr>
          <a:lstStyle/>
          <a:p>
            <a:r>
              <a:rPr lang="en-US" sz="1200" dirty="0" smtClean="0"/>
              <a:t>33%</a:t>
            </a:r>
            <a:endParaRPr lang="en-US" sz="1200" dirty="0"/>
          </a:p>
        </p:txBody>
      </p:sp>
      <p:pic>
        <p:nvPicPr>
          <p:cNvPr id="7" name="Picture 6"/>
          <p:cNvPicPr>
            <a:picLocks noChangeAspect="1"/>
          </p:cNvPicPr>
          <p:nvPr/>
        </p:nvPicPr>
        <p:blipFill rotWithShape="1">
          <a:blip r:embed="rId7"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866064" y="3573527"/>
            <a:ext cx="3166534" cy="838668"/>
          </a:xfrm>
          <a:prstGeom prst="rect">
            <a:avLst/>
          </a:prstGeom>
        </p:spPr>
      </p:pic>
      <p:pic>
        <p:nvPicPr>
          <p:cNvPr id="11" name="Picture 10"/>
          <p:cNvPicPr>
            <a:picLocks noChangeAspect="1"/>
          </p:cNvPicPr>
          <p:nvPr/>
        </p:nvPicPr>
        <p:blipFill rotWithShape="1">
          <a:blip r:embed="rId8"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5385656" y="3581993"/>
            <a:ext cx="3107267" cy="846667"/>
          </a:xfrm>
          <a:prstGeom prst="rect">
            <a:avLst/>
          </a:prstGeom>
        </p:spPr>
      </p:pic>
      <p:sp>
        <p:nvSpPr>
          <p:cNvPr id="99" name="TextBox 98"/>
          <p:cNvSpPr txBox="1"/>
          <p:nvPr/>
        </p:nvSpPr>
        <p:spPr>
          <a:xfrm>
            <a:off x="7432921" y="1562510"/>
            <a:ext cx="688009" cy="276999"/>
          </a:xfrm>
          <a:prstGeom prst="rect">
            <a:avLst/>
          </a:prstGeom>
          <a:noFill/>
        </p:spPr>
        <p:txBody>
          <a:bodyPr wrap="none" rtlCol="0">
            <a:spAutoFit/>
          </a:bodyPr>
          <a:lstStyle/>
          <a:p>
            <a:r>
              <a:rPr lang="en-US" sz="1200" dirty="0" smtClean="0"/>
              <a:t>CAGR*</a:t>
            </a:r>
            <a:endParaRPr lang="en-US" sz="1200" dirty="0"/>
          </a:p>
        </p:txBody>
      </p:sp>
      <p:sp>
        <p:nvSpPr>
          <p:cNvPr id="41" name="Text Box 20"/>
          <p:cNvSpPr txBox="1">
            <a:spLocks noChangeArrowheads="1"/>
          </p:cNvSpPr>
          <p:nvPr/>
        </p:nvSpPr>
        <p:spPr bwMode="auto">
          <a:xfrm>
            <a:off x="4610510" y="4441388"/>
            <a:ext cx="3958557" cy="236812"/>
          </a:xfrm>
          <a:prstGeom prst="rect">
            <a:avLst/>
          </a:prstGeom>
          <a:noFill/>
          <a:ln w="9525" algn="ctr">
            <a:noFill/>
            <a:miter lim="800000"/>
            <a:headEnd/>
            <a:tailEnd/>
          </a:ln>
        </p:spPr>
        <p:txBody>
          <a:bodyPr wrap="none" lIns="82124" tIns="41061" rIns="82124" bIns="41061">
            <a:spAutoFit/>
          </a:bodyPr>
          <a:lstStyle>
            <a:defPPr>
              <a:defRPr lang="en-US"/>
            </a:defPPr>
            <a:lvl1pPr defTabSz="814388">
              <a:defRPr sz="1100">
                <a:solidFill>
                  <a:schemeClr val="bg1">
                    <a:lumMod val="50000"/>
                  </a:schemeClr>
                </a:solidFill>
                <a:latin typeface="+mn-lt"/>
              </a:defRPr>
            </a:lvl1pPr>
          </a:lstStyle>
          <a:p>
            <a:pPr algn="r"/>
            <a:r>
              <a:rPr lang="it-IT" sz="1000" dirty="0" smtClean="0">
                <a:solidFill>
                  <a:schemeClr val="bg1"/>
                </a:solidFill>
              </a:rPr>
              <a:t>Source: Cisco VNI Global Mobile Data Traffic Forecast, 2015–2020</a:t>
            </a:r>
            <a:endParaRPr lang="en-US" sz="1000" dirty="0">
              <a:solidFill>
                <a:schemeClr val="bg1"/>
              </a:solidFill>
            </a:endParaRPr>
          </a:p>
        </p:txBody>
      </p:sp>
    </p:spTree>
    <p:extLst>
      <p:ext uri="{BB962C8B-B14F-4D97-AF65-F5344CB8AC3E}">
        <p14:creationId xmlns:p14="http://schemas.microsoft.com/office/powerpoint/2010/main" val="405634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0" name="Freeform 6"/>
          <p:cNvSpPr>
            <a:spLocks noEditPoints="1"/>
          </p:cNvSpPr>
          <p:nvPr/>
        </p:nvSpPr>
        <p:spPr bwMode="auto">
          <a:xfrm>
            <a:off x="273049" y="1611313"/>
            <a:ext cx="8595360" cy="2589212"/>
          </a:xfrm>
          <a:custGeom>
            <a:avLst/>
            <a:gdLst/>
            <a:ahLst/>
            <a:cxnLst>
              <a:cxn ang="0">
                <a:pos x="3437" y="824"/>
              </a:cxn>
              <a:cxn ang="0">
                <a:pos x="3240" y="956"/>
              </a:cxn>
              <a:cxn ang="0">
                <a:pos x="2664" y="781"/>
              </a:cxn>
              <a:cxn ang="0">
                <a:pos x="2420" y="456"/>
              </a:cxn>
              <a:cxn ang="0">
                <a:pos x="2152" y="781"/>
              </a:cxn>
              <a:cxn ang="0">
                <a:pos x="2113" y="290"/>
              </a:cxn>
              <a:cxn ang="0">
                <a:pos x="1908" y="817"/>
              </a:cxn>
              <a:cxn ang="0">
                <a:pos x="1734" y="654"/>
              </a:cxn>
              <a:cxn ang="0">
                <a:pos x="1237" y="91"/>
              </a:cxn>
              <a:cxn ang="0">
                <a:pos x="1028" y="522"/>
              </a:cxn>
              <a:cxn ang="0">
                <a:pos x="763" y="917"/>
              </a:cxn>
              <a:cxn ang="0">
                <a:pos x="615" y="811"/>
              </a:cxn>
              <a:cxn ang="0">
                <a:pos x="341" y="812"/>
              </a:cxn>
              <a:cxn ang="0">
                <a:pos x="2507" y="1283"/>
              </a:cxn>
              <a:cxn ang="0">
                <a:pos x="3816" y="1035"/>
              </a:cxn>
              <a:cxn ang="0">
                <a:pos x="51" y="1143"/>
              </a:cxn>
              <a:cxn ang="0">
                <a:pos x="228" y="1180"/>
              </a:cxn>
              <a:cxn ang="0">
                <a:pos x="555" y="825"/>
              </a:cxn>
              <a:cxn ang="0">
                <a:pos x="414" y="1011"/>
              </a:cxn>
              <a:cxn ang="0">
                <a:pos x="430" y="825"/>
              </a:cxn>
              <a:cxn ang="0">
                <a:pos x="545" y="1214"/>
              </a:cxn>
              <a:cxn ang="0">
                <a:pos x="697" y="986"/>
              </a:cxn>
              <a:cxn ang="0">
                <a:pos x="848" y="1059"/>
              </a:cxn>
              <a:cxn ang="0">
                <a:pos x="1052" y="597"/>
              </a:cxn>
              <a:cxn ang="0">
                <a:pos x="1052" y="1113"/>
              </a:cxn>
              <a:cxn ang="0">
                <a:pos x="983" y="972"/>
              </a:cxn>
              <a:cxn ang="0">
                <a:pos x="1052" y="863"/>
              </a:cxn>
              <a:cxn ang="0">
                <a:pos x="1052" y="738"/>
              </a:cxn>
              <a:cxn ang="0">
                <a:pos x="900" y="629"/>
              </a:cxn>
              <a:cxn ang="0">
                <a:pos x="1230" y="811"/>
              </a:cxn>
              <a:cxn ang="0">
                <a:pos x="1334" y="155"/>
              </a:cxn>
              <a:cxn ang="0">
                <a:pos x="1294" y="1045"/>
              </a:cxn>
              <a:cxn ang="0">
                <a:pos x="1393" y="866"/>
              </a:cxn>
              <a:cxn ang="0">
                <a:pos x="1478" y="1153"/>
              </a:cxn>
              <a:cxn ang="0">
                <a:pos x="1694" y="773"/>
              </a:cxn>
              <a:cxn ang="0">
                <a:pos x="1541" y="1135"/>
              </a:cxn>
              <a:cxn ang="0">
                <a:pos x="1645" y="890"/>
              </a:cxn>
              <a:cxn ang="0">
                <a:pos x="1748" y="1226"/>
              </a:cxn>
              <a:cxn ang="0">
                <a:pos x="1800" y="708"/>
              </a:cxn>
              <a:cxn ang="0">
                <a:pos x="1816" y="708"/>
              </a:cxn>
              <a:cxn ang="0">
                <a:pos x="1901" y="901"/>
              </a:cxn>
              <a:cxn ang="0">
                <a:pos x="2270" y="497"/>
              </a:cxn>
              <a:cxn ang="0">
                <a:pos x="2387" y="606"/>
              </a:cxn>
              <a:cxn ang="0">
                <a:pos x="2270" y="686"/>
              </a:cxn>
              <a:cxn ang="0">
                <a:pos x="2082" y="368"/>
              </a:cxn>
              <a:cxn ang="0">
                <a:pos x="2199" y="1230"/>
              </a:cxn>
              <a:cxn ang="0">
                <a:pos x="2216" y="927"/>
              </a:cxn>
              <a:cxn ang="0">
                <a:pos x="2307" y="874"/>
              </a:cxn>
              <a:cxn ang="0">
                <a:pos x="2430" y="910"/>
              </a:cxn>
              <a:cxn ang="0">
                <a:pos x="2505" y="1053"/>
              </a:cxn>
              <a:cxn ang="0">
                <a:pos x="2550" y="1146"/>
              </a:cxn>
              <a:cxn ang="0">
                <a:pos x="2556" y="842"/>
              </a:cxn>
              <a:cxn ang="0">
                <a:pos x="2621" y="927"/>
              </a:cxn>
              <a:cxn ang="0">
                <a:pos x="2942" y="1081"/>
              </a:cxn>
              <a:cxn ang="0">
                <a:pos x="3240" y="1161"/>
              </a:cxn>
              <a:cxn ang="0">
                <a:pos x="3514" y="899"/>
              </a:cxn>
              <a:cxn ang="0">
                <a:pos x="3448" y="1057"/>
              </a:cxn>
              <a:cxn ang="0">
                <a:pos x="3357" y="998"/>
              </a:cxn>
              <a:cxn ang="0">
                <a:pos x="3272" y="1149"/>
              </a:cxn>
              <a:cxn ang="0">
                <a:pos x="3357" y="1149"/>
              </a:cxn>
              <a:cxn ang="0">
                <a:pos x="3425" y="899"/>
              </a:cxn>
              <a:cxn ang="0">
                <a:pos x="3621" y="1085"/>
              </a:cxn>
              <a:cxn ang="0">
                <a:pos x="3814" y="1154"/>
              </a:cxn>
            </a:cxnLst>
            <a:rect l="0" t="0" r="r" b="b"/>
            <a:pathLst>
              <a:path w="3836" h="1283">
                <a:moveTo>
                  <a:pt x="3816" y="1035"/>
                </a:moveTo>
                <a:cubicBezTo>
                  <a:pt x="3699" y="1035"/>
                  <a:pt x="3699" y="1035"/>
                  <a:pt x="3699" y="1035"/>
                </a:cubicBezTo>
                <a:cubicBezTo>
                  <a:pt x="3699" y="1006"/>
                  <a:pt x="3699" y="1006"/>
                  <a:pt x="3699" y="1006"/>
                </a:cubicBezTo>
                <a:cubicBezTo>
                  <a:pt x="3720" y="1006"/>
                  <a:pt x="3720" y="1006"/>
                  <a:pt x="3720" y="1006"/>
                </a:cubicBezTo>
                <a:cubicBezTo>
                  <a:pt x="3687" y="938"/>
                  <a:pt x="3687" y="938"/>
                  <a:pt x="3687" y="938"/>
                </a:cubicBezTo>
                <a:cubicBezTo>
                  <a:pt x="3581" y="938"/>
                  <a:pt x="3581" y="938"/>
                  <a:pt x="3581" y="938"/>
                </a:cubicBezTo>
                <a:cubicBezTo>
                  <a:pt x="3557" y="881"/>
                  <a:pt x="3557" y="881"/>
                  <a:pt x="3557" y="881"/>
                </a:cubicBezTo>
                <a:cubicBezTo>
                  <a:pt x="3536" y="881"/>
                  <a:pt x="3536" y="881"/>
                  <a:pt x="3536" y="881"/>
                </a:cubicBezTo>
                <a:cubicBezTo>
                  <a:pt x="3536" y="864"/>
                  <a:pt x="3536" y="864"/>
                  <a:pt x="3536" y="864"/>
                </a:cubicBezTo>
                <a:cubicBezTo>
                  <a:pt x="3543" y="863"/>
                  <a:pt x="3543" y="863"/>
                  <a:pt x="3543" y="863"/>
                </a:cubicBezTo>
                <a:cubicBezTo>
                  <a:pt x="3514" y="824"/>
                  <a:pt x="3514" y="824"/>
                  <a:pt x="3514" y="824"/>
                </a:cubicBezTo>
                <a:cubicBezTo>
                  <a:pt x="3437" y="824"/>
                  <a:pt x="3437" y="824"/>
                  <a:pt x="3437" y="824"/>
                </a:cubicBezTo>
                <a:cubicBezTo>
                  <a:pt x="3437" y="822"/>
                  <a:pt x="3437" y="822"/>
                  <a:pt x="3437" y="822"/>
                </a:cubicBezTo>
                <a:cubicBezTo>
                  <a:pt x="3437" y="822"/>
                  <a:pt x="3437" y="822"/>
                  <a:pt x="3437" y="822"/>
                </a:cubicBezTo>
                <a:cubicBezTo>
                  <a:pt x="3412" y="802"/>
                  <a:pt x="3412" y="802"/>
                  <a:pt x="3412" y="802"/>
                </a:cubicBezTo>
                <a:cubicBezTo>
                  <a:pt x="3389" y="820"/>
                  <a:pt x="3389" y="820"/>
                  <a:pt x="3389" y="820"/>
                </a:cubicBezTo>
                <a:cubicBezTo>
                  <a:pt x="3389" y="823"/>
                  <a:pt x="3389" y="823"/>
                  <a:pt x="3389" y="823"/>
                </a:cubicBezTo>
                <a:cubicBezTo>
                  <a:pt x="3389" y="824"/>
                  <a:pt x="3389" y="824"/>
                  <a:pt x="3389" y="824"/>
                </a:cubicBezTo>
                <a:cubicBezTo>
                  <a:pt x="3310" y="824"/>
                  <a:pt x="3310" y="824"/>
                  <a:pt x="3310" y="824"/>
                </a:cubicBezTo>
                <a:cubicBezTo>
                  <a:pt x="3285" y="863"/>
                  <a:pt x="3285" y="863"/>
                  <a:pt x="3285" y="863"/>
                </a:cubicBezTo>
                <a:cubicBezTo>
                  <a:pt x="3295" y="863"/>
                  <a:pt x="3295" y="863"/>
                  <a:pt x="3295" y="863"/>
                </a:cubicBezTo>
                <a:cubicBezTo>
                  <a:pt x="3295" y="880"/>
                  <a:pt x="3295" y="880"/>
                  <a:pt x="3295" y="880"/>
                </a:cubicBezTo>
                <a:cubicBezTo>
                  <a:pt x="3281" y="881"/>
                  <a:pt x="3281" y="881"/>
                  <a:pt x="3281" y="881"/>
                </a:cubicBezTo>
                <a:cubicBezTo>
                  <a:pt x="3240" y="956"/>
                  <a:pt x="3240" y="956"/>
                  <a:pt x="3240" y="956"/>
                </a:cubicBezTo>
                <a:cubicBezTo>
                  <a:pt x="3168" y="955"/>
                  <a:pt x="3168" y="955"/>
                  <a:pt x="3168" y="955"/>
                </a:cubicBezTo>
                <a:cubicBezTo>
                  <a:pt x="3145" y="895"/>
                  <a:pt x="3145" y="895"/>
                  <a:pt x="3145" y="895"/>
                </a:cubicBezTo>
                <a:cubicBezTo>
                  <a:pt x="2840" y="895"/>
                  <a:pt x="2840" y="895"/>
                  <a:pt x="2840" y="895"/>
                </a:cubicBezTo>
                <a:cubicBezTo>
                  <a:pt x="2810" y="942"/>
                  <a:pt x="2810" y="942"/>
                  <a:pt x="2810" y="942"/>
                </a:cubicBezTo>
                <a:cubicBezTo>
                  <a:pt x="2706" y="944"/>
                  <a:pt x="2706" y="944"/>
                  <a:pt x="2706" y="944"/>
                </a:cubicBezTo>
                <a:cubicBezTo>
                  <a:pt x="2706" y="850"/>
                  <a:pt x="2706" y="850"/>
                  <a:pt x="2706" y="850"/>
                </a:cubicBezTo>
                <a:cubicBezTo>
                  <a:pt x="2734" y="850"/>
                  <a:pt x="2734" y="850"/>
                  <a:pt x="2734" y="850"/>
                </a:cubicBezTo>
                <a:cubicBezTo>
                  <a:pt x="2706" y="783"/>
                  <a:pt x="2706" y="783"/>
                  <a:pt x="2706" y="783"/>
                </a:cubicBezTo>
                <a:cubicBezTo>
                  <a:pt x="2670" y="782"/>
                  <a:pt x="2670" y="782"/>
                  <a:pt x="2670" y="782"/>
                </a:cubicBezTo>
                <a:cubicBezTo>
                  <a:pt x="2670" y="746"/>
                  <a:pt x="2670" y="746"/>
                  <a:pt x="2670" y="746"/>
                </a:cubicBezTo>
                <a:cubicBezTo>
                  <a:pt x="2664" y="746"/>
                  <a:pt x="2664" y="746"/>
                  <a:pt x="2664" y="746"/>
                </a:cubicBezTo>
                <a:cubicBezTo>
                  <a:pt x="2664" y="781"/>
                  <a:pt x="2664" y="781"/>
                  <a:pt x="2664" y="781"/>
                </a:cubicBezTo>
                <a:cubicBezTo>
                  <a:pt x="2578" y="777"/>
                  <a:pt x="2578" y="777"/>
                  <a:pt x="2578" y="777"/>
                </a:cubicBezTo>
                <a:cubicBezTo>
                  <a:pt x="2578" y="755"/>
                  <a:pt x="2578" y="755"/>
                  <a:pt x="2578" y="755"/>
                </a:cubicBezTo>
                <a:cubicBezTo>
                  <a:pt x="2571" y="755"/>
                  <a:pt x="2571" y="755"/>
                  <a:pt x="2571" y="755"/>
                </a:cubicBezTo>
                <a:cubicBezTo>
                  <a:pt x="2571" y="777"/>
                  <a:pt x="2571" y="777"/>
                  <a:pt x="2571" y="777"/>
                </a:cubicBezTo>
                <a:cubicBezTo>
                  <a:pt x="2553" y="776"/>
                  <a:pt x="2553" y="776"/>
                  <a:pt x="2553" y="776"/>
                </a:cubicBezTo>
                <a:cubicBezTo>
                  <a:pt x="2553" y="742"/>
                  <a:pt x="2553" y="742"/>
                  <a:pt x="2553" y="742"/>
                </a:cubicBezTo>
                <a:cubicBezTo>
                  <a:pt x="2547" y="742"/>
                  <a:pt x="2547" y="742"/>
                  <a:pt x="2547" y="742"/>
                </a:cubicBezTo>
                <a:cubicBezTo>
                  <a:pt x="2547" y="776"/>
                  <a:pt x="2547" y="776"/>
                  <a:pt x="2547" y="776"/>
                </a:cubicBezTo>
                <a:cubicBezTo>
                  <a:pt x="2478" y="773"/>
                  <a:pt x="2478" y="773"/>
                  <a:pt x="2478" y="773"/>
                </a:cubicBezTo>
                <a:cubicBezTo>
                  <a:pt x="2438" y="743"/>
                  <a:pt x="2438" y="743"/>
                  <a:pt x="2438" y="743"/>
                </a:cubicBezTo>
                <a:cubicBezTo>
                  <a:pt x="2432" y="743"/>
                  <a:pt x="2426" y="743"/>
                  <a:pt x="2420" y="743"/>
                </a:cubicBezTo>
                <a:cubicBezTo>
                  <a:pt x="2420" y="456"/>
                  <a:pt x="2420" y="456"/>
                  <a:pt x="2420" y="456"/>
                </a:cubicBezTo>
                <a:cubicBezTo>
                  <a:pt x="2395" y="433"/>
                  <a:pt x="2362" y="422"/>
                  <a:pt x="2328" y="422"/>
                </a:cubicBezTo>
                <a:cubicBezTo>
                  <a:pt x="2295" y="422"/>
                  <a:pt x="2261" y="433"/>
                  <a:pt x="2237" y="456"/>
                </a:cubicBezTo>
                <a:cubicBezTo>
                  <a:pt x="2237" y="777"/>
                  <a:pt x="2237" y="777"/>
                  <a:pt x="2237" y="777"/>
                </a:cubicBezTo>
                <a:cubicBezTo>
                  <a:pt x="2194" y="779"/>
                  <a:pt x="2194" y="779"/>
                  <a:pt x="2194" y="779"/>
                </a:cubicBezTo>
                <a:cubicBezTo>
                  <a:pt x="2194" y="735"/>
                  <a:pt x="2194" y="735"/>
                  <a:pt x="2194" y="735"/>
                </a:cubicBezTo>
                <a:cubicBezTo>
                  <a:pt x="2187" y="735"/>
                  <a:pt x="2187" y="735"/>
                  <a:pt x="2187" y="735"/>
                </a:cubicBezTo>
                <a:cubicBezTo>
                  <a:pt x="2187" y="780"/>
                  <a:pt x="2187" y="780"/>
                  <a:pt x="2187" y="780"/>
                </a:cubicBezTo>
                <a:cubicBezTo>
                  <a:pt x="2168" y="780"/>
                  <a:pt x="2168" y="780"/>
                  <a:pt x="2168" y="780"/>
                </a:cubicBezTo>
                <a:cubicBezTo>
                  <a:pt x="2168" y="754"/>
                  <a:pt x="2168" y="754"/>
                  <a:pt x="2168" y="754"/>
                </a:cubicBezTo>
                <a:cubicBezTo>
                  <a:pt x="2162" y="754"/>
                  <a:pt x="2162" y="754"/>
                  <a:pt x="2162" y="754"/>
                </a:cubicBezTo>
                <a:cubicBezTo>
                  <a:pt x="2162" y="781"/>
                  <a:pt x="2162" y="781"/>
                  <a:pt x="2162" y="781"/>
                </a:cubicBezTo>
                <a:cubicBezTo>
                  <a:pt x="2152" y="781"/>
                  <a:pt x="2152" y="781"/>
                  <a:pt x="2152" y="781"/>
                </a:cubicBezTo>
                <a:cubicBezTo>
                  <a:pt x="2152" y="317"/>
                  <a:pt x="2152" y="317"/>
                  <a:pt x="2152" y="317"/>
                </a:cubicBezTo>
                <a:cubicBezTo>
                  <a:pt x="2120" y="317"/>
                  <a:pt x="2120" y="317"/>
                  <a:pt x="2120" y="317"/>
                </a:cubicBezTo>
                <a:cubicBezTo>
                  <a:pt x="2120" y="290"/>
                  <a:pt x="2120" y="290"/>
                  <a:pt x="2120" y="290"/>
                </a:cubicBezTo>
                <a:cubicBezTo>
                  <a:pt x="2129" y="290"/>
                  <a:pt x="2129" y="290"/>
                  <a:pt x="2129" y="290"/>
                </a:cubicBezTo>
                <a:cubicBezTo>
                  <a:pt x="2129" y="283"/>
                  <a:pt x="2129" y="283"/>
                  <a:pt x="2129" y="283"/>
                </a:cubicBezTo>
                <a:cubicBezTo>
                  <a:pt x="2120" y="283"/>
                  <a:pt x="2120" y="283"/>
                  <a:pt x="2120" y="283"/>
                </a:cubicBezTo>
                <a:cubicBezTo>
                  <a:pt x="2120" y="217"/>
                  <a:pt x="2120" y="217"/>
                  <a:pt x="2120" y="217"/>
                </a:cubicBezTo>
                <a:cubicBezTo>
                  <a:pt x="2113" y="217"/>
                  <a:pt x="2113" y="217"/>
                  <a:pt x="2113" y="217"/>
                </a:cubicBezTo>
                <a:cubicBezTo>
                  <a:pt x="2113" y="283"/>
                  <a:pt x="2113" y="283"/>
                  <a:pt x="2113" y="283"/>
                </a:cubicBezTo>
                <a:cubicBezTo>
                  <a:pt x="2104" y="283"/>
                  <a:pt x="2104" y="283"/>
                  <a:pt x="2104" y="283"/>
                </a:cubicBezTo>
                <a:cubicBezTo>
                  <a:pt x="2104" y="290"/>
                  <a:pt x="2104" y="290"/>
                  <a:pt x="2104" y="290"/>
                </a:cubicBezTo>
                <a:cubicBezTo>
                  <a:pt x="2113" y="290"/>
                  <a:pt x="2113" y="290"/>
                  <a:pt x="2113" y="290"/>
                </a:cubicBezTo>
                <a:cubicBezTo>
                  <a:pt x="2113" y="317"/>
                  <a:pt x="2113" y="317"/>
                  <a:pt x="2113" y="317"/>
                </a:cubicBezTo>
                <a:cubicBezTo>
                  <a:pt x="2007" y="317"/>
                  <a:pt x="2007" y="317"/>
                  <a:pt x="2007" y="317"/>
                </a:cubicBezTo>
                <a:cubicBezTo>
                  <a:pt x="2007" y="287"/>
                  <a:pt x="2007" y="287"/>
                  <a:pt x="2007" y="287"/>
                </a:cubicBezTo>
                <a:cubicBezTo>
                  <a:pt x="1962" y="287"/>
                  <a:pt x="1962" y="287"/>
                  <a:pt x="1962" y="287"/>
                </a:cubicBezTo>
                <a:cubicBezTo>
                  <a:pt x="1962" y="317"/>
                  <a:pt x="1962" y="317"/>
                  <a:pt x="1962" y="317"/>
                </a:cubicBezTo>
                <a:cubicBezTo>
                  <a:pt x="1946" y="317"/>
                  <a:pt x="1946" y="317"/>
                  <a:pt x="1946" y="317"/>
                </a:cubicBezTo>
                <a:cubicBezTo>
                  <a:pt x="1946" y="254"/>
                  <a:pt x="1946" y="254"/>
                  <a:pt x="1946" y="254"/>
                </a:cubicBezTo>
                <a:cubicBezTo>
                  <a:pt x="1940" y="254"/>
                  <a:pt x="1940" y="254"/>
                  <a:pt x="1940" y="254"/>
                </a:cubicBezTo>
                <a:cubicBezTo>
                  <a:pt x="1940" y="317"/>
                  <a:pt x="1940" y="317"/>
                  <a:pt x="1940" y="317"/>
                </a:cubicBezTo>
                <a:cubicBezTo>
                  <a:pt x="1919" y="317"/>
                  <a:pt x="1919" y="317"/>
                  <a:pt x="1919" y="317"/>
                </a:cubicBezTo>
                <a:cubicBezTo>
                  <a:pt x="1919" y="831"/>
                  <a:pt x="1919" y="831"/>
                  <a:pt x="1919" y="831"/>
                </a:cubicBezTo>
                <a:cubicBezTo>
                  <a:pt x="1908" y="817"/>
                  <a:pt x="1908" y="817"/>
                  <a:pt x="1908" y="817"/>
                </a:cubicBezTo>
                <a:cubicBezTo>
                  <a:pt x="1872" y="817"/>
                  <a:pt x="1872" y="817"/>
                  <a:pt x="1872" y="817"/>
                </a:cubicBezTo>
                <a:cubicBezTo>
                  <a:pt x="1872" y="655"/>
                  <a:pt x="1872" y="655"/>
                  <a:pt x="1872" y="655"/>
                </a:cubicBezTo>
                <a:cubicBezTo>
                  <a:pt x="1867" y="654"/>
                  <a:pt x="1861" y="654"/>
                  <a:pt x="1856" y="654"/>
                </a:cubicBezTo>
                <a:cubicBezTo>
                  <a:pt x="1856" y="637"/>
                  <a:pt x="1856" y="637"/>
                  <a:pt x="1856" y="637"/>
                </a:cubicBezTo>
                <a:cubicBezTo>
                  <a:pt x="1830" y="637"/>
                  <a:pt x="1830" y="637"/>
                  <a:pt x="1830" y="637"/>
                </a:cubicBezTo>
                <a:cubicBezTo>
                  <a:pt x="1830" y="653"/>
                  <a:pt x="1830" y="653"/>
                  <a:pt x="1830" y="653"/>
                </a:cubicBezTo>
                <a:cubicBezTo>
                  <a:pt x="1810" y="653"/>
                  <a:pt x="1789" y="653"/>
                  <a:pt x="1768" y="653"/>
                </a:cubicBezTo>
                <a:cubicBezTo>
                  <a:pt x="1768" y="618"/>
                  <a:pt x="1768" y="618"/>
                  <a:pt x="1768" y="618"/>
                </a:cubicBezTo>
                <a:cubicBezTo>
                  <a:pt x="1764" y="618"/>
                  <a:pt x="1764" y="618"/>
                  <a:pt x="1764" y="618"/>
                </a:cubicBezTo>
                <a:cubicBezTo>
                  <a:pt x="1764" y="653"/>
                  <a:pt x="1764" y="653"/>
                  <a:pt x="1764" y="653"/>
                </a:cubicBezTo>
                <a:cubicBezTo>
                  <a:pt x="1767" y="653"/>
                  <a:pt x="1767" y="653"/>
                  <a:pt x="1767" y="653"/>
                </a:cubicBezTo>
                <a:cubicBezTo>
                  <a:pt x="1756" y="653"/>
                  <a:pt x="1745" y="653"/>
                  <a:pt x="1734" y="654"/>
                </a:cubicBezTo>
                <a:cubicBezTo>
                  <a:pt x="1734" y="637"/>
                  <a:pt x="1734" y="637"/>
                  <a:pt x="1734" y="637"/>
                </a:cubicBezTo>
                <a:cubicBezTo>
                  <a:pt x="1726" y="637"/>
                  <a:pt x="1726" y="637"/>
                  <a:pt x="1726" y="637"/>
                </a:cubicBezTo>
                <a:cubicBezTo>
                  <a:pt x="1726" y="551"/>
                  <a:pt x="1726" y="551"/>
                  <a:pt x="1726" y="551"/>
                </a:cubicBezTo>
                <a:cubicBezTo>
                  <a:pt x="1514" y="618"/>
                  <a:pt x="1514" y="618"/>
                  <a:pt x="1514" y="618"/>
                </a:cubicBezTo>
                <a:cubicBezTo>
                  <a:pt x="1514" y="660"/>
                  <a:pt x="1514" y="660"/>
                  <a:pt x="1514" y="660"/>
                </a:cubicBezTo>
                <a:cubicBezTo>
                  <a:pt x="1489" y="660"/>
                  <a:pt x="1489" y="660"/>
                  <a:pt x="1489" y="660"/>
                </a:cubicBezTo>
                <a:cubicBezTo>
                  <a:pt x="1489" y="91"/>
                  <a:pt x="1489" y="91"/>
                  <a:pt x="1489" y="91"/>
                </a:cubicBezTo>
                <a:cubicBezTo>
                  <a:pt x="1452" y="91"/>
                  <a:pt x="1452" y="91"/>
                  <a:pt x="1452" y="91"/>
                </a:cubicBezTo>
                <a:cubicBezTo>
                  <a:pt x="1452" y="0"/>
                  <a:pt x="1452" y="0"/>
                  <a:pt x="1452" y="0"/>
                </a:cubicBezTo>
                <a:cubicBezTo>
                  <a:pt x="1394" y="0"/>
                  <a:pt x="1331" y="0"/>
                  <a:pt x="1274" y="0"/>
                </a:cubicBezTo>
                <a:cubicBezTo>
                  <a:pt x="1274" y="91"/>
                  <a:pt x="1274" y="91"/>
                  <a:pt x="1274" y="91"/>
                </a:cubicBezTo>
                <a:cubicBezTo>
                  <a:pt x="1237" y="91"/>
                  <a:pt x="1237" y="91"/>
                  <a:pt x="1237" y="91"/>
                </a:cubicBezTo>
                <a:cubicBezTo>
                  <a:pt x="1237" y="660"/>
                  <a:pt x="1237" y="660"/>
                  <a:pt x="1237" y="660"/>
                </a:cubicBezTo>
                <a:cubicBezTo>
                  <a:pt x="1130" y="660"/>
                  <a:pt x="1130" y="660"/>
                  <a:pt x="1130" y="660"/>
                </a:cubicBezTo>
                <a:cubicBezTo>
                  <a:pt x="1101" y="728"/>
                  <a:pt x="1101" y="728"/>
                  <a:pt x="1101" y="728"/>
                </a:cubicBezTo>
                <a:cubicBezTo>
                  <a:pt x="1118" y="727"/>
                  <a:pt x="1118" y="727"/>
                  <a:pt x="1118" y="727"/>
                </a:cubicBezTo>
                <a:cubicBezTo>
                  <a:pt x="1118" y="806"/>
                  <a:pt x="1118" y="886"/>
                  <a:pt x="1118" y="965"/>
                </a:cubicBezTo>
                <a:cubicBezTo>
                  <a:pt x="1097" y="981"/>
                  <a:pt x="1097" y="981"/>
                  <a:pt x="1097" y="981"/>
                </a:cubicBezTo>
                <a:cubicBezTo>
                  <a:pt x="1096" y="981"/>
                  <a:pt x="1096" y="981"/>
                  <a:pt x="1096" y="981"/>
                </a:cubicBezTo>
                <a:cubicBezTo>
                  <a:pt x="1096" y="522"/>
                  <a:pt x="1096" y="522"/>
                  <a:pt x="1096" y="522"/>
                </a:cubicBezTo>
                <a:cubicBezTo>
                  <a:pt x="1070" y="522"/>
                  <a:pt x="1070" y="522"/>
                  <a:pt x="1070" y="522"/>
                </a:cubicBezTo>
                <a:cubicBezTo>
                  <a:pt x="1070" y="500"/>
                  <a:pt x="1070" y="500"/>
                  <a:pt x="1070" y="500"/>
                </a:cubicBezTo>
                <a:cubicBezTo>
                  <a:pt x="1028" y="500"/>
                  <a:pt x="1028" y="500"/>
                  <a:pt x="1028" y="500"/>
                </a:cubicBezTo>
                <a:cubicBezTo>
                  <a:pt x="1028" y="522"/>
                  <a:pt x="1028" y="522"/>
                  <a:pt x="1028" y="522"/>
                </a:cubicBezTo>
                <a:cubicBezTo>
                  <a:pt x="954" y="522"/>
                  <a:pt x="954" y="522"/>
                  <a:pt x="954" y="522"/>
                </a:cubicBezTo>
                <a:cubicBezTo>
                  <a:pt x="954" y="468"/>
                  <a:pt x="954" y="468"/>
                  <a:pt x="954" y="468"/>
                </a:cubicBezTo>
                <a:cubicBezTo>
                  <a:pt x="947" y="468"/>
                  <a:pt x="947" y="468"/>
                  <a:pt x="947" y="468"/>
                </a:cubicBezTo>
                <a:cubicBezTo>
                  <a:pt x="947" y="522"/>
                  <a:pt x="947" y="522"/>
                  <a:pt x="947" y="522"/>
                </a:cubicBezTo>
                <a:cubicBezTo>
                  <a:pt x="918" y="522"/>
                  <a:pt x="918" y="522"/>
                  <a:pt x="918" y="522"/>
                </a:cubicBezTo>
                <a:cubicBezTo>
                  <a:pt x="918" y="495"/>
                  <a:pt x="918" y="495"/>
                  <a:pt x="918" y="495"/>
                </a:cubicBezTo>
                <a:cubicBezTo>
                  <a:pt x="911" y="495"/>
                  <a:pt x="911" y="495"/>
                  <a:pt x="911" y="495"/>
                </a:cubicBezTo>
                <a:cubicBezTo>
                  <a:pt x="911" y="522"/>
                  <a:pt x="911" y="522"/>
                  <a:pt x="911" y="522"/>
                </a:cubicBezTo>
                <a:cubicBezTo>
                  <a:pt x="861" y="522"/>
                  <a:pt x="861" y="522"/>
                  <a:pt x="861" y="522"/>
                </a:cubicBezTo>
                <a:cubicBezTo>
                  <a:pt x="861" y="926"/>
                  <a:pt x="861" y="926"/>
                  <a:pt x="861" y="926"/>
                </a:cubicBezTo>
                <a:cubicBezTo>
                  <a:pt x="763" y="926"/>
                  <a:pt x="763" y="926"/>
                  <a:pt x="763" y="926"/>
                </a:cubicBezTo>
                <a:cubicBezTo>
                  <a:pt x="763" y="917"/>
                  <a:pt x="763" y="917"/>
                  <a:pt x="763" y="917"/>
                </a:cubicBezTo>
                <a:cubicBezTo>
                  <a:pt x="726" y="917"/>
                  <a:pt x="726" y="917"/>
                  <a:pt x="726" y="917"/>
                </a:cubicBezTo>
                <a:cubicBezTo>
                  <a:pt x="726" y="926"/>
                  <a:pt x="726" y="926"/>
                  <a:pt x="726" y="926"/>
                </a:cubicBezTo>
                <a:cubicBezTo>
                  <a:pt x="695" y="926"/>
                  <a:pt x="695" y="926"/>
                  <a:pt x="695" y="926"/>
                </a:cubicBezTo>
                <a:cubicBezTo>
                  <a:pt x="695" y="883"/>
                  <a:pt x="695" y="883"/>
                  <a:pt x="695" y="883"/>
                </a:cubicBezTo>
                <a:cubicBezTo>
                  <a:pt x="690" y="883"/>
                  <a:pt x="690" y="883"/>
                  <a:pt x="690" y="883"/>
                </a:cubicBezTo>
                <a:cubicBezTo>
                  <a:pt x="690" y="926"/>
                  <a:pt x="690" y="926"/>
                  <a:pt x="690" y="926"/>
                </a:cubicBezTo>
                <a:cubicBezTo>
                  <a:pt x="653" y="926"/>
                  <a:pt x="653" y="926"/>
                  <a:pt x="653" y="926"/>
                </a:cubicBezTo>
                <a:cubicBezTo>
                  <a:pt x="653" y="926"/>
                  <a:pt x="653" y="926"/>
                  <a:pt x="653" y="926"/>
                </a:cubicBezTo>
                <a:cubicBezTo>
                  <a:pt x="681" y="924"/>
                  <a:pt x="681" y="924"/>
                  <a:pt x="681" y="924"/>
                </a:cubicBezTo>
                <a:cubicBezTo>
                  <a:pt x="631" y="831"/>
                  <a:pt x="631" y="831"/>
                  <a:pt x="631" y="831"/>
                </a:cubicBezTo>
                <a:cubicBezTo>
                  <a:pt x="616" y="831"/>
                  <a:pt x="616" y="831"/>
                  <a:pt x="616" y="831"/>
                </a:cubicBezTo>
                <a:cubicBezTo>
                  <a:pt x="615" y="811"/>
                  <a:pt x="615" y="811"/>
                  <a:pt x="615" y="811"/>
                </a:cubicBezTo>
                <a:cubicBezTo>
                  <a:pt x="627" y="811"/>
                  <a:pt x="627" y="811"/>
                  <a:pt x="627" y="811"/>
                </a:cubicBezTo>
                <a:cubicBezTo>
                  <a:pt x="599" y="767"/>
                  <a:pt x="599" y="767"/>
                  <a:pt x="599" y="767"/>
                </a:cubicBezTo>
                <a:cubicBezTo>
                  <a:pt x="509" y="767"/>
                  <a:pt x="509" y="767"/>
                  <a:pt x="509" y="767"/>
                </a:cubicBezTo>
                <a:cubicBezTo>
                  <a:pt x="509" y="766"/>
                  <a:pt x="509" y="766"/>
                  <a:pt x="509" y="766"/>
                </a:cubicBezTo>
                <a:cubicBezTo>
                  <a:pt x="509" y="763"/>
                  <a:pt x="509" y="763"/>
                  <a:pt x="509" y="763"/>
                </a:cubicBezTo>
                <a:cubicBezTo>
                  <a:pt x="483" y="742"/>
                  <a:pt x="483" y="742"/>
                  <a:pt x="483" y="742"/>
                </a:cubicBezTo>
                <a:cubicBezTo>
                  <a:pt x="454" y="765"/>
                  <a:pt x="454" y="765"/>
                  <a:pt x="454" y="765"/>
                </a:cubicBezTo>
                <a:cubicBezTo>
                  <a:pt x="454" y="765"/>
                  <a:pt x="454" y="765"/>
                  <a:pt x="454" y="765"/>
                </a:cubicBezTo>
                <a:cubicBezTo>
                  <a:pt x="454" y="767"/>
                  <a:pt x="454" y="767"/>
                  <a:pt x="454" y="767"/>
                </a:cubicBezTo>
                <a:cubicBezTo>
                  <a:pt x="366" y="767"/>
                  <a:pt x="366" y="767"/>
                  <a:pt x="366" y="767"/>
                </a:cubicBezTo>
                <a:cubicBezTo>
                  <a:pt x="334" y="811"/>
                  <a:pt x="334" y="811"/>
                  <a:pt x="334" y="811"/>
                </a:cubicBezTo>
                <a:cubicBezTo>
                  <a:pt x="341" y="812"/>
                  <a:pt x="341" y="812"/>
                  <a:pt x="341" y="812"/>
                </a:cubicBezTo>
                <a:cubicBezTo>
                  <a:pt x="341" y="832"/>
                  <a:pt x="341" y="832"/>
                  <a:pt x="341" y="832"/>
                </a:cubicBezTo>
                <a:cubicBezTo>
                  <a:pt x="317" y="832"/>
                  <a:pt x="317" y="832"/>
                  <a:pt x="317" y="832"/>
                </a:cubicBezTo>
                <a:cubicBezTo>
                  <a:pt x="290" y="897"/>
                  <a:pt x="290" y="897"/>
                  <a:pt x="290" y="897"/>
                </a:cubicBezTo>
                <a:cubicBezTo>
                  <a:pt x="170" y="897"/>
                  <a:pt x="170" y="897"/>
                  <a:pt x="170" y="897"/>
                </a:cubicBezTo>
                <a:cubicBezTo>
                  <a:pt x="132" y="975"/>
                  <a:pt x="132" y="975"/>
                  <a:pt x="132" y="975"/>
                </a:cubicBezTo>
                <a:cubicBezTo>
                  <a:pt x="156" y="975"/>
                  <a:pt x="156" y="975"/>
                  <a:pt x="156" y="975"/>
                </a:cubicBezTo>
                <a:cubicBezTo>
                  <a:pt x="156" y="1007"/>
                  <a:pt x="156" y="1007"/>
                  <a:pt x="156" y="1007"/>
                </a:cubicBezTo>
                <a:cubicBezTo>
                  <a:pt x="24" y="1007"/>
                  <a:pt x="24" y="1007"/>
                  <a:pt x="24" y="1007"/>
                </a:cubicBezTo>
                <a:cubicBezTo>
                  <a:pt x="0" y="1037"/>
                  <a:pt x="0" y="1037"/>
                  <a:pt x="0" y="1037"/>
                </a:cubicBezTo>
                <a:cubicBezTo>
                  <a:pt x="0" y="1064"/>
                  <a:pt x="0" y="1064"/>
                  <a:pt x="0" y="1064"/>
                </a:cubicBezTo>
                <a:cubicBezTo>
                  <a:pt x="0" y="1283"/>
                  <a:pt x="0" y="1283"/>
                  <a:pt x="0" y="1283"/>
                </a:cubicBezTo>
                <a:cubicBezTo>
                  <a:pt x="844" y="1283"/>
                  <a:pt x="1680" y="1283"/>
                  <a:pt x="2507" y="1283"/>
                </a:cubicBezTo>
                <a:cubicBezTo>
                  <a:pt x="2507" y="1282"/>
                  <a:pt x="2507" y="1280"/>
                  <a:pt x="2507" y="1279"/>
                </a:cubicBezTo>
                <a:cubicBezTo>
                  <a:pt x="2514" y="1279"/>
                  <a:pt x="2521" y="1279"/>
                  <a:pt x="2528" y="1279"/>
                </a:cubicBezTo>
                <a:cubicBezTo>
                  <a:pt x="2528" y="1280"/>
                  <a:pt x="2528" y="1282"/>
                  <a:pt x="2528" y="1283"/>
                </a:cubicBezTo>
                <a:cubicBezTo>
                  <a:pt x="2787" y="1283"/>
                  <a:pt x="3045" y="1283"/>
                  <a:pt x="3302" y="1283"/>
                </a:cubicBezTo>
                <a:cubicBezTo>
                  <a:pt x="3302" y="1245"/>
                  <a:pt x="3302" y="1207"/>
                  <a:pt x="3302" y="1170"/>
                </a:cubicBezTo>
                <a:cubicBezTo>
                  <a:pt x="3306" y="1170"/>
                  <a:pt x="3311" y="1170"/>
                  <a:pt x="3315" y="1170"/>
                </a:cubicBezTo>
                <a:cubicBezTo>
                  <a:pt x="3315" y="1207"/>
                  <a:pt x="3315" y="1245"/>
                  <a:pt x="3315" y="1283"/>
                </a:cubicBezTo>
                <a:cubicBezTo>
                  <a:pt x="3489" y="1283"/>
                  <a:pt x="3663" y="1283"/>
                  <a:pt x="3836" y="1283"/>
                </a:cubicBezTo>
                <a:cubicBezTo>
                  <a:pt x="3836" y="1221"/>
                  <a:pt x="3836" y="1221"/>
                  <a:pt x="3836" y="1221"/>
                </a:cubicBezTo>
                <a:cubicBezTo>
                  <a:pt x="3836" y="1085"/>
                  <a:pt x="3836" y="1085"/>
                  <a:pt x="3836" y="1085"/>
                </a:cubicBezTo>
                <a:cubicBezTo>
                  <a:pt x="3836" y="1062"/>
                  <a:pt x="3836" y="1062"/>
                  <a:pt x="3836" y="1062"/>
                </a:cubicBezTo>
                <a:lnTo>
                  <a:pt x="3816" y="1035"/>
                </a:lnTo>
                <a:close/>
                <a:moveTo>
                  <a:pt x="25" y="1090"/>
                </a:moveTo>
                <a:cubicBezTo>
                  <a:pt x="150" y="1090"/>
                  <a:pt x="150" y="1090"/>
                  <a:pt x="150" y="1090"/>
                </a:cubicBezTo>
                <a:cubicBezTo>
                  <a:pt x="150" y="1107"/>
                  <a:pt x="150" y="1107"/>
                  <a:pt x="150" y="1107"/>
                </a:cubicBezTo>
                <a:cubicBezTo>
                  <a:pt x="25" y="1107"/>
                  <a:pt x="25" y="1107"/>
                  <a:pt x="25" y="1107"/>
                </a:cubicBezTo>
                <a:lnTo>
                  <a:pt x="25" y="1090"/>
                </a:lnTo>
                <a:close/>
                <a:moveTo>
                  <a:pt x="150" y="1178"/>
                </a:moveTo>
                <a:cubicBezTo>
                  <a:pt x="132" y="1178"/>
                  <a:pt x="114" y="1178"/>
                  <a:pt x="96" y="1178"/>
                </a:cubicBezTo>
                <a:cubicBezTo>
                  <a:pt x="96" y="1173"/>
                  <a:pt x="96" y="1167"/>
                  <a:pt x="96" y="1161"/>
                </a:cubicBezTo>
                <a:cubicBezTo>
                  <a:pt x="114" y="1161"/>
                  <a:pt x="132" y="1161"/>
                  <a:pt x="150" y="1161"/>
                </a:cubicBezTo>
                <a:cubicBezTo>
                  <a:pt x="150" y="1167"/>
                  <a:pt x="150" y="1173"/>
                  <a:pt x="150" y="1178"/>
                </a:cubicBezTo>
                <a:close/>
                <a:moveTo>
                  <a:pt x="150" y="1143"/>
                </a:moveTo>
                <a:cubicBezTo>
                  <a:pt x="117" y="1143"/>
                  <a:pt x="84" y="1143"/>
                  <a:pt x="51" y="1143"/>
                </a:cubicBezTo>
                <a:cubicBezTo>
                  <a:pt x="51" y="1137"/>
                  <a:pt x="51" y="1131"/>
                  <a:pt x="51" y="1125"/>
                </a:cubicBezTo>
                <a:cubicBezTo>
                  <a:pt x="84" y="1125"/>
                  <a:pt x="117" y="1125"/>
                  <a:pt x="150" y="1125"/>
                </a:cubicBezTo>
                <a:cubicBezTo>
                  <a:pt x="150" y="1131"/>
                  <a:pt x="150" y="1137"/>
                  <a:pt x="150" y="1143"/>
                </a:cubicBezTo>
                <a:close/>
                <a:moveTo>
                  <a:pt x="181" y="1007"/>
                </a:moveTo>
                <a:cubicBezTo>
                  <a:pt x="228" y="1007"/>
                  <a:pt x="228" y="1007"/>
                  <a:pt x="228" y="1007"/>
                </a:cubicBezTo>
                <a:cubicBezTo>
                  <a:pt x="228" y="1041"/>
                  <a:pt x="228" y="1041"/>
                  <a:pt x="228" y="1041"/>
                </a:cubicBezTo>
                <a:cubicBezTo>
                  <a:pt x="181" y="1041"/>
                  <a:pt x="181" y="1041"/>
                  <a:pt x="181" y="1041"/>
                </a:cubicBezTo>
                <a:lnTo>
                  <a:pt x="181" y="1007"/>
                </a:lnTo>
                <a:close/>
                <a:moveTo>
                  <a:pt x="228" y="1214"/>
                </a:moveTo>
                <a:cubicBezTo>
                  <a:pt x="181" y="1214"/>
                  <a:pt x="181" y="1214"/>
                  <a:pt x="181" y="1214"/>
                </a:cubicBezTo>
                <a:cubicBezTo>
                  <a:pt x="181" y="1180"/>
                  <a:pt x="181" y="1180"/>
                  <a:pt x="181" y="1180"/>
                </a:cubicBezTo>
                <a:cubicBezTo>
                  <a:pt x="228" y="1180"/>
                  <a:pt x="228" y="1180"/>
                  <a:pt x="228" y="1180"/>
                </a:cubicBezTo>
                <a:lnTo>
                  <a:pt x="228" y="1214"/>
                </a:lnTo>
                <a:close/>
                <a:moveTo>
                  <a:pt x="228" y="1099"/>
                </a:moveTo>
                <a:cubicBezTo>
                  <a:pt x="212" y="1099"/>
                  <a:pt x="197" y="1099"/>
                  <a:pt x="181" y="1099"/>
                </a:cubicBezTo>
                <a:cubicBezTo>
                  <a:pt x="181" y="1087"/>
                  <a:pt x="181" y="1076"/>
                  <a:pt x="181" y="1064"/>
                </a:cubicBezTo>
                <a:cubicBezTo>
                  <a:pt x="197" y="1064"/>
                  <a:pt x="212" y="1064"/>
                  <a:pt x="228" y="1064"/>
                </a:cubicBezTo>
                <a:cubicBezTo>
                  <a:pt x="228" y="1076"/>
                  <a:pt x="228" y="1087"/>
                  <a:pt x="228" y="1099"/>
                </a:cubicBezTo>
                <a:close/>
                <a:moveTo>
                  <a:pt x="290" y="1041"/>
                </a:moveTo>
                <a:cubicBezTo>
                  <a:pt x="244" y="1041"/>
                  <a:pt x="244" y="1041"/>
                  <a:pt x="244" y="1041"/>
                </a:cubicBezTo>
                <a:cubicBezTo>
                  <a:pt x="244" y="1007"/>
                  <a:pt x="244" y="1007"/>
                  <a:pt x="244" y="1007"/>
                </a:cubicBezTo>
                <a:cubicBezTo>
                  <a:pt x="290" y="1007"/>
                  <a:pt x="290" y="1007"/>
                  <a:pt x="290" y="1007"/>
                </a:cubicBezTo>
                <a:lnTo>
                  <a:pt x="290" y="1041"/>
                </a:lnTo>
                <a:close/>
                <a:moveTo>
                  <a:pt x="555" y="825"/>
                </a:moveTo>
                <a:cubicBezTo>
                  <a:pt x="567" y="825"/>
                  <a:pt x="580" y="825"/>
                  <a:pt x="592" y="825"/>
                </a:cubicBezTo>
                <a:cubicBezTo>
                  <a:pt x="592" y="834"/>
                  <a:pt x="592" y="843"/>
                  <a:pt x="592" y="853"/>
                </a:cubicBezTo>
                <a:cubicBezTo>
                  <a:pt x="580" y="853"/>
                  <a:pt x="567" y="853"/>
                  <a:pt x="555" y="853"/>
                </a:cubicBezTo>
                <a:cubicBezTo>
                  <a:pt x="555" y="843"/>
                  <a:pt x="555" y="834"/>
                  <a:pt x="555" y="825"/>
                </a:cubicBezTo>
                <a:close/>
                <a:moveTo>
                  <a:pt x="468" y="764"/>
                </a:moveTo>
                <a:cubicBezTo>
                  <a:pt x="478" y="764"/>
                  <a:pt x="487" y="764"/>
                  <a:pt x="496" y="764"/>
                </a:cubicBezTo>
                <a:cubicBezTo>
                  <a:pt x="496" y="771"/>
                  <a:pt x="496" y="777"/>
                  <a:pt x="496" y="784"/>
                </a:cubicBezTo>
                <a:cubicBezTo>
                  <a:pt x="487" y="784"/>
                  <a:pt x="478" y="784"/>
                  <a:pt x="468" y="784"/>
                </a:cubicBezTo>
                <a:cubicBezTo>
                  <a:pt x="468" y="777"/>
                  <a:pt x="468" y="771"/>
                  <a:pt x="468" y="764"/>
                </a:cubicBezTo>
                <a:close/>
                <a:moveTo>
                  <a:pt x="339" y="965"/>
                </a:moveTo>
                <a:cubicBezTo>
                  <a:pt x="364" y="965"/>
                  <a:pt x="389" y="965"/>
                  <a:pt x="414" y="965"/>
                </a:cubicBezTo>
                <a:cubicBezTo>
                  <a:pt x="414" y="980"/>
                  <a:pt x="414" y="996"/>
                  <a:pt x="414" y="1011"/>
                </a:cubicBezTo>
                <a:cubicBezTo>
                  <a:pt x="389" y="1011"/>
                  <a:pt x="364" y="1011"/>
                  <a:pt x="339" y="1011"/>
                </a:cubicBezTo>
                <a:cubicBezTo>
                  <a:pt x="339" y="996"/>
                  <a:pt x="339" y="980"/>
                  <a:pt x="339" y="965"/>
                </a:cubicBezTo>
                <a:close/>
                <a:moveTo>
                  <a:pt x="414" y="1079"/>
                </a:moveTo>
                <a:cubicBezTo>
                  <a:pt x="389" y="1079"/>
                  <a:pt x="364" y="1079"/>
                  <a:pt x="339" y="1079"/>
                </a:cubicBezTo>
                <a:cubicBezTo>
                  <a:pt x="339" y="1063"/>
                  <a:pt x="339" y="1048"/>
                  <a:pt x="339" y="1032"/>
                </a:cubicBezTo>
                <a:cubicBezTo>
                  <a:pt x="364" y="1032"/>
                  <a:pt x="389" y="1032"/>
                  <a:pt x="414" y="1032"/>
                </a:cubicBezTo>
                <a:cubicBezTo>
                  <a:pt x="414" y="1048"/>
                  <a:pt x="414" y="1063"/>
                  <a:pt x="414" y="1079"/>
                </a:cubicBezTo>
                <a:close/>
                <a:moveTo>
                  <a:pt x="430" y="825"/>
                </a:moveTo>
                <a:cubicBezTo>
                  <a:pt x="442" y="825"/>
                  <a:pt x="455" y="825"/>
                  <a:pt x="467" y="825"/>
                </a:cubicBezTo>
                <a:cubicBezTo>
                  <a:pt x="467" y="834"/>
                  <a:pt x="467" y="843"/>
                  <a:pt x="467" y="853"/>
                </a:cubicBezTo>
                <a:cubicBezTo>
                  <a:pt x="455" y="853"/>
                  <a:pt x="442" y="853"/>
                  <a:pt x="430" y="853"/>
                </a:cubicBezTo>
                <a:cubicBezTo>
                  <a:pt x="430" y="843"/>
                  <a:pt x="430" y="834"/>
                  <a:pt x="430" y="825"/>
                </a:cubicBezTo>
                <a:close/>
                <a:moveTo>
                  <a:pt x="442" y="965"/>
                </a:moveTo>
                <a:cubicBezTo>
                  <a:pt x="467" y="965"/>
                  <a:pt x="492" y="965"/>
                  <a:pt x="517" y="965"/>
                </a:cubicBezTo>
                <a:cubicBezTo>
                  <a:pt x="517" y="980"/>
                  <a:pt x="517" y="996"/>
                  <a:pt x="517" y="1011"/>
                </a:cubicBezTo>
                <a:cubicBezTo>
                  <a:pt x="492" y="1011"/>
                  <a:pt x="467" y="1011"/>
                  <a:pt x="442" y="1011"/>
                </a:cubicBezTo>
                <a:cubicBezTo>
                  <a:pt x="442" y="996"/>
                  <a:pt x="442" y="980"/>
                  <a:pt x="442" y="965"/>
                </a:cubicBezTo>
                <a:close/>
                <a:moveTo>
                  <a:pt x="517" y="1146"/>
                </a:moveTo>
                <a:cubicBezTo>
                  <a:pt x="492" y="1146"/>
                  <a:pt x="467" y="1146"/>
                  <a:pt x="442" y="1146"/>
                </a:cubicBezTo>
                <a:cubicBezTo>
                  <a:pt x="442" y="1131"/>
                  <a:pt x="442" y="1115"/>
                  <a:pt x="442" y="1100"/>
                </a:cubicBezTo>
                <a:cubicBezTo>
                  <a:pt x="467" y="1100"/>
                  <a:pt x="492" y="1100"/>
                  <a:pt x="517" y="1100"/>
                </a:cubicBezTo>
                <a:cubicBezTo>
                  <a:pt x="517" y="1115"/>
                  <a:pt x="517" y="1131"/>
                  <a:pt x="517" y="1146"/>
                </a:cubicBezTo>
                <a:close/>
                <a:moveTo>
                  <a:pt x="620" y="1214"/>
                </a:moveTo>
                <a:cubicBezTo>
                  <a:pt x="595" y="1214"/>
                  <a:pt x="570" y="1214"/>
                  <a:pt x="545" y="1214"/>
                </a:cubicBezTo>
                <a:cubicBezTo>
                  <a:pt x="545" y="1198"/>
                  <a:pt x="545" y="1183"/>
                  <a:pt x="545" y="1167"/>
                </a:cubicBezTo>
                <a:cubicBezTo>
                  <a:pt x="570" y="1167"/>
                  <a:pt x="595" y="1167"/>
                  <a:pt x="620" y="1167"/>
                </a:cubicBezTo>
                <a:cubicBezTo>
                  <a:pt x="620" y="1183"/>
                  <a:pt x="620" y="1198"/>
                  <a:pt x="620" y="1214"/>
                </a:cubicBezTo>
                <a:close/>
                <a:moveTo>
                  <a:pt x="620" y="1079"/>
                </a:moveTo>
                <a:cubicBezTo>
                  <a:pt x="595" y="1079"/>
                  <a:pt x="570" y="1079"/>
                  <a:pt x="545" y="1079"/>
                </a:cubicBezTo>
                <a:cubicBezTo>
                  <a:pt x="545" y="1063"/>
                  <a:pt x="545" y="1048"/>
                  <a:pt x="545" y="1032"/>
                </a:cubicBezTo>
                <a:cubicBezTo>
                  <a:pt x="570" y="1032"/>
                  <a:pt x="595" y="1032"/>
                  <a:pt x="620" y="1032"/>
                </a:cubicBezTo>
                <a:cubicBezTo>
                  <a:pt x="620" y="1048"/>
                  <a:pt x="620" y="1063"/>
                  <a:pt x="620" y="1079"/>
                </a:cubicBezTo>
                <a:close/>
                <a:moveTo>
                  <a:pt x="697" y="1009"/>
                </a:moveTo>
                <a:cubicBezTo>
                  <a:pt x="684" y="1009"/>
                  <a:pt x="671" y="1009"/>
                  <a:pt x="658" y="1009"/>
                </a:cubicBezTo>
                <a:cubicBezTo>
                  <a:pt x="658" y="1001"/>
                  <a:pt x="658" y="994"/>
                  <a:pt x="658" y="986"/>
                </a:cubicBezTo>
                <a:cubicBezTo>
                  <a:pt x="671" y="986"/>
                  <a:pt x="684" y="986"/>
                  <a:pt x="697" y="986"/>
                </a:cubicBezTo>
                <a:cubicBezTo>
                  <a:pt x="697" y="994"/>
                  <a:pt x="697" y="1001"/>
                  <a:pt x="697" y="1009"/>
                </a:cubicBezTo>
                <a:close/>
                <a:moveTo>
                  <a:pt x="766" y="1109"/>
                </a:moveTo>
                <a:cubicBezTo>
                  <a:pt x="753" y="1109"/>
                  <a:pt x="740" y="1109"/>
                  <a:pt x="727" y="1109"/>
                </a:cubicBezTo>
                <a:cubicBezTo>
                  <a:pt x="727" y="1101"/>
                  <a:pt x="727" y="1094"/>
                  <a:pt x="727" y="1086"/>
                </a:cubicBezTo>
                <a:cubicBezTo>
                  <a:pt x="740" y="1086"/>
                  <a:pt x="753" y="1086"/>
                  <a:pt x="766" y="1086"/>
                </a:cubicBezTo>
                <a:cubicBezTo>
                  <a:pt x="766" y="1094"/>
                  <a:pt x="766" y="1101"/>
                  <a:pt x="766" y="1109"/>
                </a:cubicBezTo>
                <a:close/>
                <a:moveTo>
                  <a:pt x="848" y="1159"/>
                </a:moveTo>
                <a:cubicBezTo>
                  <a:pt x="835" y="1159"/>
                  <a:pt x="822" y="1159"/>
                  <a:pt x="810" y="1159"/>
                </a:cubicBezTo>
                <a:cubicBezTo>
                  <a:pt x="810" y="1151"/>
                  <a:pt x="810" y="1144"/>
                  <a:pt x="810" y="1136"/>
                </a:cubicBezTo>
                <a:cubicBezTo>
                  <a:pt x="822" y="1136"/>
                  <a:pt x="835" y="1136"/>
                  <a:pt x="848" y="1136"/>
                </a:cubicBezTo>
                <a:cubicBezTo>
                  <a:pt x="848" y="1144"/>
                  <a:pt x="848" y="1151"/>
                  <a:pt x="848" y="1159"/>
                </a:cubicBezTo>
                <a:close/>
                <a:moveTo>
                  <a:pt x="848" y="1059"/>
                </a:moveTo>
                <a:cubicBezTo>
                  <a:pt x="835" y="1059"/>
                  <a:pt x="822" y="1059"/>
                  <a:pt x="810" y="1059"/>
                </a:cubicBezTo>
                <a:cubicBezTo>
                  <a:pt x="810" y="1051"/>
                  <a:pt x="810" y="1044"/>
                  <a:pt x="810" y="1036"/>
                </a:cubicBezTo>
                <a:cubicBezTo>
                  <a:pt x="822" y="1036"/>
                  <a:pt x="835" y="1036"/>
                  <a:pt x="848" y="1036"/>
                </a:cubicBezTo>
                <a:cubicBezTo>
                  <a:pt x="848" y="1044"/>
                  <a:pt x="848" y="1051"/>
                  <a:pt x="848" y="1059"/>
                </a:cubicBezTo>
                <a:close/>
                <a:moveTo>
                  <a:pt x="848" y="1009"/>
                </a:moveTo>
                <a:cubicBezTo>
                  <a:pt x="810" y="1009"/>
                  <a:pt x="810" y="1009"/>
                  <a:pt x="810" y="1009"/>
                </a:cubicBezTo>
                <a:cubicBezTo>
                  <a:pt x="810" y="986"/>
                  <a:pt x="810" y="986"/>
                  <a:pt x="810" y="986"/>
                </a:cubicBezTo>
                <a:cubicBezTo>
                  <a:pt x="848" y="986"/>
                  <a:pt x="848" y="986"/>
                  <a:pt x="848" y="986"/>
                </a:cubicBezTo>
                <a:lnTo>
                  <a:pt x="848" y="1009"/>
                </a:lnTo>
                <a:close/>
                <a:moveTo>
                  <a:pt x="900" y="582"/>
                </a:moveTo>
                <a:cubicBezTo>
                  <a:pt x="1052" y="582"/>
                  <a:pt x="1052" y="582"/>
                  <a:pt x="1052" y="582"/>
                </a:cubicBezTo>
                <a:cubicBezTo>
                  <a:pt x="1052" y="597"/>
                  <a:pt x="1052" y="597"/>
                  <a:pt x="1052" y="597"/>
                </a:cubicBezTo>
                <a:cubicBezTo>
                  <a:pt x="900" y="597"/>
                  <a:pt x="900" y="597"/>
                  <a:pt x="900" y="597"/>
                </a:cubicBezTo>
                <a:lnTo>
                  <a:pt x="900" y="582"/>
                </a:lnTo>
                <a:close/>
                <a:moveTo>
                  <a:pt x="1052" y="1160"/>
                </a:moveTo>
                <a:cubicBezTo>
                  <a:pt x="1023" y="1160"/>
                  <a:pt x="1023" y="1160"/>
                  <a:pt x="1023" y="1160"/>
                </a:cubicBezTo>
                <a:cubicBezTo>
                  <a:pt x="1023" y="1145"/>
                  <a:pt x="1023" y="1145"/>
                  <a:pt x="1023" y="1145"/>
                </a:cubicBezTo>
                <a:cubicBezTo>
                  <a:pt x="1052" y="1145"/>
                  <a:pt x="1052" y="1145"/>
                  <a:pt x="1052" y="1145"/>
                </a:cubicBezTo>
                <a:cubicBezTo>
                  <a:pt x="1052" y="1150"/>
                  <a:pt x="1052" y="1155"/>
                  <a:pt x="1052" y="1160"/>
                </a:cubicBezTo>
                <a:close/>
                <a:moveTo>
                  <a:pt x="1052" y="1113"/>
                </a:moveTo>
                <a:cubicBezTo>
                  <a:pt x="1023" y="1113"/>
                  <a:pt x="1023" y="1113"/>
                  <a:pt x="1023" y="1113"/>
                </a:cubicBezTo>
                <a:cubicBezTo>
                  <a:pt x="1023" y="1098"/>
                  <a:pt x="1023" y="1098"/>
                  <a:pt x="1023" y="1098"/>
                </a:cubicBezTo>
                <a:cubicBezTo>
                  <a:pt x="1052" y="1098"/>
                  <a:pt x="1052" y="1098"/>
                  <a:pt x="1052" y="1098"/>
                </a:cubicBezTo>
                <a:cubicBezTo>
                  <a:pt x="1052" y="1103"/>
                  <a:pt x="1052" y="1108"/>
                  <a:pt x="1052" y="1113"/>
                </a:cubicBezTo>
                <a:close/>
                <a:moveTo>
                  <a:pt x="1052" y="1066"/>
                </a:moveTo>
                <a:cubicBezTo>
                  <a:pt x="1023" y="1066"/>
                  <a:pt x="1023" y="1066"/>
                  <a:pt x="1023" y="1066"/>
                </a:cubicBezTo>
                <a:cubicBezTo>
                  <a:pt x="1023" y="1051"/>
                  <a:pt x="1023" y="1051"/>
                  <a:pt x="1023" y="1051"/>
                </a:cubicBezTo>
                <a:cubicBezTo>
                  <a:pt x="1052" y="1051"/>
                  <a:pt x="1052" y="1051"/>
                  <a:pt x="1052" y="1051"/>
                </a:cubicBezTo>
                <a:cubicBezTo>
                  <a:pt x="1052" y="1056"/>
                  <a:pt x="1052" y="1061"/>
                  <a:pt x="1052" y="1066"/>
                </a:cubicBezTo>
                <a:close/>
                <a:moveTo>
                  <a:pt x="1052" y="1019"/>
                </a:moveTo>
                <a:cubicBezTo>
                  <a:pt x="1023" y="1019"/>
                  <a:pt x="1023" y="1019"/>
                  <a:pt x="1023" y="1019"/>
                </a:cubicBezTo>
                <a:cubicBezTo>
                  <a:pt x="1023" y="1004"/>
                  <a:pt x="1023" y="1004"/>
                  <a:pt x="1023" y="1004"/>
                </a:cubicBezTo>
                <a:cubicBezTo>
                  <a:pt x="1052" y="1004"/>
                  <a:pt x="1052" y="1004"/>
                  <a:pt x="1052" y="1004"/>
                </a:cubicBezTo>
                <a:cubicBezTo>
                  <a:pt x="1052" y="1009"/>
                  <a:pt x="1052" y="1014"/>
                  <a:pt x="1052" y="1019"/>
                </a:cubicBezTo>
                <a:close/>
                <a:moveTo>
                  <a:pt x="1052" y="972"/>
                </a:moveTo>
                <a:cubicBezTo>
                  <a:pt x="1029" y="972"/>
                  <a:pt x="1006" y="972"/>
                  <a:pt x="983" y="972"/>
                </a:cubicBezTo>
                <a:cubicBezTo>
                  <a:pt x="983" y="967"/>
                  <a:pt x="983" y="962"/>
                  <a:pt x="983" y="957"/>
                </a:cubicBezTo>
                <a:cubicBezTo>
                  <a:pt x="1006" y="957"/>
                  <a:pt x="1029" y="957"/>
                  <a:pt x="1052" y="957"/>
                </a:cubicBezTo>
                <a:cubicBezTo>
                  <a:pt x="1052" y="962"/>
                  <a:pt x="1052" y="967"/>
                  <a:pt x="1052" y="972"/>
                </a:cubicBezTo>
                <a:close/>
                <a:moveTo>
                  <a:pt x="1052" y="925"/>
                </a:moveTo>
                <a:cubicBezTo>
                  <a:pt x="1020" y="925"/>
                  <a:pt x="987" y="925"/>
                  <a:pt x="954" y="925"/>
                </a:cubicBezTo>
                <a:cubicBezTo>
                  <a:pt x="954" y="920"/>
                  <a:pt x="954" y="915"/>
                  <a:pt x="954" y="910"/>
                </a:cubicBezTo>
                <a:cubicBezTo>
                  <a:pt x="987" y="910"/>
                  <a:pt x="1020" y="910"/>
                  <a:pt x="1052" y="910"/>
                </a:cubicBezTo>
                <a:cubicBezTo>
                  <a:pt x="1052" y="915"/>
                  <a:pt x="1052" y="920"/>
                  <a:pt x="1052" y="925"/>
                </a:cubicBezTo>
                <a:close/>
                <a:moveTo>
                  <a:pt x="1052" y="878"/>
                </a:moveTo>
                <a:cubicBezTo>
                  <a:pt x="1009" y="878"/>
                  <a:pt x="966" y="878"/>
                  <a:pt x="923" y="878"/>
                </a:cubicBezTo>
                <a:cubicBezTo>
                  <a:pt x="923" y="873"/>
                  <a:pt x="923" y="868"/>
                  <a:pt x="923" y="863"/>
                </a:cubicBezTo>
                <a:cubicBezTo>
                  <a:pt x="966" y="863"/>
                  <a:pt x="1009" y="863"/>
                  <a:pt x="1052" y="863"/>
                </a:cubicBezTo>
                <a:cubicBezTo>
                  <a:pt x="1052" y="868"/>
                  <a:pt x="1052" y="873"/>
                  <a:pt x="1052" y="878"/>
                </a:cubicBezTo>
                <a:close/>
                <a:moveTo>
                  <a:pt x="1052" y="832"/>
                </a:moveTo>
                <a:cubicBezTo>
                  <a:pt x="1002" y="832"/>
                  <a:pt x="951" y="832"/>
                  <a:pt x="900" y="832"/>
                </a:cubicBezTo>
                <a:cubicBezTo>
                  <a:pt x="900" y="827"/>
                  <a:pt x="900" y="822"/>
                  <a:pt x="900" y="816"/>
                </a:cubicBezTo>
                <a:cubicBezTo>
                  <a:pt x="951" y="816"/>
                  <a:pt x="1002" y="816"/>
                  <a:pt x="1052" y="816"/>
                </a:cubicBezTo>
                <a:cubicBezTo>
                  <a:pt x="1052" y="822"/>
                  <a:pt x="1052" y="827"/>
                  <a:pt x="1052" y="832"/>
                </a:cubicBezTo>
                <a:close/>
                <a:moveTo>
                  <a:pt x="1052" y="785"/>
                </a:moveTo>
                <a:cubicBezTo>
                  <a:pt x="1002" y="785"/>
                  <a:pt x="951" y="785"/>
                  <a:pt x="900" y="785"/>
                </a:cubicBezTo>
                <a:cubicBezTo>
                  <a:pt x="900" y="780"/>
                  <a:pt x="900" y="775"/>
                  <a:pt x="900" y="770"/>
                </a:cubicBezTo>
                <a:cubicBezTo>
                  <a:pt x="951" y="770"/>
                  <a:pt x="1002" y="770"/>
                  <a:pt x="1052" y="770"/>
                </a:cubicBezTo>
                <a:cubicBezTo>
                  <a:pt x="1052" y="775"/>
                  <a:pt x="1052" y="780"/>
                  <a:pt x="1052" y="785"/>
                </a:cubicBezTo>
                <a:close/>
                <a:moveTo>
                  <a:pt x="1052" y="738"/>
                </a:moveTo>
                <a:cubicBezTo>
                  <a:pt x="1002" y="738"/>
                  <a:pt x="951" y="738"/>
                  <a:pt x="900" y="738"/>
                </a:cubicBezTo>
                <a:cubicBezTo>
                  <a:pt x="900" y="733"/>
                  <a:pt x="900" y="728"/>
                  <a:pt x="900" y="723"/>
                </a:cubicBezTo>
                <a:cubicBezTo>
                  <a:pt x="951" y="723"/>
                  <a:pt x="1002" y="723"/>
                  <a:pt x="1052" y="723"/>
                </a:cubicBezTo>
                <a:cubicBezTo>
                  <a:pt x="1052" y="728"/>
                  <a:pt x="1052" y="733"/>
                  <a:pt x="1052" y="738"/>
                </a:cubicBezTo>
                <a:close/>
                <a:moveTo>
                  <a:pt x="1052" y="691"/>
                </a:moveTo>
                <a:cubicBezTo>
                  <a:pt x="1002" y="691"/>
                  <a:pt x="951" y="691"/>
                  <a:pt x="900" y="691"/>
                </a:cubicBezTo>
                <a:cubicBezTo>
                  <a:pt x="900" y="686"/>
                  <a:pt x="900" y="681"/>
                  <a:pt x="900" y="676"/>
                </a:cubicBezTo>
                <a:cubicBezTo>
                  <a:pt x="951" y="676"/>
                  <a:pt x="1002" y="676"/>
                  <a:pt x="1052" y="676"/>
                </a:cubicBezTo>
                <a:cubicBezTo>
                  <a:pt x="1052" y="681"/>
                  <a:pt x="1052" y="686"/>
                  <a:pt x="1052" y="691"/>
                </a:cubicBezTo>
                <a:close/>
                <a:moveTo>
                  <a:pt x="1052" y="644"/>
                </a:moveTo>
                <a:cubicBezTo>
                  <a:pt x="1002" y="644"/>
                  <a:pt x="951" y="644"/>
                  <a:pt x="900" y="644"/>
                </a:cubicBezTo>
                <a:cubicBezTo>
                  <a:pt x="900" y="639"/>
                  <a:pt x="900" y="634"/>
                  <a:pt x="900" y="629"/>
                </a:cubicBezTo>
                <a:cubicBezTo>
                  <a:pt x="951" y="629"/>
                  <a:pt x="1002" y="629"/>
                  <a:pt x="1052" y="629"/>
                </a:cubicBezTo>
                <a:cubicBezTo>
                  <a:pt x="1052" y="634"/>
                  <a:pt x="1052" y="639"/>
                  <a:pt x="1052" y="644"/>
                </a:cubicBezTo>
                <a:close/>
                <a:moveTo>
                  <a:pt x="1151" y="1135"/>
                </a:moveTo>
                <a:cubicBezTo>
                  <a:pt x="1105" y="1135"/>
                  <a:pt x="1105" y="1135"/>
                  <a:pt x="1105" y="1135"/>
                </a:cubicBezTo>
                <a:cubicBezTo>
                  <a:pt x="1105" y="1071"/>
                  <a:pt x="1105" y="1071"/>
                  <a:pt x="1105" y="1071"/>
                </a:cubicBezTo>
                <a:cubicBezTo>
                  <a:pt x="1151" y="1071"/>
                  <a:pt x="1151" y="1071"/>
                  <a:pt x="1151" y="1071"/>
                </a:cubicBezTo>
                <a:lnTo>
                  <a:pt x="1151" y="1135"/>
                </a:lnTo>
                <a:close/>
                <a:moveTo>
                  <a:pt x="1230" y="811"/>
                </a:moveTo>
                <a:cubicBezTo>
                  <a:pt x="1206" y="811"/>
                  <a:pt x="1182" y="811"/>
                  <a:pt x="1158" y="811"/>
                </a:cubicBezTo>
                <a:cubicBezTo>
                  <a:pt x="1158" y="805"/>
                  <a:pt x="1158" y="800"/>
                  <a:pt x="1158" y="794"/>
                </a:cubicBezTo>
                <a:cubicBezTo>
                  <a:pt x="1182" y="794"/>
                  <a:pt x="1206" y="794"/>
                  <a:pt x="1230" y="794"/>
                </a:cubicBezTo>
                <a:cubicBezTo>
                  <a:pt x="1230" y="800"/>
                  <a:pt x="1230" y="805"/>
                  <a:pt x="1230" y="811"/>
                </a:cubicBezTo>
                <a:close/>
                <a:moveTo>
                  <a:pt x="1230" y="775"/>
                </a:moveTo>
                <a:cubicBezTo>
                  <a:pt x="1158" y="775"/>
                  <a:pt x="1158" y="775"/>
                  <a:pt x="1158" y="775"/>
                </a:cubicBezTo>
                <a:cubicBezTo>
                  <a:pt x="1158" y="758"/>
                  <a:pt x="1158" y="758"/>
                  <a:pt x="1158" y="758"/>
                </a:cubicBezTo>
                <a:cubicBezTo>
                  <a:pt x="1230" y="758"/>
                  <a:pt x="1230" y="758"/>
                  <a:pt x="1230" y="758"/>
                </a:cubicBezTo>
                <a:lnTo>
                  <a:pt x="1230" y="775"/>
                </a:lnTo>
                <a:close/>
                <a:moveTo>
                  <a:pt x="1355" y="155"/>
                </a:moveTo>
                <a:cubicBezTo>
                  <a:pt x="1360" y="155"/>
                  <a:pt x="1366" y="155"/>
                  <a:pt x="1372" y="155"/>
                </a:cubicBezTo>
                <a:cubicBezTo>
                  <a:pt x="1372" y="345"/>
                  <a:pt x="1372" y="536"/>
                  <a:pt x="1372" y="726"/>
                </a:cubicBezTo>
                <a:cubicBezTo>
                  <a:pt x="1366" y="726"/>
                  <a:pt x="1360" y="726"/>
                  <a:pt x="1355" y="726"/>
                </a:cubicBezTo>
                <a:cubicBezTo>
                  <a:pt x="1355" y="536"/>
                  <a:pt x="1355" y="345"/>
                  <a:pt x="1355" y="155"/>
                </a:cubicBezTo>
                <a:close/>
                <a:moveTo>
                  <a:pt x="1316" y="155"/>
                </a:moveTo>
                <a:cubicBezTo>
                  <a:pt x="1322" y="155"/>
                  <a:pt x="1328" y="155"/>
                  <a:pt x="1334" y="155"/>
                </a:cubicBezTo>
                <a:cubicBezTo>
                  <a:pt x="1334" y="307"/>
                  <a:pt x="1334" y="458"/>
                  <a:pt x="1334" y="610"/>
                </a:cubicBezTo>
                <a:cubicBezTo>
                  <a:pt x="1328" y="610"/>
                  <a:pt x="1322" y="610"/>
                  <a:pt x="1316" y="610"/>
                </a:cubicBezTo>
                <a:cubicBezTo>
                  <a:pt x="1316" y="458"/>
                  <a:pt x="1316" y="307"/>
                  <a:pt x="1316" y="155"/>
                </a:cubicBezTo>
                <a:close/>
                <a:moveTo>
                  <a:pt x="1278" y="155"/>
                </a:moveTo>
                <a:cubicBezTo>
                  <a:pt x="1296" y="155"/>
                  <a:pt x="1296" y="155"/>
                  <a:pt x="1296" y="155"/>
                </a:cubicBezTo>
                <a:cubicBezTo>
                  <a:pt x="1296" y="510"/>
                  <a:pt x="1296" y="510"/>
                  <a:pt x="1296" y="510"/>
                </a:cubicBezTo>
                <a:cubicBezTo>
                  <a:pt x="1278" y="510"/>
                  <a:pt x="1278" y="510"/>
                  <a:pt x="1278" y="510"/>
                </a:cubicBezTo>
                <a:lnTo>
                  <a:pt x="1278" y="155"/>
                </a:lnTo>
                <a:close/>
                <a:moveTo>
                  <a:pt x="1294" y="1136"/>
                </a:moveTo>
                <a:cubicBezTo>
                  <a:pt x="1267" y="1136"/>
                  <a:pt x="1267" y="1136"/>
                  <a:pt x="1267" y="1136"/>
                </a:cubicBezTo>
                <a:cubicBezTo>
                  <a:pt x="1267" y="1045"/>
                  <a:pt x="1267" y="1045"/>
                  <a:pt x="1267" y="1045"/>
                </a:cubicBezTo>
                <a:cubicBezTo>
                  <a:pt x="1294" y="1045"/>
                  <a:pt x="1294" y="1045"/>
                  <a:pt x="1294" y="1045"/>
                </a:cubicBezTo>
                <a:lnTo>
                  <a:pt x="1294" y="1136"/>
                </a:lnTo>
                <a:close/>
                <a:moveTo>
                  <a:pt x="1337" y="1136"/>
                </a:moveTo>
                <a:cubicBezTo>
                  <a:pt x="1328" y="1136"/>
                  <a:pt x="1318" y="1136"/>
                  <a:pt x="1309" y="1136"/>
                </a:cubicBezTo>
                <a:cubicBezTo>
                  <a:pt x="1309" y="1105"/>
                  <a:pt x="1309" y="1075"/>
                  <a:pt x="1309" y="1045"/>
                </a:cubicBezTo>
                <a:cubicBezTo>
                  <a:pt x="1318" y="1045"/>
                  <a:pt x="1328" y="1045"/>
                  <a:pt x="1337" y="1045"/>
                </a:cubicBezTo>
                <a:cubicBezTo>
                  <a:pt x="1337" y="1075"/>
                  <a:pt x="1337" y="1105"/>
                  <a:pt x="1337" y="1136"/>
                </a:cubicBezTo>
                <a:close/>
                <a:moveTo>
                  <a:pt x="1267" y="1021"/>
                </a:moveTo>
                <a:cubicBezTo>
                  <a:pt x="1267" y="990"/>
                  <a:pt x="1292" y="965"/>
                  <a:pt x="1323" y="965"/>
                </a:cubicBezTo>
                <a:cubicBezTo>
                  <a:pt x="1354" y="965"/>
                  <a:pt x="1379" y="990"/>
                  <a:pt x="1379" y="1021"/>
                </a:cubicBezTo>
                <a:lnTo>
                  <a:pt x="1267" y="1021"/>
                </a:lnTo>
                <a:close/>
                <a:moveTo>
                  <a:pt x="1410" y="866"/>
                </a:moveTo>
                <a:cubicBezTo>
                  <a:pt x="1405" y="866"/>
                  <a:pt x="1399" y="866"/>
                  <a:pt x="1393" y="866"/>
                </a:cubicBezTo>
                <a:cubicBezTo>
                  <a:pt x="1393" y="629"/>
                  <a:pt x="1393" y="392"/>
                  <a:pt x="1393" y="155"/>
                </a:cubicBezTo>
                <a:cubicBezTo>
                  <a:pt x="1399" y="155"/>
                  <a:pt x="1405" y="155"/>
                  <a:pt x="1410" y="155"/>
                </a:cubicBezTo>
                <a:cubicBezTo>
                  <a:pt x="1410" y="392"/>
                  <a:pt x="1410" y="629"/>
                  <a:pt x="1410" y="866"/>
                </a:cubicBezTo>
                <a:close/>
                <a:moveTo>
                  <a:pt x="1431" y="155"/>
                </a:moveTo>
                <a:cubicBezTo>
                  <a:pt x="1449" y="155"/>
                  <a:pt x="1449" y="155"/>
                  <a:pt x="1449" y="155"/>
                </a:cubicBezTo>
                <a:cubicBezTo>
                  <a:pt x="1449" y="866"/>
                  <a:pt x="1449" y="866"/>
                  <a:pt x="1449" y="866"/>
                </a:cubicBezTo>
                <a:cubicBezTo>
                  <a:pt x="1431" y="866"/>
                  <a:pt x="1431" y="866"/>
                  <a:pt x="1431" y="866"/>
                </a:cubicBezTo>
                <a:lnTo>
                  <a:pt x="1431" y="155"/>
                </a:lnTo>
                <a:close/>
                <a:moveTo>
                  <a:pt x="1478" y="1218"/>
                </a:moveTo>
                <a:cubicBezTo>
                  <a:pt x="1433" y="1218"/>
                  <a:pt x="1433" y="1218"/>
                  <a:pt x="1433" y="1218"/>
                </a:cubicBezTo>
                <a:cubicBezTo>
                  <a:pt x="1433" y="1153"/>
                  <a:pt x="1433" y="1153"/>
                  <a:pt x="1433" y="1153"/>
                </a:cubicBezTo>
                <a:cubicBezTo>
                  <a:pt x="1478" y="1153"/>
                  <a:pt x="1478" y="1153"/>
                  <a:pt x="1478" y="1153"/>
                </a:cubicBezTo>
                <a:lnTo>
                  <a:pt x="1478" y="1218"/>
                </a:lnTo>
                <a:close/>
                <a:moveTo>
                  <a:pt x="1478" y="1135"/>
                </a:moveTo>
                <a:cubicBezTo>
                  <a:pt x="1433" y="1135"/>
                  <a:pt x="1433" y="1135"/>
                  <a:pt x="1433" y="1135"/>
                </a:cubicBezTo>
                <a:cubicBezTo>
                  <a:pt x="1433" y="1071"/>
                  <a:pt x="1433" y="1071"/>
                  <a:pt x="1433" y="1071"/>
                </a:cubicBezTo>
                <a:cubicBezTo>
                  <a:pt x="1478" y="1071"/>
                  <a:pt x="1478" y="1071"/>
                  <a:pt x="1478" y="1071"/>
                </a:cubicBezTo>
                <a:lnTo>
                  <a:pt x="1478" y="1135"/>
                </a:lnTo>
                <a:close/>
                <a:moveTo>
                  <a:pt x="1546" y="737"/>
                </a:moveTo>
                <a:cubicBezTo>
                  <a:pt x="1546" y="730"/>
                  <a:pt x="1546" y="723"/>
                  <a:pt x="1546" y="715"/>
                </a:cubicBezTo>
                <a:cubicBezTo>
                  <a:pt x="1595" y="715"/>
                  <a:pt x="1645" y="715"/>
                  <a:pt x="1694" y="715"/>
                </a:cubicBezTo>
                <a:cubicBezTo>
                  <a:pt x="1694" y="723"/>
                  <a:pt x="1694" y="730"/>
                  <a:pt x="1694" y="737"/>
                </a:cubicBezTo>
                <a:cubicBezTo>
                  <a:pt x="1645" y="737"/>
                  <a:pt x="1595" y="737"/>
                  <a:pt x="1546" y="737"/>
                </a:cubicBezTo>
                <a:close/>
                <a:moveTo>
                  <a:pt x="1694" y="773"/>
                </a:moveTo>
                <a:cubicBezTo>
                  <a:pt x="1694" y="780"/>
                  <a:pt x="1694" y="788"/>
                  <a:pt x="1694" y="795"/>
                </a:cubicBezTo>
                <a:cubicBezTo>
                  <a:pt x="1645" y="795"/>
                  <a:pt x="1595" y="795"/>
                  <a:pt x="1546" y="795"/>
                </a:cubicBezTo>
                <a:cubicBezTo>
                  <a:pt x="1546" y="788"/>
                  <a:pt x="1546" y="780"/>
                  <a:pt x="1546" y="773"/>
                </a:cubicBezTo>
                <a:cubicBezTo>
                  <a:pt x="1595" y="773"/>
                  <a:pt x="1645" y="773"/>
                  <a:pt x="1694" y="773"/>
                </a:cubicBezTo>
                <a:close/>
                <a:moveTo>
                  <a:pt x="1546" y="658"/>
                </a:moveTo>
                <a:cubicBezTo>
                  <a:pt x="1694" y="658"/>
                  <a:pt x="1694" y="658"/>
                  <a:pt x="1694" y="658"/>
                </a:cubicBezTo>
                <a:cubicBezTo>
                  <a:pt x="1694" y="680"/>
                  <a:pt x="1694" y="680"/>
                  <a:pt x="1694" y="680"/>
                </a:cubicBezTo>
                <a:cubicBezTo>
                  <a:pt x="1546" y="680"/>
                  <a:pt x="1546" y="680"/>
                  <a:pt x="1546" y="680"/>
                </a:cubicBezTo>
                <a:lnTo>
                  <a:pt x="1546" y="658"/>
                </a:lnTo>
                <a:close/>
                <a:moveTo>
                  <a:pt x="1554" y="1255"/>
                </a:moveTo>
                <a:cubicBezTo>
                  <a:pt x="1541" y="1255"/>
                  <a:pt x="1541" y="1255"/>
                  <a:pt x="1541" y="1255"/>
                </a:cubicBezTo>
                <a:cubicBezTo>
                  <a:pt x="1541" y="1135"/>
                  <a:pt x="1541" y="1135"/>
                  <a:pt x="1541" y="1135"/>
                </a:cubicBezTo>
                <a:cubicBezTo>
                  <a:pt x="1496" y="1135"/>
                  <a:pt x="1496" y="1135"/>
                  <a:pt x="1496" y="1135"/>
                </a:cubicBezTo>
                <a:cubicBezTo>
                  <a:pt x="1496" y="1071"/>
                  <a:pt x="1496" y="1071"/>
                  <a:pt x="1496" y="1071"/>
                </a:cubicBezTo>
                <a:cubicBezTo>
                  <a:pt x="1541" y="1071"/>
                  <a:pt x="1541" y="1071"/>
                  <a:pt x="1541" y="1071"/>
                </a:cubicBezTo>
                <a:cubicBezTo>
                  <a:pt x="1541" y="1113"/>
                  <a:pt x="1541" y="1113"/>
                  <a:pt x="1541" y="1113"/>
                </a:cubicBezTo>
                <a:cubicBezTo>
                  <a:pt x="1554" y="1113"/>
                  <a:pt x="1554" y="1113"/>
                  <a:pt x="1554" y="1113"/>
                </a:cubicBezTo>
                <a:lnTo>
                  <a:pt x="1554" y="1255"/>
                </a:lnTo>
                <a:close/>
                <a:moveTo>
                  <a:pt x="1597" y="831"/>
                </a:moveTo>
                <a:cubicBezTo>
                  <a:pt x="1629" y="831"/>
                  <a:pt x="1661" y="831"/>
                  <a:pt x="1694" y="831"/>
                </a:cubicBezTo>
                <a:cubicBezTo>
                  <a:pt x="1694" y="839"/>
                  <a:pt x="1694" y="846"/>
                  <a:pt x="1694" y="854"/>
                </a:cubicBezTo>
                <a:cubicBezTo>
                  <a:pt x="1661" y="854"/>
                  <a:pt x="1629" y="854"/>
                  <a:pt x="1597" y="854"/>
                </a:cubicBezTo>
                <a:cubicBezTo>
                  <a:pt x="1597" y="846"/>
                  <a:pt x="1597" y="839"/>
                  <a:pt x="1597" y="831"/>
                </a:cubicBezTo>
                <a:close/>
                <a:moveTo>
                  <a:pt x="1645" y="890"/>
                </a:moveTo>
                <a:cubicBezTo>
                  <a:pt x="1661" y="890"/>
                  <a:pt x="1678" y="890"/>
                  <a:pt x="1694" y="890"/>
                </a:cubicBezTo>
                <a:cubicBezTo>
                  <a:pt x="1694" y="898"/>
                  <a:pt x="1694" y="905"/>
                  <a:pt x="1694" y="912"/>
                </a:cubicBezTo>
                <a:cubicBezTo>
                  <a:pt x="1678" y="912"/>
                  <a:pt x="1661" y="912"/>
                  <a:pt x="1645" y="912"/>
                </a:cubicBezTo>
                <a:cubicBezTo>
                  <a:pt x="1645" y="905"/>
                  <a:pt x="1645" y="898"/>
                  <a:pt x="1645" y="890"/>
                </a:cubicBezTo>
                <a:close/>
                <a:moveTo>
                  <a:pt x="1721" y="1250"/>
                </a:moveTo>
                <a:cubicBezTo>
                  <a:pt x="1686" y="1250"/>
                  <a:pt x="1686" y="1250"/>
                  <a:pt x="1686" y="1250"/>
                </a:cubicBezTo>
                <a:cubicBezTo>
                  <a:pt x="1686" y="1226"/>
                  <a:pt x="1686" y="1226"/>
                  <a:pt x="1686" y="1226"/>
                </a:cubicBezTo>
                <a:cubicBezTo>
                  <a:pt x="1721" y="1226"/>
                  <a:pt x="1721" y="1226"/>
                  <a:pt x="1721" y="1226"/>
                </a:cubicBezTo>
                <a:lnTo>
                  <a:pt x="1721" y="1250"/>
                </a:lnTo>
                <a:close/>
                <a:moveTo>
                  <a:pt x="1782" y="1250"/>
                </a:moveTo>
                <a:cubicBezTo>
                  <a:pt x="1771" y="1250"/>
                  <a:pt x="1759" y="1250"/>
                  <a:pt x="1748" y="1250"/>
                </a:cubicBezTo>
                <a:cubicBezTo>
                  <a:pt x="1748" y="1242"/>
                  <a:pt x="1748" y="1234"/>
                  <a:pt x="1748" y="1226"/>
                </a:cubicBezTo>
                <a:cubicBezTo>
                  <a:pt x="1759" y="1226"/>
                  <a:pt x="1771" y="1226"/>
                  <a:pt x="1782" y="1226"/>
                </a:cubicBezTo>
                <a:cubicBezTo>
                  <a:pt x="1782" y="1234"/>
                  <a:pt x="1782" y="1242"/>
                  <a:pt x="1782" y="1250"/>
                </a:cubicBezTo>
                <a:close/>
                <a:moveTo>
                  <a:pt x="1785" y="982"/>
                </a:moveTo>
                <a:cubicBezTo>
                  <a:pt x="1758" y="982"/>
                  <a:pt x="1758" y="982"/>
                  <a:pt x="1758" y="982"/>
                </a:cubicBezTo>
                <a:cubicBezTo>
                  <a:pt x="1758" y="901"/>
                  <a:pt x="1758" y="901"/>
                  <a:pt x="1758" y="901"/>
                </a:cubicBezTo>
                <a:cubicBezTo>
                  <a:pt x="1785" y="901"/>
                  <a:pt x="1785" y="901"/>
                  <a:pt x="1785" y="901"/>
                </a:cubicBezTo>
                <a:lnTo>
                  <a:pt x="1785" y="982"/>
                </a:lnTo>
                <a:close/>
                <a:moveTo>
                  <a:pt x="1800" y="708"/>
                </a:moveTo>
                <a:cubicBezTo>
                  <a:pt x="1789" y="708"/>
                  <a:pt x="1777" y="708"/>
                  <a:pt x="1765" y="708"/>
                </a:cubicBezTo>
                <a:cubicBezTo>
                  <a:pt x="1765" y="700"/>
                  <a:pt x="1765" y="693"/>
                  <a:pt x="1765" y="685"/>
                </a:cubicBezTo>
                <a:cubicBezTo>
                  <a:pt x="1777" y="685"/>
                  <a:pt x="1789" y="685"/>
                  <a:pt x="1800" y="685"/>
                </a:cubicBezTo>
                <a:cubicBezTo>
                  <a:pt x="1800" y="693"/>
                  <a:pt x="1800" y="700"/>
                  <a:pt x="1800" y="708"/>
                </a:cubicBezTo>
                <a:close/>
                <a:moveTo>
                  <a:pt x="1843" y="1094"/>
                </a:moveTo>
                <a:cubicBezTo>
                  <a:pt x="1834" y="1094"/>
                  <a:pt x="1825" y="1094"/>
                  <a:pt x="1815" y="1094"/>
                </a:cubicBezTo>
                <a:cubicBezTo>
                  <a:pt x="1815" y="1067"/>
                  <a:pt x="1815" y="1040"/>
                  <a:pt x="1815" y="1013"/>
                </a:cubicBezTo>
                <a:cubicBezTo>
                  <a:pt x="1825" y="1013"/>
                  <a:pt x="1834" y="1013"/>
                  <a:pt x="1843" y="1013"/>
                </a:cubicBezTo>
                <a:cubicBezTo>
                  <a:pt x="1843" y="1040"/>
                  <a:pt x="1843" y="1067"/>
                  <a:pt x="1843" y="1094"/>
                </a:cubicBezTo>
                <a:close/>
                <a:moveTo>
                  <a:pt x="1851" y="753"/>
                </a:moveTo>
                <a:cubicBezTo>
                  <a:pt x="1839" y="753"/>
                  <a:pt x="1827" y="753"/>
                  <a:pt x="1816" y="753"/>
                </a:cubicBezTo>
                <a:cubicBezTo>
                  <a:pt x="1816" y="745"/>
                  <a:pt x="1816" y="737"/>
                  <a:pt x="1816" y="729"/>
                </a:cubicBezTo>
                <a:cubicBezTo>
                  <a:pt x="1827" y="729"/>
                  <a:pt x="1839" y="729"/>
                  <a:pt x="1851" y="729"/>
                </a:cubicBezTo>
                <a:cubicBezTo>
                  <a:pt x="1851" y="737"/>
                  <a:pt x="1851" y="745"/>
                  <a:pt x="1851" y="753"/>
                </a:cubicBezTo>
                <a:close/>
                <a:moveTo>
                  <a:pt x="1851" y="708"/>
                </a:moveTo>
                <a:cubicBezTo>
                  <a:pt x="1816" y="708"/>
                  <a:pt x="1816" y="708"/>
                  <a:pt x="1816" y="708"/>
                </a:cubicBezTo>
                <a:cubicBezTo>
                  <a:pt x="1816" y="685"/>
                  <a:pt x="1816" y="685"/>
                  <a:pt x="1816" y="685"/>
                </a:cubicBezTo>
                <a:cubicBezTo>
                  <a:pt x="1851" y="685"/>
                  <a:pt x="1851" y="685"/>
                  <a:pt x="1851" y="685"/>
                </a:cubicBezTo>
                <a:lnTo>
                  <a:pt x="1851" y="708"/>
                </a:lnTo>
                <a:close/>
                <a:moveTo>
                  <a:pt x="1901" y="1207"/>
                </a:moveTo>
                <a:cubicBezTo>
                  <a:pt x="1874" y="1207"/>
                  <a:pt x="1874" y="1207"/>
                  <a:pt x="1874" y="1207"/>
                </a:cubicBezTo>
                <a:cubicBezTo>
                  <a:pt x="1874" y="1126"/>
                  <a:pt x="1874" y="1126"/>
                  <a:pt x="1874" y="1126"/>
                </a:cubicBezTo>
                <a:cubicBezTo>
                  <a:pt x="1901" y="1126"/>
                  <a:pt x="1901" y="1126"/>
                  <a:pt x="1901" y="1126"/>
                </a:cubicBezTo>
                <a:lnTo>
                  <a:pt x="1901" y="1207"/>
                </a:lnTo>
                <a:close/>
                <a:moveTo>
                  <a:pt x="1901" y="982"/>
                </a:moveTo>
                <a:cubicBezTo>
                  <a:pt x="1874" y="982"/>
                  <a:pt x="1874" y="982"/>
                  <a:pt x="1874" y="982"/>
                </a:cubicBezTo>
                <a:cubicBezTo>
                  <a:pt x="1874" y="901"/>
                  <a:pt x="1874" y="901"/>
                  <a:pt x="1874" y="901"/>
                </a:cubicBezTo>
                <a:cubicBezTo>
                  <a:pt x="1901" y="901"/>
                  <a:pt x="1901" y="901"/>
                  <a:pt x="1901" y="901"/>
                </a:cubicBezTo>
                <a:lnTo>
                  <a:pt x="1901" y="982"/>
                </a:lnTo>
                <a:close/>
                <a:moveTo>
                  <a:pt x="1970" y="591"/>
                </a:moveTo>
                <a:cubicBezTo>
                  <a:pt x="1952" y="591"/>
                  <a:pt x="1952" y="591"/>
                  <a:pt x="1952" y="591"/>
                </a:cubicBezTo>
                <a:cubicBezTo>
                  <a:pt x="1952" y="368"/>
                  <a:pt x="1952" y="368"/>
                  <a:pt x="1952" y="368"/>
                </a:cubicBezTo>
                <a:cubicBezTo>
                  <a:pt x="1970" y="368"/>
                  <a:pt x="1970" y="368"/>
                  <a:pt x="1970" y="368"/>
                </a:cubicBezTo>
                <a:lnTo>
                  <a:pt x="1970" y="591"/>
                </a:lnTo>
                <a:close/>
                <a:moveTo>
                  <a:pt x="2007" y="743"/>
                </a:moveTo>
                <a:cubicBezTo>
                  <a:pt x="2001" y="743"/>
                  <a:pt x="1995" y="743"/>
                  <a:pt x="1990" y="743"/>
                </a:cubicBezTo>
                <a:cubicBezTo>
                  <a:pt x="1990" y="618"/>
                  <a:pt x="1990" y="493"/>
                  <a:pt x="1990" y="368"/>
                </a:cubicBezTo>
                <a:cubicBezTo>
                  <a:pt x="1995" y="368"/>
                  <a:pt x="2001" y="368"/>
                  <a:pt x="2007" y="368"/>
                </a:cubicBezTo>
                <a:cubicBezTo>
                  <a:pt x="2007" y="493"/>
                  <a:pt x="2007" y="618"/>
                  <a:pt x="2007" y="743"/>
                </a:cubicBezTo>
                <a:close/>
                <a:moveTo>
                  <a:pt x="2270" y="497"/>
                </a:moveTo>
                <a:cubicBezTo>
                  <a:pt x="2387" y="497"/>
                  <a:pt x="2387" y="497"/>
                  <a:pt x="2387" y="497"/>
                </a:cubicBezTo>
                <a:cubicBezTo>
                  <a:pt x="2387" y="511"/>
                  <a:pt x="2387" y="511"/>
                  <a:pt x="2387" y="511"/>
                </a:cubicBezTo>
                <a:cubicBezTo>
                  <a:pt x="2270" y="511"/>
                  <a:pt x="2270" y="511"/>
                  <a:pt x="2270" y="511"/>
                </a:cubicBezTo>
                <a:lnTo>
                  <a:pt x="2270" y="497"/>
                </a:lnTo>
                <a:close/>
                <a:moveTo>
                  <a:pt x="2270" y="544"/>
                </a:moveTo>
                <a:cubicBezTo>
                  <a:pt x="2309" y="544"/>
                  <a:pt x="2348" y="544"/>
                  <a:pt x="2387" y="544"/>
                </a:cubicBezTo>
                <a:cubicBezTo>
                  <a:pt x="2387" y="549"/>
                  <a:pt x="2387" y="554"/>
                  <a:pt x="2387" y="559"/>
                </a:cubicBezTo>
                <a:cubicBezTo>
                  <a:pt x="2348" y="559"/>
                  <a:pt x="2309" y="559"/>
                  <a:pt x="2270" y="559"/>
                </a:cubicBezTo>
                <a:cubicBezTo>
                  <a:pt x="2270" y="554"/>
                  <a:pt x="2270" y="549"/>
                  <a:pt x="2270" y="544"/>
                </a:cubicBezTo>
                <a:close/>
                <a:moveTo>
                  <a:pt x="2270" y="591"/>
                </a:moveTo>
                <a:cubicBezTo>
                  <a:pt x="2309" y="591"/>
                  <a:pt x="2348" y="591"/>
                  <a:pt x="2387" y="591"/>
                </a:cubicBezTo>
                <a:cubicBezTo>
                  <a:pt x="2387" y="596"/>
                  <a:pt x="2387" y="601"/>
                  <a:pt x="2387" y="606"/>
                </a:cubicBezTo>
                <a:cubicBezTo>
                  <a:pt x="2348" y="606"/>
                  <a:pt x="2309" y="606"/>
                  <a:pt x="2270" y="606"/>
                </a:cubicBezTo>
                <a:cubicBezTo>
                  <a:pt x="2270" y="601"/>
                  <a:pt x="2270" y="596"/>
                  <a:pt x="2270" y="591"/>
                </a:cubicBezTo>
                <a:close/>
                <a:moveTo>
                  <a:pt x="2270" y="639"/>
                </a:moveTo>
                <a:cubicBezTo>
                  <a:pt x="2309" y="639"/>
                  <a:pt x="2348" y="639"/>
                  <a:pt x="2387" y="639"/>
                </a:cubicBezTo>
                <a:cubicBezTo>
                  <a:pt x="2387" y="643"/>
                  <a:pt x="2387" y="648"/>
                  <a:pt x="2387" y="653"/>
                </a:cubicBezTo>
                <a:cubicBezTo>
                  <a:pt x="2348" y="653"/>
                  <a:pt x="2309" y="653"/>
                  <a:pt x="2270" y="653"/>
                </a:cubicBezTo>
                <a:cubicBezTo>
                  <a:pt x="2270" y="648"/>
                  <a:pt x="2270" y="643"/>
                  <a:pt x="2270" y="639"/>
                </a:cubicBezTo>
                <a:close/>
                <a:moveTo>
                  <a:pt x="2270" y="686"/>
                </a:moveTo>
                <a:cubicBezTo>
                  <a:pt x="2309" y="686"/>
                  <a:pt x="2348" y="686"/>
                  <a:pt x="2387" y="686"/>
                </a:cubicBezTo>
                <a:cubicBezTo>
                  <a:pt x="2387" y="691"/>
                  <a:pt x="2387" y="696"/>
                  <a:pt x="2387" y="700"/>
                </a:cubicBezTo>
                <a:cubicBezTo>
                  <a:pt x="2348" y="700"/>
                  <a:pt x="2309" y="700"/>
                  <a:pt x="2270" y="700"/>
                </a:cubicBezTo>
                <a:cubicBezTo>
                  <a:pt x="2270" y="696"/>
                  <a:pt x="2270" y="691"/>
                  <a:pt x="2270" y="686"/>
                </a:cubicBezTo>
                <a:close/>
                <a:moveTo>
                  <a:pt x="2144" y="1170"/>
                </a:moveTo>
                <a:cubicBezTo>
                  <a:pt x="2191" y="1170"/>
                  <a:pt x="2191" y="1170"/>
                  <a:pt x="2191" y="1170"/>
                </a:cubicBezTo>
                <a:cubicBezTo>
                  <a:pt x="2191" y="1205"/>
                  <a:pt x="2191" y="1205"/>
                  <a:pt x="2191" y="1205"/>
                </a:cubicBezTo>
                <a:cubicBezTo>
                  <a:pt x="2144" y="1205"/>
                  <a:pt x="2144" y="1205"/>
                  <a:pt x="2144" y="1205"/>
                </a:cubicBezTo>
                <a:lnTo>
                  <a:pt x="2144" y="1170"/>
                </a:lnTo>
                <a:close/>
                <a:moveTo>
                  <a:pt x="2044" y="895"/>
                </a:moveTo>
                <a:cubicBezTo>
                  <a:pt x="2039" y="895"/>
                  <a:pt x="2033" y="895"/>
                  <a:pt x="2027" y="895"/>
                </a:cubicBezTo>
                <a:cubicBezTo>
                  <a:pt x="2027" y="720"/>
                  <a:pt x="2027" y="544"/>
                  <a:pt x="2027" y="368"/>
                </a:cubicBezTo>
                <a:cubicBezTo>
                  <a:pt x="2033" y="368"/>
                  <a:pt x="2039" y="368"/>
                  <a:pt x="2044" y="368"/>
                </a:cubicBezTo>
                <a:cubicBezTo>
                  <a:pt x="2044" y="544"/>
                  <a:pt x="2044" y="720"/>
                  <a:pt x="2044" y="895"/>
                </a:cubicBezTo>
                <a:close/>
                <a:moveTo>
                  <a:pt x="2064" y="368"/>
                </a:moveTo>
                <a:cubicBezTo>
                  <a:pt x="2070" y="368"/>
                  <a:pt x="2076" y="368"/>
                  <a:pt x="2082" y="368"/>
                </a:cubicBezTo>
                <a:cubicBezTo>
                  <a:pt x="2082" y="595"/>
                  <a:pt x="2082" y="821"/>
                  <a:pt x="2082" y="1048"/>
                </a:cubicBezTo>
                <a:cubicBezTo>
                  <a:pt x="2076" y="1048"/>
                  <a:pt x="2070" y="1048"/>
                  <a:pt x="2064" y="1048"/>
                </a:cubicBezTo>
                <a:cubicBezTo>
                  <a:pt x="2064" y="821"/>
                  <a:pt x="2064" y="595"/>
                  <a:pt x="2064" y="368"/>
                </a:cubicBezTo>
                <a:close/>
                <a:moveTo>
                  <a:pt x="2199" y="1275"/>
                </a:moveTo>
                <a:cubicBezTo>
                  <a:pt x="2164" y="1275"/>
                  <a:pt x="2129" y="1275"/>
                  <a:pt x="2093" y="1275"/>
                </a:cubicBezTo>
                <a:cubicBezTo>
                  <a:pt x="2093" y="1272"/>
                  <a:pt x="2093" y="1269"/>
                  <a:pt x="2093" y="1265"/>
                </a:cubicBezTo>
                <a:cubicBezTo>
                  <a:pt x="2129" y="1265"/>
                  <a:pt x="2164" y="1265"/>
                  <a:pt x="2199" y="1265"/>
                </a:cubicBezTo>
                <a:cubicBezTo>
                  <a:pt x="2199" y="1269"/>
                  <a:pt x="2199" y="1272"/>
                  <a:pt x="2199" y="1275"/>
                </a:cubicBezTo>
                <a:close/>
                <a:moveTo>
                  <a:pt x="2199" y="1240"/>
                </a:moveTo>
                <a:cubicBezTo>
                  <a:pt x="2081" y="1240"/>
                  <a:pt x="2081" y="1240"/>
                  <a:pt x="2081" y="1240"/>
                </a:cubicBezTo>
                <a:cubicBezTo>
                  <a:pt x="2081" y="1230"/>
                  <a:pt x="2081" y="1230"/>
                  <a:pt x="2081" y="1230"/>
                </a:cubicBezTo>
                <a:cubicBezTo>
                  <a:pt x="2199" y="1230"/>
                  <a:pt x="2199" y="1230"/>
                  <a:pt x="2199" y="1230"/>
                </a:cubicBezTo>
                <a:lnTo>
                  <a:pt x="2199" y="1240"/>
                </a:lnTo>
                <a:close/>
                <a:moveTo>
                  <a:pt x="2235" y="811"/>
                </a:moveTo>
                <a:cubicBezTo>
                  <a:pt x="2249" y="811"/>
                  <a:pt x="2257" y="825"/>
                  <a:pt x="2257" y="842"/>
                </a:cubicBezTo>
                <a:cubicBezTo>
                  <a:pt x="2242" y="842"/>
                  <a:pt x="2228" y="842"/>
                  <a:pt x="2214" y="842"/>
                </a:cubicBezTo>
                <a:cubicBezTo>
                  <a:pt x="2214" y="825"/>
                  <a:pt x="2221" y="811"/>
                  <a:pt x="2235" y="811"/>
                </a:cubicBezTo>
                <a:close/>
                <a:moveTo>
                  <a:pt x="2263" y="1088"/>
                </a:moveTo>
                <a:cubicBezTo>
                  <a:pt x="2216" y="1088"/>
                  <a:pt x="2216" y="1088"/>
                  <a:pt x="2216" y="1088"/>
                </a:cubicBezTo>
                <a:cubicBezTo>
                  <a:pt x="2216" y="1053"/>
                  <a:pt x="2216" y="1053"/>
                  <a:pt x="2216" y="1053"/>
                </a:cubicBezTo>
                <a:cubicBezTo>
                  <a:pt x="2263" y="1053"/>
                  <a:pt x="2263" y="1053"/>
                  <a:pt x="2263" y="1053"/>
                </a:cubicBezTo>
                <a:lnTo>
                  <a:pt x="2263" y="1088"/>
                </a:lnTo>
                <a:close/>
                <a:moveTo>
                  <a:pt x="2263" y="927"/>
                </a:moveTo>
                <a:cubicBezTo>
                  <a:pt x="2216" y="927"/>
                  <a:pt x="2216" y="927"/>
                  <a:pt x="2216" y="927"/>
                </a:cubicBezTo>
                <a:cubicBezTo>
                  <a:pt x="2216" y="892"/>
                  <a:pt x="2216" y="892"/>
                  <a:pt x="2216" y="892"/>
                </a:cubicBezTo>
                <a:cubicBezTo>
                  <a:pt x="2263" y="892"/>
                  <a:pt x="2263" y="892"/>
                  <a:pt x="2263" y="892"/>
                </a:cubicBezTo>
                <a:lnTo>
                  <a:pt x="2263" y="927"/>
                </a:lnTo>
                <a:close/>
                <a:moveTo>
                  <a:pt x="2270" y="733"/>
                </a:moveTo>
                <a:cubicBezTo>
                  <a:pt x="2309" y="733"/>
                  <a:pt x="2348" y="733"/>
                  <a:pt x="2387" y="733"/>
                </a:cubicBezTo>
                <a:cubicBezTo>
                  <a:pt x="2387" y="738"/>
                  <a:pt x="2387" y="743"/>
                  <a:pt x="2387" y="748"/>
                </a:cubicBezTo>
                <a:cubicBezTo>
                  <a:pt x="2348" y="748"/>
                  <a:pt x="2309" y="748"/>
                  <a:pt x="2270" y="748"/>
                </a:cubicBezTo>
                <a:cubicBezTo>
                  <a:pt x="2270" y="743"/>
                  <a:pt x="2270" y="738"/>
                  <a:pt x="2270" y="733"/>
                </a:cubicBezTo>
                <a:close/>
                <a:moveTo>
                  <a:pt x="2355" y="874"/>
                </a:moveTo>
                <a:cubicBezTo>
                  <a:pt x="2355" y="910"/>
                  <a:pt x="2355" y="910"/>
                  <a:pt x="2355" y="910"/>
                </a:cubicBezTo>
                <a:cubicBezTo>
                  <a:pt x="2307" y="910"/>
                  <a:pt x="2307" y="910"/>
                  <a:pt x="2307" y="910"/>
                </a:cubicBezTo>
                <a:cubicBezTo>
                  <a:pt x="2307" y="874"/>
                  <a:pt x="2307" y="874"/>
                  <a:pt x="2307" y="874"/>
                </a:cubicBezTo>
                <a:lnTo>
                  <a:pt x="2355" y="874"/>
                </a:lnTo>
                <a:close/>
                <a:moveTo>
                  <a:pt x="2355" y="969"/>
                </a:moveTo>
                <a:cubicBezTo>
                  <a:pt x="2339" y="969"/>
                  <a:pt x="2323" y="969"/>
                  <a:pt x="2307" y="969"/>
                </a:cubicBezTo>
                <a:cubicBezTo>
                  <a:pt x="2307" y="957"/>
                  <a:pt x="2307" y="946"/>
                  <a:pt x="2307" y="934"/>
                </a:cubicBezTo>
                <a:cubicBezTo>
                  <a:pt x="2323" y="934"/>
                  <a:pt x="2339" y="934"/>
                  <a:pt x="2355" y="934"/>
                </a:cubicBezTo>
                <a:cubicBezTo>
                  <a:pt x="2355" y="946"/>
                  <a:pt x="2355" y="957"/>
                  <a:pt x="2355" y="969"/>
                </a:cubicBezTo>
                <a:close/>
                <a:moveTo>
                  <a:pt x="2430" y="1028"/>
                </a:moveTo>
                <a:cubicBezTo>
                  <a:pt x="2414" y="1028"/>
                  <a:pt x="2398" y="1028"/>
                  <a:pt x="2383" y="1028"/>
                </a:cubicBezTo>
                <a:cubicBezTo>
                  <a:pt x="2383" y="1017"/>
                  <a:pt x="2383" y="1005"/>
                  <a:pt x="2383" y="993"/>
                </a:cubicBezTo>
                <a:cubicBezTo>
                  <a:pt x="2398" y="993"/>
                  <a:pt x="2414" y="993"/>
                  <a:pt x="2430" y="993"/>
                </a:cubicBezTo>
                <a:cubicBezTo>
                  <a:pt x="2430" y="1005"/>
                  <a:pt x="2430" y="1017"/>
                  <a:pt x="2430" y="1028"/>
                </a:cubicBezTo>
                <a:close/>
                <a:moveTo>
                  <a:pt x="2430" y="910"/>
                </a:moveTo>
                <a:cubicBezTo>
                  <a:pt x="2414" y="910"/>
                  <a:pt x="2398" y="910"/>
                  <a:pt x="2383" y="910"/>
                </a:cubicBezTo>
                <a:cubicBezTo>
                  <a:pt x="2383" y="898"/>
                  <a:pt x="2383" y="886"/>
                  <a:pt x="2383" y="874"/>
                </a:cubicBezTo>
                <a:cubicBezTo>
                  <a:pt x="2398" y="874"/>
                  <a:pt x="2414" y="874"/>
                  <a:pt x="2430" y="874"/>
                </a:cubicBezTo>
                <a:cubicBezTo>
                  <a:pt x="2430" y="886"/>
                  <a:pt x="2430" y="898"/>
                  <a:pt x="2430" y="910"/>
                </a:cubicBezTo>
                <a:close/>
                <a:moveTo>
                  <a:pt x="2361" y="842"/>
                </a:moveTo>
                <a:cubicBezTo>
                  <a:pt x="2361" y="809"/>
                  <a:pt x="2377" y="783"/>
                  <a:pt x="2406" y="783"/>
                </a:cubicBezTo>
                <a:cubicBezTo>
                  <a:pt x="2434" y="783"/>
                  <a:pt x="2452" y="809"/>
                  <a:pt x="2452" y="842"/>
                </a:cubicBezTo>
                <a:lnTo>
                  <a:pt x="2361" y="842"/>
                </a:lnTo>
                <a:close/>
                <a:moveTo>
                  <a:pt x="2505" y="1088"/>
                </a:moveTo>
                <a:cubicBezTo>
                  <a:pt x="2458" y="1088"/>
                  <a:pt x="2458" y="1088"/>
                  <a:pt x="2458" y="1088"/>
                </a:cubicBezTo>
                <a:cubicBezTo>
                  <a:pt x="2458" y="1053"/>
                  <a:pt x="2458" y="1053"/>
                  <a:pt x="2458" y="1053"/>
                </a:cubicBezTo>
                <a:cubicBezTo>
                  <a:pt x="2505" y="1053"/>
                  <a:pt x="2505" y="1053"/>
                  <a:pt x="2505" y="1053"/>
                </a:cubicBezTo>
                <a:lnTo>
                  <a:pt x="2505" y="1088"/>
                </a:lnTo>
                <a:close/>
                <a:moveTo>
                  <a:pt x="2505" y="969"/>
                </a:moveTo>
                <a:cubicBezTo>
                  <a:pt x="2489" y="969"/>
                  <a:pt x="2474" y="969"/>
                  <a:pt x="2458" y="969"/>
                </a:cubicBezTo>
                <a:cubicBezTo>
                  <a:pt x="2458" y="957"/>
                  <a:pt x="2458" y="946"/>
                  <a:pt x="2458" y="934"/>
                </a:cubicBezTo>
                <a:cubicBezTo>
                  <a:pt x="2474" y="934"/>
                  <a:pt x="2489" y="934"/>
                  <a:pt x="2505" y="934"/>
                </a:cubicBezTo>
                <a:cubicBezTo>
                  <a:pt x="2505" y="946"/>
                  <a:pt x="2505" y="957"/>
                  <a:pt x="2505" y="969"/>
                </a:cubicBezTo>
                <a:close/>
                <a:moveTo>
                  <a:pt x="2644" y="811"/>
                </a:moveTo>
                <a:cubicBezTo>
                  <a:pt x="2658" y="811"/>
                  <a:pt x="2666" y="825"/>
                  <a:pt x="2666" y="842"/>
                </a:cubicBezTo>
                <a:cubicBezTo>
                  <a:pt x="2622" y="842"/>
                  <a:pt x="2622" y="842"/>
                  <a:pt x="2622" y="842"/>
                </a:cubicBezTo>
                <a:cubicBezTo>
                  <a:pt x="2622" y="825"/>
                  <a:pt x="2631" y="811"/>
                  <a:pt x="2644" y="811"/>
                </a:cubicBezTo>
                <a:close/>
                <a:moveTo>
                  <a:pt x="2597" y="1146"/>
                </a:moveTo>
                <a:cubicBezTo>
                  <a:pt x="2581" y="1146"/>
                  <a:pt x="2565" y="1146"/>
                  <a:pt x="2550" y="1146"/>
                </a:cubicBezTo>
                <a:cubicBezTo>
                  <a:pt x="2550" y="1135"/>
                  <a:pt x="2550" y="1123"/>
                  <a:pt x="2550" y="1111"/>
                </a:cubicBezTo>
                <a:cubicBezTo>
                  <a:pt x="2565" y="1111"/>
                  <a:pt x="2581" y="1111"/>
                  <a:pt x="2597" y="1111"/>
                </a:cubicBezTo>
                <a:cubicBezTo>
                  <a:pt x="2597" y="1123"/>
                  <a:pt x="2597" y="1135"/>
                  <a:pt x="2597" y="1146"/>
                </a:cubicBezTo>
                <a:close/>
                <a:moveTo>
                  <a:pt x="2597" y="988"/>
                </a:moveTo>
                <a:cubicBezTo>
                  <a:pt x="2550" y="988"/>
                  <a:pt x="2550" y="988"/>
                  <a:pt x="2550" y="988"/>
                </a:cubicBezTo>
                <a:cubicBezTo>
                  <a:pt x="2550" y="953"/>
                  <a:pt x="2550" y="953"/>
                  <a:pt x="2550" y="953"/>
                </a:cubicBezTo>
                <a:cubicBezTo>
                  <a:pt x="2597" y="953"/>
                  <a:pt x="2597" y="953"/>
                  <a:pt x="2597" y="953"/>
                </a:cubicBezTo>
                <a:lnTo>
                  <a:pt x="2597" y="988"/>
                </a:lnTo>
                <a:close/>
                <a:moveTo>
                  <a:pt x="2556" y="842"/>
                </a:moveTo>
                <a:cubicBezTo>
                  <a:pt x="2556" y="825"/>
                  <a:pt x="2564" y="811"/>
                  <a:pt x="2577" y="811"/>
                </a:cubicBezTo>
                <a:cubicBezTo>
                  <a:pt x="2591" y="811"/>
                  <a:pt x="2599" y="825"/>
                  <a:pt x="2599" y="842"/>
                </a:cubicBezTo>
                <a:cubicBezTo>
                  <a:pt x="2584" y="842"/>
                  <a:pt x="2570" y="842"/>
                  <a:pt x="2556" y="842"/>
                </a:cubicBezTo>
                <a:close/>
                <a:moveTo>
                  <a:pt x="2669" y="1205"/>
                </a:moveTo>
                <a:cubicBezTo>
                  <a:pt x="2621" y="1205"/>
                  <a:pt x="2621" y="1205"/>
                  <a:pt x="2621" y="1205"/>
                </a:cubicBezTo>
                <a:cubicBezTo>
                  <a:pt x="2621" y="1170"/>
                  <a:pt x="2621" y="1170"/>
                  <a:pt x="2621" y="1170"/>
                </a:cubicBezTo>
                <a:cubicBezTo>
                  <a:pt x="2669" y="1170"/>
                  <a:pt x="2669" y="1170"/>
                  <a:pt x="2669" y="1170"/>
                </a:cubicBezTo>
                <a:lnTo>
                  <a:pt x="2669" y="1205"/>
                </a:lnTo>
                <a:close/>
                <a:moveTo>
                  <a:pt x="2669" y="1088"/>
                </a:moveTo>
                <a:cubicBezTo>
                  <a:pt x="2621" y="1088"/>
                  <a:pt x="2621" y="1088"/>
                  <a:pt x="2621" y="1088"/>
                </a:cubicBezTo>
                <a:cubicBezTo>
                  <a:pt x="2621" y="1053"/>
                  <a:pt x="2621" y="1053"/>
                  <a:pt x="2621" y="1053"/>
                </a:cubicBezTo>
                <a:cubicBezTo>
                  <a:pt x="2669" y="1053"/>
                  <a:pt x="2669" y="1053"/>
                  <a:pt x="2669" y="1053"/>
                </a:cubicBezTo>
                <a:lnTo>
                  <a:pt x="2669" y="1088"/>
                </a:lnTo>
                <a:close/>
                <a:moveTo>
                  <a:pt x="2669" y="927"/>
                </a:moveTo>
                <a:cubicBezTo>
                  <a:pt x="2621" y="927"/>
                  <a:pt x="2621" y="927"/>
                  <a:pt x="2621" y="927"/>
                </a:cubicBezTo>
                <a:cubicBezTo>
                  <a:pt x="2621" y="892"/>
                  <a:pt x="2621" y="892"/>
                  <a:pt x="2621" y="892"/>
                </a:cubicBezTo>
                <a:cubicBezTo>
                  <a:pt x="2669" y="892"/>
                  <a:pt x="2669" y="892"/>
                  <a:pt x="2669" y="892"/>
                </a:cubicBezTo>
                <a:lnTo>
                  <a:pt x="2669" y="927"/>
                </a:lnTo>
                <a:close/>
                <a:moveTo>
                  <a:pt x="2785" y="1068"/>
                </a:moveTo>
                <a:cubicBezTo>
                  <a:pt x="2732" y="1068"/>
                  <a:pt x="2732" y="1068"/>
                  <a:pt x="2732" y="1068"/>
                </a:cubicBezTo>
                <a:cubicBezTo>
                  <a:pt x="2732" y="1034"/>
                  <a:pt x="2732" y="1034"/>
                  <a:pt x="2732" y="1034"/>
                </a:cubicBezTo>
                <a:cubicBezTo>
                  <a:pt x="2785" y="1034"/>
                  <a:pt x="2785" y="1034"/>
                  <a:pt x="2785" y="1034"/>
                </a:cubicBezTo>
                <a:lnTo>
                  <a:pt x="2785" y="1068"/>
                </a:lnTo>
                <a:close/>
                <a:moveTo>
                  <a:pt x="2942" y="1130"/>
                </a:moveTo>
                <a:cubicBezTo>
                  <a:pt x="2916" y="1130"/>
                  <a:pt x="2890" y="1130"/>
                  <a:pt x="2865" y="1130"/>
                </a:cubicBezTo>
                <a:cubicBezTo>
                  <a:pt x="2865" y="1114"/>
                  <a:pt x="2865" y="1097"/>
                  <a:pt x="2865" y="1081"/>
                </a:cubicBezTo>
                <a:cubicBezTo>
                  <a:pt x="2890" y="1081"/>
                  <a:pt x="2916" y="1081"/>
                  <a:pt x="2942" y="1081"/>
                </a:cubicBezTo>
                <a:cubicBezTo>
                  <a:pt x="2942" y="1097"/>
                  <a:pt x="2942" y="1114"/>
                  <a:pt x="2942" y="1130"/>
                </a:cubicBezTo>
                <a:close/>
                <a:moveTo>
                  <a:pt x="2942" y="1052"/>
                </a:moveTo>
                <a:cubicBezTo>
                  <a:pt x="2916" y="1052"/>
                  <a:pt x="2890" y="1052"/>
                  <a:pt x="2865" y="1052"/>
                </a:cubicBezTo>
                <a:cubicBezTo>
                  <a:pt x="2865" y="1035"/>
                  <a:pt x="2865" y="1019"/>
                  <a:pt x="2865" y="1003"/>
                </a:cubicBezTo>
                <a:cubicBezTo>
                  <a:pt x="2890" y="1003"/>
                  <a:pt x="2916" y="1003"/>
                  <a:pt x="2942" y="1003"/>
                </a:cubicBezTo>
                <a:cubicBezTo>
                  <a:pt x="2942" y="1019"/>
                  <a:pt x="2942" y="1035"/>
                  <a:pt x="2942" y="1052"/>
                </a:cubicBezTo>
                <a:close/>
                <a:moveTo>
                  <a:pt x="3120" y="1130"/>
                </a:moveTo>
                <a:cubicBezTo>
                  <a:pt x="3095" y="1130"/>
                  <a:pt x="3069" y="1130"/>
                  <a:pt x="3043" y="1130"/>
                </a:cubicBezTo>
                <a:cubicBezTo>
                  <a:pt x="3043" y="1114"/>
                  <a:pt x="3043" y="1097"/>
                  <a:pt x="3043" y="1081"/>
                </a:cubicBezTo>
                <a:cubicBezTo>
                  <a:pt x="3069" y="1081"/>
                  <a:pt x="3095" y="1081"/>
                  <a:pt x="3120" y="1081"/>
                </a:cubicBezTo>
                <a:cubicBezTo>
                  <a:pt x="3120" y="1097"/>
                  <a:pt x="3120" y="1114"/>
                  <a:pt x="3120" y="1130"/>
                </a:cubicBezTo>
                <a:close/>
                <a:moveTo>
                  <a:pt x="3240" y="1161"/>
                </a:moveTo>
                <a:cubicBezTo>
                  <a:pt x="3222" y="1161"/>
                  <a:pt x="3204" y="1161"/>
                  <a:pt x="3186" y="1161"/>
                </a:cubicBezTo>
                <a:cubicBezTo>
                  <a:pt x="3186" y="1149"/>
                  <a:pt x="3186" y="1138"/>
                  <a:pt x="3186" y="1127"/>
                </a:cubicBezTo>
                <a:cubicBezTo>
                  <a:pt x="3204" y="1127"/>
                  <a:pt x="3222" y="1127"/>
                  <a:pt x="3240" y="1127"/>
                </a:cubicBezTo>
                <a:cubicBezTo>
                  <a:pt x="3240" y="1138"/>
                  <a:pt x="3240" y="1149"/>
                  <a:pt x="3240" y="1161"/>
                </a:cubicBezTo>
                <a:close/>
                <a:moveTo>
                  <a:pt x="3240" y="1058"/>
                </a:moveTo>
                <a:cubicBezTo>
                  <a:pt x="3186" y="1058"/>
                  <a:pt x="3186" y="1058"/>
                  <a:pt x="3186" y="1058"/>
                </a:cubicBezTo>
                <a:cubicBezTo>
                  <a:pt x="3186" y="1024"/>
                  <a:pt x="3186" y="1024"/>
                  <a:pt x="3186" y="1024"/>
                </a:cubicBezTo>
                <a:cubicBezTo>
                  <a:pt x="3240" y="1024"/>
                  <a:pt x="3240" y="1024"/>
                  <a:pt x="3240" y="1024"/>
                </a:cubicBezTo>
                <a:lnTo>
                  <a:pt x="3240" y="1058"/>
                </a:lnTo>
                <a:close/>
                <a:moveTo>
                  <a:pt x="3481" y="875"/>
                </a:moveTo>
                <a:cubicBezTo>
                  <a:pt x="3492" y="875"/>
                  <a:pt x="3503" y="875"/>
                  <a:pt x="3514" y="875"/>
                </a:cubicBezTo>
                <a:cubicBezTo>
                  <a:pt x="3514" y="883"/>
                  <a:pt x="3514" y="891"/>
                  <a:pt x="3514" y="899"/>
                </a:cubicBezTo>
                <a:cubicBezTo>
                  <a:pt x="3503" y="899"/>
                  <a:pt x="3492" y="899"/>
                  <a:pt x="3481" y="899"/>
                </a:cubicBezTo>
                <a:cubicBezTo>
                  <a:pt x="3481" y="891"/>
                  <a:pt x="3481" y="883"/>
                  <a:pt x="3481" y="875"/>
                </a:cubicBezTo>
                <a:close/>
                <a:moveTo>
                  <a:pt x="3400" y="821"/>
                </a:moveTo>
                <a:cubicBezTo>
                  <a:pt x="3408" y="821"/>
                  <a:pt x="3416" y="821"/>
                  <a:pt x="3424" y="821"/>
                </a:cubicBezTo>
                <a:cubicBezTo>
                  <a:pt x="3424" y="827"/>
                  <a:pt x="3424" y="833"/>
                  <a:pt x="3424" y="839"/>
                </a:cubicBezTo>
                <a:cubicBezTo>
                  <a:pt x="3416" y="839"/>
                  <a:pt x="3408" y="839"/>
                  <a:pt x="3400" y="839"/>
                </a:cubicBezTo>
                <a:cubicBezTo>
                  <a:pt x="3400" y="833"/>
                  <a:pt x="3400" y="827"/>
                  <a:pt x="3400" y="821"/>
                </a:cubicBezTo>
                <a:close/>
                <a:moveTo>
                  <a:pt x="3448" y="1057"/>
                </a:moveTo>
                <a:cubicBezTo>
                  <a:pt x="3448" y="1071"/>
                  <a:pt x="3448" y="1084"/>
                  <a:pt x="3448" y="1098"/>
                </a:cubicBezTo>
                <a:cubicBezTo>
                  <a:pt x="3426" y="1098"/>
                  <a:pt x="3404" y="1098"/>
                  <a:pt x="3381" y="1098"/>
                </a:cubicBezTo>
                <a:cubicBezTo>
                  <a:pt x="3381" y="1084"/>
                  <a:pt x="3381" y="1071"/>
                  <a:pt x="3381" y="1057"/>
                </a:cubicBezTo>
                <a:cubicBezTo>
                  <a:pt x="3404" y="1057"/>
                  <a:pt x="3426" y="1057"/>
                  <a:pt x="3448" y="1057"/>
                </a:cubicBezTo>
                <a:close/>
                <a:moveTo>
                  <a:pt x="3370" y="875"/>
                </a:moveTo>
                <a:cubicBezTo>
                  <a:pt x="3381" y="875"/>
                  <a:pt x="3392" y="875"/>
                  <a:pt x="3403" y="875"/>
                </a:cubicBezTo>
                <a:cubicBezTo>
                  <a:pt x="3403" y="883"/>
                  <a:pt x="3403" y="891"/>
                  <a:pt x="3403" y="899"/>
                </a:cubicBezTo>
                <a:cubicBezTo>
                  <a:pt x="3392" y="899"/>
                  <a:pt x="3381" y="899"/>
                  <a:pt x="3370" y="899"/>
                </a:cubicBezTo>
                <a:cubicBezTo>
                  <a:pt x="3370" y="891"/>
                  <a:pt x="3370" y="883"/>
                  <a:pt x="3370" y="875"/>
                </a:cubicBezTo>
                <a:close/>
                <a:moveTo>
                  <a:pt x="3315" y="875"/>
                </a:moveTo>
                <a:cubicBezTo>
                  <a:pt x="3326" y="875"/>
                  <a:pt x="3337" y="875"/>
                  <a:pt x="3348" y="875"/>
                </a:cubicBezTo>
                <a:cubicBezTo>
                  <a:pt x="3348" y="883"/>
                  <a:pt x="3348" y="891"/>
                  <a:pt x="3348" y="899"/>
                </a:cubicBezTo>
                <a:cubicBezTo>
                  <a:pt x="3337" y="899"/>
                  <a:pt x="3326" y="899"/>
                  <a:pt x="3315" y="899"/>
                </a:cubicBezTo>
                <a:cubicBezTo>
                  <a:pt x="3315" y="891"/>
                  <a:pt x="3315" y="883"/>
                  <a:pt x="3315" y="875"/>
                </a:cubicBezTo>
                <a:close/>
                <a:moveTo>
                  <a:pt x="3291" y="998"/>
                </a:moveTo>
                <a:cubicBezTo>
                  <a:pt x="3313" y="998"/>
                  <a:pt x="3335" y="998"/>
                  <a:pt x="3357" y="998"/>
                </a:cubicBezTo>
                <a:cubicBezTo>
                  <a:pt x="3357" y="1011"/>
                  <a:pt x="3357" y="1025"/>
                  <a:pt x="3357" y="1039"/>
                </a:cubicBezTo>
                <a:cubicBezTo>
                  <a:pt x="3335" y="1039"/>
                  <a:pt x="3313" y="1039"/>
                  <a:pt x="3291" y="1039"/>
                </a:cubicBezTo>
                <a:cubicBezTo>
                  <a:pt x="3291" y="1025"/>
                  <a:pt x="3291" y="1011"/>
                  <a:pt x="3291" y="998"/>
                </a:cubicBezTo>
                <a:close/>
                <a:moveTo>
                  <a:pt x="3290" y="1251"/>
                </a:moveTo>
                <a:cubicBezTo>
                  <a:pt x="3277" y="1251"/>
                  <a:pt x="3277" y="1251"/>
                  <a:pt x="3277" y="1251"/>
                </a:cubicBezTo>
                <a:cubicBezTo>
                  <a:pt x="3277" y="1170"/>
                  <a:pt x="3277" y="1170"/>
                  <a:pt x="3277" y="1170"/>
                </a:cubicBezTo>
                <a:cubicBezTo>
                  <a:pt x="3290" y="1170"/>
                  <a:pt x="3290" y="1170"/>
                  <a:pt x="3290" y="1170"/>
                </a:cubicBezTo>
                <a:lnTo>
                  <a:pt x="3290" y="1251"/>
                </a:lnTo>
                <a:close/>
                <a:moveTo>
                  <a:pt x="3291" y="1157"/>
                </a:moveTo>
                <a:cubicBezTo>
                  <a:pt x="3291" y="1157"/>
                  <a:pt x="3291" y="1157"/>
                  <a:pt x="3291" y="1157"/>
                </a:cubicBezTo>
                <a:cubicBezTo>
                  <a:pt x="3272" y="1157"/>
                  <a:pt x="3272" y="1157"/>
                  <a:pt x="3272" y="1157"/>
                </a:cubicBezTo>
                <a:cubicBezTo>
                  <a:pt x="3272" y="1149"/>
                  <a:pt x="3272" y="1149"/>
                  <a:pt x="3272" y="1149"/>
                </a:cubicBezTo>
                <a:cubicBezTo>
                  <a:pt x="3291" y="1149"/>
                  <a:pt x="3291" y="1149"/>
                  <a:pt x="3291" y="1149"/>
                </a:cubicBezTo>
                <a:cubicBezTo>
                  <a:pt x="3291" y="1146"/>
                  <a:pt x="3291" y="1144"/>
                  <a:pt x="3291" y="1142"/>
                </a:cubicBezTo>
                <a:cubicBezTo>
                  <a:pt x="3272" y="1142"/>
                  <a:pt x="3272" y="1142"/>
                  <a:pt x="3272" y="1142"/>
                </a:cubicBezTo>
                <a:cubicBezTo>
                  <a:pt x="3272" y="1133"/>
                  <a:pt x="3272" y="1133"/>
                  <a:pt x="3272" y="1133"/>
                </a:cubicBezTo>
                <a:cubicBezTo>
                  <a:pt x="3291" y="1133"/>
                  <a:pt x="3291" y="1133"/>
                  <a:pt x="3291" y="1133"/>
                </a:cubicBezTo>
                <a:cubicBezTo>
                  <a:pt x="3291" y="1128"/>
                  <a:pt x="3291" y="1122"/>
                  <a:pt x="3291" y="1117"/>
                </a:cubicBezTo>
                <a:cubicBezTo>
                  <a:pt x="3313" y="1117"/>
                  <a:pt x="3335" y="1117"/>
                  <a:pt x="3357" y="1117"/>
                </a:cubicBezTo>
                <a:cubicBezTo>
                  <a:pt x="3357" y="1122"/>
                  <a:pt x="3357" y="1128"/>
                  <a:pt x="3357" y="1133"/>
                </a:cubicBezTo>
                <a:cubicBezTo>
                  <a:pt x="3395" y="1133"/>
                  <a:pt x="3395" y="1133"/>
                  <a:pt x="3395" y="1133"/>
                </a:cubicBezTo>
                <a:cubicBezTo>
                  <a:pt x="3395" y="1142"/>
                  <a:pt x="3395" y="1142"/>
                  <a:pt x="3395" y="1142"/>
                </a:cubicBezTo>
                <a:cubicBezTo>
                  <a:pt x="3357" y="1142"/>
                  <a:pt x="3357" y="1142"/>
                  <a:pt x="3357" y="1142"/>
                </a:cubicBezTo>
                <a:cubicBezTo>
                  <a:pt x="3357" y="1144"/>
                  <a:pt x="3357" y="1146"/>
                  <a:pt x="3357" y="1149"/>
                </a:cubicBezTo>
                <a:cubicBezTo>
                  <a:pt x="3395" y="1149"/>
                  <a:pt x="3395" y="1149"/>
                  <a:pt x="3395" y="1149"/>
                </a:cubicBezTo>
                <a:cubicBezTo>
                  <a:pt x="3395" y="1157"/>
                  <a:pt x="3395" y="1157"/>
                  <a:pt x="3395" y="1157"/>
                </a:cubicBezTo>
                <a:cubicBezTo>
                  <a:pt x="3357" y="1157"/>
                  <a:pt x="3357" y="1157"/>
                  <a:pt x="3357" y="1157"/>
                </a:cubicBezTo>
                <a:cubicBezTo>
                  <a:pt x="3357" y="1157"/>
                  <a:pt x="3357" y="1157"/>
                  <a:pt x="3357" y="1157"/>
                </a:cubicBezTo>
                <a:cubicBezTo>
                  <a:pt x="3335" y="1157"/>
                  <a:pt x="3313" y="1157"/>
                  <a:pt x="3291" y="1157"/>
                </a:cubicBezTo>
                <a:close/>
                <a:moveTo>
                  <a:pt x="3448" y="1217"/>
                </a:moveTo>
                <a:cubicBezTo>
                  <a:pt x="3426" y="1217"/>
                  <a:pt x="3404" y="1217"/>
                  <a:pt x="3381" y="1217"/>
                </a:cubicBezTo>
                <a:cubicBezTo>
                  <a:pt x="3381" y="1203"/>
                  <a:pt x="3381" y="1190"/>
                  <a:pt x="3381" y="1176"/>
                </a:cubicBezTo>
                <a:cubicBezTo>
                  <a:pt x="3404" y="1176"/>
                  <a:pt x="3426" y="1176"/>
                  <a:pt x="3448" y="1176"/>
                </a:cubicBezTo>
                <a:cubicBezTo>
                  <a:pt x="3448" y="1190"/>
                  <a:pt x="3448" y="1203"/>
                  <a:pt x="3448" y="1217"/>
                </a:cubicBezTo>
                <a:close/>
                <a:moveTo>
                  <a:pt x="3458" y="899"/>
                </a:moveTo>
                <a:cubicBezTo>
                  <a:pt x="3447" y="899"/>
                  <a:pt x="3436" y="899"/>
                  <a:pt x="3425" y="899"/>
                </a:cubicBezTo>
                <a:cubicBezTo>
                  <a:pt x="3425" y="891"/>
                  <a:pt x="3425" y="883"/>
                  <a:pt x="3425" y="875"/>
                </a:cubicBezTo>
                <a:cubicBezTo>
                  <a:pt x="3436" y="875"/>
                  <a:pt x="3447" y="875"/>
                  <a:pt x="3458" y="875"/>
                </a:cubicBezTo>
                <a:cubicBezTo>
                  <a:pt x="3458" y="883"/>
                  <a:pt x="3458" y="891"/>
                  <a:pt x="3458" y="899"/>
                </a:cubicBezTo>
                <a:close/>
                <a:moveTo>
                  <a:pt x="3538" y="1039"/>
                </a:moveTo>
                <a:cubicBezTo>
                  <a:pt x="3516" y="1039"/>
                  <a:pt x="3494" y="1039"/>
                  <a:pt x="3472" y="1039"/>
                </a:cubicBezTo>
                <a:cubicBezTo>
                  <a:pt x="3472" y="1025"/>
                  <a:pt x="3472" y="1011"/>
                  <a:pt x="3472" y="998"/>
                </a:cubicBezTo>
                <a:cubicBezTo>
                  <a:pt x="3494" y="998"/>
                  <a:pt x="3516" y="998"/>
                  <a:pt x="3538" y="998"/>
                </a:cubicBezTo>
                <a:cubicBezTo>
                  <a:pt x="3538" y="1011"/>
                  <a:pt x="3538" y="1025"/>
                  <a:pt x="3538" y="1039"/>
                </a:cubicBezTo>
                <a:close/>
                <a:moveTo>
                  <a:pt x="3621" y="1115"/>
                </a:moveTo>
                <a:cubicBezTo>
                  <a:pt x="3608" y="1115"/>
                  <a:pt x="3594" y="1115"/>
                  <a:pt x="3581" y="1115"/>
                </a:cubicBezTo>
                <a:cubicBezTo>
                  <a:pt x="3581" y="1105"/>
                  <a:pt x="3581" y="1095"/>
                  <a:pt x="3581" y="1085"/>
                </a:cubicBezTo>
                <a:cubicBezTo>
                  <a:pt x="3594" y="1085"/>
                  <a:pt x="3608" y="1085"/>
                  <a:pt x="3621" y="1085"/>
                </a:cubicBezTo>
                <a:cubicBezTo>
                  <a:pt x="3621" y="1095"/>
                  <a:pt x="3621" y="1105"/>
                  <a:pt x="3621" y="1115"/>
                </a:cubicBezTo>
                <a:close/>
                <a:moveTo>
                  <a:pt x="3677" y="1217"/>
                </a:moveTo>
                <a:cubicBezTo>
                  <a:pt x="3636" y="1217"/>
                  <a:pt x="3636" y="1217"/>
                  <a:pt x="3636" y="1217"/>
                </a:cubicBezTo>
                <a:cubicBezTo>
                  <a:pt x="3636" y="1187"/>
                  <a:pt x="3636" y="1187"/>
                  <a:pt x="3636" y="1187"/>
                </a:cubicBezTo>
                <a:cubicBezTo>
                  <a:pt x="3677" y="1187"/>
                  <a:pt x="3677" y="1187"/>
                  <a:pt x="3677" y="1187"/>
                </a:cubicBezTo>
                <a:lnTo>
                  <a:pt x="3677" y="1217"/>
                </a:lnTo>
                <a:close/>
                <a:moveTo>
                  <a:pt x="3677" y="1065"/>
                </a:moveTo>
                <a:cubicBezTo>
                  <a:pt x="3636" y="1065"/>
                  <a:pt x="3636" y="1065"/>
                  <a:pt x="3636" y="1065"/>
                </a:cubicBezTo>
                <a:cubicBezTo>
                  <a:pt x="3636" y="1035"/>
                  <a:pt x="3636" y="1035"/>
                  <a:pt x="3636" y="1035"/>
                </a:cubicBezTo>
                <a:cubicBezTo>
                  <a:pt x="3677" y="1035"/>
                  <a:pt x="3677" y="1035"/>
                  <a:pt x="3677" y="1035"/>
                </a:cubicBezTo>
                <a:lnTo>
                  <a:pt x="3677" y="1065"/>
                </a:lnTo>
                <a:close/>
                <a:moveTo>
                  <a:pt x="3814" y="1154"/>
                </a:moveTo>
                <a:cubicBezTo>
                  <a:pt x="3793" y="1154"/>
                  <a:pt x="3772" y="1154"/>
                  <a:pt x="3750" y="1154"/>
                </a:cubicBezTo>
                <a:cubicBezTo>
                  <a:pt x="3750" y="1149"/>
                  <a:pt x="3750" y="1144"/>
                  <a:pt x="3750" y="1139"/>
                </a:cubicBezTo>
                <a:cubicBezTo>
                  <a:pt x="3772" y="1139"/>
                  <a:pt x="3793" y="1139"/>
                  <a:pt x="3814" y="1139"/>
                </a:cubicBezTo>
                <a:cubicBezTo>
                  <a:pt x="3814" y="1144"/>
                  <a:pt x="3814" y="1149"/>
                  <a:pt x="3814" y="1154"/>
                </a:cubicBezTo>
                <a:close/>
                <a:moveTo>
                  <a:pt x="3814" y="1123"/>
                </a:moveTo>
                <a:cubicBezTo>
                  <a:pt x="3705" y="1123"/>
                  <a:pt x="3705" y="1123"/>
                  <a:pt x="3705" y="1123"/>
                </a:cubicBezTo>
                <a:cubicBezTo>
                  <a:pt x="3705" y="1108"/>
                  <a:pt x="3705" y="1108"/>
                  <a:pt x="3705" y="1108"/>
                </a:cubicBezTo>
                <a:cubicBezTo>
                  <a:pt x="3814" y="1108"/>
                  <a:pt x="3814" y="1108"/>
                  <a:pt x="3814" y="1108"/>
                </a:cubicBezTo>
                <a:lnTo>
                  <a:pt x="3814" y="1123"/>
                </a:lnTo>
                <a:close/>
              </a:path>
            </a:pathLst>
          </a:custGeom>
          <a:solidFill>
            <a:schemeClr val="accent2">
              <a:lumMod val="20000"/>
              <a:lumOff val="80000"/>
              <a:alpha val="6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5" name="Title 104"/>
          <p:cNvSpPr>
            <a:spLocks noGrp="1"/>
          </p:cNvSpPr>
          <p:nvPr>
            <p:ph type="title"/>
          </p:nvPr>
        </p:nvSpPr>
        <p:spPr/>
        <p:txBody>
          <a:bodyPr/>
          <a:lstStyle/>
          <a:p>
            <a:r>
              <a:rPr lang="en-US" dirty="0" smtClean="0"/>
              <a:t>Multiple IoT Access Technologies </a:t>
            </a:r>
            <a:endParaRPr lang="en-US" dirty="0"/>
          </a:p>
        </p:txBody>
      </p:sp>
      <p:grpSp>
        <p:nvGrpSpPr>
          <p:cNvPr id="2" name="Group 100"/>
          <p:cNvGrpSpPr/>
          <p:nvPr/>
        </p:nvGrpSpPr>
        <p:grpSpPr>
          <a:xfrm>
            <a:off x="451344" y="2198688"/>
            <a:ext cx="8416431" cy="1819830"/>
            <a:chOff x="451344" y="2198688"/>
            <a:chExt cx="8416431" cy="1819830"/>
          </a:xfrm>
        </p:grpSpPr>
        <p:sp>
          <p:nvSpPr>
            <p:cNvPr id="93" name="Rectangle 92"/>
            <p:cNvSpPr/>
            <p:nvPr/>
          </p:nvSpPr>
          <p:spPr>
            <a:xfrm>
              <a:off x="7858125" y="3913920"/>
              <a:ext cx="1009650" cy="104598"/>
            </a:xfrm>
            <a:prstGeom prst="rect">
              <a:avLst/>
            </a:prstGeom>
            <a:solidFill>
              <a:srgbClr val="6F8F3C"/>
            </a:solid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1053" name="Freeform 29"/>
            <p:cNvSpPr>
              <a:spLocks noEditPoints="1"/>
            </p:cNvSpPr>
            <p:nvPr/>
          </p:nvSpPr>
          <p:spPr bwMode="auto">
            <a:xfrm>
              <a:off x="1138724" y="2762852"/>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solidFill>
              <a:schemeClr val="accent6">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3" name="Group 28"/>
            <p:cNvGrpSpPr/>
            <p:nvPr/>
          </p:nvGrpSpPr>
          <p:grpSpPr>
            <a:xfrm>
              <a:off x="907732" y="3301639"/>
              <a:ext cx="301657" cy="716879"/>
              <a:chOff x="1790700" y="2979738"/>
              <a:chExt cx="539750" cy="1282700"/>
            </a:xfrm>
          </p:grpSpPr>
          <p:sp>
            <p:nvSpPr>
              <p:cNvPr id="1047" name="Rectangle 23"/>
              <p:cNvSpPr>
                <a:spLocks noChangeArrowheads="1"/>
              </p:cNvSpPr>
              <p:nvPr/>
            </p:nvSpPr>
            <p:spPr bwMode="auto">
              <a:xfrm>
                <a:off x="1790700" y="2986088"/>
                <a:ext cx="525463" cy="12763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8"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solidFill>
                <a:schemeClr val="accent1">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4" name="Group 58"/>
            <p:cNvGrpSpPr/>
            <p:nvPr/>
          </p:nvGrpSpPr>
          <p:grpSpPr>
            <a:xfrm>
              <a:off x="451344" y="2900624"/>
              <a:ext cx="502539" cy="1117894"/>
              <a:chOff x="50589" y="3098960"/>
              <a:chExt cx="550863" cy="1225389"/>
            </a:xfrm>
          </p:grpSpPr>
          <p:sp>
            <p:nvSpPr>
              <p:cNvPr id="1041"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solidFill>
                <a:schemeClr val="accent4">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0"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5" name="Group 56"/>
            <p:cNvGrpSpPr/>
            <p:nvPr/>
          </p:nvGrpSpPr>
          <p:grpSpPr>
            <a:xfrm>
              <a:off x="1436339" y="3284261"/>
              <a:ext cx="2870409" cy="734257"/>
              <a:chOff x="1130300" y="3522663"/>
              <a:chExt cx="3146425" cy="804862"/>
            </a:xfrm>
          </p:grpSpPr>
          <p:sp>
            <p:nvSpPr>
              <p:cNvPr id="1065"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solidFill>
                <a:srgbClr val="8DB54C"/>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66"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solidFill>
                <a:srgbClr val="049FD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6" name="Group 55"/>
            <p:cNvGrpSpPr/>
            <p:nvPr/>
          </p:nvGrpSpPr>
          <p:grpSpPr>
            <a:xfrm>
              <a:off x="4213209" y="3314674"/>
              <a:ext cx="1135885" cy="703844"/>
              <a:chOff x="4127500" y="2292350"/>
              <a:chExt cx="889000" cy="550863"/>
            </a:xfrm>
          </p:grpSpPr>
          <p:sp>
            <p:nvSpPr>
              <p:cNvPr id="52"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solidFill>
                <a:srgbClr val="63656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3"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solidFill>
                <a:srgbClr val="C6C7C9"/>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4"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solidFill>
                <a:srgbClr val="9D9DA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solidFill>
                <a:srgbClr val="E8EBF0"/>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094" name="Freeform 70"/>
            <p:cNvSpPr>
              <a:spLocks noEditPoints="1"/>
            </p:cNvSpPr>
            <p:nvPr/>
          </p:nvSpPr>
          <p:spPr bwMode="auto">
            <a:xfrm>
              <a:off x="6846414" y="2467529"/>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7" name="Group 89"/>
            <p:cNvGrpSpPr/>
            <p:nvPr/>
          </p:nvGrpSpPr>
          <p:grpSpPr>
            <a:xfrm>
              <a:off x="5349095" y="2909493"/>
              <a:ext cx="1542753" cy="1109025"/>
              <a:chOff x="5820057" y="3111857"/>
              <a:chExt cx="1691103" cy="1215668"/>
            </a:xfrm>
          </p:grpSpPr>
          <p:grpSp>
            <p:nvGrpSpPr>
              <p:cNvPr id="8" name="Group 81"/>
              <p:cNvGrpSpPr/>
              <p:nvPr/>
            </p:nvGrpSpPr>
            <p:grpSpPr>
              <a:xfrm>
                <a:off x="5850148" y="3367629"/>
                <a:ext cx="1642959" cy="959896"/>
                <a:chOff x="9172575" y="1344613"/>
                <a:chExt cx="1733551" cy="1012825"/>
              </a:xfrm>
              <a:solidFill>
                <a:schemeClr val="bg1"/>
              </a:solidFill>
            </p:grpSpPr>
            <p:sp>
              <p:nvSpPr>
                <p:cNvPr id="81" name="Rectangle 80"/>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9" name="Group 79"/>
                <p:cNvGrpSpPr/>
                <p:nvPr/>
              </p:nvGrpSpPr>
              <p:grpSpPr>
                <a:xfrm>
                  <a:off x="9172575" y="1344613"/>
                  <a:ext cx="1733551" cy="1012825"/>
                  <a:chOff x="9172575" y="1344613"/>
                  <a:chExt cx="1733551" cy="1012825"/>
                </a:xfrm>
                <a:grpFill/>
              </p:grpSpPr>
              <p:sp>
                <p:nvSpPr>
                  <p:cNvPr id="1089"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9" name="Rectangle 78"/>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89"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0" name="Group 116"/>
            <p:cNvGrpSpPr/>
            <p:nvPr/>
          </p:nvGrpSpPr>
          <p:grpSpPr>
            <a:xfrm>
              <a:off x="7291388" y="2198688"/>
              <a:ext cx="655637" cy="1819275"/>
              <a:chOff x="7291388" y="2198688"/>
              <a:chExt cx="655637" cy="1819275"/>
            </a:xfrm>
          </p:grpSpPr>
          <p:sp>
            <p:nvSpPr>
              <p:cNvPr id="55302"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solidFill>
                <a:srgbClr val="14A79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5303"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solidFill>
                <a:srgbClr val="22C6AA"/>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sp>
        <p:nvSpPr>
          <p:cNvPr id="198" name="Rectangle 11"/>
          <p:cNvSpPr>
            <a:spLocks noChangeArrowheads="1"/>
          </p:cNvSpPr>
          <p:nvPr/>
        </p:nvSpPr>
        <p:spPr bwMode="auto">
          <a:xfrm>
            <a:off x="273050" y="4021515"/>
            <a:ext cx="8594723" cy="699710"/>
          </a:xfrm>
          <a:prstGeom prst="rect">
            <a:avLst/>
          </a:prstGeom>
          <a:solidFill>
            <a:schemeClr val="bg1"/>
          </a:solidFill>
          <a:ln w="9525">
            <a:noFill/>
            <a:miter lim="800000"/>
            <a:headEnd/>
            <a:tailEnd/>
          </a:ln>
        </p:spPr>
        <p:txBody>
          <a:bodyPr vert="horz" wrap="square" lIns="91440" tIns="45720" rIns="91440" bIns="45720" numCol="2" anchor="t" anchorCtr="0" compatLnSpc="1">
            <a:prstTxWarp prst="textNoShape">
              <a:avLst/>
            </a:prstTxWarp>
          </a:bodyPr>
          <a:lstStyle/>
          <a:p>
            <a:pPr marL="173736" indent="-173736">
              <a:lnSpc>
                <a:spcPct val="110000"/>
              </a:lnSpc>
              <a:spcBef>
                <a:spcPts val="200"/>
              </a:spcBef>
              <a:buFont typeface="Wingdings" panose="05000000000000000000" pitchFamily="2" charset="2"/>
              <a:buChar char="§"/>
            </a:pPr>
            <a:endParaRPr lang="en-US" sz="1400" dirty="0" smtClean="0">
              <a:solidFill>
                <a:schemeClr val="bg1"/>
              </a:solidFill>
              <a:latin typeface="+mj-lt"/>
            </a:endParaRPr>
          </a:p>
        </p:txBody>
      </p:sp>
      <p:grpSp>
        <p:nvGrpSpPr>
          <p:cNvPr id="11" name="Group 109"/>
          <p:cNvGrpSpPr/>
          <p:nvPr/>
        </p:nvGrpSpPr>
        <p:grpSpPr>
          <a:xfrm>
            <a:off x="451344" y="2198688"/>
            <a:ext cx="8416431" cy="1819830"/>
            <a:chOff x="603744" y="2351088"/>
            <a:chExt cx="8416431" cy="1819830"/>
          </a:xfrm>
          <a:solidFill>
            <a:schemeClr val="accent1">
              <a:lumMod val="20000"/>
              <a:lumOff val="80000"/>
              <a:alpha val="77000"/>
            </a:schemeClr>
          </a:solidFill>
        </p:grpSpPr>
        <p:sp>
          <p:nvSpPr>
            <p:cNvPr id="74" name="Rectangle 73"/>
            <p:cNvSpPr/>
            <p:nvPr/>
          </p:nvSpPr>
          <p:spPr>
            <a:xfrm>
              <a:off x="8010525" y="4066320"/>
              <a:ext cx="1009650" cy="104598"/>
            </a:xfrm>
            <a:prstGeom prst="rect">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smtClean="0">
                <a:solidFill>
                  <a:schemeClr val="tx1"/>
                </a:solidFill>
                <a:latin typeface="+mj-lt"/>
                <a:ea typeface="ＭＳ Ｐゴシック" pitchFamily="34" charset="-128"/>
              </a:endParaRPr>
            </a:p>
          </p:txBody>
        </p:sp>
        <p:sp>
          <p:nvSpPr>
            <p:cNvPr id="75" name="Freeform 29"/>
            <p:cNvSpPr>
              <a:spLocks noEditPoints="1"/>
            </p:cNvSpPr>
            <p:nvPr/>
          </p:nvSpPr>
          <p:spPr bwMode="auto">
            <a:xfrm>
              <a:off x="1291124" y="2915252"/>
              <a:ext cx="365599" cy="1255666"/>
            </a:xfrm>
            <a:custGeom>
              <a:avLst/>
              <a:gdLst/>
              <a:ahLst/>
              <a:cxnLst>
                <a:cxn ang="0">
                  <a:pos x="359" y="834"/>
                </a:cxn>
                <a:cxn ang="0">
                  <a:pos x="0" y="784"/>
                </a:cxn>
                <a:cxn ang="0">
                  <a:pos x="0" y="900"/>
                </a:cxn>
                <a:cxn ang="0">
                  <a:pos x="359" y="850"/>
                </a:cxn>
                <a:cxn ang="0">
                  <a:pos x="0" y="900"/>
                </a:cxn>
                <a:cxn ang="0">
                  <a:pos x="359" y="767"/>
                </a:cxn>
                <a:cxn ang="0">
                  <a:pos x="0" y="718"/>
                </a:cxn>
                <a:cxn ang="0">
                  <a:pos x="0" y="966"/>
                </a:cxn>
                <a:cxn ang="0">
                  <a:pos x="359" y="916"/>
                </a:cxn>
                <a:cxn ang="0">
                  <a:pos x="0" y="966"/>
                </a:cxn>
                <a:cxn ang="0">
                  <a:pos x="359" y="1233"/>
                </a:cxn>
                <a:cxn ang="0">
                  <a:pos x="0" y="1183"/>
                </a:cxn>
                <a:cxn ang="0">
                  <a:pos x="0" y="701"/>
                </a:cxn>
                <a:cxn ang="0">
                  <a:pos x="359" y="652"/>
                </a:cxn>
                <a:cxn ang="0">
                  <a:pos x="0" y="701"/>
                </a:cxn>
                <a:cxn ang="0">
                  <a:pos x="359" y="1034"/>
                </a:cxn>
                <a:cxn ang="0">
                  <a:pos x="0" y="985"/>
                </a:cxn>
                <a:cxn ang="0">
                  <a:pos x="0" y="1101"/>
                </a:cxn>
                <a:cxn ang="0">
                  <a:pos x="359" y="1051"/>
                </a:cxn>
                <a:cxn ang="0">
                  <a:pos x="0" y="1101"/>
                </a:cxn>
                <a:cxn ang="0">
                  <a:pos x="359" y="1167"/>
                </a:cxn>
                <a:cxn ang="0">
                  <a:pos x="0" y="1117"/>
                </a:cxn>
                <a:cxn ang="0">
                  <a:pos x="0" y="300"/>
                </a:cxn>
                <a:cxn ang="0">
                  <a:pos x="359" y="250"/>
                </a:cxn>
                <a:cxn ang="0">
                  <a:pos x="0" y="300"/>
                </a:cxn>
                <a:cxn ang="0">
                  <a:pos x="359" y="234"/>
                </a:cxn>
                <a:cxn ang="0">
                  <a:pos x="0" y="184"/>
                </a:cxn>
                <a:cxn ang="0">
                  <a:pos x="0" y="366"/>
                </a:cxn>
                <a:cxn ang="0">
                  <a:pos x="359" y="319"/>
                </a:cxn>
                <a:cxn ang="0">
                  <a:pos x="0" y="366"/>
                </a:cxn>
                <a:cxn ang="0">
                  <a:pos x="132" y="97"/>
                </a:cxn>
                <a:cxn ang="0">
                  <a:pos x="83" y="0"/>
                </a:cxn>
                <a:cxn ang="0">
                  <a:pos x="78" y="97"/>
                </a:cxn>
                <a:cxn ang="0">
                  <a:pos x="36" y="118"/>
                </a:cxn>
                <a:cxn ang="0">
                  <a:pos x="0" y="167"/>
                </a:cxn>
                <a:cxn ang="0">
                  <a:pos x="359" y="118"/>
                </a:cxn>
                <a:cxn ang="0">
                  <a:pos x="0" y="500"/>
                </a:cxn>
                <a:cxn ang="0">
                  <a:pos x="359" y="451"/>
                </a:cxn>
                <a:cxn ang="0">
                  <a:pos x="0" y="500"/>
                </a:cxn>
                <a:cxn ang="0">
                  <a:pos x="359" y="567"/>
                </a:cxn>
                <a:cxn ang="0">
                  <a:pos x="0" y="517"/>
                </a:cxn>
                <a:cxn ang="0">
                  <a:pos x="0" y="633"/>
                </a:cxn>
                <a:cxn ang="0">
                  <a:pos x="359" y="583"/>
                </a:cxn>
                <a:cxn ang="0">
                  <a:pos x="0" y="633"/>
                </a:cxn>
                <a:cxn ang="0">
                  <a:pos x="359" y="434"/>
                </a:cxn>
                <a:cxn ang="0">
                  <a:pos x="0" y="385"/>
                </a:cxn>
              </a:cxnLst>
              <a:rect l="0" t="0" r="r" b="b"/>
              <a:pathLst>
                <a:path w="359" h="1233">
                  <a:moveTo>
                    <a:pt x="0" y="834"/>
                  </a:moveTo>
                  <a:lnTo>
                    <a:pt x="359" y="834"/>
                  </a:lnTo>
                  <a:lnTo>
                    <a:pt x="359" y="784"/>
                  </a:lnTo>
                  <a:lnTo>
                    <a:pt x="0" y="784"/>
                  </a:lnTo>
                  <a:lnTo>
                    <a:pt x="0" y="834"/>
                  </a:lnTo>
                  <a:close/>
                  <a:moveTo>
                    <a:pt x="0" y="900"/>
                  </a:moveTo>
                  <a:lnTo>
                    <a:pt x="359" y="900"/>
                  </a:lnTo>
                  <a:lnTo>
                    <a:pt x="359" y="850"/>
                  </a:lnTo>
                  <a:lnTo>
                    <a:pt x="0" y="850"/>
                  </a:lnTo>
                  <a:lnTo>
                    <a:pt x="0" y="900"/>
                  </a:lnTo>
                  <a:close/>
                  <a:moveTo>
                    <a:pt x="0" y="767"/>
                  </a:moveTo>
                  <a:lnTo>
                    <a:pt x="359" y="767"/>
                  </a:lnTo>
                  <a:lnTo>
                    <a:pt x="359" y="718"/>
                  </a:lnTo>
                  <a:lnTo>
                    <a:pt x="0" y="718"/>
                  </a:lnTo>
                  <a:lnTo>
                    <a:pt x="0" y="767"/>
                  </a:lnTo>
                  <a:close/>
                  <a:moveTo>
                    <a:pt x="0" y="966"/>
                  </a:moveTo>
                  <a:lnTo>
                    <a:pt x="359" y="966"/>
                  </a:lnTo>
                  <a:lnTo>
                    <a:pt x="359" y="916"/>
                  </a:lnTo>
                  <a:lnTo>
                    <a:pt x="0" y="916"/>
                  </a:lnTo>
                  <a:lnTo>
                    <a:pt x="0" y="966"/>
                  </a:lnTo>
                  <a:close/>
                  <a:moveTo>
                    <a:pt x="0" y="1233"/>
                  </a:moveTo>
                  <a:lnTo>
                    <a:pt x="359" y="1233"/>
                  </a:lnTo>
                  <a:lnTo>
                    <a:pt x="359" y="1183"/>
                  </a:lnTo>
                  <a:lnTo>
                    <a:pt x="0" y="1183"/>
                  </a:lnTo>
                  <a:lnTo>
                    <a:pt x="0" y="1233"/>
                  </a:lnTo>
                  <a:close/>
                  <a:moveTo>
                    <a:pt x="0" y="701"/>
                  </a:moveTo>
                  <a:lnTo>
                    <a:pt x="359" y="701"/>
                  </a:lnTo>
                  <a:lnTo>
                    <a:pt x="359" y="652"/>
                  </a:lnTo>
                  <a:lnTo>
                    <a:pt x="0" y="652"/>
                  </a:lnTo>
                  <a:lnTo>
                    <a:pt x="0" y="701"/>
                  </a:lnTo>
                  <a:close/>
                  <a:moveTo>
                    <a:pt x="0" y="1034"/>
                  </a:moveTo>
                  <a:lnTo>
                    <a:pt x="359" y="1034"/>
                  </a:lnTo>
                  <a:lnTo>
                    <a:pt x="359" y="985"/>
                  </a:lnTo>
                  <a:lnTo>
                    <a:pt x="0" y="985"/>
                  </a:lnTo>
                  <a:lnTo>
                    <a:pt x="0" y="1034"/>
                  </a:lnTo>
                  <a:close/>
                  <a:moveTo>
                    <a:pt x="0" y="1101"/>
                  </a:moveTo>
                  <a:lnTo>
                    <a:pt x="359" y="1101"/>
                  </a:lnTo>
                  <a:lnTo>
                    <a:pt x="359" y="1051"/>
                  </a:lnTo>
                  <a:lnTo>
                    <a:pt x="0" y="1051"/>
                  </a:lnTo>
                  <a:lnTo>
                    <a:pt x="0" y="1101"/>
                  </a:lnTo>
                  <a:close/>
                  <a:moveTo>
                    <a:pt x="0" y="1167"/>
                  </a:moveTo>
                  <a:lnTo>
                    <a:pt x="359" y="1167"/>
                  </a:lnTo>
                  <a:lnTo>
                    <a:pt x="359" y="1117"/>
                  </a:lnTo>
                  <a:lnTo>
                    <a:pt x="0" y="1117"/>
                  </a:lnTo>
                  <a:lnTo>
                    <a:pt x="0" y="1167"/>
                  </a:lnTo>
                  <a:close/>
                  <a:moveTo>
                    <a:pt x="0" y="300"/>
                  </a:moveTo>
                  <a:lnTo>
                    <a:pt x="359" y="300"/>
                  </a:lnTo>
                  <a:lnTo>
                    <a:pt x="359" y="250"/>
                  </a:lnTo>
                  <a:lnTo>
                    <a:pt x="0" y="250"/>
                  </a:lnTo>
                  <a:lnTo>
                    <a:pt x="0" y="300"/>
                  </a:lnTo>
                  <a:close/>
                  <a:moveTo>
                    <a:pt x="0" y="234"/>
                  </a:moveTo>
                  <a:lnTo>
                    <a:pt x="359" y="234"/>
                  </a:lnTo>
                  <a:lnTo>
                    <a:pt x="359" y="184"/>
                  </a:lnTo>
                  <a:lnTo>
                    <a:pt x="0" y="184"/>
                  </a:lnTo>
                  <a:lnTo>
                    <a:pt x="0" y="234"/>
                  </a:lnTo>
                  <a:close/>
                  <a:moveTo>
                    <a:pt x="0" y="366"/>
                  </a:moveTo>
                  <a:lnTo>
                    <a:pt x="359" y="366"/>
                  </a:lnTo>
                  <a:lnTo>
                    <a:pt x="359" y="319"/>
                  </a:lnTo>
                  <a:lnTo>
                    <a:pt x="0" y="319"/>
                  </a:lnTo>
                  <a:lnTo>
                    <a:pt x="0" y="366"/>
                  </a:lnTo>
                  <a:close/>
                  <a:moveTo>
                    <a:pt x="132" y="118"/>
                  </a:moveTo>
                  <a:lnTo>
                    <a:pt x="132" y="97"/>
                  </a:lnTo>
                  <a:lnTo>
                    <a:pt x="83" y="97"/>
                  </a:lnTo>
                  <a:lnTo>
                    <a:pt x="83" y="0"/>
                  </a:lnTo>
                  <a:lnTo>
                    <a:pt x="78" y="0"/>
                  </a:lnTo>
                  <a:lnTo>
                    <a:pt x="78" y="97"/>
                  </a:lnTo>
                  <a:lnTo>
                    <a:pt x="36" y="97"/>
                  </a:lnTo>
                  <a:lnTo>
                    <a:pt x="36" y="118"/>
                  </a:lnTo>
                  <a:lnTo>
                    <a:pt x="0" y="118"/>
                  </a:lnTo>
                  <a:lnTo>
                    <a:pt x="0" y="167"/>
                  </a:lnTo>
                  <a:lnTo>
                    <a:pt x="359" y="167"/>
                  </a:lnTo>
                  <a:lnTo>
                    <a:pt x="359" y="118"/>
                  </a:lnTo>
                  <a:lnTo>
                    <a:pt x="132" y="118"/>
                  </a:lnTo>
                  <a:close/>
                  <a:moveTo>
                    <a:pt x="0" y="500"/>
                  </a:moveTo>
                  <a:lnTo>
                    <a:pt x="359" y="500"/>
                  </a:lnTo>
                  <a:lnTo>
                    <a:pt x="359" y="451"/>
                  </a:lnTo>
                  <a:lnTo>
                    <a:pt x="0" y="451"/>
                  </a:lnTo>
                  <a:lnTo>
                    <a:pt x="0" y="500"/>
                  </a:lnTo>
                  <a:close/>
                  <a:moveTo>
                    <a:pt x="0" y="567"/>
                  </a:moveTo>
                  <a:lnTo>
                    <a:pt x="359" y="567"/>
                  </a:lnTo>
                  <a:lnTo>
                    <a:pt x="359" y="517"/>
                  </a:lnTo>
                  <a:lnTo>
                    <a:pt x="0" y="517"/>
                  </a:lnTo>
                  <a:lnTo>
                    <a:pt x="0" y="567"/>
                  </a:lnTo>
                  <a:close/>
                  <a:moveTo>
                    <a:pt x="0" y="633"/>
                  </a:moveTo>
                  <a:lnTo>
                    <a:pt x="359" y="633"/>
                  </a:lnTo>
                  <a:lnTo>
                    <a:pt x="359" y="583"/>
                  </a:lnTo>
                  <a:lnTo>
                    <a:pt x="0" y="583"/>
                  </a:lnTo>
                  <a:lnTo>
                    <a:pt x="0" y="633"/>
                  </a:lnTo>
                  <a:close/>
                  <a:moveTo>
                    <a:pt x="0" y="434"/>
                  </a:moveTo>
                  <a:lnTo>
                    <a:pt x="359" y="434"/>
                  </a:lnTo>
                  <a:lnTo>
                    <a:pt x="359" y="385"/>
                  </a:lnTo>
                  <a:lnTo>
                    <a:pt x="0" y="385"/>
                  </a:lnTo>
                  <a:lnTo>
                    <a:pt x="0" y="4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2" name="Group 28"/>
            <p:cNvGrpSpPr/>
            <p:nvPr/>
          </p:nvGrpSpPr>
          <p:grpSpPr>
            <a:xfrm>
              <a:off x="1060132" y="3454039"/>
              <a:ext cx="301657" cy="716879"/>
              <a:chOff x="1790700" y="2979738"/>
              <a:chExt cx="539750" cy="1282700"/>
            </a:xfrm>
            <a:grpFill/>
          </p:grpSpPr>
          <p:sp>
            <p:nvSpPr>
              <p:cNvPr id="77" name="Rectangle 23"/>
              <p:cNvSpPr>
                <a:spLocks noChangeArrowheads="1"/>
              </p:cNvSpPr>
              <p:nvPr/>
            </p:nvSpPr>
            <p:spPr bwMode="auto">
              <a:xfrm>
                <a:off x="1790700" y="2986088"/>
                <a:ext cx="525463" cy="12763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78" name="Freeform 24"/>
              <p:cNvSpPr>
                <a:spLocks noEditPoints="1"/>
              </p:cNvSpPr>
              <p:nvPr/>
            </p:nvSpPr>
            <p:spPr bwMode="auto">
              <a:xfrm>
                <a:off x="1790700" y="2979738"/>
                <a:ext cx="539750" cy="1282700"/>
              </a:xfrm>
              <a:custGeom>
                <a:avLst/>
                <a:gdLst/>
                <a:ahLst/>
                <a:cxnLst>
                  <a:cxn ang="0">
                    <a:pos x="144" y="217"/>
                  </a:cxn>
                  <a:cxn ang="0">
                    <a:pos x="0" y="199"/>
                  </a:cxn>
                  <a:cxn ang="0">
                    <a:pos x="0" y="242"/>
                  </a:cxn>
                  <a:cxn ang="0">
                    <a:pos x="144" y="224"/>
                  </a:cxn>
                  <a:cxn ang="0">
                    <a:pos x="0" y="242"/>
                  </a:cxn>
                  <a:cxn ang="0">
                    <a:pos x="144" y="193"/>
                  </a:cxn>
                  <a:cxn ang="0">
                    <a:pos x="0" y="174"/>
                  </a:cxn>
                  <a:cxn ang="0">
                    <a:pos x="0" y="342"/>
                  </a:cxn>
                  <a:cxn ang="0">
                    <a:pos x="65" y="326"/>
                  </a:cxn>
                  <a:cxn ang="0">
                    <a:pos x="84" y="326"/>
                  </a:cxn>
                  <a:cxn ang="0">
                    <a:pos x="144" y="342"/>
                  </a:cxn>
                  <a:cxn ang="0">
                    <a:pos x="0" y="299"/>
                  </a:cxn>
                  <a:cxn ang="0">
                    <a:pos x="0" y="292"/>
                  </a:cxn>
                  <a:cxn ang="0">
                    <a:pos x="144" y="274"/>
                  </a:cxn>
                  <a:cxn ang="0">
                    <a:pos x="0" y="292"/>
                  </a:cxn>
                  <a:cxn ang="0">
                    <a:pos x="144" y="267"/>
                  </a:cxn>
                  <a:cxn ang="0">
                    <a:pos x="0" y="249"/>
                  </a:cxn>
                  <a:cxn ang="0">
                    <a:pos x="0" y="168"/>
                  </a:cxn>
                  <a:cxn ang="0">
                    <a:pos x="144" y="149"/>
                  </a:cxn>
                  <a:cxn ang="0">
                    <a:pos x="0" y="168"/>
                  </a:cxn>
                  <a:cxn ang="0">
                    <a:pos x="144" y="143"/>
                  </a:cxn>
                  <a:cxn ang="0">
                    <a:pos x="0" y="124"/>
                  </a:cxn>
                  <a:cxn ang="0">
                    <a:pos x="0" y="43"/>
                  </a:cxn>
                  <a:cxn ang="0">
                    <a:pos x="144" y="25"/>
                  </a:cxn>
                  <a:cxn ang="0">
                    <a:pos x="0" y="43"/>
                  </a:cxn>
                  <a:cxn ang="0">
                    <a:pos x="0" y="18"/>
                  </a:cxn>
                  <a:cxn ang="0">
                    <a:pos x="144" y="0"/>
                  </a:cxn>
                  <a:cxn ang="0">
                    <a:pos x="0" y="68"/>
                  </a:cxn>
                  <a:cxn ang="0">
                    <a:pos x="144" y="49"/>
                  </a:cxn>
                  <a:cxn ang="0">
                    <a:pos x="0" y="68"/>
                  </a:cxn>
                  <a:cxn ang="0">
                    <a:pos x="144" y="93"/>
                  </a:cxn>
                  <a:cxn ang="0">
                    <a:pos x="0" y="74"/>
                  </a:cxn>
                  <a:cxn ang="0">
                    <a:pos x="0" y="118"/>
                  </a:cxn>
                  <a:cxn ang="0">
                    <a:pos x="144" y="99"/>
                  </a:cxn>
                  <a:cxn ang="0">
                    <a:pos x="0" y="118"/>
                  </a:cxn>
                </a:cxnLst>
                <a:rect l="0" t="0" r="r" b="b"/>
                <a:pathLst>
                  <a:path w="144" h="342">
                    <a:moveTo>
                      <a:pt x="0" y="217"/>
                    </a:moveTo>
                    <a:cubicBezTo>
                      <a:pt x="144" y="217"/>
                      <a:pt x="144" y="217"/>
                      <a:pt x="144" y="217"/>
                    </a:cubicBezTo>
                    <a:cubicBezTo>
                      <a:pt x="144" y="199"/>
                      <a:pt x="144" y="199"/>
                      <a:pt x="144" y="199"/>
                    </a:cubicBezTo>
                    <a:cubicBezTo>
                      <a:pt x="0" y="199"/>
                      <a:pt x="0" y="199"/>
                      <a:pt x="0" y="199"/>
                    </a:cubicBezTo>
                    <a:lnTo>
                      <a:pt x="0" y="217"/>
                    </a:lnTo>
                    <a:close/>
                    <a:moveTo>
                      <a:pt x="0" y="242"/>
                    </a:moveTo>
                    <a:cubicBezTo>
                      <a:pt x="144" y="242"/>
                      <a:pt x="144" y="242"/>
                      <a:pt x="144" y="242"/>
                    </a:cubicBezTo>
                    <a:cubicBezTo>
                      <a:pt x="144" y="224"/>
                      <a:pt x="144" y="224"/>
                      <a:pt x="144" y="224"/>
                    </a:cubicBezTo>
                    <a:cubicBezTo>
                      <a:pt x="0" y="224"/>
                      <a:pt x="0" y="224"/>
                      <a:pt x="0" y="224"/>
                    </a:cubicBezTo>
                    <a:lnTo>
                      <a:pt x="0" y="242"/>
                    </a:lnTo>
                    <a:close/>
                    <a:moveTo>
                      <a:pt x="0" y="193"/>
                    </a:moveTo>
                    <a:cubicBezTo>
                      <a:pt x="144" y="193"/>
                      <a:pt x="144" y="193"/>
                      <a:pt x="144" y="193"/>
                    </a:cubicBezTo>
                    <a:cubicBezTo>
                      <a:pt x="144" y="174"/>
                      <a:pt x="144" y="174"/>
                      <a:pt x="144" y="174"/>
                    </a:cubicBezTo>
                    <a:cubicBezTo>
                      <a:pt x="0" y="174"/>
                      <a:pt x="0" y="174"/>
                      <a:pt x="0" y="174"/>
                    </a:cubicBezTo>
                    <a:lnTo>
                      <a:pt x="0" y="193"/>
                    </a:lnTo>
                    <a:close/>
                    <a:moveTo>
                      <a:pt x="0" y="342"/>
                    </a:moveTo>
                    <a:cubicBezTo>
                      <a:pt x="65" y="342"/>
                      <a:pt x="65" y="342"/>
                      <a:pt x="65" y="342"/>
                    </a:cubicBezTo>
                    <a:cubicBezTo>
                      <a:pt x="65" y="326"/>
                      <a:pt x="65" y="326"/>
                      <a:pt x="65" y="326"/>
                    </a:cubicBezTo>
                    <a:cubicBezTo>
                      <a:pt x="65" y="321"/>
                      <a:pt x="69" y="317"/>
                      <a:pt x="75" y="317"/>
                    </a:cubicBezTo>
                    <a:cubicBezTo>
                      <a:pt x="80" y="317"/>
                      <a:pt x="84" y="321"/>
                      <a:pt x="84" y="326"/>
                    </a:cubicBezTo>
                    <a:cubicBezTo>
                      <a:pt x="84" y="342"/>
                      <a:pt x="84" y="342"/>
                      <a:pt x="84" y="342"/>
                    </a:cubicBezTo>
                    <a:cubicBezTo>
                      <a:pt x="144" y="342"/>
                      <a:pt x="144" y="342"/>
                      <a:pt x="144" y="342"/>
                    </a:cubicBezTo>
                    <a:cubicBezTo>
                      <a:pt x="144" y="299"/>
                      <a:pt x="144" y="299"/>
                      <a:pt x="144" y="299"/>
                    </a:cubicBezTo>
                    <a:cubicBezTo>
                      <a:pt x="0" y="299"/>
                      <a:pt x="0" y="299"/>
                      <a:pt x="0" y="299"/>
                    </a:cubicBezTo>
                    <a:lnTo>
                      <a:pt x="0" y="342"/>
                    </a:lnTo>
                    <a:close/>
                    <a:moveTo>
                      <a:pt x="0" y="292"/>
                    </a:moveTo>
                    <a:cubicBezTo>
                      <a:pt x="144" y="292"/>
                      <a:pt x="144" y="292"/>
                      <a:pt x="144" y="292"/>
                    </a:cubicBezTo>
                    <a:cubicBezTo>
                      <a:pt x="144" y="274"/>
                      <a:pt x="144" y="274"/>
                      <a:pt x="144" y="274"/>
                    </a:cubicBezTo>
                    <a:cubicBezTo>
                      <a:pt x="0" y="274"/>
                      <a:pt x="0" y="274"/>
                      <a:pt x="0" y="274"/>
                    </a:cubicBezTo>
                    <a:lnTo>
                      <a:pt x="0" y="292"/>
                    </a:lnTo>
                    <a:close/>
                    <a:moveTo>
                      <a:pt x="0" y="267"/>
                    </a:moveTo>
                    <a:cubicBezTo>
                      <a:pt x="144" y="267"/>
                      <a:pt x="144" y="267"/>
                      <a:pt x="144" y="267"/>
                    </a:cubicBezTo>
                    <a:cubicBezTo>
                      <a:pt x="144" y="249"/>
                      <a:pt x="144" y="249"/>
                      <a:pt x="144" y="249"/>
                    </a:cubicBezTo>
                    <a:cubicBezTo>
                      <a:pt x="0" y="249"/>
                      <a:pt x="0" y="249"/>
                      <a:pt x="0" y="249"/>
                    </a:cubicBezTo>
                    <a:lnTo>
                      <a:pt x="0" y="267"/>
                    </a:lnTo>
                    <a:close/>
                    <a:moveTo>
                      <a:pt x="0" y="168"/>
                    </a:moveTo>
                    <a:cubicBezTo>
                      <a:pt x="144" y="168"/>
                      <a:pt x="144" y="168"/>
                      <a:pt x="144" y="168"/>
                    </a:cubicBezTo>
                    <a:cubicBezTo>
                      <a:pt x="144" y="149"/>
                      <a:pt x="144" y="149"/>
                      <a:pt x="144" y="149"/>
                    </a:cubicBezTo>
                    <a:cubicBezTo>
                      <a:pt x="0" y="149"/>
                      <a:pt x="0" y="149"/>
                      <a:pt x="0" y="149"/>
                    </a:cubicBezTo>
                    <a:lnTo>
                      <a:pt x="0" y="168"/>
                    </a:lnTo>
                    <a:close/>
                    <a:moveTo>
                      <a:pt x="0" y="143"/>
                    </a:moveTo>
                    <a:cubicBezTo>
                      <a:pt x="144" y="143"/>
                      <a:pt x="144" y="143"/>
                      <a:pt x="144" y="143"/>
                    </a:cubicBezTo>
                    <a:cubicBezTo>
                      <a:pt x="144" y="124"/>
                      <a:pt x="144" y="124"/>
                      <a:pt x="144" y="124"/>
                    </a:cubicBezTo>
                    <a:cubicBezTo>
                      <a:pt x="0" y="124"/>
                      <a:pt x="0" y="124"/>
                      <a:pt x="0" y="124"/>
                    </a:cubicBezTo>
                    <a:lnTo>
                      <a:pt x="0" y="143"/>
                    </a:lnTo>
                    <a:close/>
                    <a:moveTo>
                      <a:pt x="0" y="43"/>
                    </a:moveTo>
                    <a:cubicBezTo>
                      <a:pt x="144" y="43"/>
                      <a:pt x="144" y="43"/>
                      <a:pt x="144" y="43"/>
                    </a:cubicBezTo>
                    <a:cubicBezTo>
                      <a:pt x="144" y="25"/>
                      <a:pt x="144" y="25"/>
                      <a:pt x="144" y="25"/>
                    </a:cubicBezTo>
                    <a:cubicBezTo>
                      <a:pt x="0" y="25"/>
                      <a:pt x="0" y="25"/>
                      <a:pt x="0" y="25"/>
                    </a:cubicBezTo>
                    <a:lnTo>
                      <a:pt x="0" y="43"/>
                    </a:lnTo>
                    <a:close/>
                    <a:moveTo>
                      <a:pt x="0" y="0"/>
                    </a:moveTo>
                    <a:cubicBezTo>
                      <a:pt x="0" y="18"/>
                      <a:pt x="0" y="18"/>
                      <a:pt x="0" y="18"/>
                    </a:cubicBezTo>
                    <a:cubicBezTo>
                      <a:pt x="144" y="18"/>
                      <a:pt x="144" y="18"/>
                      <a:pt x="144" y="18"/>
                    </a:cubicBezTo>
                    <a:cubicBezTo>
                      <a:pt x="144" y="0"/>
                      <a:pt x="144" y="0"/>
                      <a:pt x="144" y="0"/>
                    </a:cubicBezTo>
                    <a:lnTo>
                      <a:pt x="0" y="0"/>
                    </a:lnTo>
                    <a:close/>
                    <a:moveTo>
                      <a:pt x="0" y="68"/>
                    </a:moveTo>
                    <a:cubicBezTo>
                      <a:pt x="144" y="68"/>
                      <a:pt x="144" y="68"/>
                      <a:pt x="144" y="68"/>
                    </a:cubicBezTo>
                    <a:cubicBezTo>
                      <a:pt x="144" y="49"/>
                      <a:pt x="144" y="49"/>
                      <a:pt x="144" y="49"/>
                    </a:cubicBezTo>
                    <a:cubicBezTo>
                      <a:pt x="0" y="49"/>
                      <a:pt x="0" y="49"/>
                      <a:pt x="0" y="49"/>
                    </a:cubicBezTo>
                    <a:lnTo>
                      <a:pt x="0" y="68"/>
                    </a:lnTo>
                    <a:close/>
                    <a:moveTo>
                      <a:pt x="0" y="93"/>
                    </a:moveTo>
                    <a:cubicBezTo>
                      <a:pt x="144" y="93"/>
                      <a:pt x="144" y="93"/>
                      <a:pt x="144" y="93"/>
                    </a:cubicBezTo>
                    <a:cubicBezTo>
                      <a:pt x="144" y="74"/>
                      <a:pt x="144" y="74"/>
                      <a:pt x="144" y="74"/>
                    </a:cubicBezTo>
                    <a:cubicBezTo>
                      <a:pt x="0" y="74"/>
                      <a:pt x="0" y="74"/>
                      <a:pt x="0" y="74"/>
                    </a:cubicBezTo>
                    <a:lnTo>
                      <a:pt x="0" y="93"/>
                    </a:lnTo>
                    <a:close/>
                    <a:moveTo>
                      <a:pt x="0" y="118"/>
                    </a:moveTo>
                    <a:cubicBezTo>
                      <a:pt x="144" y="118"/>
                      <a:pt x="144" y="118"/>
                      <a:pt x="144" y="118"/>
                    </a:cubicBezTo>
                    <a:cubicBezTo>
                      <a:pt x="144" y="99"/>
                      <a:pt x="144" y="99"/>
                      <a:pt x="144" y="99"/>
                    </a:cubicBezTo>
                    <a:cubicBezTo>
                      <a:pt x="0" y="99"/>
                      <a:pt x="0" y="99"/>
                      <a:pt x="0" y="99"/>
                    </a:cubicBezTo>
                    <a:lnTo>
                      <a:pt x="0" y="1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3" name="Group 58"/>
            <p:cNvGrpSpPr/>
            <p:nvPr/>
          </p:nvGrpSpPr>
          <p:grpSpPr>
            <a:xfrm>
              <a:off x="603744" y="3053024"/>
              <a:ext cx="502539" cy="1117894"/>
              <a:chOff x="50589" y="3098960"/>
              <a:chExt cx="550863" cy="1225389"/>
            </a:xfrm>
            <a:grpFill/>
          </p:grpSpPr>
          <p:sp>
            <p:nvSpPr>
              <p:cNvPr id="82" name="Freeform 17"/>
              <p:cNvSpPr>
                <a:spLocks noEditPoints="1"/>
              </p:cNvSpPr>
              <p:nvPr/>
            </p:nvSpPr>
            <p:spPr bwMode="auto">
              <a:xfrm>
                <a:off x="101178" y="3240423"/>
                <a:ext cx="449684" cy="953705"/>
              </a:xfrm>
              <a:custGeom>
                <a:avLst/>
                <a:gdLst/>
                <a:ahLst/>
                <a:cxnLst>
                  <a:cxn ang="0">
                    <a:pos x="36" y="94"/>
                  </a:cxn>
                  <a:cxn ang="0">
                    <a:pos x="154" y="624"/>
                  </a:cxn>
                  <a:cxn ang="0">
                    <a:pos x="154" y="576"/>
                  </a:cxn>
                  <a:cxn ang="0">
                    <a:pos x="36" y="250"/>
                  </a:cxn>
                  <a:cxn ang="0">
                    <a:pos x="0" y="250"/>
                  </a:cxn>
                  <a:cxn ang="0">
                    <a:pos x="36" y="288"/>
                  </a:cxn>
                  <a:cxn ang="0">
                    <a:pos x="154" y="720"/>
                  </a:cxn>
                  <a:cxn ang="0">
                    <a:pos x="154" y="671"/>
                  </a:cxn>
                  <a:cxn ang="0">
                    <a:pos x="319" y="817"/>
                  </a:cxn>
                  <a:cxn ang="0">
                    <a:pos x="154" y="817"/>
                  </a:cxn>
                  <a:cxn ang="0">
                    <a:pos x="319" y="865"/>
                  </a:cxn>
                  <a:cxn ang="0">
                    <a:pos x="154" y="1009"/>
                  </a:cxn>
                  <a:cxn ang="0">
                    <a:pos x="154" y="961"/>
                  </a:cxn>
                  <a:cxn ang="0">
                    <a:pos x="36" y="827"/>
                  </a:cxn>
                  <a:cxn ang="0">
                    <a:pos x="0" y="827"/>
                  </a:cxn>
                  <a:cxn ang="0">
                    <a:pos x="36" y="865"/>
                  </a:cxn>
                  <a:cxn ang="0">
                    <a:pos x="0" y="1018"/>
                  </a:cxn>
                  <a:cxn ang="0">
                    <a:pos x="0" y="961"/>
                  </a:cxn>
                  <a:cxn ang="0">
                    <a:pos x="36" y="539"/>
                  </a:cxn>
                  <a:cxn ang="0">
                    <a:pos x="0" y="539"/>
                  </a:cxn>
                  <a:cxn ang="0">
                    <a:pos x="36" y="383"/>
                  </a:cxn>
                  <a:cxn ang="0">
                    <a:pos x="0" y="635"/>
                  </a:cxn>
                  <a:cxn ang="0">
                    <a:pos x="0" y="576"/>
                  </a:cxn>
                  <a:cxn ang="0">
                    <a:pos x="36" y="730"/>
                  </a:cxn>
                  <a:cxn ang="0">
                    <a:pos x="0" y="730"/>
                  </a:cxn>
                  <a:cxn ang="0">
                    <a:pos x="480" y="671"/>
                  </a:cxn>
                  <a:cxn ang="0">
                    <a:pos x="442" y="539"/>
                  </a:cxn>
                  <a:cxn ang="0">
                    <a:pos x="442" y="479"/>
                  </a:cxn>
                  <a:cxn ang="0">
                    <a:pos x="480" y="635"/>
                  </a:cxn>
                  <a:cxn ang="0">
                    <a:pos x="442" y="635"/>
                  </a:cxn>
                  <a:cxn ang="0">
                    <a:pos x="480" y="383"/>
                  </a:cxn>
                  <a:cxn ang="0">
                    <a:pos x="442" y="347"/>
                  </a:cxn>
                  <a:cxn ang="0">
                    <a:pos x="442" y="288"/>
                  </a:cxn>
                  <a:cxn ang="0">
                    <a:pos x="442" y="153"/>
                  </a:cxn>
                  <a:cxn ang="0">
                    <a:pos x="442" y="94"/>
                  </a:cxn>
                  <a:cxn ang="0">
                    <a:pos x="319" y="479"/>
                  </a:cxn>
                  <a:cxn ang="0">
                    <a:pos x="442" y="827"/>
                  </a:cxn>
                  <a:cxn ang="0">
                    <a:pos x="442" y="768"/>
                  </a:cxn>
                  <a:cxn ang="0">
                    <a:pos x="480" y="250"/>
                  </a:cxn>
                  <a:cxn ang="0">
                    <a:pos x="442" y="250"/>
                  </a:cxn>
                  <a:cxn ang="0">
                    <a:pos x="319" y="288"/>
                  </a:cxn>
                  <a:cxn ang="0">
                    <a:pos x="154" y="238"/>
                  </a:cxn>
                  <a:cxn ang="0">
                    <a:pos x="154" y="191"/>
                  </a:cxn>
                  <a:cxn ang="0">
                    <a:pos x="319" y="432"/>
                  </a:cxn>
                  <a:cxn ang="0">
                    <a:pos x="154" y="432"/>
                  </a:cxn>
                  <a:cxn ang="0">
                    <a:pos x="319" y="0"/>
                  </a:cxn>
                  <a:cxn ang="0">
                    <a:pos x="442" y="1018"/>
                  </a:cxn>
                  <a:cxn ang="0">
                    <a:pos x="442" y="961"/>
                  </a:cxn>
                  <a:cxn ang="0">
                    <a:pos x="480" y="924"/>
                  </a:cxn>
                  <a:cxn ang="0">
                    <a:pos x="442" y="924"/>
                  </a:cxn>
                  <a:cxn ang="0">
                    <a:pos x="319" y="94"/>
                  </a:cxn>
                </a:cxnLst>
                <a:rect l="0" t="0" r="r" b="b"/>
                <a:pathLst>
                  <a:path w="480" h="1018">
                    <a:moveTo>
                      <a:pt x="0" y="153"/>
                    </a:moveTo>
                    <a:lnTo>
                      <a:pt x="36" y="153"/>
                    </a:lnTo>
                    <a:lnTo>
                      <a:pt x="36" y="94"/>
                    </a:lnTo>
                    <a:lnTo>
                      <a:pt x="0" y="94"/>
                    </a:lnTo>
                    <a:lnTo>
                      <a:pt x="0" y="153"/>
                    </a:lnTo>
                    <a:close/>
                    <a:moveTo>
                      <a:pt x="154" y="624"/>
                    </a:moveTo>
                    <a:lnTo>
                      <a:pt x="319" y="624"/>
                    </a:lnTo>
                    <a:lnTo>
                      <a:pt x="319" y="576"/>
                    </a:lnTo>
                    <a:lnTo>
                      <a:pt x="154" y="576"/>
                    </a:lnTo>
                    <a:lnTo>
                      <a:pt x="154" y="624"/>
                    </a:lnTo>
                    <a:close/>
                    <a:moveTo>
                      <a:pt x="0" y="250"/>
                    </a:moveTo>
                    <a:lnTo>
                      <a:pt x="36" y="250"/>
                    </a:lnTo>
                    <a:lnTo>
                      <a:pt x="36" y="191"/>
                    </a:lnTo>
                    <a:lnTo>
                      <a:pt x="0" y="191"/>
                    </a:lnTo>
                    <a:lnTo>
                      <a:pt x="0" y="250"/>
                    </a:lnTo>
                    <a:close/>
                    <a:moveTo>
                      <a:pt x="0" y="347"/>
                    </a:moveTo>
                    <a:lnTo>
                      <a:pt x="36" y="347"/>
                    </a:lnTo>
                    <a:lnTo>
                      <a:pt x="36" y="288"/>
                    </a:lnTo>
                    <a:lnTo>
                      <a:pt x="0" y="288"/>
                    </a:lnTo>
                    <a:lnTo>
                      <a:pt x="0" y="347"/>
                    </a:lnTo>
                    <a:close/>
                    <a:moveTo>
                      <a:pt x="154" y="720"/>
                    </a:moveTo>
                    <a:lnTo>
                      <a:pt x="319" y="720"/>
                    </a:lnTo>
                    <a:lnTo>
                      <a:pt x="319" y="671"/>
                    </a:lnTo>
                    <a:lnTo>
                      <a:pt x="154" y="671"/>
                    </a:lnTo>
                    <a:lnTo>
                      <a:pt x="154" y="720"/>
                    </a:lnTo>
                    <a:close/>
                    <a:moveTo>
                      <a:pt x="154" y="817"/>
                    </a:moveTo>
                    <a:lnTo>
                      <a:pt x="319" y="817"/>
                    </a:lnTo>
                    <a:lnTo>
                      <a:pt x="319" y="768"/>
                    </a:lnTo>
                    <a:lnTo>
                      <a:pt x="154" y="768"/>
                    </a:lnTo>
                    <a:lnTo>
                      <a:pt x="154" y="817"/>
                    </a:lnTo>
                    <a:close/>
                    <a:moveTo>
                      <a:pt x="154" y="912"/>
                    </a:moveTo>
                    <a:lnTo>
                      <a:pt x="319" y="912"/>
                    </a:lnTo>
                    <a:lnTo>
                      <a:pt x="319" y="865"/>
                    </a:lnTo>
                    <a:lnTo>
                      <a:pt x="154" y="865"/>
                    </a:lnTo>
                    <a:lnTo>
                      <a:pt x="154" y="912"/>
                    </a:lnTo>
                    <a:close/>
                    <a:moveTo>
                      <a:pt x="154" y="1009"/>
                    </a:moveTo>
                    <a:lnTo>
                      <a:pt x="319" y="1009"/>
                    </a:lnTo>
                    <a:lnTo>
                      <a:pt x="319" y="961"/>
                    </a:lnTo>
                    <a:lnTo>
                      <a:pt x="154" y="961"/>
                    </a:lnTo>
                    <a:lnTo>
                      <a:pt x="154" y="1009"/>
                    </a:lnTo>
                    <a:close/>
                    <a:moveTo>
                      <a:pt x="0" y="827"/>
                    </a:moveTo>
                    <a:lnTo>
                      <a:pt x="36" y="827"/>
                    </a:lnTo>
                    <a:lnTo>
                      <a:pt x="36" y="768"/>
                    </a:lnTo>
                    <a:lnTo>
                      <a:pt x="0" y="768"/>
                    </a:lnTo>
                    <a:lnTo>
                      <a:pt x="0" y="827"/>
                    </a:lnTo>
                    <a:close/>
                    <a:moveTo>
                      <a:pt x="0" y="924"/>
                    </a:moveTo>
                    <a:lnTo>
                      <a:pt x="36" y="924"/>
                    </a:lnTo>
                    <a:lnTo>
                      <a:pt x="36" y="865"/>
                    </a:lnTo>
                    <a:lnTo>
                      <a:pt x="0" y="865"/>
                    </a:lnTo>
                    <a:lnTo>
                      <a:pt x="0" y="924"/>
                    </a:lnTo>
                    <a:close/>
                    <a:moveTo>
                      <a:pt x="0" y="1018"/>
                    </a:moveTo>
                    <a:lnTo>
                      <a:pt x="36" y="1018"/>
                    </a:lnTo>
                    <a:lnTo>
                      <a:pt x="36" y="961"/>
                    </a:lnTo>
                    <a:lnTo>
                      <a:pt x="0" y="961"/>
                    </a:lnTo>
                    <a:lnTo>
                      <a:pt x="0" y="1018"/>
                    </a:lnTo>
                    <a:close/>
                    <a:moveTo>
                      <a:pt x="0" y="539"/>
                    </a:moveTo>
                    <a:lnTo>
                      <a:pt x="36" y="539"/>
                    </a:lnTo>
                    <a:lnTo>
                      <a:pt x="36" y="479"/>
                    </a:lnTo>
                    <a:lnTo>
                      <a:pt x="0" y="479"/>
                    </a:lnTo>
                    <a:lnTo>
                      <a:pt x="0" y="539"/>
                    </a:lnTo>
                    <a:close/>
                    <a:moveTo>
                      <a:pt x="0" y="442"/>
                    </a:moveTo>
                    <a:lnTo>
                      <a:pt x="36" y="442"/>
                    </a:lnTo>
                    <a:lnTo>
                      <a:pt x="36" y="383"/>
                    </a:lnTo>
                    <a:lnTo>
                      <a:pt x="0" y="383"/>
                    </a:lnTo>
                    <a:lnTo>
                      <a:pt x="0" y="442"/>
                    </a:lnTo>
                    <a:close/>
                    <a:moveTo>
                      <a:pt x="0" y="635"/>
                    </a:moveTo>
                    <a:lnTo>
                      <a:pt x="36" y="635"/>
                    </a:lnTo>
                    <a:lnTo>
                      <a:pt x="36" y="576"/>
                    </a:lnTo>
                    <a:lnTo>
                      <a:pt x="0" y="576"/>
                    </a:lnTo>
                    <a:lnTo>
                      <a:pt x="0" y="635"/>
                    </a:lnTo>
                    <a:close/>
                    <a:moveTo>
                      <a:pt x="0" y="730"/>
                    </a:moveTo>
                    <a:lnTo>
                      <a:pt x="36" y="730"/>
                    </a:lnTo>
                    <a:lnTo>
                      <a:pt x="36" y="671"/>
                    </a:lnTo>
                    <a:lnTo>
                      <a:pt x="0" y="671"/>
                    </a:lnTo>
                    <a:lnTo>
                      <a:pt x="0" y="730"/>
                    </a:lnTo>
                    <a:close/>
                    <a:moveTo>
                      <a:pt x="442" y="730"/>
                    </a:moveTo>
                    <a:lnTo>
                      <a:pt x="480" y="730"/>
                    </a:lnTo>
                    <a:lnTo>
                      <a:pt x="480" y="671"/>
                    </a:lnTo>
                    <a:lnTo>
                      <a:pt x="442" y="671"/>
                    </a:lnTo>
                    <a:lnTo>
                      <a:pt x="442" y="730"/>
                    </a:lnTo>
                    <a:close/>
                    <a:moveTo>
                      <a:pt x="442" y="539"/>
                    </a:moveTo>
                    <a:lnTo>
                      <a:pt x="480" y="539"/>
                    </a:lnTo>
                    <a:lnTo>
                      <a:pt x="480" y="479"/>
                    </a:lnTo>
                    <a:lnTo>
                      <a:pt x="442" y="479"/>
                    </a:lnTo>
                    <a:lnTo>
                      <a:pt x="442" y="539"/>
                    </a:lnTo>
                    <a:close/>
                    <a:moveTo>
                      <a:pt x="442" y="635"/>
                    </a:moveTo>
                    <a:lnTo>
                      <a:pt x="480" y="635"/>
                    </a:lnTo>
                    <a:lnTo>
                      <a:pt x="480" y="576"/>
                    </a:lnTo>
                    <a:lnTo>
                      <a:pt x="442" y="576"/>
                    </a:lnTo>
                    <a:lnTo>
                      <a:pt x="442" y="635"/>
                    </a:lnTo>
                    <a:close/>
                    <a:moveTo>
                      <a:pt x="442" y="442"/>
                    </a:moveTo>
                    <a:lnTo>
                      <a:pt x="480" y="442"/>
                    </a:lnTo>
                    <a:lnTo>
                      <a:pt x="480" y="383"/>
                    </a:lnTo>
                    <a:lnTo>
                      <a:pt x="442" y="383"/>
                    </a:lnTo>
                    <a:lnTo>
                      <a:pt x="442" y="442"/>
                    </a:lnTo>
                    <a:close/>
                    <a:moveTo>
                      <a:pt x="442" y="347"/>
                    </a:moveTo>
                    <a:lnTo>
                      <a:pt x="480" y="347"/>
                    </a:lnTo>
                    <a:lnTo>
                      <a:pt x="480" y="288"/>
                    </a:lnTo>
                    <a:lnTo>
                      <a:pt x="442" y="288"/>
                    </a:lnTo>
                    <a:lnTo>
                      <a:pt x="442" y="347"/>
                    </a:lnTo>
                    <a:close/>
                    <a:moveTo>
                      <a:pt x="442" y="94"/>
                    </a:moveTo>
                    <a:lnTo>
                      <a:pt x="442" y="153"/>
                    </a:lnTo>
                    <a:lnTo>
                      <a:pt x="480" y="153"/>
                    </a:lnTo>
                    <a:lnTo>
                      <a:pt x="480" y="94"/>
                    </a:lnTo>
                    <a:lnTo>
                      <a:pt x="442" y="94"/>
                    </a:lnTo>
                    <a:close/>
                    <a:moveTo>
                      <a:pt x="154" y="527"/>
                    </a:moveTo>
                    <a:lnTo>
                      <a:pt x="319" y="527"/>
                    </a:lnTo>
                    <a:lnTo>
                      <a:pt x="319" y="479"/>
                    </a:lnTo>
                    <a:lnTo>
                      <a:pt x="154" y="479"/>
                    </a:lnTo>
                    <a:lnTo>
                      <a:pt x="154" y="527"/>
                    </a:lnTo>
                    <a:close/>
                    <a:moveTo>
                      <a:pt x="442" y="827"/>
                    </a:moveTo>
                    <a:lnTo>
                      <a:pt x="480" y="827"/>
                    </a:lnTo>
                    <a:lnTo>
                      <a:pt x="480" y="768"/>
                    </a:lnTo>
                    <a:lnTo>
                      <a:pt x="442" y="768"/>
                    </a:lnTo>
                    <a:lnTo>
                      <a:pt x="442" y="827"/>
                    </a:lnTo>
                    <a:close/>
                    <a:moveTo>
                      <a:pt x="442" y="250"/>
                    </a:moveTo>
                    <a:lnTo>
                      <a:pt x="480" y="250"/>
                    </a:lnTo>
                    <a:lnTo>
                      <a:pt x="480" y="191"/>
                    </a:lnTo>
                    <a:lnTo>
                      <a:pt x="442" y="191"/>
                    </a:lnTo>
                    <a:lnTo>
                      <a:pt x="442" y="250"/>
                    </a:lnTo>
                    <a:close/>
                    <a:moveTo>
                      <a:pt x="154" y="335"/>
                    </a:moveTo>
                    <a:lnTo>
                      <a:pt x="319" y="335"/>
                    </a:lnTo>
                    <a:lnTo>
                      <a:pt x="319" y="288"/>
                    </a:lnTo>
                    <a:lnTo>
                      <a:pt x="154" y="288"/>
                    </a:lnTo>
                    <a:lnTo>
                      <a:pt x="154" y="335"/>
                    </a:lnTo>
                    <a:close/>
                    <a:moveTo>
                      <a:pt x="154" y="238"/>
                    </a:moveTo>
                    <a:lnTo>
                      <a:pt x="319" y="238"/>
                    </a:lnTo>
                    <a:lnTo>
                      <a:pt x="319" y="191"/>
                    </a:lnTo>
                    <a:lnTo>
                      <a:pt x="154" y="191"/>
                    </a:lnTo>
                    <a:lnTo>
                      <a:pt x="154" y="238"/>
                    </a:lnTo>
                    <a:close/>
                    <a:moveTo>
                      <a:pt x="154" y="432"/>
                    </a:moveTo>
                    <a:lnTo>
                      <a:pt x="319" y="432"/>
                    </a:lnTo>
                    <a:lnTo>
                      <a:pt x="319" y="383"/>
                    </a:lnTo>
                    <a:lnTo>
                      <a:pt x="154" y="383"/>
                    </a:lnTo>
                    <a:lnTo>
                      <a:pt x="154" y="432"/>
                    </a:lnTo>
                    <a:close/>
                    <a:moveTo>
                      <a:pt x="154" y="47"/>
                    </a:moveTo>
                    <a:lnTo>
                      <a:pt x="319" y="47"/>
                    </a:lnTo>
                    <a:lnTo>
                      <a:pt x="319" y="0"/>
                    </a:lnTo>
                    <a:lnTo>
                      <a:pt x="154" y="0"/>
                    </a:lnTo>
                    <a:lnTo>
                      <a:pt x="154" y="47"/>
                    </a:lnTo>
                    <a:close/>
                    <a:moveTo>
                      <a:pt x="442" y="1018"/>
                    </a:moveTo>
                    <a:lnTo>
                      <a:pt x="480" y="1018"/>
                    </a:lnTo>
                    <a:lnTo>
                      <a:pt x="480" y="961"/>
                    </a:lnTo>
                    <a:lnTo>
                      <a:pt x="442" y="961"/>
                    </a:lnTo>
                    <a:lnTo>
                      <a:pt x="442" y="1018"/>
                    </a:lnTo>
                    <a:close/>
                    <a:moveTo>
                      <a:pt x="442" y="924"/>
                    </a:moveTo>
                    <a:lnTo>
                      <a:pt x="480" y="924"/>
                    </a:lnTo>
                    <a:lnTo>
                      <a:pt x="480" y="865"/>
                    </a:lnTo>
                    <a:lnTo>
                      <a:pt x="442" y="865"/>
                    </a:lnTo>
                    <a:lnTo>
                      <a:pt x="442" y="924"/>
                    </a:lnTo>
                    <a:close/>
                    <a:moveTo>
                      <a:pt x="154" y="144"/>
                    </a:moveTo>
                    <a:lnTo>
                      <a:pt x="319" y="144"/>
                    </a:lnTo>
                    <a:lnTo>
                      <a:pt x="319" y="94"/>
                    </a:lnTo>
                    <a:lnTo>
                      <a:pt x="154" y="94"/>
                    </a:lnTo>
                    <a:lnTo>
                      <a:pt x="154" y="1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3" name="Freeform 16"/>
              <p:cNvSpPr>
                <a:spLocks noEditPoints="1"/>
              </p:cNvSpPr>
              <p:nvPr/>
            </p:nvSpPr>
            <p:spPr bwMode="auto">
              <a:xfrm>
                <a:off x="50589" y="3098960"/>
                <a:ext cx="550863" cy="1225389"/>
              </a:xfrm>
              <a:custGeom>
                <a:avLst/>
                <a:gdLst/>
                <a:ahLst/>
                <a:cxnLst>
                  <a:cxn ang="0">
                    <a:pos x="293" y="0"/>
                  </a:cxn>
                  <a:cxn ang="0">
                    <a:pos x="0" y="160"/>
                  </a:cxn>
                  <a:cxn ang="0">
                    <a:pos x="588" y="160"/>
                  </a:cxn>
                  <a:cxn ang="0">
                    <a:pos x="54" y="1169"/>
                  </a:cxn>
                  <a:cxn ang="0">
                    <a:pos x="90" y="1169"/>
                  </a:cxn>
                  <a:cxn ang="0">
                    <a:pos x="54" y="1016"/>
                  </a:cxn>
                  <a:cxn ang="0">
                    <a:pos x="90" y="978"/>
                  </a:cxn>
                  <a:cxn ang="0">
                    <a:pos x="90" y="919"/>
                  </a:cxn>
                  <a:cxn ang="0">
                    <a:pos x="54" y="881"/>
                  </a:cxn>
                  <a:cxn ang="0">
                    <a:pos x="90" y="881"/>
                  </a:cxn>
                  <a:cxn ang="0">
                    <a:pos x="54" y="727"/>
                  </a:cxn>
                  <a:cxn ang="0">
                    <a:pos x="90" y="690"/>
                  </a:cxn>
                  <a:cxn ang="0">
                    <a:pos x="90" y="630"/>
                  </a:cxn>
                  <a:cxn ang="0">
                    <a:pos x="54" y="593"/>
                  </a:cxn>
                  <a:cxn ang="0">
                    <a:pos x="90" y="593"/>
                  </a:cxn>
                  <a:cxn ang="0">
                    <a:pos x="54" y="439"/>
                  </a:cxn>
                  <a:cxn ang="0">
                    <a:pos x="90" y="401"/>
                  </a:cxn>
                  <a:cxn ang="0">
                    <a:pos x="90" y="342"/>
                  </a:cxn>
                  <a:cxn ang="0">
                    <a:pos x="54" y="304"/>
                  </a:cxn>
                  <a:cxn ang="0">
                    <a:pos x="90" y="304"/>
                  </a:cxn>
                  <a:cxn ang="0">
                    <a:pos x="208" y="1112"/>
                  </a:cxn>
                  <a:cxn ang="0">
                    <a:pos x="373" y="1063"/>
                  </a:cxn>
                  <a:cxn ang="0">
                    <a:pos x="373" y="1016"/>
                  </a:cxn>
                  <a:cxn ang="0">
                    <a:pos x="208" y="968"/>
                  </a:cxn>
                  <a:cxn ang="0">
                    <a:pos x="373" y="968"/>
                  </a:cxn>
                  <a:cxn ang="0">
                    <a:pos x="208" y="822"/>
                  </a:cxn>
                  <a:cxn ang="0">
                    <a:pos x="373" y="775"/>
                  </a:cxn>
                  <a:cxn ang="0">
                    <a:pos x="373" y="727"/>
                  </a:cxn>
                  <a:cxn ang="0">
                    <a:pos x="208" y="678"/>
                  </a:cxn>
                  <a:cxn ang="0">
                    <a:pos x="373" y="678"/>
                  </a:cxn>
                  <a:cxn ang="0">
                    <a:pos x="208" y="534"/>
                  </a:cxn>
                  <a:cxn ang="0">
                    <a:pos x="373" y="486"/>
                  </a:cxn>
                  <a:cxn ang="0">
                    <a:pos x="373" y="439"/>
                  </a:cxn>
                  <a:cxn ang="0">
                    <a:pos x="208" y="389"/>
                  </a:cxn>
                  <a:cxn ang="0">
                    <a:pos x="373" y="389"/>
                  </a:cxn>
                  <a:cxn ang="0">
                    <a:pos x="208" y="245"/>
                  </a:cxn>
                  <a:cxn ang="0">
                    <a:pos x="373" y="198"/>
                  </a:cxn>
                  <a:cxn ang="0">
                    <a:pos x="373" y="151"/>
                  </a:cxn>
                  <a:cxn ang="0">
                    <a:pos x="496" y="1169"/>
                  </a:cxn>
                  <a:cxn ang="0">
                    <a:pos x="534" y="1169"/>
                  </a:cxn>
                  <a:cxn ang="0">
                    <a:pos x="496" y="1016"/>
                  </a:cxn>
                  <a:cxn ang="0">
                    <a:pos x="534" y="978"/>
                  </a:cxn>
                  <a:cxn ang="0">
                    <a:pos x="534" y="919"/>
                  </a:cxn>
                  <a:cxn ang="0">
                    <a:pos x="496" y="881"/>
                  </a:cxn>
                  <a:cxn ang="0">
                    <a:pos x="534" y="881"/>
                  </a:cxn>
                  <a:cxn ang="0">
                    <a:pos x="496" y="727"/>
                  </a:cxn>
                  <a:cxn ang="0">
                    <a:pos x="534" y="690"/>
                  </a:cxn>
                  <a:cxn ang="0">
                    <a:pos x="534" y="630"/>
                  </a:cxn>
                  <a:cxn ang="0">
                    <a:pos x="496" y="593"/>
                  </a:cxn>
                  <a:cxn ang="0">
                    <a:pos x="534" y="593"/>
                  </a:cxn>
                  <a:cxn ang="0">
                    <a:pos x="496" y="439"/>
                  </a:cxn>
                  <a:cxn ang="0">
                    <a:pos x="534" y="401"/>
                  </a:cxn>
                  <a:cxn ang="0">
                    <a:pos x="534" y="342"/>
                  </a:cxn>
                  <a:cxn ang="0">
                    <a:pos x="496" y="304"/>
                  </a:cxn>
                  <a:cxn ang="0">
                    <a:pos x="534" y="304"/>
                  </a:cxn>
                </a:cxnLst>
                <a:rect l="0" t="0" r="r" b="b"/>
                <a:pathLst>
                  <a:path w="588" h="1308">
                    <a:moveTo>
                      <a:pt x="444" y="160"/>
                    </a:moveTo>
                    <a:lnTo>
                      <a:pt x="444" y="66"/>
                    </a:lnTo>
                    <a:lnTo>
                      <a:pt x="293" y="0"/>
                    </a:lnTo>
                    <a:lnTo>
                      <a:pt x="144" y="66"/>
                    </a:lnTo>
                    <a:lnTo>
                      <a:pt x="144" y="160"/>
                    </a:lnTo>
                    <a:lnTo>
                      <a:pt x="0" y="160"/>
                    </a:lnTo>
                    <a:lnTo>
                      <a:pt x="0" y="1308"/>
                    </a:lnTo>
                    <a:lnTo>
                      <a:pt x="588" y="1308"/>
                    </a:lnTo>
                    <a:lnTo>
                      <a:pt x="588" y="160"/>
                    </a:lnTo>
                    <a:lnTo>
                      <a:pt x="444" y="160"/>
                    </a:lnTo>
                    <a:close/>
                    <a:moveTo>
                      <a:pt x="90" y="1169"/>
                    </a:moveTo>
                    <a:lnTo>
                      <a:pt x="54" y="1169"/>
                    </a:lnTo>
                    <a:lnTo>
                      <a:pt x="54" y="1112"/>
                    </a:lnTo>
                    <a:lnTo>
                      <a:pt x="90" y="1112"/>
                    </a:lnTo>
                    <a:lnTo>
                      <a:pt x="90" y="1169"/>
                    </a:lnTo>
                    <a:close/>
                    <a:moveTo>
                      <a:pt x="90" y="1075"/>
                    </a:moveTo>
                    <a:lnTo>
                      <a:pt x="54" y="1075"/>
                    </a:lnTo>
                    <a:lnTo>
                      <a:pt x="54" y="1016"/>
                    </a:lnTo>
                    <a:lnTo>
                      <a:pt x="90" y="1016"/>
                    </a:lnTo>
                    <a:lnTo>
                      <a:pt x="90" y="1075"/>
                    </a:lnTo>
                    <a:close/>
                    <a:moveTo>
                      <a:pt x="90" y="978"/>
                    </a:moveTo>
                    <a:lnTo>
                      <a:pt x="54" y="978"/>
                    </a:lnTo>
                    <a:lnTo>
                      <a:pt x="54" y="919"/>
                    </a:lnTo>
                    <a:lnTo>
                      <a:pt x="90" y="919"/>
                    </a:lnTo>
                    <a:lnTo>
                      <a:pt x="90" y="978"/>
                    </a:lnTo>
                    <a:close/>
                    <a:moveTo>
                      <a:pt x="90" y="881"/>
                    </a:moveTo>
                    <a:lnTo>
                      <a:pt x="54" y="881"/>
                    </a:lnTo>
                    <a:lnTo>
                      <a:pt x="54" y="822"/>
                    </a:lnTo>
                    <a:lnTo>
                      <a:pt x="90" y="822"/>
                    </a:lnTo>
                    <a:lnTo>
                      <a:pt x="90" y="881"/>
                    </a:lnTo>
                    <a:close/>
                    <a:moveTo>
                      <a:pt x="90" y="786"/>
                    </a:moveTo>
                    <a:lnTo>
                      <a:pt x="54" y="786"/>
                    </a:lnTo>
                    <a:lnTo>
                      <a:pt x="54" y="727"/>
                    </a:lnTo>
                    <a:lnTo>
                      <a:pt x="90" y="727"/>
                    </a:lnTo>
                    <a:lnTo>
                      <a:pt x="90" y="786"/>
                    </a:lnTo>
                    <a:close/>
                    <a:moveTo>
                      <a:pt x="90" y="690"/>
                    </a:moveTo>
                    <a:lnTo>
                      <a:pt x="54" y="690"/>
                    </a:lnTo>
                    <a:lnTo>
                      <a:pt x="54" y="630"/>
                    </a:lnTo>
                    <a:lnTo>
                      <a:pt x="90" y="630"/>
                    </a:lnTo>
                    <a:lnTo>
                      <a:pt x="90" y="690"/>
                    </a:lnTo>
                    <a:close/>
                    <a:moveTo>
                      <a:pt x="90" y="593"/>
                    </a:moveTo>
                    <a:lnTo>
                      <a:pt x="54" y="593"/>
                    </a:lnTo>
                    <a:lnTo>
                      <a:pt x="54" y="534"/>
                    </a:lnTo>
                    <a:lnTo>
                      <a:pt x="90" y="534"/>
                    </a:lnTo>
                    <a:lnTo>
                      <a:pt x="90" y="593"/>
                    </a:lnTo>
                    <a:close/>
                    <a:moveTo>
                      <a:pt x="90" y="498"/>
                    </a:moveTo>
                    <a:lnTo>
                      <a:pt x="54" y="498"/>
                    </a:lnTo>
                    <a:lnTo>
                      <a:pt x="54" y="439"/>
                    </a:lnTo>
                    <a:lnTo>
                      <a:pt x="90" y="439"/>
                    </a:lnTo>
                    <a:lnTo>
                      <a:pt x="90" y="498"/>
                    </a:lnTo>
                    <a:close/>
                    <a:moveTo>
                      <a:pt x="90" y="401"/>
                    </a:moveTo>
                    <a:lnTo>
                      <a:pt x="54" y="401"/>
                    </a:lnTo>
                    <a:lnTo>
                      <a:pt x="54" y="342"/>
                    </a:lnTo>
                    <a:lnTo>
                      <a:pt x="90" y="342"/>
                    </a:lnTo>
                    <a:lnTo>
                      <a:pt x="90" y="401"/>
                    </a:lnTo>
                    <a:close/>
                    <a:moveTo>
                      <a:pt x="90" y="304"/>
                    </a:moveTo>
                    <a:lnTo>
                      <a:pt x="54" y="304"/>
                    </a:lnTo>
                    <a:lnTo>
                      <a:pt x="54" y="245"/>
                    </a:lnTo>
                    <a:lnTo>
                      <a:pt x="90" y="245"/>
                    </a:lnTo>
                    <a:lnTo>
                      <a:pt x="90" y="304"/>
                    </a:lnTo>
                    <a:close/>
                    <a:moveTo>
                      <a:pt x="373" y="1160"/>
                    </a:moveTo>
                    <a:lnTo>
                      <a:pt x="208" y="1160"/>
                    </a:lnTo>
                    <a:lnTo>
                      <a:pt x="208" y="1112"/>
                    </a:lnTo>
                    <a:lnTo>
                      <a:pt x="373" y="1112"/>
                    </a:lnTo>
                    <a:lnTo>
                      <a:pt x="373" y="1160"/>
                    </a:lnTo>
                    <a:close/>
                    <a:moveTo>
                      <a:pt x="373" y="1063"/>
                    </a:moveTo>
                    <a:lnTo>
                      <a:pt x="208" y="1063"/>
                    </a:lnTo>
                    <a:lnTo>
                      <a:pt x="208" y="1016"/>
                    </a:lnTo>
                    <a:lnTo>
                      <a:pt x="373" y="1016"/>
                    </a:lnTo>
                    <a:lnTo>
                      <a:pt x="373" y="1063"/>
                    </a:lnTo>
                    <a:close/>
                    <a:moveTo>
                      <a:pt x="373" y="968"/>
                    </a:moveTo>
                    <a:lnTo>
                      <a:pt x="208" y="968"/>
                    </a:lnTo>
                    <a:lnTo>
                      <a:pt x="208" y="919"/>
                    </a:lnTo>
                    <a:lnTo>
                      <a:pt x="373" y="919"/>
                    </a:lnTo>
                    <a:lnTo>
                      <a:pt x="373" y="968"/>
                    </a:lnTo>
                    <a:close/>
                    <a:moveTo>
                      <a:pt x="373" y="871"/>
                    </a:moveTo>
                    <a:lnTo>
                      <a:pt x="208" y="871"/>
                    </a:lnTo>
                    <a:lnTo>
                      <a:pt x="208" y="822"/>
                    </a:lnTo>
                    <a:lnTo>
                      <a:pt x="373" y="822"/>
                    </a:lnTo>
                    <a:lnTo>
                      <a:pt x="373" y="871"/>
                    </a:lnTo>
                    <a:close/>
                    <a:moveTo>
                      <a:pt x="373" y="775"/>
                    </a:moveTo>
                    <a:lnTo>
                      <a:pt x="208" y="775"/>
                    </a:lnTo>
                    <a:lnTo>
                      <a:pt x="208" y="727"/>
                    </a:lnTo>
                    <a:lnTo>
                      <a:pt x="373" y="727"/>
                    </a:lnTo>
                    <a:lnTo>
                      <a:pt x="373" y="775"/>
                    </a:lnTo>
                    <a:close/>
                    <a:moveTo>
                      <a:pt x="373" y="678"/>
                    </a:moveTo>
                    <a:lnTo>
                      <a:pt x="208" y="678"/>
                    </a:lnTo>
                    <a:lnTo>
                      <a:pt x="208" y="630"/>
                    </a:lnTo>
                    <a:lnTo>
                      <a:pt x="373" y="630"/>
                    </a:lnTo>
                    <a:lnTo>
                      <a:pt x="373" y="678"/>
                    </a:lnTo>
                    <a:close/>
                    <a:moveTo>
                      <a:pt x="373" y="583"/>
                    </a:moveTo>
                    <a:lnTo>
                      <a:pt x="208" y="583"/>
                    </a:lnTo>
                    <a:lnTo>
                      <a:pt x="208" y="534"/>
                    </a:lnTo>
                    <a:lnTo>
                      <a:pt x="373" y="534"/>
                    </a:lnTo>
                    <a:lnTo>
                      <a:pt x="373" y="583"/>
                    </a:lnTo>
                    <a:close/>
                    <a:moveTo>
                      <a:pt x="373" y="486"/>
                    </a:moveTo>
                    <a:lnTo>
                      <a:pt x="208" y="486"/>
                    </a:lnTo>
                    <a:lnTo>
                      <a:pt x="208" y="439"/>
                    </a:lnTo>
                    <a:lnTo>
                      <a:pt x="373" y="439"/>
                    </a:lnTo>
                    <a:lnTo>
                      <a:pt x="373" y="486"/>
                    </a:lnTo>
                    <a:close/>
                    <a:moveTo>
                      <a:pt x="373" y="389"/>
                    </a:moveTo>
                    <a:lnTo>
                      <a:pt x="208" y="389"/>
                    </a:lnTo>
                    <a:lnTo>
                      <a:pt x="208" y="342"/>
                    </a:lnTo>
                    <a:lnTo>
                      <a:pt x="373" y="342"/>
                    </a:lnTo>
                    <a:lnTo>
                      <a:pt x="373" y="389"/>
                    </a:lnTo>
                    <a:close/>
                    <a:moveTo>
                      <a:pt x="373" y="295"/>
                    </a:moveTo>
                    <a:lnTo>
                      <a:pt x="208" y="295"/>
                    </a:lnTo>
                    <a:lnTo>
                      <a:pt x="208" y="245"/>
                    </a:lnTo>
                    <a:lnTo>
                      <a:pt x="373" y="245"/>
                    </a:lnTo>
                    <a:lnTo>
                      <a:pt x="373" y="295"/>
                    </a:lnTo>
                    <a:close/>
                    <a:moveTo>
                      <a:pt x="373" y="198"/>
                    </a:moveTo>
                    <a:lnTo>
                      <a:pt x="208" y="198"/>
                    </a:lnTo>
                    <a:lnTo>
                      <a:pt x="208" y="151"/>
                    </a:lnTo>
                    <a:lnTo>
                      <a:pt x="373" y="151"/>
                    </a:lnTo>
                    <a:lnTo>
                      <a:pt x="373" y="198"/>
                    </a:lnTo>
                    <a:close/>
                    <a:moveTo>
                      <a:pt x="534" y="1169"/>
                    </a:moveTo>
                    <a:lnTo>
                      <a:pt x="496" y="1169"/>
                    </a:lnTo>
                    <a:lnTo>
                      <a:pt x="496" y="1112"/>
                    </a:lnTo>
                    <a:lnTo>
                      <a:pt x="534" y="1112"/>
                    </a:lnTo>
                    <a:lnTo>
                      <a:pt x="534" y="1169"/>
                    </a:lnTo>
                    <a:close/>
                    <a:moveTo>
                      <a:pt x="534" y="1075"/>
                    </a:moveTo>
                    <a:lnTo>
                      <a:pt x="496" y="1075"/>
                    </a:lnTo>
                    <a:lnTo>
                      <a:pt x="496" y="1016"/>
                    </a:lnTo>
                    <a:lnTo>
                      <a:pt x="534" y="1016"/>
                    </a:lnTo>
                    <a:lnTo>
                      <a:pt x="534" y="1075"/>
                    </a:lnTo>
                    <a:close/>
                    <a:moveTo>
                      <a:pt x="534" y="978"/>
                    </a:moveTo>
                    <a:lnTo>
                      <a:pt x="496" y="978"/>
                    </a:lnTo>
                    <a:lnTo>
                      <a:pt x="496" y="919"/>
                    </a:lnTo>
                    <a:lnTo>
                      <a:pt x="534" y="919"/>
                    </a:lnTo>
                    <a:lnTo>
                      <a:pt x="534" y="978"/>
                    </a:lnTo>
                    <a:close/>
                    <a:moveTo>
                      <a:pt x="534" y="881"/>
                    </a:moveTo>
                    <a:lnTo>
                      <a:pt x="496" y="881"/>
                    </a:lnTo>
                    <a:lnTo>
                      <a:pt x="496" y="822"/>
                    </a:lnTo>
                    <a:lnTo>
                      <a:pt x="534" y="822"/>
                    </a:lnTo>
                    <a:lnTo>
                      <a:pt x="534" y="881"/>
                    </a:lnTo>
                    <a:close/>
                    <a:moveTo>
                      <a:pt x="534" y="786"/>
                    </a:moveTo>
                    <a:lnTo>
                      <a:pt x="496" y="786"/>
                    </a:lnTo>
                    <a:lnTo>
                      <a:pt x="496" y="727"/>
                    </a:lnTo>
                    <a:lnTo>
                      <a:pt x="534" y="727"/>
                    </a:lnTo>
                    <a:lnTo>
                      <a:pt x="534" y="786"/>
                    </a:lnTo>
                    <a:close/>
                    <a:moveTo>
                      <a:pt x="534" y="690"/>
                    </a:moveTo>
                    <a:lnTo>
                      <a:pt x="496" y="690"/>
                    </a:lnTo>
                    <a:lnTo>
                      <a:pt x="496" y="630"/>
                    </a:lnTo>
                    <a:lnTo>
                      <a:pt x="534" y="630"/>
                    </a:lnTo>
                    <a:lnTo>
                      <a:pt x="534" y="690"/>
                    </a:lnTo>
                    <a:close/>
                    <a:moveTo>
                      <a:pt x="534" y="593"/>
                    </a:moveTo>
                    <a:lnTo>
                      <a:pt x="496" y="593"/>
                    </a:lnTo>
                    <a:lnTo>
                      <a:pt x="496" y="534"/>
                    </a:lnTo>
                    <a:lnTo>
                      <a:pt x="534" y="534"/>
                    </a:lnTo>
                    <a:lnTo>
                      <a:pt x="534" y="593"/>
                    </a:lnTo>
                    <a:close/>
                    <a:moveTo>
                      <a:pt x="534" y="498"/>
                    </a:moveTo>
                    <a:lnTo>
                      <a:pt x="496" y="498"/>
                    </a:lnTo>
                    <a:lnTo>
                      <a:pt x="496" y="439"/>
                    </a:lnTo>
                    <a:lnTo>
                      <a:pt x="534" y="439"/>
                    </a:lnTo>
                    <a:lnTo>
                      <a:pt x="534" y="498"/>
                    </a:lnTo>
                    <a:close/>
                    <a:moveTo>
                      <a:pt x="534" y="401"/>
                    </a:moveTo>
                    <a:lnTo>
                      <a:pt x="496" y="401"/>
                    </a:lnTo>
                    <a:lnTo>
                      <a:pt x="496" y="342"/>
                    </a:lnTo>
                    <a:lnTo>
                      <a:pt x="534" y="342"/>
                    </a:lnTo>
                    <a:lnTo>
                      <a:pt x="534" y="401"/>
                    </a:lnTo>
                    <a:close/>
                    <a:moveTo>
                      <a:pt x="534" y="304"/>
                    </a:moveTo>
                    <a:lnTo>
                      <a:pt x="496" y="304"/>
                    </a:lnTo>
                    <a:lnTo>
                      <a:pt x="496" y="245"/>
                    </a:lnTo>
                    <a:lnTo>
                      <a:pt x="534" y="245"/>
                    </a:lnTo>
                    <a:lnTo>
                      <a:pt x="534" y="3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4" name="Group 56"/>
            <p:cNvGrpSpPr/>
            <p:nvPr/>
          </p:nvGrpSpPr>
          <p:grpSpPr>
            <a:xfrm>
              <a:off x="1588739" y="3436661"/>
              <a:ext cx="2870409" cy="734257"/>
              <a:chOff x="1130300" y="3522663"/>
              <a:chExt cx="3146425" cy="804862"/>
            </a:xfrm>
            <a:grpFill/>
          </p:grpSpPr>
          <p:sp>
            <p:nvSpPr>
              <p:cNvPr id="85" name="Freeform 41"/>
              <p:cNvSpPr>
                <a:spLocks noEditPoints="1"/>
              </p:cNvSpPr>
              <p:nvPr/>
            </p:nvSpPr>
            <p:spPr bwMode="auto">
              <a:xfrm>
                <a:off x="1262063" y="4043363"/>
                <a:ext cx="2901950" cy="284162"/>
              </a:xfrm>
              <a:custGeom>
                <a:avLst/>
                <a:gdLst/>
                <a:ahLst/>
                <a:cxnLst>
                  <a:cxn ang="0">
                    <a:pos x="105" y="17"/>
                  </a:cxn>
                  <a:cxn ang="0">
                    <a:pos x="92" y="3"/>
                  </a:cxn>
                  <a:cxn ang="0">
                    <a:pos x="79" y="5"/>
                  </a:cxn>
                  <a:cxn ang="0">
                    <a:pos x="70" y="15"/>
                  </a:cxn>
                  <a:cxn ang="0">
                    <a:pos x="66" y="36"/>
                  </a:cxn>
                  <a:cxn ang="0">
                    <a:pos x="72" y="53"/>
                  </a:cxn>
                  <a:cxn ang="0">
                    <a:pos x="91" y="76"/>
                  </a:cxn>
                  <a:cxn ang="0">
                    <a:pos x="103" y="53"/>
                  </a:cxn>
                  <a:cxn ang="0">
                    <a:pos x="111" y="42"/>
                  </a:cxn>
                  <a:cxn ang="0">
                    <a:pos x="84" y="54"/>
                  </a:cxn>
                  <a:cxn ang="0">
                    <a:pos x="48" y="22"/>
                  </a:cxn>
                  <a:cxn ang="0">
                    <a:pos x="34" y="8"/>
                  </a:cxn>
                  <a:cxn ang="0">
                    <a:pos x="26" y="3"/>
                  </a:cxn>
                  <a:cxn ang="0">
                    <a:pos x="13" y="11"/>
                  </a:cxn>
                  <a:cxn ang="0">
                    <a:pos x="6" y="28"/>
                  </a:cxn>
                  <a:cxn ang="0">
                    <a:pos x="5" y="50"/>
                  </a:cxn>
                  <a:cxn ang="0">
                    <a:pos x="24" y="63"/>
                  </a:cxn>
                  <a:cxn ang="0">
                    <a:pos x="36" y="55"/>
                  </a:cxn>
                  <a:cxn ang="0">
                    <a:pos x="48" y="46"/>
                  </a:cxn>
                  <a:cxn ang="0">
                    <a:pos x="23" y="54"/>
                  </a:cxn>
                  <a:cxn ang="0">
                    <a:pos x="770" y="29"/>
                  </a:cxn>
                  <a:cxn ang="0">
                    <a:pos x="759" y="9"/>
                  </a:cxn>
                  <a:cxn ang="0">
                    <a:pos x="749" y="0"/>
                  </a:cxn>
                  <a:cxn ang="0">
                    <a:pos x="737" y="10"/>
                  </a:cxn>
                  <a:cxn ang="0">
                    <a:pos x="728" y="25"/>
                  </a:cxn>
                  <a:cxn ang="0">
                    <a:pos x="725" y="44"/>
                  </a:cxn>
                  <a:cxn ang="0">
                    <a:pos x="739" y="56"/>
                  </a:cxn>
                  <a:cxn ang="0">
                    <a:pos x="753" y="56"/>
                  </a:cxn>
                  <a:cxn ang="0">
                    <a:pos x="769" y="47"/>
                  </a:cxn>
                  <a:cxn ang="0">
                    <a:pos x="771" y="30"/>
                  </a:cxn>
                  <a:cxn ang="0">
                    <a:pos x="711" y="30"/>
                  </a:cxn>
                  <a:cxn ang="0">
                    <a:pos x="702" y="13"/>
                  </a:cxn>
                  <a:cxn ang="0">
                    <a:pos x="691" y="3"/>
                  </a:cxn>
                  <a:cxn ang="0">
                    <a:pos x="679" y="7"/>
                  </a:cxn>
                  <a:cxn ang="0">
                    <a:pos x="665" y="20"/>
                  </a:cxn>
                  <a:cxn ang="0">
                    <a:pos x="664" y="38"/>
                  </a:cxn>
                  <a:cxn ang="0">
                    <a:pos x="676" y="56"/>
                  </a:cxn>
                  <a:cxn ang="0">
                    <a:pos x="690" y="57"/>
                  </a:cxn>
                  <a:cxn ang="0">
                    <a:pos x="703" y="53"/>
                  </a:cxn>
                  <a:cxn ang="0">
                    <a:pos x="709" y="39"/>
                  </a:cxn>
                  <a:cxn ang="0">
                    <a:pos x="684" y="54"/>
                  </a:cxn>
                  <a:cxn ang="0">
                    <a:pos x="645" y="18"/>
                  </a:cxn>
                  <a:cxn ang="0">
                    <a:pos x="635" y="6"/>
                  </a:cxn>
                  <a:cxn ang="0">
                    <a:pos x="623" y="3"/>
                  </a:cxn>
                  <a:cxn ang="0">
                    <a:pos x="609" y="14"/>
                  </a:cxn>
                  <a:cxn ang="0">
                    <a:pos x="600" y="32"/>
                  </a:cxn>
                  <a:cxn ang="0">
                    <a:pos x="610" y="53"/>
                  </a:cxn>
                  <a:cxn ang="0">
                    <a:pos x="622" y="76"/>
                  </a:cxn>
                  <a:cxn ang="0">
                    <a:pos x="641" y="55"/>
                  </a:cxn>
                  <a:cxn ang="0">
                    <a:pos x="649" y="44"/>
                  </a:cxn>
                  <a:cxn ang="0">
                    <a:pos x="623" y="54"/>
                  </a:cxn>
                  <a:cxn ang="0">
                    <a:pos x="167" y="24"/>
                  </a:cxn>
                  <a:cxn ang="0">
                    <a:pos x="157" y="10"/>
                  </a:cxn>
                  <a:cxn ang="0">
                    <a:pos x="146" y="3"/>
                  </a:cxn>
                  <a:cxn ang="0">
                    <a:pos x="135" y="11"/>
                  </a:cxn>
                  <a:cxn ang="0">
                    <a:pos x="127" y="28"/>
                  </a:cxn>
                  <a:cxn ang="0">
                    <a:pos x="127" y="47"/>
                  </a:cxn>
                  <a:cxn ang="0">
                    <a:pos x="142" y="55"/>
                  </a:cxn>
                  <a:cxn ang="0">
                    <a:pos x="156" y="54"/>
                  </a:cxn>
                  <a:cxn ang="0">
                    <a:pos x="168" y="46"/>
                  </a:cxn>
                  <a:cxn ang="0">
                    <a:pos x="145" y="57"/>
                  </a:cxn>
                </a:cxnLst>
                <a:rect l="0" t="0" r="r" b="b"/>
                <a:pathLst>
                  <a:path w="774" h="76">
                    <a:moveTo>
                      <a:pt x="111" y="30"/>
                    </a:moveTo>
                    <a:cubicBezTo>
                      <a:pt x="110" y="30"/>
                      <a:pt x="110" y="30"/>
                      <a:pt x="109" y="30"/>
                    </a:cubicBezTo>
                    <a:cubicBezTo>
                      <a:pt x="109" y="30"/>
                      <a:pt x="110" y="30"/>
                      <a:pt x="110" y="29"/>
                    </a:cubicBezTo>
                    <a:cubicBezTo>
                      <a:pt x="110" y="28"/>
                      <a:pt x="109" y="25"/>
                      <a:pt x="107" y="24"/>
                    </a:cubicBezTo>
                    <a:cubicBezTo>
                      <a:pt x="108" y="24"/>
                      <a:pt x="108" y="23"/>
                      <a:pt x="108" y="22"/>
                    </a:cubicBezTo>
                    <a:cubicBezTo>
                      <a:pt x="108" y="20"/>
                      <a:pt x="107" y="19"/>
                      <a:pt x="105" y="18"/>
                    </a:cubicBezTo>
                    <a:cubicBezTo>
                      <a:pt x="105" y="17"/>
                      <a:pt x="105" y="17"/>
                      <a:pt x="105" y="17"/>
                    </a:cubicBezTo>
                    <a:cubicBezTo>
                      <a:pt x="105" y="15"/>
                      <a:pt x="104" y="13"/>
                      <a:pt x="102" y="13"/>
                    </a:cubicBezTo>
                    <a:cubicBezTo>
                      <a:pt x="102" y="12"/>
                      <a:pt x="103" y="12"/>
                      <a:pt x="103" y="12"/>
                    </a:cubicBezTo>
                    <a:cubicBezTo>
                      <a:pt x="103" y="10"/>
                      <a:pt x="101" y="9"/>
                      <a:pt x="99" y="9"/>
                    </a:cubicBezTo>
                    <a:cubicBezTo>
                      <a:pt x="98" y="9"/>
                      <a:pt x="97" y="9"/>
                      <a:pt x="96" y="10"/>
                    </a:cubicBezTo>
                    <a:cubicBezTo>
                      <a:pt x="96" y="9"/>
                      <a:pt x="95" y="9"/>
                      <a:pt x="94" y="8"/>
                    </a:cubicBezTo>
                    <a:cubicBezTo>
                      <a:pt x="95" y="8"/>
                      <a:pt x="95" y="7"/>
                      <a:pt x="95" y="6"/>
                    </a:cubicBezTo>
                    <a:cubicBezTo>
                      <a:pt x="95" y="4"/>
                      <a:pt x="94" y="3"/>
                      <a:pt x="92" y="3"/>
                    </a:cubicBezTo>
                    <a:cubicBezTo>
                      <a:pt x="92" y="3"/>
                      <a:pt x="92" y="3"/>
                      <a:pt x="91" y="3"/>
                    </a:cubicBezTo>
                    <a:cubicBezTo>
                      <a:pt x="91" y="3"/>
                      <a:pt x="91" y="3"/>
                      <a:pt x="91" y="3"/>
                    </a:cubicBezTo>
                    <a:cubicBezTo>
                      <a:pt x="91" y="1"/>
                      <a:pt x="90" y="0"/>
                      <a:pt x="89" y="0"/>
                    </a:cubicBezTo>
                    <a:cubicBezTo>
                      <a:pt x="87" y="0"/>
                      <a:pt x="86" y="1"/>
                      <a:pt x="86" y="3"/>
                    </a:cubicBezTo>
                    <a:cubicBezTo>
                      <a:pt x="86" y="3"/>
                      <a:pt x="86" y="3"/>
                      <a:pt x="86" y="3"/>
                    </a:cubicBezTo>
                    <a:cubicBezTo>
                      <a:pt x="85" y="3"/>
                      <a:pt x="84" y="3"/>
                      <a:pt x="83" y="3"/>
                    </a:cubicBezTo>
                    <a:cubicBezTo>
                      <a:pt x="81" y="3"/>
                      <a:pt x="79" y="4"/>
                      <a:pt x="79" y="5"/>
                    </a:cubicBezTo>
                    <a:cubicBezTo>
                      <a:pt x="79" y="6"/>
                      <a:pt x="79" y="7"/>
                      <a:pt x="79" y="7"/>
                    </a:cubicBezTo>
                    <a:cubicBezTo>
                      <a:pt x="78" y="8"/>
                      <a:pt x="76" y="9"/>
                      <a:pt x="76" y="10"/>
                    </a:cubicBezTo>
                    <a:cubicBezTo>
                      <a:pt x="76" y="10"/>
                      <a:pt x="76" y="10"/>
                      <a:pt x="77" y="10"/>
                    </a:cubicBezTo>
                    <a:cubicBezTo>
                      <a:pt x="76" y="10"/>
                      <a:pt x="75" y="11"/>
                      <a:pt x="75" y="11"/>
                    </a:cubicBezTo>
                    <a:cubicBezTo>
                      <a:pt x="74" y="11"/>
                      <a:pt x="74" y="11"/>
                      <a:pt x="73" y="11"/>
                    </a:cubicBezTo>
                    <a:cubicBezTo>
                      <a:pt x="71" y="11"/>
                      <a:pt x="69" y="12"/>
                      <a:pt x="69" y="14"/>
                    </a:cubicBezTo>
                    <a:cubicBezTo>
                      <a:pt x="69" y="15"/>
                      <a:pt x="70" y="15"/>
                      <a:pt x="70" y="15"/>
                    </a:cubicBezTo>
                    <a:cubicBezTo>
                      <a:pt x="67" y="16"/>
                      <a:pt x="65" y="17"/>
                      <a:pt x="65" y="20"/>
                    </a:cubicBezTo>
                    <a:cubicBezTo>
                      <a:pt x="65" y="22"/>
                      <a:pt x="67" y="23"/>
                      <a:pt x="69" y="24"/>
                    </a:cubicBezTo>
                    <a:cubicBezTo>
                      <a:pt x="69" y="24"/>
                      <a:pt x="68" y="25"/>
                      <a:pt x="68" y="25"/>
                    </a:cubicBezTo>
                    <a:cubicBezTo>
                      <a:pt x="67" y="26"/>
                      <a:pt x="67" y="27"/>
                      <a:pt x="67" y="28"/>
                    </a:cubicBezTo>
                    <a:cubicBezTo>
                      <a:pt x="67" y="28"/>
                      <a:pt x="66" y="28"/>
                      <a:pt x="66" y="28"/>
                    </a:cubicBezTo>
                    <a:cubicBezTo>
                      <a:pt x="63" y="28"/>
                      <a:pt x="61" y="30"/>
                      <a:pt x="61" y="32"/>
                    </a:cubicBezTo>
                    <a:cubicBezTo>
                      <a:pt x="61" y="34"/>
                      <a:pt x="63" y="36"/>
                      <a:pt x="66" y="36"/>
                    </a:cubicBezTo>
                    <a:cubicBezTo>
                      <a:pt x="65" y="37"/>
                      <a:pt x="64" y="37"/>
                      <a:pt x="64" y="38"/>
                    </a:cubicBezTo>
                    <a:cubicBezTo>
                      <a:pt x="64" y="39"/>
                      <a:pt x="65" y="40"/>
                      <a:pt x="66" y="41"/>
                    </a:cubicBezTo>
                    <a:cubicBezTo>
                      <a:pt x="65" y="41"/>
                      <a:pt x="65" y="42"/>
                      <a:pt x="65" y="44"/>
                    </a:cubicBezTo>
                    <a:cubicBezTo>
                      <a:pt x="65" y="45"/>
                      <a:pt x="66" y="46"/>
                      <a:pt x="67" y="47"/>
                    </a:cubicBezTo>
                    <a:cubicBezTo>
                      <a:pt x="66" y="48"/>
                      <a:pt x="65" y="49"/>
                      <a:pt x="65" y="50"/>
                    </a:cubicBezTo>
                    <a:cubicBezTo>
                      <a:pt x="65" y="52"/>
                      <a:pt x="67" y="53"/>
                      <a:pt x="70" y="53"/>
                    </a:cubicBezTo>
                    <a:cubicBezTo>
                      <a:pt x="71" y="53"/>
                      <a:pt x="71" y="53"/>
                      <a:pt x="72" y="53"/>
                    </a:cubicBezTo>
                    <a:cubicBezTo>
                      <a:pt x="72" y="55"/>
                      <a:pt x="73" y="56"/>
                      <a:pt x="76" y="56"/>
                    </a:cubicBezTo>
                    <a:cubicBezTo>
                      <a:pt x="77" y="56"/>
                      <a:pt x="78" y="56"/>
                      <a:pt x="78" y="55"/>
                    </a:cubicBezTo>
                    <a:cubicBezTo>
                      <a:pt x="79" y="55"/>
                      <a:pt x="79" y="55"/>
                      <a:pt x="79" y="56"/>
                    </a:cubicBezTo>
                    <a:cubicBezTo>
                      <a:pt x="80" y="56"/>
                      <a:pt x="81" y="56"/>
                      <a:pt x="82" y="55"/>
                    </a:cubicBezTo>
                    <a:cubicBezTo>
                      <a:pt x="84" y="63"/>
                      <a:pt x="84" y="63"/>
                      <a:pt x="84" y="63"/>
                    </a:cubicBezTo>
                    <a:cubicBezTo>
                      <a:pt x="84" y="67"/>
                      <a:pt x="84" y="71"/>
                      <a:pt x="83" y="76"/>
                    </a:cubicBezTo>
                    <a:cubicBezTo>
                      <a:pt x="91" y="76"/>
                      <a:pt x="91" y="76"/>
                      <a:pt x="91" y="76"/>
                    </a:cubicBezTo>
                    <a:cubicBezTo>
                      <a:pt x="89" y="64"/>
                      <a:pt x="90" y="57"/>
                      <a:pt x="90" y="57"/>
                    </a:cubicBezTo>
                    <a:cubicBezTo>
                      <a:pt x="91" y="55"/>
                      <a:pt x="91" y="55"/>
                      <a:pt x="91" y="55"/>
                    </a:cubicBezTo>
                    <a:cubicBezTo>
                      <a:pt x="92" y="56"/>
                      <a:pt x="92" y="56"/>
                      <a:pt x="93" y="56"/>
                    </a:cubicBezTo>
                    <a:cubicBezTo>
                      <a:pt x="94" y="56"/>
                      <a:pt x="95" y="55"/>
                      <a:pt x="96" y="54"/>
                    </a:cubicBezTo>
                    <a:cubicBezTo>
                      <a:pt x="96" y="55"/>
                      <a:pt x="96" y="55"/>
                      <a:pt x="97" y="55"/>
                    </a:cubicBezTo>
                    <a:cubicBezTo>
                      <a:pt x="98" y="57"/>
                      <a:pt x="100" y="57"/>
                      <a:pt x="102" y="55"/>
                    </a:cubicBezTo>
                    <a:cubicBezTo>
                      <a:pt x="102" y="54"/>
                      <a:pt x="103" y="54"/>
                      <a:pt x="103" y="53"/>
                    </a:cubicBezTo>
                    <a:cubicBezTo>
                      <a:pt x="103" y="53"/>
                      <a:pt x="103" y="53"/>
                      <a:pt x="103" y="53"/>
                    </a:cubicBezTo>
                    <a:cubicBezTo>
                      <a:pt x="104" y="54"/>
                      <a:pt x="106" y="54"/>
                      <a:pt x="108" y="52"/>
                    </a:cubicBezTo>
                    <a:cubicBezTo>
                      <a:pt x="110" y="51"/>
                      <a:pt x="110" y="48"/>
                      <a:pt x="109" y="47"/>
                    </a:cubicBezTo>
                    <a:cubicBezTo>
                      <a:pt x="108" y="47"/>
                      <a:pt x="108" y="47"/>
                      <a:pt x="108" y="46"/>
                    </a:cubicBezTo>
                    <a:cubicBezTo>
                      <a:pt x="108" y="46"/>
                      <a:pt x="108" y="46"/>
                      <a:pt x="108" y="46"/>
                    </a:cubicBezTo>
                    <a:cubicBezTo>
                      <a:pt x="109" y="46"/>
                      <a:pt x="109" y="45"/>
                      <a:pt x="109" y="44"/>
                    </a:cubicBezTo>
                    <a:cubicBezTo>
                      <a:pt x="110" y="43"/>
                      <a:pt x="110" y="43"/>
                      <a:pt x="111" y="42"/>
                    </a:cubicBezTo>
                    <a:cubicBezTo>
                      <a:pt x="111" y="41"/>
                      <a:pt x="111" y="40"/>
                      <a:pt x="109" y="39"/>
                    </a:cubicBezTo>
                    <a:cubicBezTo>
                      <a:pt x="111" y="39"/>
                      <a:pt x="113" y="38"/>
                      <a:pt x="113" y="36"/>
                    </a:cubicBezTo>
                    <a:cubicBezTo>
                      <a:pt x="114" y="34"/>
                      <a:pt x="113" y="31"/>
                      <a:pt x="111" y="30"/>
                    </a:cubicBezTo>
                    <a:close/>
                    <a:moveTo>
                      <a:pt x="84" y="57"/>
                    </a:moveTo>
                    <a:cubicBezTo>
                      <a:pt x="83" y="54"/>
                      <a:pt x="83" y="54"/>
                      <a:pt x="83" y="54"/>
                    </a:cubicBezTo>
                    <a:cubicBezTo>
                      <a:pt x="83" y="54"/>
                      <a:pt x="83" y="54"/>
                      <a:pt x="83" y="54"/>
                    </a:cubicBezTo>
                    <a:cubicBezTo>
                      <a:pt x="84" y="54"/>
                      <a:pt x="84" y="54"/>
                      <a:pt x="84" y="54"/>
                    </a:cubicBezTo>
                    <a:cubicBezTo>
                      <a:pt x="84" y="54"/>
                      <a:pt x="84" y="54"/>
                      <a:pt x="84" y="54"/>
                    </a:cubicBezTo>
                    <a:cubicBezTo>
                      <a:pt x="84" y="55"/>
                      <a:pt x="84" y="56"/>
                      <a:pt x="84" y="57"/>
                    </a:cubicBezTo>
                    <a:close/>
                    <a:moveTo>
                      <a:pt x="50" y="30"/>
                    </a:moveTo>
                    <a:cubicBezTo>
                      <a:pt x="50" y="30"/>
                      <a:pt x="49" y="30"/>
                      <a:pt x="49" y="30"/>
                    </a:cubicBezTo>
                    <a:cubicBezTo>
                      <a:pt x="49" y="30"/>
                      <a:pt x="49" y="30"/>
                      <a:pt x="49" y="29"/>
                    </a:cubicBezTo>
                    <a:cubicBezTo>
                      <a:pt x="50" y="28"/>
                      <a:pt x="49" y="25"/>
                      <a:pt x="47" y="24"/>
                    </a:cubicBezTo>
                    <a:cubicBezTo>
                      <a:pt x="48" y="24"/>
                      <a:pt x="48" y="23"/>
                      <a:pt x="48" y="22"/>
                    </a:cubicBezTo>
                    <a:cubicBezTo>
                      <a:pt x="48" y="20"/>
                      <a:pt x="47" y="19"/>
                      <a:pt x="45" y="18"/>
                    </a:cubicBezTo>
                    <a:cubicBezTo>
                      <a:pt x="45" y="17"/>
                      <a:pt x="45" y="17"/>
                      <a:pt x="45" y="17"/>
                    </a:cubicBezTo>
                    <a:cubicBezTo>
                      <a:pt x="45" y="15"/>
                      <a:pt x="44" y="13"/>
                      <a:pt x="42" y="13"/>
                    </a:cubicBezTo>
                    <a:cubicBezTo>
                      <a:pt x="42" y="12"/>
                      <a:pt x="42" y="12"/>
                      <a:pt x="42" y="12"/>
                    </a:cubicBezTo>
                    <a:cubicBezTo>
                      <a:pt x="42" y="10"/>
                      <a:pt x="41" y="9"/>
                      <a:pt x="39" y="9"/>
                    </a:cubicBezTo>
                    <a:cubicBezTo>
                      <a:pt x="38" y="9"/>
                      <a:pt x="37" y="9"/>
                      <a:pt x="36" y="10"/>
                    </a:cubicBezTo>
                    <a:cubicBezTo>
                      <a:pt x="35" y="9"/>
                      <a:pt x="35" y="9"/>
                      <a:pt x="34" y="8"/>
                    </a:cubicBezTo>
                    <a:cubicBezTo>
                      <a:pt x="35" y="8"/>
                      <a:pt x="35" y="7"/>
                      <a:pt x="35" y="6"/>
                    </a:cubicBezTo>
                    <a:cubicBezTo>
                      <a:pt x="35" y="4"/>
                      <a:pt x="34" y="3"/>
                      <a:pt x="32" y="3"/>
                    </a:cubicBezTo>
                    <a:cubicBezTo>
                      <a:pt x="32" y="3"/>
                      <a:pt x="31" y="3"/>
                      <a:pt x="31" y="3"/>
                    </a:cubicBezTo>
                    <a:cubicBezTo>
                      <a:pt x="31" y="3"/>
                      <a:pt x="31" y="3"/>
                      <a:pt x="31" y="3"/>
                    </a:cubicBezTo>
                    <a:cubicBezTo>
                      <a:pt x="31" y="1"/>
                      <a:pt x="30" y="0"/>
                      <a:pt x="28" y="0"/>
                    </a:cubicBezTo>
                    <a:cubicBezTo>
                      <a:pt x="27" y="0"/>
                      <a:pt x="26" y="1"/>
                      <a:pt x="26" y="3"/>
                    </a:cubicBezTo>
                    <a:cubicBezTo>
                      <a:pt x="26" y="3"/>
                      <a:pt x="26" y="3"/>
                      <a:pt x="26" y="3"/>
                    </a:cubicBezTo>
                    <a:cubicBezTo>
                      <a:pt x="25" y="3"/>
                      <a:pt x="24" y="3"/>
                      <a:pt x="23" y="3"/>
                    </a:cubicBezTo>
                    <a:cubicBezTo>
                      <a:pt x="20" y="3"/>
                      <a:pt x="18" y="4"/>
                      <a:pt x="18" y="5"/>
                    </a:cubicBezTo>
                    <a:cubicBezTo>
                      <a:pt x="18" y="6"/>
                      <a:pt x="19" y="7"/>
                      <a:pt x="19" y="7"/>
                    </a:cubicBezTo>
                    <a:cubicBezTo>
                      <a:pt x="17" y="8"/>
                      <a:pt x="16" y="9"/>
                      <a:pt x="16" y="10"/>
                    </a:cubicBezTo>
                    <a:cubicBezTo>
                      <a:pt x="16" y="10"/>
                      <a:pt x="16" y="10"/>
                      <a:pt x="16" y="10"/>
                    </a:cubicBezTo>
                    <a:cubicBezTo>
                      <a:pt x="15" y="10"/>
                      <a:pt x="15" y="11"/>
                      <a:pt x="15" y="11"/>
                    </a:cubicBezTo>
                    <a:cubicBezTo>
                      <a:pt x="14" y="11"/>
                      <a:pt x="14" y="11"/>
                      <a:pt x="13" y="11"/>
                    </a:cubicBezTo>
                    <a:cubicBezTo>
                      <a:pt x="11" y="11"/>
                      <a:pt x="9" y="12"/>
                      <a:pt x="9" y="14"/>
                    </a:cubicBezTo>
                    <a:cubicBezTo>
                      <a:pt x="9" y="15"/>
                      <a:pt x="9" y="15"/>
                      <a:pt x="10" y="15"/>
                    </a:cubicBezTo>
                    <a:cubicBezTo>
                      <a:pt x="7" y="16"/>
                      <a:pt x="5" y="17"/>
                      <a:pt x="5" y="20"/>
                    </a:cubicBezTo>
                    <a:cubicBezTo>
                      <a:pt x="5" y="22"/>
                      <a:pt x="6" y="23"/>
                      <a:pt x="9" y="24"/>
                    </a:cubicBezTo>
                    <a:cubicBezTo>
                      <a:pt x="8" y="24"/>
                      <a:pt x="8" y="25"/>
                      <a:pt x="8" y="25"/>
                    </a:cubicBezTo>
                    <a:cubicBezTo>
                      <a:pt x="7" y="26"/>
                      <a:pt x="7" y="27"/>
                      <a:pt x="6" y="28"/>
                    </a:cubicBezTo>
                    <a:cubicBezTo>
                      <a:pt x="6" y="28"/>
                      <a:pt x="6" y="28"/>
                      <a:pt x="6" y="28"/>
                    </a:cubicBezTo>
                    <a:cubicBezTo>
                      <a:pt x="3" y="28"/>
                      <a:pt x="0" y="30"/>
                      <a:pt x="0" y="32"/>
                    </a:cubicBezTo>
                    <a:cubicBezTo>
                      <a:pt x="0" y="34"/>
                      <a:pt x="3" y="36"/>
                      <a:pt x="5" y="36"/>
                    </a:cubicBezTo>
                    <a:cubicBezTo>
                      <a:pt x="4" y="37"/>
                      <a:pt x="4" y="37"/>
                      <a:pt x="4" y="38"/>
                    </a:cubicBezTo>
                    <a:cubicBezTo>
                      <a:pt x="4" y="39"/>
                      <a:pt x="5" y="40"/>
                      <a:pt x="6" y="41"/>
                    </a:cubicBezTo>
                    <a:cubicBezTo>
                      <a:pt x="5" y="41"/>
                      <a:pt x="5" y="42"/>
                      <a:pt x="5" y="44"/>
                    </a:cubicBezTo>
                    <a:cubicBezTo>
                      <a:pt x="5" y="45"/>
                      <a:pt x="5" y="46"/>
                      <a:pt x="6" y="47"/>
                    </a:cubicBezTo>
                    <a:cubicBezTo>
                      <a:pt x="5" y="48"/>
                      <a:pt x="5" y="49"/>
                      <a:pt x="5" y="50"/>
                    </a:cubicBezTo>
                    <a:cubicBezTo>
                      <a:pt x="5" y="52"/>
                      <a:pt x="7" y="53"/>
                      <a:pt x="10" y="53"/>
                    </a:cubicBezTo>
                    <a:cubicBezTo>
                      <a:pt x="11" y="53"/>
                      <a:pt x="11" y="53"/>
                      <a:pt x="11" y="53"/>
                    </a:cubicBezTo>
                    <a:cubicBezTo>
                      <a:pt x="11" y="55"/>
                      <a:pt x="13" y="56"/>
                      <a:pt x="15" y="56"/>
                    </a:cubicBezTo>
                    <a:cubicBezTo>
                      <a:pt x="16" y="56"/>
                      <a:pt x="17" y="56"/>
                      <a:pt x="18" y="55"/>
                    </a:cubicBezTo>
                    <a:cubicBezTo>
                      <a:pt x="18" y="55"/>
                      <a:pt x="19" y="55"/>
                      <a:pt x="19" y="56"/>
                    </a:cubicBezTo>
                    <a:cubicBezTo>
                      <a:pt x="20" y="56"/>
                      <a:pt x="21" y="56"/>
                      <a:pt x="21" y="55"/>
                    </a:cubicBezTo>
                    <a:cubicBezTo>
                      <a:pt x="24" y="63"/>
                      <a:pt x="24" y="63"/>
                      <a:pt x="24" y="63"/>
                    </a:cubicBezTo>
                    <a:cubicBezTo>
                      <a:pt x="24" y="67"/>
                      <a:pt x="24" y="71"/>
                      <a:pt x="22" y="76"/>
                    </a:cubicBezTo>
                    <a:cubicBezTo>
                      <a:pt x="31" y="76"/>
                      <a:pt x="31" y="76"/>
                      <a:pt x="31" y="76"/>
                    </a:cubicBezTo>
                    <a:cubicBezTo>
                      <a:pt x="29" y="64"/>
                      <a:pt x="29" y="57"/>
                      <a:pt x="29" y="57"/>
                    </a:cubicBezTo>
                    <a:cubicBezTo>
                      <a:pt x="31" y="55"/>
                      <a:pt x="31" y="55"/>
                      <a:pt x="31" y="55"/>
                    </a:cubicBezTo>
                    <a:cubicBezTo>
                      <a:pt x="31" y="56"/>
                      <a:pt x="32" y="56"/>
                      <a:pt x="32" y="56"/>
                    </a:cubicBezTo>
                    <a:cubicBezTo>
                      <a:pt x="34" y="56"/>
                      <a:pt x="35" y="55"/>
                      <a:pt x="36" y="54"/>
                    </a:cubicBezTo>
                    <a:cubicBezTo>
                      <a:pt x="36" y="55"/>
                      <a:pt x="36" y="55"/>
                      <a:pt x="36" y="55"/>
                    </a:cubicBezTo>
                    <a:cubicBezTo>
                      <a:pt x="38" y="57"/>
                      <a:pt x="40" y="57"/>
                      <a:pt x="41" y="55"/>
                    </a:cubicBezTo>
                    <a:cubicBezTo>
                      <a:pt x="42" y="54"/>
                      <a:pt x="42" y="54"/>
                      <a:pt x="42" y="53"/>
                    </a:cubicBezTo>
                    <a:cubicBezTo>
                      <a:pt x="42" y="53"/>
                      <a:pt x="42" y="53"/>
                      <a:pt x="42" y="53"/>
                    </a:cubicBezTo>
                    <a:cubicBezTo>
                      <a:pt x="44" y="54"/>
                      <a:pt x="46" y="54"/>
                      <a:pt x="48" y="52"/>
                    </a:cubicBezTo>
                    <a:cubicBezTo>
                      <a:pt x="49" y="51"/>
                      <a:pt x="50" y="48"/>
                      <a:pt x="48" y="47"/>
                    </a:cubicBezTo>
                    <a:cubicBezTo>
                      <a:pt x="48" y="47"/>
                      <a:pt x="48" y="47"/>
                      <a:pt x="48" y="46"/>
                    </a:cubicBezTo>
                    <a:cubicBezTo>
                      <a:pt x="48" y="46"/>
                      <a:pt x="48" y="46"/>
                      <a:pt x="48" y="46"/>
                    </a:cubicBezTo>
                    <a:cubicBezTo>
                      <a:pt x="49" y="46"/>
                      <a:pt x="49" y="45"/>
                      <a:pt x="49" y="44"/>
                    </a:cubicBezTo>
                    <a:cubicBezTo>
                      <a:pt x="50" y="43"/>
                      <a:pt x="50" y="43"/>
                      <a:pt x="50" y="42"/>
                    </a:cubicBezTo>
                    <a:cubicBezTo>
                      <a:pt x="51" y="41"/>
                      <a:pt x="50" y="40"/>
                      <a:pt x="49" y="39"/>
                    </a:cubicBezTo>
                    <a:cubicBezTo>
                      <a:pt x="51" y="39"/>
                      <a:pt x="52" y="38"/>
                      <a:pt x="53" y="36"/>
                    </a:cubicBezTo>
                    <a:cubicBezTo>
                      <a:pt x="54" y="34"/>
                      <a:pt x="53" y="31"/>
                      <a:pt x="50" y="30"/>
                    </a:cubicBezTo>
                    <a:close/>
                    <a:moveTo>
                      <a:pt x="24" y="57"/>
                    </a:moveTo>
                    <a:cubicBezTo>
                      <a:pt x="23" y="54"/>
                      <a:pt x="23" y="54"/>
                      <a:pt x="23" y="54"/>
                    </a:cubicBezTo>
                    <a:cubicBezTo>
                      <a:pt x="23" y="54"/>
                      <a:pt x="23" y="54"/>
                      <a:pt x="23" y="54"/>
                    </a:cubicBezTo>
                    <a:cubicBezTo>
                      <a:pt x="23" y="54"/>
                      <a:pt x="24" y="54"/>
                      <a:pt x="24" y="54"/>
                    </a:cubicBezTo>
                    <a:cubicBezTo>
                      <a:pt x="24" y="54"/>
                      <a:pt x="24" y="54"/>
                      <a:pt x="24" y="54"/>
                    </a:cubicBezTo>
                    <a:cubicBezTo>
                      <a:pt x="24" y="55"/>
                      <a:pt x="24" y="56"/>
                      <a:pt x="24" y="57"/>
                    </a:cubicBezTo>
                    <a:close/>
                    <a:moveTo>
                      <a:pt x="771" y="30"/>
                    </a:moveTo>
                    <a:cubicBezTo>
                      <a:pt x="770" y="30"/>
                      <a:pt x="770" y="30"/>
                      <a:pt x="769" y="30"/>
                    </a:cubicBezTo>
                    <a:cubicBezTo>
                      <a:pt x="770" y="30"/>
                      <a:pt x="770" y="30"/>
                      <a:pt x="770" y="29"/>
                    </a:cubicBezTo>
                    <a:cubicBezTo>
                      <a:pt x="770" y="28"/>
                      <a:pt x="769" y="25"/>
                      <a:pt x="767" y="24"/>
                    </a:cubicBezTo>
                    <a:cubicBezTo>
                      <a:pt x="768" y="24"/>
                      <a:pt x="769" y="23"/>
                      <a:pt x="769" y="22"/>
                    </a:cubicBezTo>
                    <a:cubicBezTo>
                      <a:pt x="769" y="20"/>
                      <a:pt x="767" y="19"/>
                      <a:pt x="765" y="18"/>
                    </a:cubicBezTo>
                    <a:cubicBezTo>
                      <a:pt x="765" y="17"/>
                      <a:pt x="765" y="17"/>
                      <a:pt x="765" y="17"/>
                    </a:cubicBezTo>
                    <a:cubicBezTo>
                      <a:pt x="765" y="15"/>
                      <a:pt x="764" y="13"/>
                      <a:pt x="762" y="13"/>
                    </a:cubicBezTo>
                    <a:cubicBezTo>
                      <a:pt x="763" y="12"/>
                      <a:pt x="763" y="12"/>
                      <a:pt x="763" y="12"/>
                    </a:cubicBezTo>
                    <a:cubicBezTo>
                      <a:pt x="763" y="10"/>
                      <a:pt x="761" y="9"/>
                      <a:pt x="759" y="9"/>
                    </a:cubicBezTo>
                    <a:cubicBezTo>
                      <a:pt x="758" y="9"/>
                      <a:pt x="757" y="9"/>
                      <a:pt x="756" y="10"/>
                    </a:cubicBezTo>
                    <a:cubicBezTo>
                      <a:pt x="756" y="9"/>
                      <a:pt x="755" y="9"/>
                      <a:pt x="754" y="8"/>
                    </a:cubicBezTo>
                    <a:cubicBezTo>
                      <a:pt x="755" y="8"/>
                      <a:pt x="756" y="7"/>
                      <a:pt x="756" y="6"/>
                    </a:cubicBezTo>
                    <a:cubicBezTo>
                      <a:pt x="756" y="4"/>
                      <a:pt x="754" y="3"/>
                      <a:pt x="752" y="3"/>
                    </a:cubicBezTo>
                    <a:cubicBezTo>
                      <a:pt x="752" y="3"/>
                      <a:pt x="752" y="3"/>
                      <a:pt x="752" y="3"/>
                    </a:cubicBezTo>
                    <a:cubicBezTo>
                      <a:pt x="752" y="3"/>
                      <a:pt x="752" y="3"/>
                      <a:pt x="752" y="3"/>
                    </a:cubicBezTo>
                    <a:cubicBezTo>
                      <a:pt x="752" y="1"/>
                      <a:pt x="750" y="0"/>
                      <a:pt x="749" y="0"/>
                    </a:cubicBezTo>
                    <a:cubicBezTo>
                      <a:pt x="747" y="0"/>
                      <a:pt x="746" y="1"/>
                      <a:pt x="746" y="3"/>
                    </a:cubicBezTo>
                    <a:cubicBezTo>
                      <a:pt x="746" y="3"/>
                      <a:pt x="746" y="3"/>
                      <a:pt x="746" y="3"/>
                    </a:cubicBezTo>
                    <a:cubicBezTo>
                      <a:pt x="745" y="3"/>
                      <a:pt x="744" y="3"/>
                      <a:pt x="743" y="3"/>
                    </a:cubicBezTo>
                    <a:cubicBezTo>
                      <a:pt x="741" y="3"/>
                      <a:pt x="739" y="4"/>
                      <a:pt x="739" y="5"/>
                    </a:cubicBezTo>
                    <a:cubicBezTo>
                      <a:pt x="739" y="6"/>
                      <a:pt x="739" y="7"/>
                      <a:pt x="739" y="7"/>
                    </a:cubicBezTo>
                    <a:cubicBezTo>
                      <a:pt x="738" y="8"/>
                      <a:pt x="737" y="9"/>
                      <a:pt x="737" y="10"/>
                    </a:cubicBezTo>
                    <a:cubicBezTo>
                      <a:pt x="737" y="10"/>
                      <a:pt x="737" y="10"/>
                      <a:pt x="737" y="10"/>
                    </a:cubicBezTo>
                    <a:cubicBezTo>
                      <a:pt x="736" y="10"/>
                      <a:pt x="735" y="11"/>
                      <a:pt x="735" y="11"/>
                    </a:cubicBezTo>
                    <a:cubicBezTo>
                      <a:pt x="734" y="11"/>
                      <a:pt x="734" y="11"/>
                      <a:pt x="733" y="11"/>
                    </a:cubicBezTo>
                    <a:cubicBezTo>
                      <a:pt x="731" y="11"/>
                      <a:pt x="730" y="12"/>
                      <a:pt x="730" y="14"/>
                    </a:cubicBezTo>
                    <a:cubicBezTo>
                      <a:pt x="730" y="15"/>
                      <a:pt x="730" y="15"/>
                      <a:pt x="730" y="15"/>
                    </a:cubicBezTo>
                    <a:cubicBezTo>
                      <a:pt x="727" y="16"/>
                      <a:pt x="725" y="17"/>
                      <a:pt x="725" y="20"/>
                    </a:cubicBezTo>
                    <a:cubicBezTo>
                      <a:pt x="725" y="22"/>
                      <a:pt x="727" y="23"/>
                      <a:pt x="729" y="24"/>
                    </a:cubicBezTo>
                    <a:cubicBezTo>
                      <a:pt x="729" y="24"/>
                      <a:pt x="729" y="25"/>
                      <a:pt x="728" y="25"/>
                    </a:cubicBezTo>
                    <a:cubicBezTo>
                      <a:pt x="727" y="26"/>
                      <a:pt x="727" y="27"/>
                      <a:pt x="727" y="28"/>
                    </a:cubicBezTo>
                    <a:cubicBezTo>
                      <a:pt x="727" y="28"/>
                      <a:pt x="727" y="28"/>
                      <a:pt x="726" y="28"/>
                    </a:cubicBezTo>
                    <a:cubicBezTo>
                      <a:pt x="723" y="28"/>
                      <a:pt x="721" y="30"/>
                      <a:pt x="721" y="32"/>
                    </a:cubicBezTo>
                    <a:cubicBezTo>
                      <a:pt x="721" y="34"/>
                      <a:pt x="723" y="36"/>
                      <a:pt x="726" y="36"/>
                    </a:cubicBezTo>
                    <a:cubicBezTo>
                      <a:pt x="725" y="37"/>
                      <a:pt x="724" y="37"/>
                      <a:pt x="724" y="38"/>
                    </a:cubicBezTo>
                    <a:cubicBezTo>
                      <a:pt x="724" y="39"/>
                      <a:pt x="725" y="40"/>
                      <a:pt x="726" y="41"/>
                    </a:cubicBezTo>
                    <a:cubicBezTo>
                      <a:pt x="726" y="41"/>
                      <a:pt x="725" y="42"/>
                      <a:pt x="725" y="44"/>
                    </a:cubicBezTo>
                    <a:cubicBezTo>
                      <a:pt x="725" y="45"/>
                      <a:pt x="726" y="46"/>
                      <a:pt x="727" y="47"/>
                    </a:cubicBezTo>
                    <a:cubicBezTo>
                      <a:pt x="726" y="48"/>
                      <a:pt x="725" y="49"/>
                      <a:pt x="725" y="50"/>
                    </a:cubicBezTo>
                    <a:cubicBezTo>
                      <a:pt x="725" y="52"/>
                      <a:pt x="727" y="53"/>
                      <a:pt x="731" y="53"/>
                    </a:cubicBezTo>
                    <a:cubicBezTo>
                      <a:pt x="731" y="53"/>
                      <a:pt x="731" y="53"/>
                      <a:pt x="732" y="53"/>
                    </a:cubicBezTo>
                    <a:cubicBezTo>
                      <a:pt x="732" y="55"/>
                      <a:pt x="734" y="56"/>
                      <a:pt x="736" y="56"/>
                    </a:cubicBezTo>
                    <a:cubicBezTo>
                      <a:pt x="737" y="56"/>
                      <a:pt x="738" y="56"/>
                      <a:pt x="739" y="55"/>
                    </a:cubicBezTo>
                    <a:cubicBezTo>
                      <a:pt x="739" y="55"/>
                      <a:pt x="739" y="55"/>
                      <a:pt x="739" y="56"/>
                    </a:cubicBezTo>
                    <a:cubicBezTo>
                      <a:pt x="740" y="56"/>
                      <a:pt x="741" y="56"/>
                      <a:pt x="742" y="55"/>
                    </a:cubicBezTo>
                    <a:cubicBezTo>
                      <a:pt x="744" y="63"/>
                      <a:pt x="744" y="63"/>
                      <a:pt x="744" y="63"/>
                    </a:cubicBezTo>
                    <a:cubicBezTo>
                      <a:pt x="744" y="67"/>
                      <a:pt x="744" y="71"/>
                      <a:pt x="743" y="76"/>
                    </a:cubicBezTo>
                    <a:cubicBezTo>
                      <a:pt x="751" y="76"/>
                      <a:pt x="751" y="76"/>
                      <a:pt x="751" y="76"/>
                    </a:cubicBezTo>
                    <a:cubicBezTo>
                      <a:pt x="749" y="64"/>
                      <a:pt x="750" y="57"/>
                      <a:pt x="750" y="57"/>
                    </a:cubicBezTo>
                    <a:cubicBezTo>
                      <a:pt x="751" y="55"/>
                      <a:pt x="751" y="55"/>
                      <a:pt x="751" y="55"/>
                    </a:cubicBezTo>
                    <a:cubicBezTo>
                      <a:pt x="752" y="56"/>
                      <a:pt x="752" y="56"/>
                      <a:pt x="753" y="56"/>
                    </a:cubicBezTo>
                    <a:cubicBezTo>
                      <a:pt x="754" y="56"/>
                      <a:pt x="755" y="55"/>
                      <a:pt x="756" y="54"/>
                    </a:cubicBezTo>
                    <a:cubicBezTo>
                      <a:pt x="756" y="55"/>
                      <a:pt x="756" y="55"/>
                      <a:pt x="757" y="55"/>
                    </a:cubicBezTo>
                    <a:cubicBezTo>
                      <a:pt x="758" y="57"/>
                      <a:pt x="760" y="57"/>
                      <a:pt x="762" y="55"/>
                    </a:cubicBezTo>
                    <a:cubicBezTo>
                      <a:pt x="762" y="54"/>
                      <a:pt x="763" y="54"/>
                      <a:pt x="763" y="53"/>
                    </a:cubicBezTo>
                    <a:cubicBezTo>
                      <a:pt x="763" y="53"/>
                      <a:pt x="763" y="53"/>
                      <a:pt x="763" y="53"/>
                    </a:cubicBezTo>
                    <a:cubicBezTo>
                      <a:pt x="764" y="54"/>
                      <a:pt x="767" y="54"/>
                      <a:pt x="768" y="52"/>
                    </a:cubicBezTo>
                    <a:cubicBezTo>
                      <a:pt x="770" y="51"/>
                      <a:pt x="770" y="48"/>
                      <a:pt x="769" y="47"/>
                    </a:cubicBezTo>
                    <a:cubicBezTo>
                      <a:pt x="769" y="47"/>
                      <a:pt x="768" y="47"/>
                      <a:pt x="768" y="46"/>
                    </a:cubicBezTo>
                    <a:cubicBezTo>
                      <a:pt x="768" y="46"/>
                      <a:pt x="768" y="46"/>
                      <a:pt x="768" y="46"/>
                    </a:cubicBezTo>
                    <a:cubicBezTo>
                      <a:pt x="769" y="46"/>
                      <a:pt x="770" y="45"/>
                      <a:pt x="770" y="44"/>
                    </a:cubicBezTo>
                    <a:cubicBezTo>
                      <a:pt x="770" y="43"/>
                      <a:pt x="771" y="43"/>
                      <a:pt x="771" y="42"/>
                    </a:cubicBezTo>
                    <a:cubicBezTo>
                      <a:pt x="771" y="41"/>
                      <a:pt x="771" y="40"/>
                      <a:pt x="770" y="39"/>
                    </a:cubicBezTo>
                    <a:cubicBezTo>
                      <a:pt x="771" y="39"/>
                      <a:pt x="773" y="38"/>
                      <a:pt x="773" y="36"/>
                    </a:cubicBezTo>
                    <a:cubicBezTo>
                      <a:pt x="774" y="34"/>
                      <a:pt x="773" y="31"/>
                      <a:pt x="771" y="30"/>
                    </a:cubicBezTo>
                    <a:close/>
                    <a:moveTo>
                      <a:pt x="745" y="57"/>
                    </a:moveTo>
                    <a:cubicBezTo>
                      <a:pt x="743" y="54"/>
                      <a:pt x="743" y="54"/>
                      <a:pt x="743" y="54"/>
                    </a:cubicBezTo>
                    <a:cubicBezTo>
                      <a:pt x="743" y="54"/>
                      <a:pt x="743" y="54"/>
                      <a:pt x="743" y="54"/>
                    </a:cubicBezTo>
                    <a:cubicBezTo>
                      <a:pt x="744" y="54"/>
                      <a:pt x="744" y="54"/>
                      <a:pt x="744" y="54"/>
                    </a:cubicBezTo>
                    <a:cubicBezTo>
                      <a:pt x="745" y="54"/>
                      <a:pt x="745" y="54"/>
                      <a:pt x="745" y="54"/>
                    </a:cubicBezTo>
                    <a:cubicBezTo>
                      <a:pt x="745" y="55"/>
                      <a:pt x="745" y="56"/>
                      <a:pt x="745" y="57"/>
                    </a:cubicBezTo>
                    <a:close/>
                    <a:moveTo>
                      <a:pt x="711" y="30"/>
                    </a:moveTo>
                    <a:cubicBezTo>
                      <a:pt x="710" y="30"/>
                      <a:pt x="710" y="30"/>
                      <a:pt x="709" y="30"/>
                    </a:cubicBezTo>
                    <a:cubicBezTo>
                      <a:pt x="709" y="30"/>
                      <a:pt x="709" y="30"/>
                      <a:pt x="710" y="29"/>
                    </a:cubicBezTo>
                    <a:cubicBezTo>
                      <a:pt x="710" y="28"/>
                      <a:pt x="709" y="25"/>
                      <a:pt x="707" y="24"/>
                    </a:cubicBezTo>
                    <a:cubicBezTo>
                      <a:pt x="708" y="24"/>
                      <a:pt x="708" y="23"/>
                      <a:pt x="708" y="22"/>
                    </a:cubicBezTo>
                    <a:cubicBezTo>
                      <a:pt x="708" y="20"/>
                      <a:pt x="707" y="19"/>
                      <a:pt x="705" y="18"/>
                    </a:cubicBezTo>
                    <a:cubicBezTo>
                      <a:pt x="705" y="17"/>
                      <a:pt x="705" y="17"/>
                      <a:pt x="705" y="17"/>
                    </a:cubicBezTo>
                    <a:cubicBezTo>
                      <a:pt x="705" y="15"/>
                      <a:pt x="704" y="13"/>
                      <a:pt x="702" y="13"/>
                    </a:cubicBezTo>
                    <a:cubicBezTo>
                      <a:pt x="702" y="12"/>
                      <a:pt x="702" y="12"/>
                      <a:pt x="702" y="12"/>
                    </a:cubicBezTo>
                    <a:cubicBezTo>
                      <a:pt x="702" y="10"/>
                      <a:pt x="701" y="9"/>
                      <a:pt x="699" y="9"/>
                    </a:cubicBezTo>
                    <a:cubicBezTo>
                      <a:pt x="698" y="9"/>
                      <a:pt x="697" y="9"/>
                      <a:pt x="696" y="10"/>
                    </a:cubicBezTo>
                    <a:cubicBezTo>
                      <a:pt x="696" y="9"/>
                      <a:pt x="695" y="9"/>
                      <a:pt x="694" y="8"/>
                    </a:cubicBezTo>
                    <a:cubicBezTo>
                      <a:pt x="695" y="8"/>
                      <a:pt x="695" y="7"/>
                      <a:pt x="695" y="6"/>
                    </a:cubicBezTo>
                    <a:cubicBezTo>
                      <a:pt x="695" y="4"/>
                      <a:pt x="694" y="3"/>
                      <a:pt x="692" y="3"/>
                    </a:cubicBezTo>
                    <a:cubicBezTo>
                      <a:pt x="692" y="3"/>
                      <a:pt x="692" y="3"/>
                      <a:pt x="691" y="3"/>
                    </a:cubicBezTo>
                    <a:cubicBezTo>
                      <a:pt x="691" y="3"/>
                      <a:pt x="691" y="3"/>
                      <a:pt x="691" y="3"/>
                    </a:cubicBezTo>
                    <a:cubicBezTo>
                      <a:pt x="691" y="1"/>
                      <a:pt x="690" y="0"/>
                      <a:pt x="688" y="0"/>
                    </a:cubicBezTo>
                    <a:cubicBezTo>
                      <a:pt x="687" y="0"/>
                      <a:pt x="686" y="1"/>
                      <a:pt x="686" y="3"/>
                    </a:cubicBezTo>
                    <a:cubicBezTo>
                      <a:pt x="686" y="3"/>
                      <a:pt x="686" y="3"/>
                      <a:pt x="686" y="3"/>
                    </a:cubicBezTo>
                    <a:cubicBezTo>
                      <a:pt x="685" y="3"/>
                      <a:pt x="684" y="3"/>
                      <a:pt x="683" y="3"/>
                    </a:cubicBezTo>
                    <a:cubicBezTo>
                      <a:pt x="681" y="3"/>
                      <a:pt x="678" y="4"/>
                      <a:pt x="678" y="5"/>
                    </a:cubicBezTo>
                    <a:cubicBezTo>
                      <a:pt x="678" y="6"/>
                      <a:pt x="679" y="7"/>
                      <a:pt x="679" y="7"/>
                    </a:cubicBezTo>
                    <a:cubicBezTo>
                      <a:pt x="678" y="8"/>
                      <a:pt x="676" y="9"/>
                      <a:pt x="676" y="10"/>
                    </a:cubicBezTo>
                    <a:cubicBezTo>
                      <a:pt x="676" y="10"/>
                      <a:pt x="676" y="10"/>
                      <a:pt x="676" y="10"/>
                    </a:cubicBezTo>
                    <a:cubicBezTo>
                      <a:pt x="676" y="10"/>
                      <a:pt x="675" y="11"/>
                      <a:pt x="675" y="11"/>
                    </a:cubicBezTo>
                    <a:cubicBezTo>
                      <a:pt x="674" y="11"/>
                      <a:pt x="674" y="11"/>
                      <a:pt x="673" y="11"/>
                    </a:cubicBezTo>
                    <a:cubicBezTo>
                      <a:pt x="671" y="11"/>
                      <a:pt x="669" y="12"/>
                      <a:pt x="669" y="14"/>
                    </a:cubicBezTo>
                    <a:cubicBezTo>
                      <a:pt x="669" y="15"/>
                      <a:pt x="669" y="15"/>
                      <a:pt x="670" y="15"/>
                    </a:cubicBezTo>
                    <a:cubicBezTo>
                      <a:pt x="667" y="16"/>
                      <a:pt x="665" y="17"/>
                      <a:pt x="665" y="20"/>
                    </a:cubicBezTo>
                    <a:cubicBezTo>
                      <a:pt x="665" y="22"/>
                      <a:pt x="667" y="23"/>
                      <a:pt x="669" y="24"/>
                    </a:cubicBezTo>
                    <a:cubicBezTo>
                      <a:pt x="668" y="24"/>
                      <a:pt x="668" y="25"/>
                      <a:pt x="668" y="25"/>
                    </a:cubicBezTo>
                    <a:cubicBezTo>
                      <a:pt x="667" y="26"/>
                      <a:pt x="667" y="27"/>
                      <a:pt x="667" y="28"/>
                    </a:cubicBezTo>
                    <a:cubicBezTo>
                      <a:pt x="666" y="28"/>
                      <a:pt x="666" y="28"/>
                      <a:pt x="666" y="28"/>
                    </a:cubicBezTo>
                    <a:cubicBezTo>
                      <a:pt x="663" y="28"/>
                      <a:pt x="661" y="30"/>
                      <a:pt x="661" y="32"/>
                    </a:cubicBezTo>
                    <a:cubicBezTo>
                      <a:pt x="661" y="34"/>
                      <a:pt x="663" y="36"/>
                      <a:pt x="665" y="36"/>
                    </a:cubicBezTo>
                    <a:cubicBezTo>
                      <a:pt x="665" y="37"/>
                      <a:pt x="664" y="37"/>
                      <a:pt x="664" y="38"/>
                    </a:cubicBezTo>
                    <a:cubicBezTo>
                      <a:pt x="664" y="39"/>
                      <a:pt x="665" y="40"/>
                      <a:pt x="666" y="41"/>
                    </a:cubicBezTo>
                    <a:cubicBezTo>
                      <a:pt x="665" y="41"/>
                      <a:pt x="665" y="42"/>
                      <a:pt x="665" y="44"/>
                    </a:cubicBezTo>
                    <a:cubicBezTo>
                      <a:pt x="665" y="45"/>
                      <a:pt x="666" y="46"/>
                      <a:pt x="667" y="47"/>
                    </a:cubicBezTo>
                    <a:cubicBezTo>
                      <a:pt x="665" y="48"/>
                      <a:pt x="665" y="49"/>
                      <a:pt x="665" y="50"/>
                    </a:cubicBezTo>
                    <a:cubicBezTo>
                      <a:pt x="665" y="52"/>
                      <a:pt x="667" y="53"/>
                      <a:pt x="670" y="53"/>
                    </a:cubicBezTo>
                    <a:cubicBezTo>
                      <a:pt x="671" y="53"/>
                      <a:pt x="671" y="53"/>
                      <a:pt x="672" y="53"/>
                    </a:cubicBezTo>
                    <a:cubicBezTo>
                      <a:pt x="672" y="55"/>
                      <a:pt x="673" y="56"/>
                      <a:pt x="676" y="56"/>
                    </a:cubicBezTo>
                    <a:cubicBezTo>
                      <a:pt x="677" y="56"/>
                      <a:pt x="678" y="56"/>
                      <a:pt x="678" y="55"/>
                    </a:cubicBezTo>
                    <a:cubicBezTo>
                      <a:pt x="679" y="55"/>
                      <a:pt x="679" y="55"/>
                      <a:pt x="679" y="56"/>
                    </a:cubicBezTo>
                    <a:cubicBezTo>
                      <a:pt x="680" y="56"/>
                      <a:pt x="681" y="56"/>
                      <a:pt x="681" y="55"/>
                    </a:cubicBezTo>
                    <a:cubicBezTo>
                      <a:pt x="684" y="63"/>
                      <a:pt x="684" y="63"/>
                      <a:pt x="684" y="63"/>
                    </a:cubicBezTo>
                    <a:cubicBezTo>
                      <a:pt x="684" y="67"/>
                      <a:pt x="684" y="71"/>
                      <a:pt x="682" y="76"/>
                    </a:cubicBezTo>
                    <a:cubicBezTo>
                      <a:pt x="691" y="76"/>
                      <a:pt x="691" y="76"/>
                      <a:pt x="691" y="76"/>
                    </a:cubicBezTo>
                    <a:cubicBezTo>
                      <a:pt x="689" y="64"/>
                      <a:pt x="690" y="57"/>
                      <a:pt x="690" y="57"/>
                    </a:cubicBezTo>
                    <a:cubicBezTo>
                      <a:pt x="691" y="55"/>
                      <a:pt x="691" y="55"/>
                      <a:pt x="691" y="55"/>
                    </a:cubicBezTo>
                    <a:cubicBezTo>
                      <a:pt x="691" y="56"/>
                      <a:pt x="692" y="56"/>
                      <a:pt x="692" y="56"/>
                    </a:cubicBezTo>
                    <a:cubicBezTo>
                      <a:pt x="694" y="56"/>
                      <a:pt x="695" y="55"/>
                      <a:pt x="696" y="54"/>
                    </a:cubicBezTo>
                    <a:cubicBezTo>
                      <a:pt x="696" y="55"/>
                      <a:pt x="696" y="55"/>
                      <a:pt x="696" y="55"/>
                    </a:cubicBezTo>
                    <a:cubicBezTo>
                      <a:pt x="698" y="57"/>
                      <a:pt x="700" y="57"/>
                      <a:pt x="701" y="55"/>
                    </a:cubicBezTo>
                    <a:cubicBezTo>
                      <a:pt x="702" y="54"/>
                      <a:pt x="702" y="54"/>
                      <a:pt x="703" y="53"/>
                    </a:cubicBezTo>
                    <a:cubicBezTo>
                      <a:pt x="703" y="53"/>
                      <a:pt x="703" y="53"/>
                      <a:pt x="703" y="53"/>
                    </a:cubicBezTo>
                    <a:cubicBezTo>
                      <a:pt x="704" y="54"/>
                      <a:pt x="706" y="54"/>
                      <a:pt x="708" y="52"/>
                    </a:cubicBezTo>
                    <a:cubicBezTo>
                      <a:pt x="709" y="51"/>
                      <a:pt x="710" y="48"/>
                      <a:pt x="708" y="47"/>
                    </a:cubicBezTo>
                    <a:cubicBezTo>
                      <a:pt x="708" y="47"/>
                      <a:pt x="708" y="47"/>
                      <a:pt x="708" y="46"/>
                    </a:cubicBezTo>
                    <a:cubicBezTo>
                      <a:pt x="708" y="46"/>
                      <a:pt x="708" y="46"/>
                      <a:pt x="708" y="46"/>
                    </a:cubicBezTo>
                    <a:cubicBezTo>
                      <a:pt x="709" y="46"/>
                      <a:pt x="709" y="45"/>
                      <a:pt x="709" y="44"/>
                    </a:cubicBezTo>
                    <a:cubicBezTo>
                      <a:pt x="710" y="43"/>
                      <a:pt x="710" y="43"/>
                      <a:pt x="710" y="42"/>
                    </a:cubicBezTo>
                    <a:cubicBezTo>
                      <a:pt x="711" y="41"/>
                      <a:pt x="710" y="40"/>
                      <a:pt x="709" y="39"/>
                    </a:cubicBezTo>
                    <a:cubicBezTo>
                      <a:pt x="711" y="39"/>
                      <a:pt x="713" y="38"/>
                      <a:pt x="713" y="36"/>
                    </a:cubicBezTo>
                    <a:cubicBezTo>
                      <a:pt x="714" y="34"/>
                      <a:pt x="713" y="31"/>
                      <a:pt x="711" y="30"/>
                    </a:cubicBezTo>
                    <a:close/>
                    <a:moveTo>
                      <a:pt x="684" y="57"/>
                    </a:moveTo>
                    <a:cubicBezTo>
                      <a:pt x="683" y="54"/>
                      <a:pt x="683" y="54"/>
                      <a:pt x="683" y="54"/>
                    </a:cubicBezTo>
                    <a:cubicBezTo>
                      <a:pt x="683" y="54"/>
                      <a:pt x="683" y="54"/>
                      <a:pt x="683" y="54"/>
                    </a:cubicBezTo>
                    <a:cubicBezTo>
                      <a:pt x="683" y="54"/>
                      <a:pt x="684" y="54"/>
                      <a:pt x="684" y="54"/>
                    </a:cubicBezTo>
                    <a:cubicBezTo>
                      <a:pt x="684" y="54"/>
                      <a:pt x="684" y="54"/>
                      <a:pt x="684" y="54"/>
                    </a:cubicBezTo>
                    <a:cubicBezTo>
                      <a:pt x="684" y="55"/>
                      <a:pt x="684" y="56"/>
                      <a:pt x="684" y="57"/>
                    </a:cubicBezTo>
                    <a:close/>
                    <a:moveTo>
                      <a:pt x="650" y="30"/>
                    </a:moveTo>
                    <a:cubicBezTo>
                      <a:pt x="650" y="30"/>
                      <a:pt x="649" y="30"/>
                      <a:pt x="649" y="30"/>
                    </a:cubicBezTo>
                    <a:cubicBezTo>
                      <a:pt x="649" y="30"/>
                      <a:pt x="649" y="30"/>
                      <a:pt x="649" y="29"/>
                    </a:cubicBezTo>
                    <a:cubicBezTo>
                      <a:pt x="650" y="28"/>
                      <a:pt x="649" y="25"/>
                      <a:pt x="647" y="24"/>
                    </a:cubicBezTo>
                    <a:cubicBezTo>
                      <a:pt x="648" y="24"/>
                      <a:pt x="648" y="23"/>
                      <a:pt x="648" y="22"/>
                    </a:cubicBezTo>
                    <a:cubicBezTo>
                      <a:pt x="648" y="20"/>
                      <a:pt x="647" y="19"/>
                      <a:pt x="645" y="18"/>
                    </a:cubicBezTo>
                    <a:cubicBezTo>
                      <a:pt x="645" y="17"/>
                      <a:pt x="645" y="17"/>
                      <a:pt x="645" y="17"/>
                    </a:cubicBezTo>
                    <a:cubicBezTo>
                      <a:pt x="645" y="15"/>
                      <a:pt x="644" y="13"/>
                      <a:pt x="642" y="13"/>
                    </a:cubicBezTo>
                    <a:cubicBezTo>
                      <a:pt x="642" y="12"/>
                      <a:pt x="642" y="12"/>
                      <a:pt x="642" y="12"/>
                    </a:cubicBezTo>
                    <a:cubicBezTo>
                      <a:pt x="642" y="10"/>
                      <a:pt x="641" y="9"/>
                      <a:pt x="639" y="9"/>
                    </a:cubicBezTo>
                    <a:cubicBezTo>
                      <a:pt x="638" y="9"/>
                      <a:pt x="637" y="9"/>
                      <a:pt x="636" y="10"/>
                    </a:cubicBezTo>
                    <a:cubicBezTo>
                      <a:pt x="635" y="9"/>
                      <a:pt x="635" y="9"/>
                      <a:pt x="634" y="8"/>
                    </a:cubicBezTo>
                    <a:cubicBezTo>
                      <a:pt x="635" y="8"/>
                      <a:pt x="635" y="7"/>
                      <a:pt x="635" y="6"/>
                    </a:cubicBezTo>
                    <a:cubicBezTo>
                      <a:pt x="635" y="4"/>
                      <a:pt x="634" y="3"/>
                      <a:pt x="632" y="3"/>
                    </a:cubicBezTo>
                    <a:cubicBezTo>
                      <a:pt x="631" y="3"/>
                      <a:pt x="631" y="3"/>
                      <a:pt x="631" y="3"/>
                    </a:cubicBezTo>
                    <a:cubicBezTo>
                      <a:pt x="631" y="3"/>
                      <a:pt x="631" y="3"/>
                      <a:pt x="631" y="3"/>
                    </a:cubicBezTo>
                    <a:cubicBezTo>
                      <a:pt x="631" y="1"/>
                      <a:pt x="630" y="0"/>
                      <a:pt x="628" y="0"/>
                    </a:cubicBezTo>
                    <a:cubicBezTo>
                      <a:pt x="627" y="0"/>
                      <a:pt x="625" y="1"/>
                      <a:pt x="625" y="3"/>
                    </a:cubicBezTo>
                    <a:cubicBezTo>
                      <a:pt x="625" y="3"/>
                      <a:pt x="625" y="3"/>
                      <a:pt x="625" y="3"/>
                    </a:cubicBezTo>
                    <a:cubicBezTo>
                      <a:pt x="625" y="3"/>
                      <a:pt x="624" y="3"/>
                      <a:pt x="623" y="3"/>
                    </a:cubicBezTo>
                    <a:cubicBezTo>
                      <a:pt x="620" y="3"/>
                      <a:pt x="618" y="4"/>
                      <a:pt x="618" y="5"/>
                    </a:cubicBezTo>
                    <a:cubicBezTo>
                      <a:pt x="618" y="6"/>
                      <a:pt x="618" y="7"/>
                      <a:pt x="619" y="7"/>
                    </a:cubicBezTo>
                    <a:cubicBezTo>
                      <a:pt x="617" y="8"/>
                      <a:pt x="616" y="9"/>
                      <a:pt x="616" y="10"/>
                    </a:cubicBezTo>
                    <a:cubicBezTo>
                      <a:pt x="616" y="10"/>
                      <a:pt x="616" y="10"/>
                      <a:pt x="616" y="10"/>
                    </a:cubicBezTo>
                    <a:cubicBezTo>
                      <a:pt x="615" y="10"/>
                      <a:pt x="615" y="11"/>
                      <a:pt x="614" y="11"/>
                    </a:cubicBezTo>
                    <a:cubicBezTo>
                      <a:pt x="614" y="11"/>
                      <a:pt x="613" y="11"/>
                      <a:pt x="613" y="11"/>
                    </a:cubicBezTo>
                    <a:cubicBezTo>
                      <a:pt x="611" y="11"/>
                      <a:pt x="609" y="12"/>
                      <a:pt x="609" y="14"/>
                    </a:cubicBezTo>
                    <a:cubicBezTo>
                      <a:pt x="609" y="15"/>
                      <a:pt x="609" y="15"/>
                      <a:pt x="609" y="15"/>
                    </a:cubicBezTo>
                    <a:cubicBezTo>
                      <a:pt x="607" y="16"/>
                      <a:pt x="605" y="17"/>
                      <a:pt x="605" y="20"/>
                    </a:cubicBezTo>
                    <a:cubicBezTo>
                      <a:pt x="605" y="22"/>
                      <a:pt x="606" y="23"/>
                      <a:pt x="609" y="24"/>
                    </a:cubicBezTo>
                    <a:cubicBezTo>
                      <a:pt x="608" y="24"/>
                      <a:pt x="608" y="25"/>
                      <a:pt x="608" y="25"/>
                    </a:cubicBezTo>
                    <a:cubicBezTo>
                      <a:pt x="607" y="26"/>
                      <a:pt x="606" y="27"/>
                      <a:pt x="606" y="28"/>
                    </a:cubicBezTo>
                    <a:cubicBezTo>
                      <a:pt x="606" y="28"/>
                      <a:pt x="606" y="28"/>
                      <a:pt x="606" y="28"/>
                    </a:cubicBezTo>
                    <a:cubicBezTo>
                      <a:pt x="603" y="28"/>
                      <a:pt x="600" y="30"/>
                      <a:pt x="600" y="32"/>
                    </a:cubicBezTo>
                    <a:cubicBezTo>
                      <a:pt x="600" y="34"/>
                      <a:pt x="602" y="36"/>
                      <a:pt x="605" y="36"/>
                    </a:cubicBezTo>
                    <a:cubicBezTo>
                      <a:pt x="604" y="37"/>
                      <a:pt x="604" y="37"/>
                      <a:pt x="604" y="38"/>
                    </a:cubicBezTo>
                    <a:cubicBezTo>
                      <a:pt x="604" y="39"/>
                      <a:pt x="605" y="40"/>
                      <a:pt x="606" y="41"/>
                    </a:cubicBezTo>
                    <a:cubicBezTo>
                      <a:pt x="605" y="41"/>
                      <a:pt x="605" y="42"/>
                      <a:pt x="605" y="44"/>
                    </a:cubicBezTo>
                    <a:cubicBezTo>
                      <a:pt x="605" y="45"/>
                      <a:pt x="605" y="46"/>
                      <a:pt x="606" y="47"/>
                    </a:cubicBezTo>
                    <a:cubicBezTo>
                      <a:pt x="605" y="48"/>
                      <a:pt x="604" y="49"/>
                      <a:pt x="604" y="50"/>
                    </a:cubicBezTo>
                    <a:cubicBezTo>
                      <a:pt x="604" y="52"/>
                      <a:pt x="607" y="53"/>
                      <a:pt x="610" y="53"/>
                    </a:cubicBezTo>
                    <a:cubicBezTo>
                      <a:pt x="611" y="53"/>
                      <a:pt x="611" y="53"/>
                      <a:pt x="611" y="53"/>
                    </a:cubicBezTo>
                    <a:cubicBezTo>
                      <a:pt x="611" y="55"/>
                      <a:pt x="613" y="56"/>
                      <a:pt x="615" y="56"/>
                    </a:cubicBezTo>
                    <a:cubicBezTo>
                      <a:pt x="616" y="56"/>
                      <a:pt x="617" y="56"/>
                      <a:pt x="618" y="55"/>
                    </a:cubicBezTo>
                    <a:cubicBezTo>
                      <a:pt x="618" y="55"/>
                      <a:pt x="619" y="55"/>
                      <a:pt x="619" y="56"/>
                    </a:cubicBezTo>
                    <a:cubicBezTo>
                      <a:pt x="620" y="56"/>
                      <a:pt x="621" y="56"/>
                      <a:pt x="621" y="55"/>
                    </a:cubicBezTo>
                    <a:cubicBezTo>
                      <a:pt x="624" y="63"/>
                      <a:pt x="624" y="63"/>
                      <a:pt x="624" y="63"/>
                    </a:cubicBezTo>
                    <a:cubicBezTo>
                      <a:pt x="624" y="67"/>
                      <a:pt x="624" y="71"/>
                      <a:pt x="622" y="76"/>
                    </a:cubicBezTo>
                    <a:cubicBezTo>
                      <a:pt x="631" y="76"/>
                      <a:pt x="631" y="76"/>
                      <a:pt x="631" y="76"/>
                    </a:cubicBezTo>
                    <a:cubicBezTo>
                      <a:pt x="629" y="64"/>
                      <a:pt x="629" y="57"/>
                      <a:pt x="629" y="57"/>
                    </a:cubicBezTo>
                    <a:cubicBezTo>
                      <a:pt x="631" y="55"/>
                      <a:pt x="631" y="55"/>
                      <a:pt x="631" y="55"/>
                    </a:cubicBezTo>
                    <a:cubicBezTo>
                      <a:pt x="631" y="56"/>
                      <a:pt x="632" y="56"/>
                      <a:pt x="632" y="56"/>
                    </a:cubicBezTo>
                    <a:cubicBezTo>
                      <a:pt x="634" y="56"/>
                      <a:pt x="635" y="55"/>
                      <a:pt x="635" y="54"/>
                    </a:cubicBezTo>
                    <a:cubicBezTo>
                      <a:pt x="636" y="55"/>
                      <a:pt x="636" y="55"/>
                      <a:pt x="636" y="55"/>
                    </a:cubicBezTo>
                    <a:cubicBezTo>
                      <a:pt x="637" y="57"/>
                      <a:pt x="640" y="57"/>
                      <a:pt x="641" y="55"/>
                    </a:cubicBezTo>
                    <a:cubicBezTo>
                      <a:pt x="642" y="54"/>
                      <a:pt x="642" y="54"/>
                      <a:pt x="642" y="53"/>
                    </a:cubicBezTo>
                    <a:cubicBezTo>
                      <a:pt x="642" y="53"/>
                      <a:pt x="642" y="53"/>
                      <a:pt x="642" y="53"/>
                    </a:cubicBezTo>
                    <a:cubicBezTo>
                      <a:pt x="644" y="54"/>
                      <a:pt x="646" y="54"/>
                      <a:pt x="648" y="52"/>
                    </a:cubicBezTo>
                    <a:cubicBezTo>
                      <a:pt x="649" y="51"/>
                      <a:pt x="649" y="48"/>
                      <a:pt x="648" y="47"/>
                    </a:cubicBezTo>
                    <a:cubicBezTo>
                      <a:pt x="648" y="47"/>
                      <a:pt x="648" y="47"/>
                      <a:pt x="648" y="46"/>
                    </a:cubicBezTo>
                    <a:cubicBezTo>
                      <a:pt x="648" y="46"/>
                      <a:pt x="648" y="46"/>
                      <a:pt x="648" y="46"/>
                    </a:cubicBezTo>
                    <a:cubicBezTo>
                      <a:pt x="649" y="46"/>
                      <a:pt x="649" y="45"/>
                      <a:pt x="649" y="44"/>
                    </a:cubicBezTo>
                    <a:cubicBezTo>
                      <a:pt x="650" y="43"/>
                      <a:pt x="650" y="43"/>
                      <a:pt x="650" y="42"/>
                    </a:cubicBezTo>
                    <a:cubicBezTo>
                      <a:pt x="651" y="41"/>
                      <a:pt x="650" y="40"/>
                      <a:pt x="649" y="39"/>
                    </a:cubicBezTo>
                    <a:cubicBezTo>
                      <a:pt x="651" y="39"/>
                      <a:pt x="652" y="38"/>
                      <a:pt x="653" y="36"/>
                    </a:cubicBezTo>
                    <a:cubicBezTo>
                      <a:pt x="654" y="34"/>
                      <a:pt x="653" y="31"/>
                      <a:pt x="650" y="30"/>
                    </a:cubicBezTo>
                    <a:close/>
                    <a:moveTo>
                      <a:pt x="624" y="57"/>
                    </a:moveTo>
                    <a:cubicBezTo>
                      <a:pt x="623" y="54"/>
                      <a:pt x="623" y="54"/>
                      <a:pt x="623" y="54"/>
                    </a:cubicBezTo>
                    <a:cubicBezTo>
                      <a:pt x="623" y="54"/>
                      <a:pt x="623" y="54"/>
                      <a:pt x="623" y="54"/>
                    </a:cubicBezTo>
                    <a:cubicBezTo>
                      <a:pt x="623" y="54"/>
                      <a:pt x="624" y="54"/>
                      <a:pt x="624" y="54"/>
                    </a:cubicBezTo>
                    <a:cubicBezTo>
                      <a:pt x="624" y="54"/>
                      <a:pt x="624" y="54"/>
                      <a:pt x="624" y="54"/>
                    </a:cubicBezTo>
                    <a:cubicBezTo>
                      <a:pt x="624" y="55"/>
                      <a:pt x="624" y="56"/>
                      <a:pt x="624" y="57"/>
                    </a:cubicBezTo>
                    <a:close/>
                    <a:moveTo>
                      <a:pt x="171" y="30"/>
                    </a:moveTo>
                    <a:cubicBezTo>
                      <a:pt x="170" y="30"/>
                      <a:pt x="170" y="30"/>
                      <a:pt x="170" y="30"/>
                    </a:cubicBezTo>
                    <a:cubicBezTo>
                      <a:pt x="170" y="30"/>
                      <a:pt x="170" y="30"/>
                      <a:pt x="170" y="29"/>
                    </a:cubicBezTo>
                    <a:cubicBezTo>
                      <a:pt x="171" y="28"/>
                      <a:pt x="169" y="25"/>
                      <a:pt x="167" y="24"/>
                    </a:cubicBezTo>
                    <a:cubicBezTo>
                      <a:pt x="168" y="24"/>
                      <a:pt x="169" y="23"/>
                      <a:pt x="169" y="22"/>
                    </a:cubicBezTo>
                    <a:cubicBezTo>
                      <a:pt x="169" y="20"/>
                      <a:pt x="167" y="19"/>
                      <a:pt x="165" y="18"/>
                    </a:cubicBezTo>
                    <a:cubicBezTo>
                      <a:pt x="165" y="17"/>
                      <a:pt x="165" y="17"/>
                      <a:pt x="165" y="17"/>
                    </a:cubicBezTo>
                    <a:cubicBezTo>
                      <a:pt x="165" y="15"/>
                      <a:pt x="164" y="13"/>
                      <a:pt x="162" y="13"/>
                    </a:cubicBezTo>
                    <a:cubicBezTo>
                      <a:pt x="163" y="12"/>
                      <a:pt x="163" y="12"/>
                      <a:pt x="163" y="12"/>
                    </a:cubicBezTo>
                    <a:cubicBezTo>
                      <a:pt x="163" y="10"/>
                      <a:pt x="161" y="9"/>
                      <a:pt x="159" y="9"/>
                    </a:cubicBezTo>
                    <a:cubicBezTo>
                      <a:pt x="158" y="9"/>
                      <a:pt x="157" y="9"/>
                      <a:pt x="157" y="10"/>
                    </a:cubicBezTo>
                    <a:cubicBezTo>
                      <a:pt x="156" y="9"/>
                      <a:pt x="155" y="9"/>
                      <a:pt x="154" y="8"/>
                    </a:cubicBezTo>
                    <a:cubicBezTo>
                      <a:pt x="155" y="8"/>
                      <a:pt x="156" y="7"/>
                      <a:pt x="156" y="6"/>
                    </a:cubicBezTo>
                    <a:cubicBezTo>
                      <a:pt x="156" y="4"/>
                      <a:pt x="154" y="3"/>
                      <a:pt x="152" y="3"/>
                    </a:cubicBezTo>
                    <a:cubicBezTo>
                      <a:pt x="152" y="3"/>
                      <a:pt x="152" y="3"/>
                      <a:pt x="152" y="3"/>
                    </a:cubicBezTo>
                    <a:cubicBezTo>
                      <a:pt x="152" y="3"/>
                      <a:pt x="152" y="3"/>
                      <a:pt x="152" y="3"/>
                    </a:cubicBezTo>
                    <a:cubicBezTo>
                      <a:pt x="152" y="1"/>
                      <a:pt x="150" y="0"/>
                      <a:pt x="149" y="0"/>
                    </a:cubicBezTo>
                    <a:cubicBezTo>
                      <a:pt x="147" y="0"/>
                      <a:pt x="146" y="1"/>
                      <a:pt x="146" y="3"/>
                    </a:cubicBezTo>
                    <a:cubicBezTo>
                      <a:pt x="146" y="3"/>
                      <a:pt x="146" y="3"/>
                      <a:pt x="146" y="3"/>
                    </a:cubicBezTo>
                    <a:cubicBezTo>
                      <a:pt x="145" y="3"/>
                      <a:pt x="144" y="3"/>
                      <a:pt x="144" y="3"/>
                    </a:cubicBezTo>
                    <a:cubicBezTo>
                      <a:pt x="141" y="3"/>
                      <a:pt x="139" y="4"/>
                      <a:pt x="139" y="5"/>
                    </a:cubicBezTo>
                    <a:cubicBezTo>
                      <a:pt x="139" y="6"/>
                      <a:pt x="139" y="7"/>
                      <a:pt x="140" y="7"/>
                    </a:cubicBezTo>
                    <a:cubicBezTo>
                      <a:pt x="138" y="8"/>
                      <a:pt x="137" y="9"/>
                      <a:pt x="137" y="10"/>
                    </a:cubicBezTo>
                    <a:cubicBezTo>
                      <a:pt x="137" y="10"/>
                      <a:pt x="137" y="10"/>
                      <a:pt x="137" y="10"/>
                    </a:cubicBezTo>
                    <a:cubicBezTo>
                      <a:pt x="136" y="10"/>
                      <a:pt x="135" y="11"/>
                      <a:pt x="135" y="11"/>
                    </a:cubicBezTo>
                    <a:cubicBezTo>
                      <a:pt x="135" y="11"/>
                      <a:pt x="134" y="11"/>
                      <a:pt x="133" y="11"/>
                    </a:cubicBezTo>
                    <a:cubicBezTo>
                      <a:pt x="131" y="11"/>
                      <a:pt x="130" y="12"/>
                      <a:pt x="130" y="14"/>
                    </a:cubicBezTo>
                    <a:cubicBezTo>
                      <a:pt x="130" y="15"/>
                      <a:pt x="130" y="15"/>
                      <a:pt x="130" y="15"/>
                    </a:cubicBezTo>
                    <a:cubicBezTo>
                      <a:pt x="127" y="16"/>
                      <a:pt x="125" y="17"/>
                      <a:pt x="125" y="20"/>
                    </a:cubicBezTo>
                    <a:cubicBezTo>
                      <a:pt x="125" y="22"/>
                      <a:pt x="127" y="23"/>
                      <a:pt x="129" y="24"/>
                    </a:cubicBezTo>
                    <a:cubicBezTo>
                      <a:pt x="129" y="24"/>
                      <a:pt x="129" y="25"/>
                      <a:pt x="129" y="25"/>
                    </a:cubicBezTo>
                    <a:cubicBezTo>
                      <a:pt x="128" y="26"/>
                      <a:pt x="127" y="27"/>
                      <a:pt x="127" y="28"/>
                    </a:cubicBezTo>
                    <a:cubicBezTo>
                      <a:pt x="127" y="28"/>
                      <a:pt x="127" y="28"/>
                      <a:pt x="126" y="28"/>
                    </a:cubicBezTo>
                    <a:cubicBezTo>
                      <a:pt x="123" y="28"/>
                      <a:pt x="121" y="30"/>
                      <a:pt x="121" y="32"/>
                    </a:cubicBezTo>
                    <a:cubicBezTo>
                      <a:pt x="121" y="34"/>
                      <a:pt x="123" y="36"/>
                      <a:pt x="126" y="36"/>
                    </a:cubicBezTo>
                    <a:cubicBezTo>
                      <a:pt x="125" y="37"/>
                      <a:pt x="124" y="37"/>
                      <a:pt x="124" y="38"/>
                    </a:cubicBezTo>
                    <a:cubicBezTo>
                      <a:pt x="124" y="39"/>
                      <a:pt x="125" y="40"/>
                      <a:pt x="126" y="41"/>
                    </a:cubicBezTo>
                    <a:cubicBezTo>
                      <a:pt x="126" y="41"/>
                      <a:pt x="125" y="42"/>
                      <a:pt x="125" y="44"/>
                    </a:cubicBezTo>
                    <a:cubicBezTo>
                      <a:pt x="125" y="45"/>
                      <a:pt x="126" y="46"/>
                      <a:pt x="127" y="47"/>
                    </a:cubicBezTo>
                    <a:cubicBezTo>
                      <a:pt x="126" y="48"/>
                      <a:pt x="125" y="49"/>
                      <a:pt x="125" y="50"/>
                    </a:cubicBezTo>
                    <a:cubicBezTo>
                      <a:pt x="125" y="52"/>
                      <a:pt x="128" y="53"/>
                      <a:pt x="131" y="53"/>
                    </a:cubicBezTo>
                    <a:cubicBezTo>
                      <a:pt x="131" y="53"/>
                      <a:pt x="131" y="53"/>
                      <a:pt x="132" y="53"/>
                    </a:cubicBezTo>
                    <a:cubicBezTo>
                      <a:pt x="132" y="55"/>
                      <a:pt x="134" y="56"/>
                      <a:pt x="136" y="56"/>
                    </a:cubicBezTo>
                    <a:cubicBezTo>
                      <a:pt x="137" y="56"/>
                      <a:pt x="138" y="56"/>
                      <a:pt x="139" y="55"/>
                    </a:cubicBezTo>
                    <a:cubicBezTo>
                      <a:pt x="139" y="55"/>
                      <a:pt x="139" y="55"/>
                      <a:pt x="139" y="56"/>
                    </a:cubicBezTo>
                    <a:cubicBezTo>
                      <a:pt x="140" y="56"/>
                      <a:pt x="141" y="56"/>
                      <a:pt x="142" y="55"/>
                    </a:cubicBezTo>
                    <a:cubicBezTo>
                      <a:pt x="144" y="63"/>
                      <a:pt x="144" y="63"/>
                      <a:pt x="144" y="63"/>
                    </a:cubicBezTo>
                    <a:cubicBezTo>
                      <a:pt x="144" y="67"/>
                      <a:pt x="144" y="71"/>
                      <a:pt x="143" y="76"/>
                    </a:cubicBezTo>
                    <a:cubicBezTo>
                      <a:pt x="152" y="76"/>
                      <a:pt x="152" y="76"/>
                      <a:pt x="152" y="76"/>
                    </a:cubicBezTo>
                    <a:cubicBezTo>
                      <a:pt x="149" y="64"/>
                      <a:pt x="150" y="57"/>
                      <a:pt x="150" y="57"/>
                    </a:cubicBezTo>
                    <a:cubicBezTo>
                      <a:pt x="151" y="55"/>
                      <a:pt x="151" y="55"/>
                      <a:pt x="151" y="55"/>
                    </a:cubicBezTo>
                    <a:cubicBezTo>
                      <a:pt x="152" y="56"/>
                      <a:pt x="152" y="56"/>
                      <a:pt x="153" y="56"/>
                    </a:cubicBezTo>
                    <a:cubicBezTo>
                      <a:pt x="154" y="56"/>
                      <a:pt x="155" y="55"/>
                      <a:pt x="156" y="54"/>
                    </a:cubicBezTo>
                    <a:cubicBezTo>
                      <a:pt x="156" y="55"/>
                      <a:pt x="156" y="55"/>
                      <a:pt x="157" y="55"/>
                    </a:cubicBezTo>
                    <a:cubicBezTo>
                      <a:pt x="158" y="57"/>
                      <a:pt x="160" y="57"/>
                      <a:pt x="162" y="55"/>
                    </a:cubicBezTo>
                    <a:cubicBezTo>
                      <a:pt x="162" y="54"/>
                      <a:pt x="163" y="54"/>
                      <a:pt x="163" y="53"/>
                    </a:cubicBezTo>
                    <a:cubicBezTo>
                      <a:pt x="163" y="53"/>
                      <a:pt x="163" y="53"/>
                      <a:pt x="163" y="53"/>
                    </a:cubicBezTo>
                    <a:cubicBezTo>
                      <a:pt x="164" y="54"/>
                      <a:pt x="167" y="54"/>
                      <a:pt x="168" y="52"/>
                    </a:cubicBezTo>
                    <a:cubicBezTo>
                      <a:pt x="170" y="51"/>
                      <a:pt x="170" y="48"/>
                      <a:pt x="169" y="47"/>
                    </a:cubicBezTo>
                    <a:cubicBezTo>
                      <a:pt x="169" y="47"/>
                      <a:pt x="169" y="47"/>
                      <a:pt x="168" y="46"/>
                    </a:cubicBezTo>
                    <a:cubicBezTo>
                      <a:pt x="168" y="46"/>
                      <a:pt x="169" y="46"/>
                      <a:pt x="169" y="46"/>
                    </a:cubicBezTo>
                    <a:cubicBezTo>
                      <a:pt x="169" y="46"/>
                      <a:pt x="170" y="45"/>
                      <a:pt x="170" y="44"/>
                    </a:cubicBezTo>
                    <a:cubicBezTo>
                      <a:pt x="170" y="43"/>
                      <a:pt x="171" y="43"/>
                      <a:pt x="171" y="42"/>
                    </a:cubicBezTo>
                    <a:cubicBezTo>
                      <a:pt x="171" y="41"/>
                      <a:pt x="171" y="40"/>
                      <a:pt x="170" y="39"/>
                    </a:cubicBezTo>
                    <a:cubicBezTo>
                      <a:pt x="171" y="39"/>
                      <a:pt x="173" y="38"/>
                      <a:pt x="174" y="36"/>
                    </a:cubicBezTo>
                    <a:cubicBezTo>
                      <a:pt x="174" y="34"/>
                      <a:pt x="173" y="31"/>
                      <a:pt x="171" y="30"/>
                    </a:cubicBezTo>
                    <a:close/>
                    <a:moveTo>
                      <a:pt x="145" y="57"/>
                    </a:moveTo>
                    <a:cubicBezTo>
                      <a:pt x="143" y="54"/>
                      <a:pt x="143" y="54"/>
                      <a:pt x="143" y="54"/>
                    </a:cubicBezTo>
                    <a:cubicBezTo>
                      <a:pt x="143" y="54"/>
                      <a:pt x="143" y="54"/>
                      <a:pt x="143" y="54"/>
                    </a:cubicBezTo>
                    <a:cubicBezTo>
                      <a:pt x="144" y="54"/>
                      <a:pt x="144" y="54"/>
                      <a:pt x="145" y="54"/>
                    </a:cubicBezTo>
                    <a:cubicBezTo>
                      <a:pt x="145" y="54"/>
                      <a:pt x="145" y="54"/>
                      <a:pt x="145" y="54"/>
                    </a:cubicBezTo>
                    <a:cubicBezTo>
                      <a:pt x="145" y="55"/>
                      <a:pt x="145" y="56"/>
                      <a:pt x="145"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86" name="Freeform 42"/>
              <p:cNvSpPr>
                <a:spLocks noEditPoints="1"/>
              </p:cNvSpPr>
              <p:nvPr/>
            </p:nvSpPr>
            <p:spPr bwMode="auto">
              <a:xfrm>
                <a:off x="1130300" y="3522663"/>
                <a:ext cx="3146425" cy="804862"/>
              </a:xfrm>
              <a:custGeom>
                <a:avLst/>
                <a:gdLst/>
                <a:ahLst/>
                <a:cxnLst>
                  <a:cxn ang="0">
                    <a:pos x="169" y="199"/>
                  </a:cxn>
                  <a:cxn ang="0">
                    <a:pos x="156" y="182"/>
                  </a:cxn>
                  <a:cxn ang="0">
                    <a:pos x="93" y="175"/>
                  </a:cxn>
                  <a:cxn ang="0">
                    <a:pos x="31" y="182"/>
                  </a:cxn>
                  <a:cxn ang="0">
                    <a:pos x="77" y="0"/>
                  </a:cxn>
                  <a:cxn ang="0">
                    <a:pos x="31" y="170"/>
                  </a:cxn>
                  <a:cxn ang="0">
                    <a:pos x="113" y="215"/>
                  </a:cxn>
                  <a:cxn ang="0">
                    <a:pos x="204" y="211"/>
                  </a:cxn>
                  <a:cxn ang="0">
                    <a:pos x="235" y="211"/>
                  </a:cxn>
                  <a:cxn ang="0">
                    <a:pos x="501" y="191"/>
                  </a:cxn>
                  <a:cxn ang="0">
                    <a:pos x="386" y="191"/>
                  </a:cxn>
                  <a:cxn ang="0">
                    <a:pos x="584" y="211"/>
                  </a:cxn>
                  <a:cxn ang="0">
                    <a:pos x="20" y="48"/>
                  </a:cxn>
                  <a:cxn ang="0">
                    <a:pos x="63" y="135"/>
                  </a:cxn>
                  <a:cxn ang="0">
                    <a:pos x="105" y="146"/>
                  </a:cxn>
                  <a:cxn ang="0">
                    <a:pos x="169" y="145"/>
                  </a:cxn>
                  <a:cxn ang="0">
                    <a:pos x="213" y="145"/>
                  </a:cxn>
                  <a:cxn ang="0">
                    <a:pos x="338" y="162"/>
                  </a:cxn>
                  <a:cxn ang="0">
                    <a:pos x="459" y="162"/>
                  </a:cxn>
                  <a:cxn ang="0">
                    <a:pos x="585" y="145"/>
                  </a:cxn>
                  <a:cxn ang="0">
                    <a:pos x="663" y="135"/>
                  </a:cxn>
                  <a:cxn ang="0">
                    <a:pos x="709" y="144"/>
                  </a:cxn>
                  <a:cxn ang="0">
                    <a:pos x="756" y="157"/>
                  </a:cxn>
                  <a:cxn ang="0">
                    <a:pos x="800" y="145"/>
                  </a:cxn>
                  <a:cxn ang="0">
                    <a:pos x="486" y="56"/>
                  </a:cxn>
                  <a:cxn ang="0">
                    <a:pos x="492" y="79"/>
                  </a:cxn>
                  <a:cxn ang="0">
                    <a:pos x="478" y="56"/>
                  </a:cxn>
                  <a:cxn ang="0">
                    <a:pos x="456" y="56"/>
                  </a:cxn>
                  <a:cxn ang="0">
                    <a:pos x="433" y="67"/>
                  </a:cxn>
                  <a:cxn ang="0">
                    <a:pos x="397" y="75"/>
                  </a:cxn>
                  <a:cxn ang="0">
                    <a:pos x="362" y="61"/>
                  </a:cxn>
                  <a:cxn ang="0">
                    <a:pos x="349" y="62"/>
                  </a:cxn>
                  <a:cxn ang="0">
                    <a:pos x="348" y="75"/>
                  </a:cxn>
                  <a:cxn ang="0">
                    <a:pos x="64" y="131"/>
                  </a:cxn>
                  <a:cxn ang="0">
                    <a:pos x="68" y="131"/>
                  </a:cxn>
                  <a:cxn ang="0">
                    <a:pos x="85" y="121"/>
                  </a:cxn>
                  <a:cxn ang="0">
                    <a:pos x="135" y="121"/>
                  </a:cxn>
                  <a:cxn ang="0">
                    <a:pos x="170" y="131"/>
                  </a:cxn>
                  <a:cxn ang="0">
                    <a:pos x="174" y="106"/>
                  </a:cxn>
                  <a:cxn ang="0">
                    <a:pos x="202" y="64"/>
                  </a:cxn>
                  <a:cxn ang="0">
                    <a:pos x="248" y="64"/>
                  </a:cxn>
                  <a:cxn ang="0">
                    <a:pos x="376" y="121"/>
                  </a:cxn>
                  <a:cxn ang="0">
                    <a:pos x="459" y="131"/>
                  </a:cxn>
                  <a:cxn ang="0">
                    <a:pos x="546" y="89"/>
                  </a:cxn>
                  <a:cxn ang="0">
                    <a:pos x="422" y="106"/>
                  </a:cxn>
                  <a:cxn ang="0">
                    <a:pos x="334" y="106"/>
                  </a:cxn>
                  <a:cxn ang="0">
                    <a:pos x="585" y="131"/>
                  </a:cxn>
                  <a:cxn ang="0">
                    <a:pos x="589" y="131"/>
                  </a:cxn>
                  <a:cxn ang="0">
                    <a:pos x="631" y="121"/>
                  </a:cxn>
                  <a:cxn ang="0">
                    <a:pos x="700" y="121"/>
                  </a:cxn>
                  <a:cxn ang="0">
                    <a:pos x="730" y="131"/>
                  </a:cxn>
                  <a:cxn ang="0">
                    <a:pos x="754" y="106"/>
                  </a:cxn>
                  <a:cxn ang="0">
                    <a:pos x="783" y="64"/>
                  </a:cxn>
                  <a:cxn ang="0">
                    <a:pos x="803" y="64"/>
                  </a:cxn>
                  <a:cxn ang="0">
                    <a:pos x="731" y="215"/>
                  </a:cxn>
                  <a:cxn ang="0">
                    <a:pos x="756" y="181"/>
                  </a:cxn>
                  <a:cxn ang="0">
                    <a:pos x="808" y="162"/>
                  </a:cxn>
                  <a:cxn ang="0">
                    <a:pos x="696" y="181"/>
                  </a:cxn>
                  <a:cxn ang="0">
                    <a:pos x="425" y="71"/>
                  </a:cxn>
                  <a:cxn ang="0">
                    <a:pos x="669" y="199"/>
                  </a:cxn>
                  <a:cxn ang="0">
                    <a:pos x="689" y="166"/>
                  </a:cxn>
                  <a:cxn ang="0">
                    <a:pos x="631" y="171"/>
                  </a:cxn>
                </a:cxnLst>
                <a:rect l="0" t="0" r="r" b="b"/>
                <a:pathLst>
                  <a:path w="839" h="215">
                    <a:moveTo>
                      <a:pt x="169" y="199"/>
                    </a:moveTo>
                    <a:cubicBezTo>
                      <a:pt x="169" y="211"/>
                      <a:pt x="169" y="211"/>
                      <a:pt x="169" y="211"/>
                    </a:cubicBezTo>
                    <a:cubicBezTo>
                      <a:pt x="130" y="211"/>
                      <a:pt x="130" y="211"/>
                      <a:pt x="130" y="211"/>
                    </a:cubicBezTo>
                    <a:cubicBezTo>
                      <a:pt x="130" y="212"/>
                      <a:pt x="130" y="213"/>
                      <a:pt x="130" y="213"/>
                    </a:cubicBezTo>
                    <a:cubicBezTo>
                      <a:pt x="131" y="214"/>
                      <a:pt x="131" y="214"/>
                      <a:pt x="131" y="215"/>
                    </a:cubicBezTo>
                    <a:cubicBezTo>
                      <a:pt x="131" y="215"/>
                      <a:pt x="131" y="215"/>
                      <a:pt x="131" y="215"/>
                    </a:cubicBezTo>
                    <a:cubicBezTo>
                      <a:pt x="174" y="215"/>
                      <a:pt x="174" y="215"/>
                      <a:pt x="174" y="215"/>
                    </a:cubicBezTo>
                    <a:cubicBezTo>
                      <a:pt x="174" y="215"/>
                      <a:pt x="174" y="214"/>
                      <a:pt x="174" y="214"/>
                    </a:cubicBezTo>
                    <a:cubicBezTo>
                      <a:pt x="175" y="209"/>
                      <a:pt x="175" y="206"/>
                      <a:pt x="175" y="203"/>
                    </a:cubicBezTo>
                    <a:cubicBezTo>
                      <a:pt x="174" y="199"/>
                      <a:pt x="174" y="199"/>
                      <a:pt x="174" y="199"/>
                    </a:cubicBezTo>
                    <a:cubicBezTo>
                      <a:pt x="172" y="199"/>
                      <a:pt x="170" y="199"/>
                      <a:pt x="169" y="199"/>
                    </a:cubicBezTo>
                    <a:close/>
                    <a:moveTo>
                      <a:pt x="157" y="162"/>
                    </a:moveTo>
                    <a:cubicBezTo>
                      <a:pt x="148" y="162"/>
                      <a:pt x="148" y="162"/>
                      <a:pt x="148" y="162"/>
                    </a:cubicBezTo>
                    <a:cubicBezTo>
                      <a:pt x="148" y="164"/>
                      <a:pt x="149" y="165"/>
                      <a:pt x="149" y="166"/>
                    </a:cubicBezTo>
                    <a:cubicBezTo>
                      <a:pt x="150" y="167"/>
                      <a:pt x="151" y="168"/>
                      <a:pt x="152" y="169"/>
                    </a:cubicBezTo>
                    <a:cubicBezTo>
                      <a:pt x="152" y="167"/>
                      <a:pt x="154" y="164"/>
                      <a:pt x="157" y="163"/>
                    </a:cubicBezTo>
                    <a:cubicBezTo>
                      <a:pt x="157" y="163"/>
                      <a:pt x="157" y="163"/>
                      <a:pt x="157" y="162"/>
                    </a:cubicBezTo>
                    <a:close/>
                    <a:moveTo>
                      <a:pt x="153" y="175"/>
                    </a:moveTo>
                    <a:cubicBezTo>
                      <a:pt x="153" y="176"/>
                      <a:pt x="153" y="176"/>
                      <a:pt x="152" y="177"/>
                    </a:cubicBezTo>
                    <a:cubicBezTo>
                      <a:pt x="152" y="178"/>
                      <a:pt x="151" y="179"/>
                      <a:pt x="150" y="180"/>
                    </a:cubicBezTo>
                    <a:cubicBezTo>
                      <a:pt x="150" y="181"/>
                      <a:pt x="150" y="181"/>
                      <a:pt x="150" y="182"/>
                    </a:cubicBezTo>
                    <a:cubicBezTo>
                      <a:pt x="156" y="182"/>
                      <a:pt x="156" y="182"/>
                      <a:pt x="156" y="182"/>
                    </a:cubicBezTo>
                    <a:cubicBezTo>
                      <a:pt x="156" y="181"/>
                      <a:pt x="156" y="181"/>
                      <a:pt x="156" y="181"/>
                    </a:cubicBezTo>
                    <a:cubicBezTo>
                      <a:pt x="156" y="180"/>
                      <a:pt x="155" y="179"/>
                      <a:pt x="155" y="178"/>
                    </a:cubicBezTo>
                    <a:cubicBezTo>
                      <a:pt x="154" y="177"/>
                      <a:pt x="153" y="176"/>
                      <a:pt x="153" y="175"/>
                    </a:cubicBezTo>
                    <a:close/>
                    <a:moveTo>
                      <a:pt x="93" y="175"/>
                    </a:moveTo>
                    <a:cubicBezTo>
                      <a:pt x="92" y="176"/>
                      <a:pt x="92" y="176"/>
                      <a:pt x="92" y="177"/>
                    </a:cubicBezTo>
                    <a:cubicBezTo>
                      <a:pt x="92" y="178"/>
                      <a:pt x="91" y="179"/>
                      <a:pt x="90" y="180"/>
                    </a:cubicBezTo>
                    <a:cubicBezTo>
                      <a:pt x="90" y="181"/>
                      <a:pt x="90" y="181"/>
                      <a:pt x="90" y="182"/>
                    </a:cubicBezTo>
                    <a:cubicBezTo>
                      <a:pt x="96" y="182"/>
                      <a:pt x="96" y="182"/>
                      <a:pt x="96" y="182"/>
                    </a:cubicBezTo>
                    <a:cubicBezTo>
                      <a:pt x="96" y="181"/>
                      <a:pt x="96" y="181"/>
                      <a:pt x="96" y="181"/>
                    </a:cubicBezTo>
                    <a:cubicBezTo>
                      <a:pt x="95" y="180"/>
                      <a:pt x="95" y="179"/>
                      <a:pt x="95" y="178"/>
                    </a:cubicBezTo>
                    <a:cubicBezTo>
                      <a:pt x="94" y="177"/>
                      <a:pt x="93" y="176"/>
                      <a:pt x="93" y="175"/>
                    </a:cubicBezTo>
                    <a:close/>
                    <a:moveTo>
                      <a:pt x="53" y="199"/>
                    </a:moveTo>
                    <a:cubicBezTo>
                      <a:pt x="53" y="199"/>
                      <a:pt x="53" y="199"/>
                      <a:pt x="53" y="199"/>
                    </a:cubicBezTo>
                    <a:cubicBezTo>
                      <a:pt x="52" y="199"/>
                      <a:pt x="51" y="199"/>
                      <a:pt x="49" y="199"/>
                    </a:cubicBezTo>
                    <a:cubicBezTo>
                      <a:pt x="49" y="215"/>
                      <a:pt x="49" y="215"/>
                      <a:pt x="49" y="215"/>
                    </a:cubicBezTo>
                    <a:cubicBezTo>
                      <a:pt x="53" y="215"/>
                      <a:pt x="53" y="215"/>
                      <a:pt x="53" y="215"/>
                    </a:cubicBezTo>
                    <a:cubicBezTo>
                      <a:pt x="53" y="215"/>
                      <a:pt x="53" y="214"/>
                      <a:pt x="53" y="214"/>
                    </a:cubicBezTo>
                    <a:cubicBezTo>
                      <a:pt x="53" y="213"/>
                      <a:pt x="54" y="212"/>
                      <a:pt x="54" y="211"/>
                    </a:cubicBezTo>
                    <a:cubicBezTo>
                      <a:pt x="53" y="211"/>
                      <a:pt x="53" y="211"/>
                      <a:pt x="53" y="211"/>
                    </a:cubicBezTo>
                    <a:lnTo>
                      <a:pt x="53" y="199"/>
                    </a:lnTo>
                    <a:close/>
                    <a:moveTo>
                      <a:pt x="31" y="172"/>
                    </a:moveTo>
                    <a:cubicBezTo>
                      <a:pt x="31" y="182"/>
                      <a:pt x="31" y="182"/>
                      <a:pt x="31" y="182"/>
                    </a:cubicBezTo>
                    <a:cubicBezTo>
                      <a:pt x="36" y="182"/>
                      <a:pt x="36" y="182"/>
                      <a:pt x="36" y="182"/>
                    </a:cubicBezTo>
                    <a:cubicBezTo>
                      <a:pt x="36" y="181"/>
                      <a:pt x="36" y="181"/>
                      <a:pt x="36" y="181"/>
                    </a:cubicBezTo>
                    <a:cubicBezTo>
                      <a:pt x="35" y="180"/>
                      <a:pt x="35" y="179"/>
                      <a:pt x="35" y="178"/>
                    </a:cubicBezTo>
                    <a:cubicBezTo>
                      <a:pt x="33" y="176"/>
                      <a:pt x="32" y="174"/>
                      <a:pt x="31" y="172"/>
                    </a:cubicBezTo>
                    <a:close/>
                    <a:moveTo>
                      <a:pt x="783" y="11"/>
                    </a:moveTo>
                    <a:cubicBezTo>
                      <a:pt x="56" y="11"/>
                      <a:pt x="56" y="11"/>
                      <a:pt x="56" y="11"/>
                    </a:cubicBezTo>
                    <a:cubicBezTo>
                      <a:pt x="8" y="35"/>
                      <a:pt x="8" y="35"/>
                      <a:pt x="8" y="35"/>
                    </a:cubicBezTo>
                    <a:cubicBezTo>
                      <a:pt x="831" y="35"/>
                      <a:pt x="831" y="35"/>
                      <a:pt x="831" y="35"/>
                    </a:cubicBezTo>
                    <a:lnTo>
                      <a:pt x="783" y="11"/>
                    </a:lnTo>
                    <a:close/>
                    <a:moveTo>
                      <a:pt x="762" y="0"/>
                    </a:moveTo>
                    <a:cubicBezTo>
                      <a:pt x="77" y="0"/>
                      <a:pt x="77" y="0"/>
                      <a:pt x="77" y="0"/>
                    </a:cubicBezTo>
                    <a:cubicBezTo>
                      <a:pt x="64" y="7"/>
                      <a:pt x="64" y="7"/>
                      <a:pt x="64" y="7"/>
                    </a:cubicBezTo>
                    <a:cubicBezTo>
                      <a:pt x="775" y="7"/>
                      <a:pt x="775" y="7"/>
                      <a:pt x="775" y="7"/>
                    </a:cubicBezTo>
                    <a:lnTo>
                      <a:pt x="762" y="0"/>
                    </a:lnTo>
                    <a:close/>
                    <a:moveTo>
                      <a:pt x="97" y="162"/>
                    </a:moveTo>
                    <a:cubicBezTo>
                      <a:pt x="87" y="162"/>
                      <a:pt x="87" y="162"/>
                      <a:pt x="87" y="162"/>
                    </a:cubicBezTo>
                    <a:cubicBezTo>
                      <a:pt x="88" y="164"/>
                      <a:pt x="89" y="165"/>
                      <a:pt x="89" y="166"/>
                    </a:cubicBezTo>
                    <a:cubicBezTo>
                      <a:pt x="90" y="167"/>
                      <a:pt x="91" y="168"/>
                      <a:pt x="92" y="169"/>
                    </a:cubicBezTo>
                    <a:cubicBezTo>
                      <a:pt x="92" y="167"/>
                      <a:pt x="94" y="164"/>
                      <a:pt x="97" y="163"/>
                    </a:cubicBezTo>
                    <a:cubicBezTo>
                      <a:pt x="97" y="163"/>
                      <a:pt x="97" y="163"/>
                      <a:pt x="97" y="162"/>
                    </a:cubicBezTo>
                    <a:close/>
                    <a:moveTo>
                      <a:pt x="31" y="162"/>
                    </a:moveTo>
                    <a:cubicBezTo>
                      <a:pt x="31" y="170"/>
                      <a:pt x="31" y="170"/>
                      <a:pt x="31" y="170"/>
                    </a:cubicBezTo>
                    <a:cubicBezTo>
                      <a:pt x="32" y="167"/>
                      <a:pt x="34" y="164"/>
                      <a:pt x="37" y="163"/>
                    </a:cubicBezTo>
                    <a:cubicBezTo>
                      <a:pt x="37" y="163"/>
                      <a:pt x="37" y="163"/>
                      <a:pt x="36" y="162"/>
                    </a:cubicBezTo>
                    <a:lnTo>
                      <a:pt x="31" y="162"/>
                    </a:lnTo>
                    <a:close/>
                    <a:moveTo>
                      <a:pt x="111" y="199"/>
                    </a:moveTo>
                    <a:cubicBezTo>
                      <a:pt x="108" y="199"/>
                      <a:pt x="106" y="198"/>
                      <a:pt x="104" y="197"/>
                    </a:cubicBezTo>
                    <a:cubicBezTo>
                      <a:pt x="104" y="211"/>
                      <a:pt x="104" y="211"/>
                      <a:pt x="104" y="211"/>
                    </a:cubicBezTo>
                    <a:cubicBezTo>
                      <a:pt x="70" y="211"/>
                      <a:pt x="70" y="211"/>
                      <a:pt x="70" y="211"/>
                    </a:cubicBezTo>
                    <a:cubicBezTo>
                      <a:pt x="70" y="212"/>
                      <a:pt x="70" y="213"/>
                      <a:pt x="70" y="213"/>
                    </a:cubicBezTo>
                    <a:cubicBezTo>
                      <a:pt x="70" y="214"/>
                      <a:pt x="70" y="214"/>
                      <a:pt x="70" y="215"/>
                    </a:cubicBezTo>
                    <a:cubicBezTo>
                      <a:pt x="70" y="215"/>
                      <a:pt x="70" y="215"/>
                      <a:pt x="70" y="215"/>
                    </a:cubicBezTo>
                    <a:cubicBezTo>
                      <a:pt x="113" y="215"/>
                      <a:pt x="113" y="215"/>
                      <a:pt x="113" y="215"/>
                    </a:cubicBezTo>
                    <a:cubicBezTo>
                      <a:pt x="113" y="215"/>
                      <a:pt x="113" y="214"/>
                      <a:pt x="113" y="214"/>
                    </a:cubicBezTo>
                    <a:cubicBezTo>
                      <a:pt x="114" y="213"/>
                      <a:pt x="114" y="212"/>
                      <a:pt x="114" y="211"/>
                    </a:cubicBezTo>
                    <a:cubicBezTo>
                      <a:pt x="111" y="211"/>
                      <a:pt x="111" y="211"/>
                      <a:pt x="111" y="211"/>
                    </a:cubicBezTo>
                    <a:lnTo>
                      <a:pt x="111" y="199"/>
                    </a:lnTo>
                    <a:close/>
                    <a:moveTo>
                      <a:pt x="393" y="62"/>
                    </a:moveTo>
                    <a:cubicBezTo>
                      <a:pt x="391" y="70"/>
                      <a:pt x="391" y="70"/>
                      <a:pt x="391" y="70"/>
                    </a:cubicBezTo>
                    <a:cubicBezTo>
                      <a:pt x="396" y="70"/>
                      <a:pt x="396" y="70"/>
                      <a:pt x="396" y="70"/>
                    </a:cubicBezTo>
                    <a:lnTo>
                      <a:pt x="393" y="62"/>
                    </a:lnTo>
                    <a:close/>
                    <a:moveTo>
                      <a:pt x="547" y="162"/>
                    </a:moveTo>
                    <a:cubicBezTo>
                      <a:pt x="292" y="162"/>
                      <a:pt x="292" y="162"/>
                      <a:pt x="292" y="162"/>
                    </a:cubicBezTo>
                    <a:cubicBezTo>
                      <a:pt x="204" y="211"/>
                      <a:pt x="204" y="211"/>
                      <a:pt x="204" y="211"/>
                    </a:cubicBezTo>
                    <a:cubicBezTo>
                      <a:pt x="190" y="211"/>
                      <a:pt x="190" y="211"/>
                      <a:pt x="190" y="211"/>
                    </a:cubicBezTo>
                    <a:cubicBezTo>
                      <a:pt x="190" y="212"/>
                      <a:pt x="190" y="213"/>
                      <a:pt x="191" y="213"/>
                    </a:cubicBezTo>
                    <a:cubicBezTo>
                      <a:pt x="191" y="214"/>
                      <a:pt x="191" y="214"/>
                      <a:pt x="191" y="215"/>
                    </a:cubicBezTo>
                    <a:cubicBezTo>
                      <a:pt x="191" y="215"/>
                      <a:pt x="191" y="215"/>
                      <a:pt x="191" y="215"/>
                    </a:cubicBezTo>
                    <a:cubicBezTo>
                      <a:pt x="653" y="215"/>
                      <a:pt x="653" y="215"/>
                      <a:pt x="653" y="215"/>
                    </a:cubicBezTo>
                    <a:cubicBezTo>
                      <a:pt x="653" y="215"/>
                      <a:pt x="653" y="214"/>
                      <a:pt x="653" y="214"/>
                    </a:cubicBezTo>
                    <a:cubicBezTo>
                      <a:pt x="653" y="213"/>
                      <a:pt x="653" y="212"/>
                      <a:pt x="654" y="211"/>
                    </a:cubicBezTo>
                    <a:cubicBezTo>
                      <a:pt x="635" y="211"/>
                      <a:pt x="635" y="211"/>
                      <a:pt x="635" y="211"/>
                    </a:cubicBezTo>
                    <a:lnTo>
                      <a:pt x="547" y="162"/>
                    </a:lnTo>
                    <a:close/>
                    <a:moveTo>
                      <a:pt x="249" y="211"/>
                    </a:moveTo>
                    <a:cubicBezTo>
                      <a:pt x="235" y="211"/>
                      <a:pt x="235" y="211"/>
                      <a:pt x="235" y="211"/>
                    </a:cubicBezTo>
                    <a:cubicBezTo>
                      <a:pt x="249" y="204"/>
                      <a:pt x="249" y="204"/>
                      <a:pt x="249" y="204"/>
                    </a:cubicBezTo>
                    <a:lnTo>
                      <a:pt x="249" y="211"/>
                    </a:lnTo>
                    <a:close/>
                    <a:moveTo>
                      <a:pt x="287" y="211"/>
                    </a:moveTo>
                    <a:cubicBezTo>
                      <a:pt x="255" y="211"/>
                      <a:pt x="255" y="211"/>
                      <a:pt x="255" y="211"/>
                    </a:cubicBezTo>
                    <a:cubicBezTo>
                      <a:pt x="255" y="200"/>
                      <a:pt x="255" y="200"/>
                      <a:pt x="255" y="200"/>
                    </a:cubicBezTo>
                    <a:cubicBezTo>
                      <a:pt x="287" y="182"/>
                      <a:pt x="287" y="182"/>
                      <a:pt x="287" y="182"/>
                    </a:cubicBezTo>
                    <a:lnTo>
                      <a:pt x="287" y="211"/>
                    </a:lnTo>
                    <a:close/>
                    <a:moveTo>
                      <a:pt x="538" y="211"/>
                    </a:moveTo>
                    <a:cubicBezTo>
                      <a:pt x="530" y="211"/>
                      <a:pt x="530" y="211"/>
                      <a:pt x="530" y="211"/>
                    </a:cubicBezTo>
                    <a:cubicBezTo>
                      <a:pt x="530" y="191"/>
                      <a:pt x="530" y="191"/>
                      <a:pt x="530" y="191"/>
                    </a:cubicBezTo>
                    <a:cubicBezTo>
                      <a:pt x="501" y="191"/>
                      <a:pt x="501" y="191"/>
                      <a:pt x="501" y="191"/>
                    </a:cubicBezTo>
                    <a:cubicBezTo>
                      <a:pt x="501" y="211"/>
                      <a:pt x="501" y="211"/>
                      <a:pt x="501" y="211"/>
                    </a:cubicBezTo>
                    <a:cubicBezTo>
                      <a:pt x="482" y="211"/>
                      <a:pt x="482" y="211"/>
                      <a:pt x="482" y="211"/>
                    </a:cubicBezTo>
                    <a:cubicBezTo>
                      <a:pt x="482" y="191"/>
                      <a:pt x="482" y="191"/>
                      <a:pt x="482" y="191"/>
                    </a:cubicBezTo>
                    <a:cubicBezTo>
                      <a:pt x="453" y="191"/>
                      <a:pt x="453" y="191"/>
                      <a:pt x="453" y="191"/>
                    </a:cubicBezTo>
                    <a:cubicBezTo>
                      <a:pt x="453" y="211"/>
                      <a:pt x="453" y="211"/>
                      <a:pt x="453" y="211"/>
                    </a:cubicBezTo>
                    <a:cubicBezTo>
                      <a:pt x="434" y="211"/>
                      <a:pt x="434" y="211"/>
                      <a:pt x="434" y="211"/>
                    </a:cubicBezTo>
                    <a:cubicBezTo>
                      <a:pt x="434" y="191"/>
                      <a:pt x="434" y="191"/>
                      <a:pt x="434" y="191"/>
                    </a:cubicBezTo>
                    <a:cubicBezTo>
                      <a:pt x="405" y="191"/>
                      <a:pt x="405" y="191"/>
                      <a:pt x="405" y="191"/>
                    </a:cubicBezTo>
                    <a:cubicBezTo>
                      <a:pt x="405" y="211"/>
                      <a:pt x="405" y="211"/>
                      <a:pt x="405" y="211"/>
                    </a:cubicBezTo>
                    <a:cubicBezTo>
                      <a:pt x="386" y="211"/>
                      <a:pt x="386" y="211"/>
                      <a:pt x="386" y="211"/>
                    </a:cubicBezTo>
                    <a:cubicBezTo>
                      <a:pt x="386" y="191"/>
                      <a:pt x="386" y="191"/>
                      <a:pt x="386" y="191"/>
                    </a:cubicBezTo>
                    <a:cubicBezTo>
                      <a:pt x="357" y="191"/>
                      <a:pt x="357" y="191"/>
                      <a:pt x="357" y="191"/>
                    </a:cubicBezTo>
                    <a:cubicBezTo>
                      <a:pt x="357" y="211"/>
                      <a:pt x="357" y="211"/>
                      <a:pt x="357" y="211"/>
                    </a:cubicBezTo>
                    <a:cubicBezTo>
                      <a:pt x="338" y="211"/>
                      <a:pt x="338" y="211"/>
                      <a:pt x="338" y="211"/>
                    </a:cubicBezTo>
                    <a:cubicBezTo>
                      <a:pt x="338" y="191"/>
                      <a:pt x="338" y="191"/>
                      <a:pt x="338" y="191"/>
                    </a:cubicBezTo>
                    <a:cubicBezTo>
                      <a:pt x="309" y="191"/>
                      <a:pt x="309" y="191"/>
                      <a:pt x="309" y="191"/>
                    </a:cubicBezTo>
                    <a:cubicBezTo>
                      <a:pt x="309" y="211"/>
                      <a:pt x="309" y="211"/>
                      <a:pt x="309" y="211"/>
                    </a:cubicBezTo>
                    <a:cubicBezTo>
                      <a:pt x="301" y="211"/>
                      <a:pt x="301" y="211"/>
                      <a:pt x="301" y="211"/>
                    </a:cubicBezTo>
                    <a:cubicBezTo>
                      <a:pt x="301" y="182"/>
                      <a:pt x="301" y="182"/>
                      <a:pt x="301" y="182"/>
                    </a:cubicBezTo>
                    <a:cubicBezTo>
                      <a:pt x="538" y="182"/>
                      <a:pt x="538" y="182"/>
                      <a:pt x="538" y="182"/>
                    </a:cubicBezTo>
                    <a:lnTo>
                      <a:pt x="538" y="211"/>
                    </a:lnTo>
                    <a:close/>
                    <a:moveTo>
                      <a:pt x="584" y="211"/>
                    </a:moveTo>
                    <a:cubicBezTo>
                      <a:pt x="552" y="211"/>
                      <a:pt x="552" y="211"/>
                      <a:pt x="552" y="211"/>
                    </a:cubicBezTo>
                    <a:cubicBezTo>
                      <a:pt x="552" y="182"/>
                      <a:pt x="552" y="182"/>
                      <a:pt x="552" y="182"/>
                    </a:cubicBezTo>
                    <a:cubicBezTo>
                      <a:pt x="584" y="200"/>
                      <a:pt x="584" y="200"/>
                      <a:pt x="584" y="200"/>
                    </a:cubicBezTo>
                    <a:lnTo>
                      <a:pt x="584" y="211"/>
                    </a:lnTo>
                    <a:close/>
                    <a:moveTo>
                      <a:pt x="590" y="211"/>
                    </a:moveTo>
                    <a:cubicBezTo>
                      <a:pt x="590" y="204"/>
                      <a:pt x="590" y="204"/>
                      <a:pt x="590" y="204"/>
                    </a:cubicBezTo>
                    <a:cubicBezTo>
                      <a:pt x="604" y="211"/>
                      <a:pt x="604" y="211"/>
                      <a:pt x="604" y="211"/>
                    </a:cubicBezTo>
                    <a:lnTo>
                      <a:pt x="590" y="211"/>
                    </a:lnTo>
                    <a:close/>
                    <a:moveTo>
                      <a:pt x="0" y="39"/>
                    </a:moveTo>
                    <a:cubicBezTo>
                      <a:pt x="0" y="48"/>
                      <a:pt x="0" y="48"/>
                      <a:pt x="0" y="48"/>
                    </a:cubicBezTo>
                    <a:cubicBezTo>
                      <a:pt x="20" y="48"/>
                      <a:pt x="20" y="48"/>
                      <a:pt x="20" y="48"/>
                    </a:cubicBezTo>
                    <a:cubicBezTo>
                      <a:pt x="20" y="64"/>
                      <a:pt x="20" y="64"/>
                      <a:pt x="20" y="64"/>
                    </a:cubicBezTo>
                    <a:cubicBezTo>
                      <a:pt x="23" y="64"/>
                      <a:pt x="23" y="64"/>
                      <a:pt x="23" y="64"/>
                    </a:cubicBezTo>
                    <a:cubicBezTo>
                      <a:pt x="53" y="106"/>
                      <a:pt x="53" y="106"/>
                      <a:pt x="53" y="106"/>
                    </a:cubicBezTo>
                    <a:cubicBezTo>
                      <a:pt x="49" y="106"/>
                      <a:pt x="49" y="106"/>
                      <a:pt x="49" y="106"/>
                    </a:cubicBezTo>
                    <a:cubicBezTo>
                      <a:pt x="49" y="131"/>
                      <a:pt x="49" y="131"/>
                      <a:pt x="49" y="131"/>
                    </a:cubicBezTo>
                    <a:cubicBezTo>
                      <a:pt x="39" y="131"/>
                      <a:pt x="39" y="131"/>
                      <a:pt x="39" y="131"/>
                    </a:cubicBezTo>
                    <a:cubicBezTo>
                      <a:pt x="39" y="145"/>
                      <a:pt x="39" y="145"/>
                      <a:pt x="39" y="145"/>
                    </a:cubicBezTo>
                    <a:cubicBezTo>
                      <a:pt x="48" y="145"/>
                      <a:pt x="48" y="145"/>
                      <a:pt x="48" y="145"/>
                    </a:cubicBezTo>
                    <a:cubicBezTo>
                      <a:pt x="48" y="145"/>
                      <a:pt x="49" y="144"/>
                      <a:pt x="49" y="144"/>
                    </a:cubicBezTo>
                    <a:cubicBezTo>
                      <a:pt x="49" y="140"/>
                      <a:pt x="53" y="137"/>
                      <a:pt x="58" y="137"/>
                    </a:cubicBezTo>
                    <a:cubicBezTo>
                      <a:pt x="59" y="136"/>
                      <a:pt x="61" y="135"/>
                      <a:pt x="63" y="135"/>
                    </a:cubicBezTo>
                    <a:cubicBezTo>
                      <a:pt x="66" y="135"/>
                      <a:pt x="68" y="136"/>
                      <a:pt x="69" y="138"/>
                    </a:cubicBezTo>
                    <a:cubicBezTo>
                      <a:pt x="72" y="139"/>
                      <a:pt x="74" y="141"/>
                      <a:pt x="74" y="144"/>
                    </a:cubicBezTo>
                    <a:cubicBezTo>
                      <a:pt x="76" y="144"/>
                      <a:pt x="78" y="144"/>
                      <a:pt x="79" y="145"/>
                    </a:cubicBezTo>
                    <a:cubicBezTo>
                      <a:pt x="81" y="145"/>
                      <a:pt x="81" y="145"/>
                      <a:pt x="81" y="145"/>
                    </a:cubicBezTo>
                    <a:cubicBezTo>
                      <a:pt x="81" y="149"/>
                      <a:pt x="81" y="149"/>
                      <a:pt x="81" y="149"/>
                    </a:cubicBezTo>
                    <a:cubicBezTo>
                      <a:pt x="81" y="149"/>
                      <a:pt x="81" y="149"/>
                      <a:pt x="82" y="149"/>
                    </a:cubicBezTo>
                    <a:cubicBezTo>
                      <a:pt x="83" y="151"/>
                      <a:pt x="84" y="152"/>
                      <a:pt x="84" y="155"/>
                    </a:cubicBezTo>
                    <a:cubicBezTo>
                      <a:pt x="85" y="155"/>
                      <a:pt x="85" y="155"/>
                      <a:pt x="85" y="156"/>
                    </a:cubicBezTo>
                    <a:cubicBezTo>
                      <a:pt x="85" y="145"/>
                      <a:pt x="85" y="145"/>
                      <a:pt x="85" y="145"/>
                    </a:cubicBezTo>
                    <a:cubicBezTo>
                      <a:pt x="105" y="145"/>
                      <a:pt x="105" y="145"/>
                      <a:pt x="105" y="145"/>
                    </a:cubicBezTo>
                    <a:cubicBezTo>
                      <a:pt x="105" y="146"/>
                      <a:pt x="105" y="146"/>
                      <a:pt x="105" y="146"/>
                    </a:cubicBezTo>
                    <a:cubicBezTo>
                      <a:pt x="105" y="146"/>
                      <a:pt x="105" y="146"/>
                      <a:pt x="105" y="146"/>
                    </a:cubicBezTo>
                    <a:cubicBezTo>
                      <a:pt x="106" y="146"/>
                      <a:pt x="107" y="146"/>
                      <a:pt x="108" y="146"/>
                    </a:cubicBezTo>
                    <a:cubicBezTo>
                      <a:pt x="108" y="145"/>
                      <a:pt x="109" y="145"/>
                      <a:pt x="109" y="144"/>
                    </a:cubicBezTo>
                    <a:cubicBezTo>
                      <a:pt x="109" y="140"/>
                      <a:pt x="113" y="137"/>
                      <a:pt x="118" y="137"/>
                    </a:cubicBezTo>
                    <a:cubicBezTo>
                      <a:pt x="119" y="136"/>
                      <a:pt x="121" y="135"/>
                      <a:pt x="124" y="135"/>
                    </a:cubicBezTo>
                    <a:cubicBezTo>
                      <a:pt x="124" y="135"/>
                      <a:pt x="124" y="135"/>
                      <a:pt x="124" y="135"/>
                    </a:cubicBezTo>
                    <a:cubicBezTo>
                      <a:pt x="126" y="135"/>
                      <a:pt x="128" y="136"/>
                      <a:pt x="130" y="138"/>
                    </a:cubicBezTo>
                    <a:cubicBezTo>
                      <a:pt x="132" y="139"/>
                      <a:pt x="134" y="141"/>
                      <a:pt x="135" y="144"/>
                    </a:cubicBezTo>
                    <a:cubicBezTo>
                      <a:pt x="136" y="144"/>
                      <a:pt x="138" y="144"/>
                      <a:pt x="139" y="145"/>
                    </a:cubicBezTo>
                    <a:cubicBezTo>
                      <a:pt x="139" y="145"/>
                      <a:pt x="139" y="145"/>
                      <a:pt x="139" y="145"/>
                    </a:cubicBezTo>
                    <a:cubicBezTo>
                      <a:pt x="169" y="145"/>
                      <a:pt x="169" y="145"/>
                      <a:pt x="169" y="145"/>
                    </a:cubicBezTo>
                    <a:cubicBezTo>
                      <a:pt x="169" y="145"/>
                      <a:pt x="169" y="144"/>
                      <a:pt x="169" y="144"/>
                    </a:cubicBezTo>
                    <a:cubicBezTo>
                      <a:pt x="170" y="140"/>
                      <a:pt x="173" y="137"/>
                      <a:pt x="178" y="137"/>
                    </a:cubicBezTo>
                    <a:cubicBezTo>
                      <a:pt x="180" y="136"/>
                      <a:pt x="182" y="135"/>
                      <a:pt x="184" y="135"/>
                    </a:cubicBezTo>
                    <a:cubicBezTo>
                      <a:pt x="184" y="135"/>
                      <a:pt x="184" y="135"/>
                      <a:pt x="184" y="135"/>
                    </a:cubicBezTo>
                    <a:cubicBezTo>
                      <a:pt x="186" y="135"/>
                      <a:pt x="189" y="136"/>
                      <a:pt x="190" y="138"/>
                    </a:cubicBezTo>
                    <a:cubicBezTo>
                      <a:pt x="192" y="139"/>
                      <a:pt x="194" y="141"/>
                      <a:pt x="195" y="144"/>
                    </a:cubicBezTo>
                    <a:cubicBezTo>
                      <a:pt x="197" y="144"/>
                      <a:pt x="198" y="144"/>
                      <a:pt x="199" y="145"/>
                    </a:cubicBezTo>
                    <a:cubicBezTo>
                      <a:pt x="208" y="145"/>
                      <a:pt x="208" y="145"/>
                      <a:pt x="208" y="145"/>
                    </a:cubicBezTo>
                    <a:cubicBezTo>
                      <a:pt x="208" y="162"/>
                      <a:pt x="208" y="162"/>
                      <a:pt x="208" y="162"/>
                    </a:cubicBezTo>
                    <a:cubicBezTo>
                      <a:pt x="213" y="162"/>
                      <a:pt x="213" y="162"/>
                      <a:pt x="213" y="162"/>
                    </a:cubicBezTo>
                    <a:cubicBezTo>
                      <a:pt x="213" y="145"/>
                      <a:pt x="213" y="145"/>
                      <a:pt x="213" y="145"/>
                    </a:cubicBezTo>
                    <a:cubicBezTo>
                      <a:pt x="250" y="145"/>
                      <a:pt x="250" y="145"/>
                      <a:pt x="250" y="145"/>
                    </a:cubicBezTo>
                    <a:cubicBezTo>
                      <a:pt x="250" y="162"/>
                      <a:pt x="250" y="162"/>
                      <a:pt x="250" y="162"/>
                    </a:cubicBezTo>
                    <a:cubicBezTo>
                      <a:pt x="254" y="162"/>
                      <a:pt x="254" y="162"/>
                      <a:pt x="254" y="162"/>
                    </a:cubicBezTo>
                    <a:cubicBezTo>
                      <a:pt x="254" y="145"/>
                      <a:pt x="254" y="145"/>
                      <a:pt x="254" y="145"/>
                    </a:cubicBezTo>
                    <a:cubicBezTo>
                      <a:pt x="287" y="145"/>
                      <a:pt x="287" y="145"/>
                      <a:pt x="287" y="145"/>
                    </a:cubicBezTo>
                    <a:cubicBezTo>
                      <a:pt x="287" y="162"/>
                      <a:pt x="287" y="162"/>
                      <a:pt x="287" y="162"/>
                    </a:cubicBezTo>
                    <a:cubicBezTo>
                      <a:pt x="301" y="162"/>
                      <a:pt x="301" y="162"/>
                      <a:pt x="301" y="162"/>
                    </a:cubicBezTo>
                    <a:cubicBezTo>
                      <a:pt x="301" y="145"/>
                      <a:pt x="301" y="145"/>
                      <a:pt x="301" y="145"/>
                    </a:cubicBezTo>
                    <a:cubicBezTo>
                      <a:pt x="334" y="145"/>
                      <a:pt x="334" y="145"/>
                      <a:pt x="334" y="145"/>
                    </a:cubicBezTo>
                    <a:cubicBezTo>
                      <a:pt x="334" y="162"/>
                      <a:pt x="334" y="162"/>
                      <a:pt x="334" y="162"/>
                    </a:cubicBezTo>
                    <a:cubicBezTo>
                      <a:pt x="338" y="162"/>
                      <a:pt x="338" y="162"/>
                      <a:pt x="338" y="162"/>
                    </a:cubicBezTo>
                    <a:cubicBezTo>
                      <a:pt x="338" y="145"/>
                      <a:pt x="338" y="145"/>
                      <a:pt x="338" y="145"/>
                    </a:cubicBezTo>
                    <a:cubicBezTo>
                      <a:pt x="376" y="145"/>
                      <a:pt x="376" y="145"/>
                      <a:pt x="376" y="145"/>
                    </a:cubicBezTo>
                    <a:cubicBezTo>
                      <a:pt x="376" y="162"/>
                      <a:pt x="376" y="162"/>
                      <a:pt x="376" y="162"/>
                    </a:cubicBezTo>
                    <a:cubicBezTo>
                      <a:pt x="380" y="162"/>
                      <a:pt x="380" y="162"/>
                      <a:pt x="380" y="162"/>
                    </a:cubicBezTo>
                    <a:cubicBezTo>
                      <a:pt x="380" y="145"/>
                      <a:pt x="380" y="145"/>
                      <a:pt x="380" y="145"/>
                    </a:cubicBezTo>
                    <a:cubicBezTo>
                      <a:pt x="417" y="145"/>
                      <a:pt x="417" y="145"/>
                      <a:pt x="417" y="145"/>
                    </a:cubicBezTo>
                    <a:cubicBezTo>
                      <a:pt x="417" y="162"/>
                      <a:pt x="417" y="162"/>
                      <a:pt x="417" y="162"/>
                    </a:cubicBezTo>
                    <a:cubicBezTo>
                      <a:pt x="422" y="162"/>
                      <a:pt x="422" y="162"/>
                      <a:pt x="422" y="162"/>
                    </a:cubicBezTo>
                    <a:cubicBezTo>
                      <a:pt x="422" y="145"/>
                      <a:pt x="422" y="145"/>
                      <a:pt x="422" y="145"/>
                    </a:cubicBezTo>
                    <a:cubicBezTo>
                      <a:pt x="459" y="145"/>
                      <a:pt x="459" y="145"/>
                      <a:pt x="459" y="145"/>
                    </a:cubicBezTo>
                    <a:cubicBezTo>
                      <a:pt x="459" y="162"/>
                      <a:pt x="459" y="162"/>
                      <a:pt x="459" y="162"/>
                    </a:cubicBezTo>
                    <a:cubicBezTo>
                      <a:pt x="463" y="162"/>
                      <a:pt x="463" y="162"/>
                      <a:pt x="463" y="162"/>
                    </a:cubicBezTo>
                    <a:cubicBezTo>
                      <a:pt x="463" y="145"/>
                      <a:pt x="463" y="145"/>
                      <a:pt x="463" y="145"/>
                    </a:cubicBezTo>
                    <a:cubicBezTo>
                      <a:pt x="501" y="145"/>
                      <a:pt x="501" y="145"/>
                      <a:pt x="501" y="145"/>
                    </a:cubicBezTo>
                    <a:cubicBezTo>
                      <a:pt x="501" y="162"/>
                      <a:pt x="501" y="162"/>
                      <a:pt x="501" y="162"/>
                    </a:cubicBezTo>
                    <a:cubicBezTo>
                      <a:pt x="505" y="162"/>
                      <a:pt x="505" y="162"/>
                      <a:pt x="505" y="162"/>
                    </a:cubicBezTo>
                    <a:cubicBezTo>
                      <a:pt x="505" y="145"/>
                      <a:pt x="505" y="145"/>
                      <a:pt x="505" y="145"/>
                    </a:cubicBezTo>
                    <a:cubicBezTo>
                      <a:pt x="538" y="145"/>
                      <a:pt x="538" y="145"/>
                      <a:pt x="538" y="145"/>
                    </a:cubicBezTo>
                    <a:cubicBezTo>
                      <a:pt x="538" y="162"/>
                      <a:pt x="538" y="162"/>
                      <a:pt x="538" y="162"/>
                    </a:cubicBezTo>
                    <a:cubicBezTo>
                      <a:pt x="552" y="162"/>
                      <a:pt x="552" y="162"/>
                      <a:pt x="552" y="162"/>
                    </a:cubicBezTo>
                    <a:cubicBezTo>
                      <a:pt x="552" y="145"/>
                      <a:pt x="552" y="145"/>
                      <a:pt x="552" y="145"/>
                    </a:cubicBezTo>
                    <a:cubicBezTo>
                      <a:pt x="585" y="145"/>
                      <a:pt x="585" y="145"/>
                      <a:pt x="585" y="145"/>
                    </a:cubicBezTo>
                    <a:cubicBezTo>
                      <a:pt x="585" y="162"/>
                      <a:pt x="585" y="162"/>
                      <a:pt x="585" y="162"/>
                    </a:cubicBezTo>
                    <a:cubicBezTo>
                      <a:pt x="589" y="162"/>
                      <a:pt x="589" y="162"/>
                      <a:pt x="589" y="162"/>
                    </a:cubicBezTo>
                    <a:cubicBezTo>
                      <a:pt x="589" y="145"/>
                      <a:pt x="589" y="145"/>
                      <a:pt x="589" y="145"/>
                    </a:cubicBezTo>
                    <a:cubicBezTo>
                      <a:pt x="627" y="145"/>
                      <a:pt x="627" y="145"/>
                      <a:pt x="627" y="145"/>
                    </a:cubicBezTo>
                    <a:cubicBezTo>
                      <a:pt x="627" y="162"/>
                      <a:pt x="627" y="162"/>
                      <a:pt x="627" y="162"/>
                    </a:cubicBezTo>
                    <a:cubicBezTo>
                      <a:pt x="631" y="162"/>
                      <a:pt x="631" y="162"/>
                      <a:pt x="631" y="162"/>
                    </a:cubicBezTo>
                    <a:cubicBezTo>
                      <a:pt x="631" y="145"/>
                      <a:pt x="631" y="145"/>
                      <a:pt x="631" y="145"/>
                    </a:cubicBezTo>
                    <a:cubicBezTo>
                      <a:pt x="648" y="145"/>
                      <a:pt x="648" y="145"/>
                      <a:pt x="648" y="145"/>
                    </a:cubicBezTo>
                    <a:cubicBezTo>
                      <a:pt x="648" y="145"/>
                      <a:pt x="649" y="144"/>
                      <a:pt x="649" y="144"/>
                    </a:cubicBezTo>
                    <a:cubicBezTo>
                      <a:pt x="649" y="140"/>
                      <a:pt x="653" y="137"/>
                      <a:pt x="658" y="137"/>
                    </a:cubicBezTo>
                    <a:cubicBezTo>
                      <a:pt x="659" y="136"/>
                      <a:pt x="661" y="135"/>
                      <a:pt x="663" y="135"/>
                    </a:cubicBezTo>
                    <a:cubicBezTo>
                      <a:pt x="666" y="135"/>
                      <a:pt x="668" y="136"/>
                      <a:pt x="669" y="138"/>
                    </a:cubicBezTo>
                    <a:cubicBezTo>
                      <a:pt x="672" y="139"/>
                      <a:pt x="674" y="141"/>
                      <a:pt x="674" y="144"/>
                    </a:cubicBezTo>
                    <a:cubicBezTo>
                      <a:pt x="676" y="144"/>
                      <a:pt x="677" y="144"/>
                      <a:pt x="679" y="145"/>
                    </a:cubicBezTo>
                    <a:cubicBezTo>
                      <a:pt x="700" y="145"/>
                      <a:pt x="700" y="145"/>
                      <a:pt x="700" y="145"/>
                    </a:cubicBezTo>
                    <a:cubicBezTo>
                      <a:pt x="700" y="152"/>
                      <a:pt x="700" y="152"/>
                      <a:pt x="700" y="152"/>
                    </a:cubicBezTo>
                    <a:cubicBezTo>
                      <a:pt x="700" y="152"/>
                      <a:pt x="700" y="152"/>
                      <a:pt x="700" y="152"/>
                    </a:cubicBezTo>
                    <a:cubicBezTo>
                      <a:pt x="700" y="152"/>
                      <a:pt x="700" y="151"/>
                      <a:pt x="700" y="151"/>
                    </a:cubicBezTo>
                    <a:cubicBezTo>
                      <a:pt x="701" y="149"/>
                      <a:pt x="702" y="148"/>
                      <a:pt x="704" y="147"/>
                    </a:cubicBezTo>
                    <a:cubicBezTo>
                      <a:pt x="704" y="145"/>
                      <a:pt x="704" y="145"/>
                      <a:pt x="704" y="145"/>
                    </a:cubicBezTo>
                    <a:cubicBezTo>
                      <a:pt x="708" y="145"/>
                      <a:pt x="708" y="145"/>
                      <a:pt x="708" y="145"/>
                    </a:cubicBezTo>
                    <a:cubicBezTo>
                      <a:pt x="709" y="145"/>
                      <a:pt x="709" y="144"/>
                      <a:pt x="709" y="144"/>
                    </a:cubicBezTo>
                    <a:cubicBezTo>
                      <a:pt x="709" y="140"/>
                      <a:pt x="713" y="137"/>
                      <a:pt x="718" y="137"/>
                    </a:cubicBezTo>
                    <a:cubicBezTo>
                      <a:pt x="719" y="136"/>
                      <a:pt x="721" y="135"/>
                      <a:pt x="723" y="135"/>
                    </a:cubicBezTo>
                    <a:cubicBezTo>
                      <a:pt x="723" y="135"/>
                      <a:pt x="723" y="135"/>
                      <a:pt x="723" y="135"/>
                    </a:cubicBezTo>
                    <a:cubicBezTo>
                      <a:pt x="726" y="135"/>
                      <a:pt x="728" y="136"/>
                      <a:pt x="730" y="138"/>
                    </a:cubicBezTo>
                    <a:cubicBezTo>
                      <a:pt x="732" y="139"/>
                      <a:pt x="734" y="141"/>
                      <a:pt x="735" y="144"/>
                    </a:cubicBezTo>
                    <a:cubicBezTo>
                      <a:pt x="736" y="144"/>
                      <a:pt x="738" y="144"/>
                      <a:pt x="739" y="145"/>
                    </a:cubicBezTo>
                    <a:cubicBezTo>
                      <a:pt x="754" y="145"/>
                      <a:pt x="754" y="145"/>
                      <a:pt x="754" y="145"/>
                    </a:cubicBezTo>
                    <a:cubicBezTo>
                      <a:pt x="754" y="162"/>
                      <a:pt x="754" y="162"/>
                      <a:pt x="754" y="162"/>
                    </a:cubicBezTo>
                    <a:cubicBezTo>
                      <a:pt x="757" y="162"/>
                      <a:pt x="757" y="162"/>
                      <a:pt x="757" y="162"/>
                    </a:cubicBezTo>
                    <a:cubicBezTo>
                      <a:pt x="756" y="161"/>
                      <a:pt x="756" y="160"/>
                      <a:pt x="756" y="159"/>
                    </a:cubicBezTo>
                    <a:cubicBezTo>
                      <a:pt x="756" y="158"/>
                      <a:pt x="756" y="158"/>
                      <a:pt x="756" y="157"/>
                    </a:cubicBezTo>
                    <a:cubicBezTo>
                      <a:pt x="756" y="156"/>
                      <a:pt x="757" y="155"/>
                      <a:pt x="758" y="154"/>
                    </a:cubicBezTo>
                    <a:cubicBezTo>
                      <a:pt x="758" y="145"/>
                      <a:pt x="758" y="145"/>
                      <a:pt x="758" y="145"/>
                    </a:cubicBezTo>
                    <a:cubicBezTo>
                      <a:pt x="768" y="145"/>
                      <a:pt x="768" y="145"/>
                      <a:pt x="768" y="145"/>
                    </a:cubicBezTo>
                    <a:cubicBezTo>
                      <a:pt x="769" y="145"/>
                      <a:pt x="769" y="144"/>
                      <a:pt x="769" y="144"/>
                    </a:cubicBezTo>
                    <a:cubicBezTo>
                      <a:pt x="770" y="140"/>
                      <a:pt x="773" y="137"/>
                      <a:pt x="778" y="137"/>
                    </a:cubicBezTo>
                    <a:cubicBezTo>
                      <a:pt x="780" y="136"/>
                      <a:pt x="782" y="135"/>
                      <a:pt x="784" y="135"/>
                    </a:cubicBezTo>
                    <a:cubicBezTo>
                      <a:pt x="784" y="135"/>
                      <a:pt x="784" y="135"/>
                      <a:pt x="784" y="135"/>
                    </a:cubicBezTo>
                    <a:cubicBezTo>
                      <a:pt x="786" y="135"/>
                      <a:pt x="788" y="136"/>
                      <a:pt x="790" y="138"/>
                    </a:cubicBezTo>
                    <a:cubicBezTo>
                      <a:pt x="792" y="139"/>
                      <a:pt x="794" y="141"/>
                      <a:pt x="795" y="144"/>
                    </a:cubicBezTo>
                    <a:cubicBezTo>
                      <a:pt x="797" y="144"/>
                      <a:pt x="798" y="144"/>
                      <a:pt x="799" y="145"/>
                    </a:cubicBezTo>
                    <a:cubicBezTo>
                      <a:pt x="800" y="145"/>
                      <a:pt x="800" y="145"/>
                      <a:pt x="800" y="145"/>
                    </a:cubicBezTo>
                    <a:cubicBezTo>
                      <a:pt x="800" y="131"/>
                      <a:pt x="800" y="131"/>
                      <a:pt x="800" y="131"/>
                    </a:cubicBezTo>
                    <a:cubicBezTo>
                      <a:pt x="790" y="131"/>
                      <a:pt x="790" y="131"/>
                      <a:pt x="790" y="131"/>
                    </a:cubicBezTo>
                    <a:cubicBezTo>
                      <a:pt x="790" y="106"/>
                      <a:pt x="790" y="106"/>
                      <a:pt x="790" y="106"/>
                    </a:cubicBezTo>
                    <a:cubicBezTo>
                      <a:pt x="786" y="106"/>
                      <a:pt x="786" y="106"/>
                      <a:pt x="786" y="106"/>
                    </a:cubicBezTo>
                    <a:cubicBezTo>
                      <a:pt x="816" y="64"/>
                      <a:pt x="816" y="64"/>
                      <a:pt x="816" y="64"/>
                    </a:cubicBezTo>
                    <a:cubicBezTo>
                      <a:pt x="819" y="64"/>
                      <a:pt x="819" y="64"/>
                      <a:pt x="819" y="64"/>
                    </a:cubicBezTo>
                    <a:cubicBezTo>
                      <a:pt x="819" y="48"/>
                      <a:pt x="819" y="48"/>
                      <a:pt x="819" y="48"/>
                    </a:cubicBezTo>
                    <a:cubicBezTo>
                      <a:pt x="839" y="48"/>
                      <a:pt x="839" y="48"/>
                      <a:pt x="839" y="48"/>
                    </a:cubicBezTo>
                    <a:cubicBezTo>
                      <a:pt x="839" y="39"/>
                      <a:pt x="839" y="39"/>
                      <a:pt x="839" y="39"/>
                    </a:cubicBezTo>
                    <a:lnTo>
                      <a:pt x="0" y="39"/>
                    </a:lnTo>
                    <a:close/>
                    <a:moveTo>
                      <a:pt x="486" y="56"/>
                    </a:moveTo>
                    <a:cubicBezTo>
                      <a:pt x="496" y="56"/>
                      <a:pt x="496" y="56"/>
                      <a:pt x="496" y="56"/>
                    </a:cubicBezTo>
                    <a:cubicBezTo>
                      <a:pt x="499" y="70"/>
                      <a:pt x="499" y="70"/>
                      <a:pt x="499" y="70"/>
                    </a:cubicBezTo>
                    <a:cubicBezTo>
                      <a:pt x="503" y="56"/>
                      <a:pt x="503" y="56"/>
                      <a:pt x="503" y="56"/>
                    </a:cubicBezTo>
                    <a:cubicBezTo>
                      <a:pt x="512" y="56"/>
                      <a:pt x="512" y="56"/>
                      <a:pt x="512" y="56"/>
                    </a:cubicBezTo>
                    <a:cubicBezTo>
                      <a:pt x="512" y="79"/>
                      <a:pt x="512" y="79"/>
                      <a:pt x="512" y="79"/>
                    </a:cubicBezTo>
                    <a:cubicBezTo>
                      <a:pt x="507" y="79"/>
                      <a:pt x="507" y="79"/>
                      <a:pt x="507" y="79"/>
                    </a:cubicBezTo>
                    <a:cubicBezTo>
                      <a:pt x="507" y="61"/>
                      <a:pt x="507" y="61"/>
                      <a:pt x="507" y="61"/>
                    </a:cubicBezTo>
                    <a:cubicBezTo>
                      <a:pt x="502" y="79"/>
                      <a:pt x="502" y="79"/>
                      <a:pt x="502" y="79"/>
                    </a:cubicBezTo>
                    <a:cubicBezTo>
                      <a:pt x="497" y="79"/>
                      <a:pt x="497" y="79"/>
                      <a:pt x="497" y="79"/>
                    </a:cubicBezTo>
                    <a:cubicBezTo>
                      <a:pt x="492" y="61"/>
                      <a:pt x="492" y="61"/>
                      <a:pt x="492" y="61"/>
                    </a:cubicBezTo>
                    <a:cubicBezTo>
                      <a:pt x="492" y="79"/>
                      <a:pt x="492" y="79"/>
                      <a:pt x="492" y="79"/>
                    </a:cubicBezTo>
                    <a:cubicBezTo>
                      <a:pt x="486" y="79"/>
                      <a:pt x="486" y="79"/>
                      <a:pt x="486" y="79"/>
                    </a:cubicBezTo>
                    <a:lnTo>
                      <a:pt x="486" y="56"/>
                    </a:lnTo>
                    <a:close/>
                    <a:moveTo>
                      <a:pt x="456" y="56"/>
                    </a:moveTo>
                    <a:cubicBezTo>
                      <a:pt x="463" y="56"/>
                      <a:pt x="463" y="56"/>
                      <a:pt x="463" y="56"/>
                    </a:cubicBezTo>
                    <a:cubicBezTo>
                      <a:pt x="463" y="70"/>
                      <a:pt x="463" y="70"/>
                      <a:pt x="463" y="70"/>
                    </a:cubicBezTo>
                    <a:cubicBezTo>
                      <a:pt x="463" y="71"/>
                      <a:pt x="464" y="72"/>
                      <a:pt x="464" y="73"/>
                    </a:cubicBezTo>
                    <a:cubicBezTo>
                      <a:pt x="465" y="73"/>
                      <a:pt x="466" y="74"/>
                      <a:pt x="467" y="74"/>
                    </a:cubicBezTo>
                    <a:cubicBezTo>
                      <a:pt x="468" y="74"/>
                      <a:pt x="469" y="73"/>
                      <a:pt x="470" y="73"/>
                    </a:cubicBezTo>
                    <a:cubicBezTo>
                      <a:pt x="471" y="72"/>
                      <a:pt x="471" y="71"/>
                      <a:pt x="471" y="70"/>
                    </a:cubicBezTo>
                    <a:cubicBezTo>
                      <a:pt x="471" y="56"/>
                      <a:pt x="471" y="56"/>
                      <a:pt x="471" y="56"/>
                    </a:cubicBezTo>
                    <a:cubicBezTo>
                      <a:pt x="478" y="56"/>
                      <a:pt x="478" y="56"/>
                      <a:pt x="478" y="56"/>
                    </a:cubicBezTo>
                    <a:cubicBezTo>
                      <a:pt x="478" y="69"/>
                      <a:pt x="478" y="69"/>
                      <a:pt x="478" y="69"/>
                    </a:cubicBezTo>
                    <a:cubicBezTo>
                      <a:pt x="478" y="71"/>
                      <a:pt x="478" y="72"/>
                      <a:pt x="478" y="73"/>
                    </a:cubicBezTo>
                    <a:cubicBezTo>
                      <a:pt x="477" y="74"/>
                      <a:pt x="477" y="76"/>
                      <a:pt x="476" y="76"/>
                    </a:cubicBezTo>
                    <a:cubicBezTo>
                      <a:pt x="475" y="77"/>
                      <a:pt x="474" y="78"/>
                      <a:pt x="473" y="78"/>
                    </a:cubicBezTo>
                    <a:cubicBezTo>
                      <a:pt x="471" y="79"/>
                      <a:pt x="470" y="79"/>
                      <a:pt x="468" y="79"/>
                    </a:cubicBezTo>
                    <a:cubicBezTo>
                      <a:pt x="467" y="79"/>
                      <a:pt x="465" y="79"/>
                      <a:pt x="464" y="79"/>
                    </a:cubicBezTo>
                    <a:cubicBezTo>
                      <a:pt x="463" y="79"/>
                      <a:pt x="462" y="78"/>
                      <a:pt x="461" y="78"/>
                    </a:cubicBezTo>
                    <a:cubicBezTo>
                      <a:pt x="460" y="78"/>
                      <a:pt x="459" y="77"/>
                      <a:pt x="458" y="76"/>
                    </a:cubicBezTo>
                    <a:cubicBezTo>
                      <a:pt x="458" y="75"/>
                      <a:pt x="457" y="74"/>
                      <a:pt x="457" y="73"/>
                    </a:cubicBezTo>
                    <a:cubicBezTo>
                      <a:pt x="456" y="72"/>
                      <a:pt x="456" y="71"/>
                      <a:pt x="456" y="69"/>
                    </a:cubicBezTo>
                    <a:lnTo>
                      <a:pt x="456" y="56"/>
                    </a:lnTo>
                    <a:close/>
                    <a:moveTo>
                      <a:pt x="440" y="56"/>
                    </a:moveTo>
                    <a:cubicBezTo>
                      <a:pt x="448" y="56"/>
                      <a:pt x="448" y="56"/>
                      <a:pt x="448" y="56"/>
                    </a:cubicBezTo>
                    <a:cubicBezTo>
                      <a:pt x="448" y="79"/>
                      <a:pt x="448" y="79"/>
                      <a:pt x="448" y="79"/>
                    </a:cubicBezTo>
                    <a:cubicBezTo>
                      <a:pt x="440" y="79"/>
                      <a:pt x="440" y="79"/>
                      <a:pt x="440" y="79"/>
                    </a:cubicBezTo>
                    <a:lnTo>
                      <a:pt x="440" y="56"/>
                    </a:lnTo>
                    <a:close/>
                    <a:moveTo>
                      <a:pt x="412" y="56"/>
                    </a:moveTo>
                    <a:cubicBezTo>
                      <a:pt x="422" y="56"/>
                      <a:pt x="422" y="56"/>
                      <a:pt x="422" y="56"/>
                    </a:cubicBezTo>
                    <a:cubicBezTo>
                      <a:pt x="425" y="56"/>
                      <a:pt x="426" y="56"/>
                      <a:pt x="428" y="56"/>
                    </a:cubicBezTo>
                    <a:cubicBezTo>
                      <a:pt x="429" y="57"/>
                      <a:pt x="430" y="58"/>
                      <a:pt x="431" y="59"/>
                    </a:cubicBezTo>
                    <a:cubicBezTo>
                      <a:pt x="432" y="60"/>
                      <a:pt x="432" y="61"/>
                      <a:pt x="433" y="63"/>
                    </a:cubicBezTo>
                    <a:cubicBezTo>
                      <a:pt x="433" y="64"/>
                      <a:pt x="433" y="65"/>
                      <a:pt x="433" y="67"/>
                    </a:cubicBezTo>
                    <a:cubicBezTo>
                      <a:pt x="433" y="70"/>
                      <a:pt x="433" y="71"/>
                      <a:pt x="432" y="73"/>
                    </a:cubicBezTo>
                    <a:cubicBezTo>
                      <a:pt x="432" y="74"/>
                      <a:pt x="431" y="75"/>
                      <a:pt x="430" y="76"/>
                    </a:cubicBezTo>
                    <a:cubicBezTo>
                      <a:pt x="429" y="77"/>
                      <a:pt x="428" y="78"/>
                      <a:pt x="427" y="78"/>
                    </a:cubicBezTo>
                    <a:cubicBezTo>
                      <a:pt x="425" y="79"/>
                      <a:pt x="424" y="79"/>
                      <a:pt x="422" y="79"/>
                    </a:cubicBezTo>
                    <a:cubicBezTo>
                      <a:pt x="412" y="79"/>
                      <a:pt x="412" y="79"/>
                      <a:pt x="412" y="79"/>
                    </a:cubicBezTo>
                    <a:lnTo>
                      <a:pt x="412" y="56"/>
                    </a:lnTo>
                    <a:close/>
                    <a:moveTo>
                      <a:pt x="390" y="56"/>
                    </a:moveTo>
                    <a:cubicBezTo>
                      <a:pt x="397" y="56"/>
                      <a:pt x="397" y="56"/>
                      <a:pt x="397" y="56"/>
                    </a:cubicBezTo>
                    <a:cubicBezTo>
                      <a:pt x="406" y="79"/>
                      <a:pt x="406" y="79"/>
                      <a:pt x="406" y="79"/>
                    </a:cubicBezTo>
                    <a:cubicBezTo>
                      <a:pt x="399" y="79"/>
                      <a:pt x="399" y="79"/>
                      <a:pt x="399" y="79"/>
                    </a:cubicBezTo>
                    <a:cubicBezTo>
                      <a:pt x="397" y="75"/>
                      <a:pt x="397" y="75"/>
                      <a:pt x="397" y="75"/>
                    </a:cubicBezTo>
                    <a:cubicBezTo>
                      <a:pt x="389" y="75"/>
                      <a:pt x="389" y="75"/>
                      <a:pt x="389" y="75"/>
                    </a:cubicBezTo>
                    <a:cubicBezTo>
                      <a:pt x="388" y="79"/>
                      <a:pt x="388" y="79"/>
                      <a:pt x="388" y="79"/>
                    </a:cubicBezTo>
                    <a:cubicBezTo>
                      <a:pt x="381" y="79"/>
                      <a:pt x="381" y="79"/>
                      <a:pt x="381" y="79"/>
                    </a:cubicBezTo>
                    <a:lnTo>
                      <a:pt x="390" y="56"/>
                    </a:lnTo>
                    <a:close/>
                    <a:moveTo>
                      <a:pt x="355" y="56"/>
                    </a:moveTo>
                    <a:cubicBezTo>
                      <a:pt x="377" y="56"/>
                      <a:pt x="377" y="56"/>
                      <a:pt x="377" y="56"/>
                    </a:cubicBezTo>
                    <a:cubicBezTo>
                      <a:pt x="377" y="61"/>
                      <a:pt x="377" y="61"/>
                      <a:pt x="377" y="61"/>
                    </a:cubicBezTo>
                    <a:cubicBezTo>
                      <a:pt x="369" y="61"/>
                      <a:pt x="369" y="61"/>
                      <a:pt x="369" y="61"/>
                    </a:cubicBezTo>
                    <a:cubicBezTo>
                      <a:pt x="369" y="79"/>
                      <a:pt x="369" y="79"/>
                      <a:pt x="369" y="79"/>
                    </a:cubicBezTo>
                    <a:cubicBezTo>
                      <a:pt x="362" y="79"/>
                      <a:pt x="362" y="79"/>
                      <a:pt x="362" y="79"/>
                    </a:cubicBezTo>
                    <a:cubicBezTo>
                      <a:pt x="362" y="61"/>
                      <a:pt x="362" y="61"/>
                      <a:pt x="362" y="61"/>
                    </a:cubicBezTo>
                    <a:cubicBezTo>
                      <a:pt x="355" y="61"/>
                      <a:pt x="355" y="61"/>
                      <a:pt x="355" y="61"/>
                    </a:cubicBezTo>
                    <a:lnTo>
                      <a:pt x="355" y="56"/>
                    </a:lnTo>
                    <a:close/>
                    <a:moveTo>
                      <a:pt x="342" y="71"/>
                    </a:moveTo>
                    <a:cubicBezTo>
                      <a:pt x="341" y="70"/>
                      <a:pt x="340" y="70"/>
                      <a:pt x="338" y="69"/>
                    </a:cubicBezTo>
                    <a:cubicBezTo>
                      <a:pt x="335" y="69"/>
                      <a:pt x="333" y="68"/>
                      <a:pt x="331" y="66"/>
                    </a:cubicBezTo>
                    <a:cubicBezTo>
                      <a:pt x="330" y="65"/>
                      <a:pt x="329" y="64"/>
                      <a:pt x="329" y="62"/>
                    </a:cubicBezTo>
                    <a:cubicBezTo>
                      <a:pt x="329" y="61"/>
                      <a:pt x="330" y="60"/>
                      <a:pt x="330" y="59"/>
                    </a:cubicBezTo>
                    <a:cubicBezTo>
                      <a:pt x="331" y="57"/>
                      <a:pt x="332" y="57"/>
                      <a:pt x="333" y="56"/>
                    </a:cubicBezTo>
                    <a:cubicBezTo>
                      <a:pt x="335" y="55"/>
                      <a:pt x="337" y="55"/>
                      <a:pt x="339" y="55"/>
                    </a:cubicBezTo>
                    <a:cubicBezTo>
                      <a:pt x="342" y="55"/>
                      <a:pt x="344" y="56"/>
                      <a:pt x="346" y="57"/>
                    </a:cubicBezTo>
                    <a:cubicBezTo>
                      <a:pt x="348" y="58"/>
                      <a:pt x="348" y="60"/>
                      <a:pt x="349" y="62"/>
                    </a:cubicBezTo>
                    <a:cubicBezTo>
                      <a:pt x="342" y="62"/>
                      <a:pt x="342" y="62"/>
                      <a:pt x="342" y="62"/>
                    </a:cubicBezTo>
                    <a:cubicBezTo>
                      <a:pt x="342" y="61"/>
                      <a:pt x="341" y="61"/>
                      <a:pt x="341" y="60"/>
                    </a:cubicBezTo>
                    <a:cubicBezTo>
                      <a:pt x="340" y="60"/>
                      <a:pt x="340" y="59"/>
                      <a:pt x="338" y="59"/>
                    </a:cubicBezTo>
                    <a:cubicBezTo>
                      <a:pt x="338" y="59"/>
                      <a:pt x="337" y="60"/>
                      <a:pt x="337" y="60"/>
                    </a:cubicBezTo>
                    <a:cubicBezTo>
                      <a:pt x="336" y="60"/>
                      <a:pt x="336" y="61"/>
                      <a:pt x="336" y="61"/>
                    </a:cubicBezTo>
                    <a:cubicBezTo>
                      <a:pt x="336" y="62"/>
                      <a:pt x="336" y="62"/>
                      <a:pt x="336" y="62"/>
                    </a:cubicBezTo>
                    <a:cubicBezTo>
                      <a:pt x="337" y="63"/>
                      <a:pt x="338" y="63"/>
                      <a:pt x="339" y="63"/>
                    </a:cubicBezTo>
                    <a:cubicBezTo>
                      <a:pt x="342" y="64"/>
                      <a:pt x="344" y="64"/>
                      <a:pt x="346" y="65"/>
                    </a:cubicBezTo>
                    <a:cubicBezTo>
                      <a:pt x="347" y="66"/>
                      <a:pt x="348" y="67"/>
                      <a:pt x="349" y="68"/>
                    </a:cubicBezTo>
                    <a:cubicBezTo>
                      <a:pt x="349" y="69"/>
                      <a:pt x="350" y="70"/>
                      <a:pt x="350" y="71"/>
                    </a:cubicBezTo>
                    <a:cubicBezTo>
                      <a:pt x="350" y="73"/>
                      <a:pt x="349" y="74"/>
                      <a:pt x="348" y="75"/>
                    </a:cubicBezTo>
                    <a:cubicBezTo>
                      <a:pt x="347" y="77"/>
                      <a:pt x="346" y="78"/>
                      <a:pt x="345" y="78"/>
                    </a:cubicBezTo>
                    <a:cubicBezTo>
                      <a:pt x="343" y="79"/>
                      <a:pt x="341" y="79"/>
                      <a:pt x="339" y="79"/>
                    </a:cubicBezTo>
                    <a:cubicBezTo>
                      <a:pt x="335" y="79"/>
                      <a:pt x="333" y="78"/>
                      <a:pt x="331" y="77"/>
                    </a:cubicBezTo>
                    <a:cubicBezTo>
                      <a:pt x="330" y="75"/>
                      <a:pt x="329" y="73"/>
                      <a:pt x="328" y="71"/>
                    </a:cubicBezTo>
                    <a:cubicBezTo>
                      <a:pt x="335" y="71"/>
                      <a:pt x="335" y="71"/>
                      <a:pt x="335" y="71"/>
                    </a:cubicBezTo>
                    <a:cubicBezTo>
                      <a:pt x="335" y="72"/>
                      <a:pt x="336" y="73"/>
                      <a:pt x="336" y="73"/>
                    </a:cubicBezTo>
                    <a:cubicBezTo>
                      <a:pt x="337" y="74"/>
                      <a:pt x="338" y="75"/>
                      <a:pt x="339" y="75"/>
                    </a:cubicBezTo>
                    <a:cubicBezTo>
                      <a:pt x="340" y="75"/>
                      <a:pt x="341" y="74"/>
                      <a:pt x="342" y="74"/>
                    </a:cubicBezTo>
                    <a:cubicBezTo>
                      <a:pt x="342" y="73"/>
                      <a:pt x="343" y="73"/>
                      <a:pt x="343" y="72"/>
                    </a:cubicBezTo>
                    <a:cubicBezTo>
                      <a:pt x="343" y="72"/>
                      <a:pt x="342" y="71"/>
                      <a:pt x="342" y="71"/>
                    </a:cubicBezTo>
                    <a:close/>
                    <a:moveTo>
                      <a:pt x="64" y="131"/>
                    </a:moveTo>
                    <a:cubicBezTo>
                      <a:pt x="58" y="131"/>
                      <a:pt x="58" y="131"/>
                      <a:pt x="58" y="131"/>
                    </a:cubicBezTo>
                    <a:cubicBezTo>
                      <a:pt x="58" y="121"/>
                      <a:pt x="58" y="121"/>
                      <a:pt x="58" y="121"/>
                    </a:cubicBezTo>
                    <a:cubicBezTo>
                      <a:pt x="64" y="121"/>
                      <a:pt x="64" y="121"/>
                      <a:pt x="64" y="121"/>
                    </a:cubicBezTo>
                    <a:lnTo>
                      <a:pt x="64" y="131"/>
                    </a:lnTo>
                    <a:close/>
                    <a:moveTo>
                      <a:pt x="57" y="106"/>
                    </a:moveTo>
                    <a:cubicBezTo>
                      <a:pt x="27" y="64"/>
                      <a:pt x="27" y="64"/>
                      <a:pt x="27" y="64"/>
                    </a:cubicBezTo>
                    <a:cubicBezTo>
                      <a:pt x="36" y="64"/>
                      <a:pt x="36" y="64"/>
                      <a:pt x="36" y="64"/>
                    </a:cubicBezTo>
                    <a:cubicBezTo>
                      <a:pt x="64" y="106"/>
                      <a:pt x="64" y="106"/>
                      <a:pt x="64" y="106"/>
                    </a:cubicBezTo>
                    <a:lnTo>
                      <a:pt x="57" y="106"/>
                    </a:lnTo>
                    <a:close/>
                    <a:moveTo>
                      <a:pt x="81" y="131"/>
                    </a:moveTo>
                    <a:cubicBezTo>
                      <a:pt x="68" y="131"/>
                      <a:pt x="68" y="131"/>
                      <a:pt x="68" y="131"/>
                    </a:cubicBezTo>
                    <a:cubicBezTo>
                      <a:pt x="68" y="121"/>
                      <a:pt x="68" y="121"/>
                      <a:pt x="68" y="121"/>
                    </a:cubicBezTo>
                    <a:cubicBezTo>
                      <a:pt x="81" y="121"/>
                      <a:pt x="81" y="121"/>
                      <a:pt x="81" y="121"/>
                    </a:cubicBezTo>
                    <a:lnTo>
                      <a:pt x="81" y="131"/>
                    </a:lnTo>
                    <a:close/>
                    <a:moveTo>
                      <a:pt x="68" y="106"/>
                    </a:moveTo>
                    <a:cubicBezTo>
                      <a:pt x="40" y="64"/>
                      <a:pt x="40" y="64"/>
                      <a:pt x="40" y="64"/>
                    </a:cubicBezTo>
                    <a:cubicBezTo>
                      <a:pt x="56" y="64"/>
                      <a:pt x="56" y="64"/>
                      <a:pt x="56" y="64"/>
                    </a:cubicBezTo>
                    <a:cubicBezTo>
                      <a:pt x="82" y="106"/>
                      <a:pt x="82" y="106"/>
                      <a:pt x="82" y="106"/>
                    </a:cubicBezTo>
                    <a:lnTo>
                      <a:pt x="68" y="106"/>
                    </a:lnTo>
                    <a:close/>
                    <a:moveTo>
                      <a:pt x="105" y="131"/>
                    </a:moveTo>
                    <a:cubicBezTo>
                      <a:pt x="85" y="131"/>
                      <a:pt x="85" y="131"/>
                      <a:pt x="85" y="131"/>
                    </a:cubicBezTo>
                    <a:cubicBezTo>
                      <a:pt x="85" y="121"/>
                      <a:pt x="85" y="121"/>
                      <a:pt x="85" y="121"/>
                    </a:cubicBezTo>
                    <a:cubicBezTo>
                      <a:pt x="105" y="121"/>
                      <a:pt x="105" y="121"/>
                      <a:pt x="105" y="121"/>
                    </a:cubicBezTo>
                    <a:lnTo>
                      <a:pt x="105" y="131"/>
                    </a:lnTo>
                    <a:close/>
                    <a:moveTo>
                      <a:pt x="85" y="106"/>
                    </a:moveTo>
                    <a:cubicBezTo>
                      <a:pt x="60" y="64"/>
                      <a:pt x="60" y="64"/>
                      <a:pt x="60" y="64"/>
                    </a:cubicBezTo>
                    <a:cubicBezTo>
                      <a:pt x="83" y="64"/>
                      <a:pt x="83" y="64"/>
                      <a:pt x="83" y="64"/>
                    </a:cubicBezTo>
                    <a:cubicBezTo>
                      <a:pt x="106" y="106"/>
                      <a:pt x="106" y="106"/>
                      <a:pt x="106" y="106"/>
                    </a:cubicBezTo>
                    <a:lnTo>
                      <a:pt x="85" y="106"/>
                    </a:lnTo>
                    <a:close/>
                    <a:moveTo>
                      <a:pt x="135" y="131"/>
                    </a:moveTo>
                    <a:cubicBezTo>
                      <a:pt x="110" y="131"/>
                      <a:pt x="110" y="131"/>
                      <a:pt x="110" y="131"/>
                    </a:cubicBezTo>
                    <a:cubicBezTo>
                      <a:pt x="110" y="121"/>
                      <a:pt x="110" y="121"/>
                      <a:pt x="110" y="121"/>
                    </a:cubicBezTo>
                    <a:cubicBezTo>
                      <a:pt x="135" y="121"/>
                      <a:pt x="135" y="121"/>
                      <a:pt x="135" y="121"/>
                    </a:cubicBezTo>
                    <a:lnTo>
                      <a:pt x="135" y="131"/>
                    </a:lnTo>
                    <a:close/>
                    <a:moveTo>
                      <a:pt x="110" y="106"/>
                    </a:moveTo>
                    <a:cubicBezTo>
                      <a:pt x="87" y="64"/>
                      <a:pt x="87" y="64"/>
                      <a:pt x="87" y="64"/>
                    </a:cubicBezTo>
                    <a:cubicBezTo>
                      <a:pt x="116" y="64"/>
                      <a:pt x="116" y="64"/>
                      <a:pt x="116" y="64"/>
                    </a:cubicBezTo>
                    <a:cubicBezTo>
                      <a:pt x="136" y="106"/>
                      <a:pt x="136" y="106"/>
                      <a:pt x="136" y="106"/>
                    </a:cubicBezTo>
                    <a:lnTo>
                      <a:pt x="110" y="106"/>
                    </a:lnTo>
                    <a:close/>
                    <a:moveTo>
                      <a:pt x="170" y="131"/>
                    </a:moveTo>
                    <a:cubicBezTo>
                      <a:pt x="139" y="131"/>
                      <a:pt x="139" y="131"/>
                      <a:pt x="139" y="131"/>
                    </a:cubicBezTo>
                    <a:cubicBezTo>
                      <a:pt x="139" y="121"/>
                      <a:pt x="139" y="121"/>
                      <a:pt x="139" y="121"/>
                    </a:cubicBezTo>
                    <a:cubicBezTo>
                      <a:pt x="170" y="121"/>
                      <a:pt x="170" y="121"/>
                      <a:pt x="170" y="121"/>
                    </a:cubicBezTo>
                    <a:lnTo>
                      <a:pt x="170" y="131"/>
                    </a:lnTo>
                    <a:close/>
                    <a:moveTo>
                      <a:pt x="139" y="106"/>
                    </a:moveTo>
                    <a:cubicBezTo>
                      <a:pt x="120" y="64"/>
                      <a:pt x="120" y="64"/>
                      <a:pt x="120" y="64"/>
                    </a:cubicBezTo>
                    <a:cubicBezTo>
                      <a:pt x="155" y="64"/>
                      <a:pt x="155" y="64"/>
                      <a:pt x="155" y="64"/>
                    </a:cubicBezTo>
                    <a:cubicBezTo>
                      <a:pt x="170" y="106"/>
                      <a:pt x="170" y="106"/>
                      <a:pt x="170" y="106"/>
                    </a:cubicBezTo>
                    <a:lnTo>
                      <a:pt x="139" y="106"/>
                    </a:lnTo>
                    <a:close/>
                    <a:moveTo>
                      <a:pt x="208" y="131"/>
                    </a:moveTo>
                    <a:cubicBezTo>
                      <a:pt x="174" y="131"/>
                      <a:pt x="174" y="131"/>
                      <a:pt x="174" y="131"/>
                    </a:cubicBezTo>
                    <a:cubicBezTo>
                      <a:pt x="174" y="121"/>
                      <a:pt x="174" y="121"/>
                      <a:pt x="174" y="121"/>
                    </a:cubicBezTo>
                    <a:cubicBezTo>
                      <a:pt x="208" y="121"/>
                      <a:pt x="208" y="121"/>
                      <a:pt x="208" y="121"/>
                    </a:cubicBezTo>
                    <a:lnTo>
                      <a:pt x="208" y="131"/>
                    </a:lnTo>
                    <a:close/>
                    <a:moveTo>
                      <a:pt x="174" y="106"/>
                    </a:moveTo>
                    <a:cubicBezTo>
                      <a:pt x="159" y="64"/>
                      <a:pt x="159" y="64"/>
                      <a:pt x="159" y="64"/>
                    </a:cubicBezTo>
                    <a:cubicBezTo>
                      <a:pt x="198" y="64"/>
                      <a:pt x="198" y="64"/>
                      <a:pt x="198" y="64"/>
                    </a:cubicBezTo>
                    <a:cubicBezTo>
                      <a:pt x="209" y="106"/>
                      <a:pt x="209" y="106"/>
                      <a:pt x="209" y="106"/>
                    </a:cubicBezTo>
                    <a:lnTo>
                      <a:pt x="174" y="106"/>
                    </a:lnTo>
                    <a:close/>
                    <a:moveTo>
                      <a:pt x="250" y="131"/>
                    </a:moveTo>
                    <a:cubicBezTo>
                      <a:pt x="213" y="131"/>
                      <a:pt x="213" y="131"/>
                      <a:pt x="213" y="131"/>
                    </a:cubicBezTo>
                    <a:cubicBezTo>
                      <a:pt x="213" y="121"/>
                      <a:pt x="213" y="121"/>
                      <a:pt x="213" y="121"/>
                    </a:cubicBezTo>
                    <a:cubicBezTo>
                      <a:pt x="250" y="121"/>
                      <a:pt x="250" y="121"/>
                      <a:pt x="250" y="121"/>
                    </a:cubicBezTo>
                    <a:lnTo>
                      <a:pt x="250" y="131"/>
                    </a:lnTo>
                    <a:close/>
                    <a:moveTo>
                      <a:pt x="213" y="106"/>
                    </a:moveTo>
                    <a:cubicBezTo>
                      <a:pt x="202" y="64"/>
                      <a:pt x="202" y="64"/>
                      <a:pt x="202" y="64"/>
                    </a:cubicBezTo>
                    <a:cubicBezTo>
                      <a:pt x="244" y="64"/>
                      <a:pt x="244" y="64"/>
                      <a:pt x="244" y="64"/>
                    </a:cubicBezTo>
                    <a:cubicBezTo>
                      <a:pt x="250" y="106"/>
                      <a:pt x="250" y="106"/>
                      <a:pt x="250" y="106"/>
                    </a:cubicBezTo>
                    <a:lnTo>
                      <a:pt x="213" y="106"/>
                    </a:lnTo>
                    <a:close/>
                    <a:moveTo>
                      <a:pt x="287" y="131"/>
                    </a:moveTo>
                    <a:cubicBezTo>
                      <a:pt x="254" y="131"/>
                      <a:pt x="254" y="131"/>
                      <a:pt x="254" y="131"/>
                    </a:cubicBezTo>
                    <a:cubicBezTo>
                      <a:pt x="254" y="121"/>
                      <a:pt x="254" y="121"/>
                      <a:pt x="254" y="121"/>
                    </a:cubicBezTo>
                    <a:cubicBezTo>
                      <a:pt x="287" y="121"/>
                      <a:pt x="287" y="121"/>
                      <a:pt x="287" y="121"/>
                    </a:cubicBezTo>
                    <a:lnTo>
                      <a:pt x="287" y="131"/>
                    </a:lnTo>
                    <a:close/>
                    <a:moveTo>
                      <a:pt x="287" y="106"/>
                    </a:moveTo>
                    <a:cubicBezTo>
                      <a:pt x="254" y="106"/>
                      <a:pt x="254" y="106"/>
                      <a:pt x="254" y="106"/>
                    </a:cubicBezTo>
                    <a:cubicBezTo>
                      <a:pt x="248" y="64"/>
                      <a:pt x="248" y="64"/>
                      <a:pt x="248" y="64"/>
                    </a:cubicBezTo>
                    <a:cubicBezTo>
                      <a:pt x="287" y="64"/>
                      <a:pt x="287" y="64"/>
                      <a:pt x="287" y="64"/>
                    </a:cubicBezTo>
                    <a:lnTo>
                      <a:pt x="287" y="106"/>
                    </a:lnTo>
                    <a:close/>
                    <a:moveTo>
                      <a:pt x="334" y="131"/>
                    </a:moveTo>
                    <a:cubicBezTo>
                      <a:pt x="301" y="131"/>
                      <a:pt x="301" y="131"/>
                      <a:pt x="301" y="131"/>
                    </a:cubicBezTo>
                    <a:cubicBezTo>
                      <a:pt x="301" y="121"/>
                      <a:pt x="301" y="121"/>
                      <a:pt x="301" y="121"/>
                    </a:cubicBezTo>
                    <a:cubicBezTo>
                      <a:pt x="334" y="121"/>
                      <a:pt x="334" y="121"/>
                      <a:pt x="334" y="121"/>
                    </a:cubicBezTo>
                    <a:lnTo>
                      <a:pt x="334" y="131"/>
                    </a:lnTo>
                    <a:close/>
                    <a:moveTo>
                      <a:pt x="376" y="131"/>
                    </a:moveTo>
                    <a:cubicBezTo>
                      <a:pt x="338" y="131"/>
                      <a:pt x="338" y="131"/>
                      <a:pt x="338" y="131"/>
                    </a:cubicBezTo>
                    <a:cubicBezTo>
                      <a:pt x="338" y="121"/>
                      <a:pt x="338" y="121"/>
                      <a:pt x="338" y="121"/>
                    </a:cubicBezTo>
                    <a:cubicBezTo>
                      <a:pt x="376" y="121"/>
                      <a:pt x="376" y="121"/>
                      <a:pt x="376" y="121"/>
                    </a:cubicBezTo>
                    <a:lnTo>
                      <a:pt x="376" y="131"/>
                    </a:lnTo>
                    <a:close/>
                    <a:moveTo>
                      <a:pt x="417" y="131"/>
                    </a:moveTo>
                    <a:cubicBezTo>
                      <a:pt x="380" y="131"/>
                      <a:pt x="380" y="131"/>
                      <a:pt x="380" y="131"/>
                    </a:cubicBezTo>
                    <a:cubicBezTo>
                      <a:pt x="380" y="121"/>
                      <a:pt x="380" y="121"/>
                      <a:pt x="380" y="121"/>
                    </a:cubicBezTo>
                    <a:cubicBezTo>
                      <a:pt x="417" y="121"/>
                      <a:pt x="417" y="121"/>
                      <a:pt x="417" y="121"/>
                    </a:cubicBezTo>
                    <a:lnTo>
                      <a:pt x="417" y="131"/>
                    </a:lnTo>
                    <a:close/>
                    <a:moveTo>
                      <a:pt x="459" y="131"/>
                    </a:moveTo>
                    <a:cubicBezTo>
                      <a:pt x="422" y="131"/>
                      <a:pt x="422" y="131"/>
                      <a:pt x="422" y="131"/>
                    </a:cubicBezTo>
                    <a:cubicBezTo>
                      <a:pt x="422" y="121"/>
                      <a:pt x="422" y="121"/>
                      <a:pt x="422" y="121"/>
                    </a:cubicBezTo>
                    <a:cubicBezTo>
                      <a:pt x="459" y="121"/>
                      <a:pt x="459" y="121"/>
                      <a:pt x="459" y="121"/>
                    </a:cubicBezTo>
                    <a:lnTo>
                      <a:pt x="459" y="131"/>
                    </a:lnTo>
                    <a:close/>
                    <a:moveTo>
                      <a:pt x="501" y="131"/>
                    </a:moveTo>
                    <a:cubicBezTo>
                      <a:pt x="463" y="131"/>
                      <a:pt x="463" y="131"/>
                      <a:pt x="463" y="131"/>
                    </a:cubicBezTo>
                    <a:cubicBezTo>
                      <a:pt x="463" y="121"/>
                      <a:pt x="463" y="121"/>
                      <a:pt x="463" y="121"/>
                    </a:cubicBezTo>
                    <a:cubicBezTo>
                      <a:pt x="501" y="121"/>
                      <a:pt x="501" y="121"/>
                      <a:pt x="501" y="121"/>
                    </a:cubicBezTo>
                    <a:lnTo>
                      <a:pt x="501" y="131"/>
                    </a:lnTo>
                    <a:close/>
                    <a:moveTo>
                      <a:pt x="538" y="131"/>
                    </a:moveTo>
                    <a:cubicBezTo>
                      <a:pt x="505" y="131"/>
                      <a:pt x="505" y="131"/>
                      <a:pt x="505" y="131"/>
                    </a:cubicBezTo>
                    <a:cubicBezTo>
                      <a:pt x="505" y="121"/>
                      <a:pt x="505" y="121"/>
                      <a:pt x="505" y="121"/>
                    </a:cubicBezTo>
                    <a:cubicBezTo>
                      <a:pt x="538" y="121"/>
                      <a:pt x="538" y="121"/>
                      <a:pt x="538" y="121"/>
                    </a:cubicBezTo>
                    <a:lnTo>
                      <a:pt x="538" y="131"/>
                    </a:lnTo>
                    <a:close/>
                    <a:moveTo>
                      <a:pt x="546" y="89"/>
                    </a:moveTo>
                    <a:cubicBezTo>
                      <a:pt x="538" y="89"/>
                      <a:pt x="538" y="89"/>
                      <a:pt x="538" y="89"/>
                    </a:cubicBezTo>
                    <a:cubicBezTo>
                      <a:pt x="538" y="106"/>
                      <a:pt x="538" y="106"/>
                      <a:pt x="538" y="106"/>
                    </a:cubicBezTo>
                    <a:cubicBezTo>
                      <a:pt x="505" y="106"/>
                      <a:pt x="505" y="106"/>
                      <a:pt x="505" y="106"/>
                    </a:cubicBezTo>
                    <a:cubicBezTo>
                      <a:pt x="505" y="89"/>
                      <a:pt x="505" y="89"/>
                      <a:pt x="505" y="89"/>
                    </a:cubicBezTo>
                    <a:cubicBezTo>
                      <a:pt x="501" y="89"/>
                      <a:pt x="501" y="89"/>
                      <a:pt x="501" y="89"/>
                    </a:cubicBezTo>
                    <a:cubicBezTo>
                      <a:pt x="501" y="106"/>
                      <a:pt x="501" y="106"/>
                      <a:pt x="501" y="106"/>
                    </a:cubicBezTo>
                    <a:cubicBezTo>
                      <a:pt x="463" y="106"/>
                      <a:pt x="463" y="106"/>
                      <a:pt x="463" y="106"/>
                    </a:cubicBezTo>
                    <a:cubicBezTo>
                      <a:pt x="463" y="89"/>
                      <a:pt x="463" y="89"/>
                      <a:pt x="463" y="89"/>
                    </a:cubicBezTo>
                    <a:cubicBezTo>
                      <a:pt x="459" y="89"/>
                      <a:pt x="459" y="89"/>
                      <a:pt x="459" y="89"/>
                    </a:cubicBezTo>
                    <a:cubicBezTo>
                      <a:pt x="459" y="106"/>
                      <a:pt x="459" y="106"/>
                      <a:pt x="459" y="106"/>
                    </a:cubicBezTo>
                    <a:cubicBezTo>
                      <a:pt x="422" y="106"/>
                      <a:pt x="422" y="106"/>
                      <a:pt x="422" y="106"/>
                    </a:cubicBezTo>
                    <a:cubicBezTo>
                      <a:pt x="422" y="89"/>
                      <a:pt x="422" y="89"/>
                      <a:pt x="422" y="89"/>
                    </a:cubicBezTo>
                    <a:cubicBezTo>
                      <a:pt x="417" y="89"/>
                      <a:pt x="417" y="89"/>
                      <a:pt x="417" y="89"/>
                    </a:cubicBezTo>
                    <a:cubicBezTo>
                      <a:pt x="417" y="106"/>
                      <a:pt x="417" y="106"/>
                      <a:pt x="417" y="106"/>
                    </a:cubicBezTo>
                    <a:cubicBezTo>
                      <a:pt x="380" y="106"/>
                      <a:pt x="380" y="106"/>
                      <a:pt x="380" y="106"/>
                    </a:cubicBezTo>
                    <a:cubicBezTo>
                      <a:pt x="380" y="89"/>
                      <a:pt x="380" y="89"/>
                      <a:pt x="380" y="89"/>
                    </a:cubicBezTo>
                    <a:cubicBezTo>
                      <a:pt x="376" y="89"/>
                      <a:pt x="376" y="89"/>
                      <a:pt x="376" y="89"/>
                    </a:cubicBezTo>
                    <a:cubicBezTo>
                      <a:pt x="376" y="106"/>
                      <a:pt x="376" y="106"/>
                      <a:pt x="376" y="106"/>
                    </a:cubicBezTo>
                    <a:cubicBezTo>
                      <a:pt x="338" y="106"/>
                      <a:pt x="338" y="106"/>
                      <a:pt x="338" y="106"/>
                    </a:cubicBezTo>
                    <a:cubicBezTo>
                      <a:pt x="338" y="89"/>
                      <a:pt x="338" y="89"/>
                      <a:pt x="338" y="89"/>
                    </a:cubicBezTo>
                    <a:cubicBezTo>
                      <a:pt x="334" y="89"/>
                      <a:pt x="334" y="89"/>
                      <a:pt x="334" y="89"/>
                    </a:cubicBezTo>
                    <a:cubicBezTo>
                      <a:pt x="334" y="106"/>
                      <a:pt x="334" y="106"/>
                      <a:pt x="334" y="106"/>
                    </a:cubicBezTo>
                    <a:cubicBezTo>
                      <a:pt x="301" y="106"/>
                      <a:pt x="301" y="106"/>
                      <a:pt x="301" y="106"/>
                    </a:cubicBezTo>
                    <a:cubicBezTo>
                      <a:pt x="301" y="89"/>
                      <a:pt x="301" y="89"/>
                      <a:pt x="301" y="89"/>
                    </a:cubicBezTo>
                    <a:cubicBezTo>
                      <a:pt x="294" y="89"/>
                      <a:pt x="294" y="89"/>
                      <a:pt x="294" y="89"/>
                    </a:cubicBezTo>
                    <a:cubicBezTo>
                      <a:pt x="294" y="48"/>
                      <a:pt x="294" y="48"/>
                      <a:pt x="294" y="48"/>
                    </a:cubicBezTo>
                    <a:cubicBezTo>
                      <a:pt x="298" y="48"/>
                      <a:pt x="298" y="48"/>
                      <a:pt x="298" y="48"/>
                    </a:cubicBezTo>
                    <a:cubicBezTo>
                      <a:pt x="298" y="85"/>
                      <a:pt x="298" y="85"/>
                      <a:pt x="298" y="85"/>
                    </a:cubicBezTo>
                    <a:cubicBezTo>
                      <a:pt x="541" y="85"/>
                      <a:pt x="541" y="85"/>
                      <a:pt x="541" y="85"/>
                    </a:cubicBezTo>
                    <a:cubicBezTo>
                      <a:pt x="541" y="48"/>
                      <a:pt x="541" y="48"/>
                      <a:pt x="541" y="48"/>
                    </a:cubicBezTo>
                    <a:cubicBezTo>
                      <a:pt x="546" y="48"/>
                      <a:pt x="546" y="48"/>
                      <a:pt x="546" y="48"/>
                    </a:cubicBezTo>
                    <a:lnTo>
                      <a:pt x="546" y="89"/>
                    </a:lnTo>
                    <a:close/>
                    <a:moveTo>
                      <a:pt x="585" y="131"/>
                    </a:moveTo>
                    <a:cubicBezTo>
                      <a:pt x="552" y="131"/>
                      <a:pt x="552" y="131"/>
                      <a:pt x="552" y="131"/>
                    </a:cubicBezTo>
                    <a:cubicBezTo>
                      <a:pt x="552" y="121"/>
                      <a:pt x="552" y="121"/>
                      <a:pt x="552" y="121"/>
                    </a:cubicBezTo>
                    <a:cubicBezTo>
                      <a:pt x="585" y="121"/>
                      <a:pt x="585" y="121"/>
                      <a:pt x="585" y="121"/>
                    </a:cubicBezTo>
                    <a:lnTo>
                      <a:pt x="585" y="131"/>
                    </a:lnTo>
                    <a:close/>
                    <a:moveTo>
                      <a:pt x="552" y="106"/>
                    </a:moveTo>
                    <a:cubicBezTo>
                      <a:pt x="552" y="64"/>
                      <a:pt x="552" y="64"/>
                      <a:pt x="552" y="64"/>
                    </a:cubicBezTo>
                    <a:cubicBezTo>
                      <a:pt x="591" y="64"/>
                      <a:pt x="591" y="64"/>
                      <a:pt x="591" y="64"/>
                    </a:cubicBezTo>
                    <a:cubicBezTo>
                      <a:pt x="585" y="106"/>
                      <a:pt x="585" y="106"/>
                      <a:pt x="585" y="106"/>
                    </a:cubicBezTo>
                    <a:lnTo>
                      <a:pt x="552" y="106"/>
                    </a:lnTo>
                    <a:close/>
                    <a:moveTo>
                      <a:pt x="627" y="131"/>
                    </a:moveTo>
                    <a:cubicBezTo>
                      <a:pt x="589" y="131"/>
                      <a:pt x="589" y="131"/>
                      <a:pt x="589" y="131"/>
                    </a:cubicBezTo>
                    <a:cubicBezTo>
                      <a:pt x="589" y="121"/>
                      <a:pt x="589" y="121"/>
                      <a:pt x="589" y="121"/>
                    </a:cubicBezTo>
                    <a:cubicBezTo>
                      <a:pt x="627" y="121"/>
                      <a:pt x="627" y="121"/>
                      <a:pt x="627" y="121"/>
                    </a:cubicBezTo>
                    <a:lnTo>
                      <a:pt x="627" y="131"/>
                    </a:lnTo>
                    <a:close/>
                    <a:moveTo>
                      <a:pt x="589" y="106"/>
                    </a:moveTo>
                    <a:cubicBezTo>
                      <a:pt x="595" y="64"/>
                      <a:pt x="595" y="64"/>
                      <a:pt x="595" y="64"/>
                    </a:cubicBezTo>
                    <a:cubicBezTo>
                      <a:pt x="637" y="64"/>
                      <a:pt x="637" y="64"/>
                      <a:pt x="637" y="64"/>
                    </a:cubicBezTo>
                    <a:cubicBezTo>
                      <a:pt x="627" y="106"/>
                      <a:pt x="627" y="106"/>
                      <a:pt x="627" y="106"/>
                    </a:cubicBezTo>
                    <a:lnTo>
                      <a:pt x="589" y="106"/>
                    </a:lnTo>
                    <a:close/>
                    <a:moveTo>
                      <a:pt x="665" y="131"/>
                    </a:moveTo>
                    <a:cubicBezTo>
                      <a:pt x="631" y="131"/>
                      <a:pt x="631" y="131"/>
                      <a:pt x="631" y="131"/>
                    </a:cubicBezTo>
                    <a:cubicBezTo>
                      <a:pt x="631" y="121"/>
                      <a:pt x="631" y="121"/>
                      <a:pt x="631" y="121"/>
                    </a:cubicBezTo>
                    <a:cubicBezTo>
                      <a:pt x="665" y="121"/>
                      <a:pt x="665" y="121"/>
                      <a:pt x="665" y="121"/>
                    </a:cubicBezTo>
                    <a:lnTo>
                      <a:pt x="665" y="131"/>
                    </a:lnTo>
                    <a:close/>
                    <a:moveTo>
                      <a:pt x="665" y="106"/>
                    </a:moveTo>
                    <a:cubicBezTo>
                      <a:pt x="630" y="106"/>
                      <a:pt x="630" y="106"/>
                      <a:pt x="630" y="106"/>
                    </a:cubicBezTo>
                    <a:cubicBezTo>
                      <a:pt x="641" y="64"/>
                      <a:pt x="641" y="64"/>
                      <a:pt x="641" y="64"/>
                    </a:cubicBezTo>
                    <a:cubicBezTo>
                      <a:pt x="680" y="64"/>
                      <a:pt x="680" y="64"/>
                      <a:pt x="680" y="64"/>
                    </a:cubicBezTo>
                    <a:lnTo>
                      <a:pt x="665" y="106"/>
                    </a:lnTo>
                    <a:close/>
                    <a:moveTo>
                      <a:pt x="700" y="131"/>
                    </a:moveTo>
                    <a:cubicBezTo>
                      <a:pt x="669" y="131"/>
                      <a:pt x="669" y="131"/>
                      <a:pt x="669" y="131"/>
                    </a:cubicBezTo>
                    <a:cubicBezTo>
                      <a:pt x="669" y="121"/>
                      <a:pt x="669" y="121"/>
                      <a:pt x="669" y="121"/>
                    </a:cubicBezTo>
                    <a:cubicBezTo>
                      <a:pt x="700" y="121"/>
                      <a:pt x="700" y="121"/>
                      <a:pt x="700" y="121"/>
                    </a:cubicBezTo>
                    <a:lnTo>
                      <a:pt x="700" y="131"/>
                    </a:lnTo>
                    <a:close/>
                    <a:moveTo>
                      <a:pt x="700" y="106"/>
                    </a:moveTo>
                    <a:cubicBezTo>
                      <a:pt x="669" y="106"/>
                      <a:pt x="669" y="106"/>
                      <a:pt x="669" y="106"/>
                    </a:cubicBezTo>
                    <a:cubicBezTo>
                      <a:pt x="684" y="64"/>
                      <a:pt x="684" y="64"/>
                      <a:pt x="684" y="64"/>
                    </a:cubicBezTo>
                    <a:cubicBezTo>
                      <a:pt x="719" y="64"/>
                      <a:pt x="719" y="64"/>
                      <a:pt x="719" y="64"/>
                    </a:cubicBezTo>
                    <a:lnTo>
                      <a:pt x="700" y="106"/>
                    </a:lnTo>
                    <a:close/>
                    <a:moveTo>
                      <a:pt x="730" y="131"/>
                    </a:moveTo>
                    <a:cubicBezTo>
                      <a:pt x="704" y="131"/>
                      <a:pt x="704" y="131"/>
                      <a:pt x="704" y="131"/>
                    </a:cubicBezTo>
                    <a:cubicBezTo>
                      <a:pt x="704" y="121"/>
                      <a:pt x="704" y="121"/>
                      <a:pt x="704" y="121"/>
                    </a:cubicBezTo>
                    <a:cubicBezTo>
                      <a:pt x="730" y="121"/>
                      <a:pt x="730" y="121"/>
                      <a:pt x="730" y="121"/>
                    </a:cubicBezTo>
                    <a:lnTo>
                      <a:pt x="730" y="131"/>
                    </a:lnTo>
                    <a:close/>
                    <a:moveTo>
                      <a:pt x="730" y="106"/>
                    </a:moveTo>
                    <a:cubicBezTo>
                      <a:pt x="703" y="106"/>
                      <a:pt x="703" y="106"/>
                      <a:pt x="703" y="106"/>
                    </a:cubicBezTo>
                    <a:cubicBezTo>
                      <a:pt x="723" y="64"/>
                      <a:pt x="723" y="64"/>
                      <a:pt x="723" y="64"/>
                    </a:cubicBezTo>
                    <a:cubicBezTo>
                      <a:pt x="752" y="64"/>
                      <a:pt x="752" y="64"/>
                      <a:pt x="752" y="64"/>
                    </a:cubicBezTo>
                    <a:lnTo>
                      <a:pt x="730" y="106"/>
                    </a:lnTo>
                    <a:close/>
                    <a:moveTo>
                      <a:pt x="754" y="131"/>
                    </a:moveTo>
                    <a:cubicBezTo>
                      <a:pt x="734" y="131"/>
                      <a:pt x="734" y="131"/>
                      <a:pt x="734" y="131"/>
                    </a:cubicBezTo>
                    <a:cubicBezTo>
                      <a:pt x="734" y="121"/>
                      <a:pt x="734" y="121"/>
                      <a:pt x="734" y="121"/>
                    </a:cubicBezTo>
                    <a:cubicBezTo>
                      <a:pt x="754" y="121"/>
                      <a:pt x="754" y="121"/>
                      <a:pt x="754" y="121"/>
                    </a:cubicBezTo>
                    <a:lnTo>
                      <a:pt x="754" y="131"/>
                    </a:lnTo>
                    <a:close/>
                    <a:moveTo>
                      <a:pt x="754" y="106"/>
                    </a:moveTo>
                    <a:cubicBezTo>
                      <a:pt x="733" y="106"/>
                      <a:pt x="733" y="106"/>
                      <a:pt x="733" y="106"/>
                    </a:cubicBezTo>
                    <a:cubicBezTo>
                      <a:pt x="756" y="64"/>
                      <a:pt x="756" y="64"/>
                      <a:pt x="756" y="64"/>
                    </a:cubicBezTo>
                    <a:cubicBezTo>
                      <a:pt x="779" y="64"/>
                      <a:pt x="779" y="64"/>
                      <a:pt x="779" y="64"/>
                    </a:cubicBezTo>
                    <a:lnTo>
                      <a:pt x="754" y="106"/>
                    </a:lnTo>
                    <a:close/>
                    <a:moveTo>
                      <a:pt x="771" y="131"/>
                    </a:moveTo>
                    <a:cubicBezTo>
                      <a:pt x="758" y="131"/>
                      <a:pt x="758" y="131"/>
                      <a:pt x="758" y="131"/>
                    </a:cubicBezTo>
                    <a:cubicBezTo>
                      <a:pt x="758" y="121"/>
                      <a:pt x="758" y="121"/>
                      <a:pt x="758" y="121"/>
                    </a:cubicBezTo>
                    <a:cubicBezTo>
                      <a:pt x="771" y="121"/>
                      <a:pt x="771" y="121"/>
                      <a:pt x="771" y="121"/>
                    </a:cubicBezTo>
                    <a:lnTo>
                      <a:pt x="771" y="131"/>
                    </a:lnTo>
                    <a:close/>
                    <a:moveTo>
                      <a:pt x="757" y="106"/>
                    </a:moveTo>
                    <a:cubicBezTo>
                      <a:pt x="783" y="64"/>
                      <a:pt x="783" y="64"/>
                      <a:pt x="783" y="64"/>
                    </a:cubicBezTo>
                    <a:cubicBezTo>
                      <a:pt x="799" y="64"/>
                      <a:pt x="799" y="64"/>
                      <a:pt x="799" y="64"/>
                    </a:cubicBezTo>
                    <a:cubicBezTo>
                      <a:pt x="771" y="106"/>
                      <a:pt x="771" y="106"/>
                      <a:pt x="771" y="106"/>
                    </a:cubicBezTo>
                    <a:lnTo>
                      <a:pt x="757" y="106"/>
                    </a:lnTo>
                    <a:close/>
                    <a:moveTo>
                      <a:pt x="781" y="131"/>
                    </a:moveTo>
                    <a:cubicBezTo>
                      <a:pt x="776" y="131"/>
                      <a:pt x="776" y="131"/>
                      <a:pt x="776" y="131"/>
                    </a:cubicBezTo>
                    <a:cubicBezTo>
                      <a:pt x="776" y="121"/>
                      <a:pt x="776" y="121"/>
                      <a:pt x="776" y="121"/>
                    </a:cubicBezTo>
                    <a:cubicBezTo>
                      <a:pt x="781" y="121"/>
                      <a:pt x="781" y="121"/>
                      <a:pt x="781" y="121"/>
                    </a:cubicBezTo>
                    <a:lnTo>
                      <a:pt x="781" y="131"/>
                    </a:lnTo>
                    <a:close/>
                    <a:moveTo>
                      <a:pt x="783" y="106"/>
                    </a:moveTo>
                    <a:cubicBezTo>
                      <a:pt x="775" y="106"/>
                      <a:pt x="775" y="106"/>
                      <a:pt x="775" y="106"/>
                    </a:cubicBezTo>
                    <a:cubicBezTo>
                      <a:pt x="803" y="64"/>
                      <a:pt x="803" y="64"/>
                      <a:pt x="803" y="64"/>
                    </a:cubicBezTo>
                    <a:cubicBezTo>
                      <a:pt x="812" y="64"/>
                      <a:pt x="812" y="64"/>
                      <a:pt x="812" y="64"/>
                    </a:cubicBezTo>
                    <a:lnTo>
                      <a:pt x="783" y="106"/>
                    </a:lnTo>
                    <a:close/>
                    <a:moveTo>
                      <a:pt x="770" y="199"/>
                    </a:moveTo>
                    <a:cubicBezTo>
                      <a:pt x="770" y="211"/>
                      <a:pt x="770" y="211"/>
                      <a:pt x="770" y="211"/>
                    </a:cubicBezTo>
                    <a:cubicBezTo>
                      <a:pt x="735" y="211"/>
                      <a:pt x="735" y="211"/>
                      <a:pt x="735" y="211"/>
                    </a:cubicBezTo>
                    <a:cubicBezTo>
                      <a:pt x="735" y="200"/>
                      <a:pt x="735" y="200"/>
                      <a:pt x="735" y="200"/>
                    </a:cubicBezTo>
                    <a:cubicBezTo>
                      <a:pt x="733" y="200"/>
                      <a:pt x="731" y="200"/>
                      <a:pt x="730" y="199"/>
                    </a:cubicBezTo>
                    <a:cubicBezTo>
                      <a:pt x="730" y="199"/>
                      <a:pt x="729" y="199"/>
                      <a:pt x="729" y="199"/>
                    </a:cubicBezTo>
                    <a:cubicBezTo>
                      <a:pt x="729" y="202"/>
                      <a:pt x="729" y="207"/>
                      <a:pt x="730" y="213"/>
                    </a:cubicBezTo>
                    <a:cubicBezTo>
                      <a:pt x="730" y="214"/>
                      <a:pt x="731" y="214"/>
                      <a:pt x="731" y="215"/>
                    </a:cubicBezTo>
                    <a:cubicBezTo>
                      <a:pt x="731" y="215"/>
                      <a:pt x="731" y="215"/>
                      <a:pt x="731" y="215"/>
                    </a:cubicBezTo>
                    <a:cubicBezTo>
                      <a:pt x="774" y="215"/>
                      <a:pt x="774" y="215"/>
                      <a:pt x="774" y="215"/>
                    </a:cubicBezTo>
                    <a:cubicBezTo>
                      <a:pt x="773" y="215"/>
                      <a:pt x="773" y="214"/>
                      <a:pt x="774" y="214"/>
                    </a:cubicBezTo>
                    <a:cubicBezTo>
                      <a:pt x="775" y="209"/>
                      <a:pt x="775" y="206"/>
                      <a:pt x="775" y="203"/>
                    </a:cubicBezTo>
                    <a:cubicBezTo>
                      <a:pt x="774" y="199"/>
                      <a:pt x="774" y="199"/>
                      <a:pt x="774" y="199"/>
                    </a:cubicBezTo>
                    <a:cubicBezTo>
                      <a:pt x="773" y="199"/>
                      <a:pt x="772" y="199"/>
                      <a:pt x="770" y="199"/>
                    </a:cubicBezTo>
                    <a:close/>
                    <a:moveTo>
                      <a:pt x="753" y="175"/>
                    </a:moveTo>
                    <a:cubicBezTo>
                      <a:pt x="753" y="176"/>
                      <a:pt x="752" y="176"/>
                      <a:pt x="752" y="177"/>
                    </a:cubicBezTo>
                    <a:cubicBezTo>
                      <a:pt x="752" y="178"/>
                      <a:pt x="751" y="179"/>
                      <a:pt x="750" y="180"/>
                    </a:cubicBezTo>
                    <a:cubicBezTo>
                      <a:pt x="750" y="181"/>
                      <a:pt x="750" y="181"/>
                      <a:pt x="750" y="182"/>
                    </a:cubicBezTo>
                    <a:cubicBezTo>
                      <a:pt x="756" y="182"/>
                      <a:pt x="756" y="182"/>
                      <a:pt x="756" y="182"/>
                    </a:cubicBezTo>
                    <a:cubicBezTo>
                      <a:pt x="756" y="181"/>
                      <a:pt x="756" y="181"/>
                      <a:pt x="756" y="181"/>
                    </a:cubicBezTo>
                    <a:cubicBezTo>
                      <a:pt x="755" y="180"/>
                      <a:pt x="755" y="179"/>
                      <a:pt x="755" y="178"/>
                    </a:cubicBezTo>
                    <a:cubicBezTo>
                      <a:pt x="754" y="177"/>
                      <a:pt x="753" y="176"/>
                      <a:pt x="753" y="175"/>
                    </a:cubicBezTo>
                    <a:close/>
                    <a:moveTo>
                      <a:pt x="757" y="162"/>
                    </a:moveTo>
                    <a:cubicBezTo>
                      <a:pt x="748" y="162"/>
                      <a:pt x="748" y="162"/>
                      <a:pt x="748" y="162"/>
                    </a:cubicBezTo>
                    <a:cubicBezTo>
                      <a:pt x="748" y="164"/>
                      <a:pt x="749" y="165"/>
                      <a:pt x="749" y="166"/>
                    </a:cubicBezTo>
                    <a:cubicBezTo>
                      <a:pt x="750" y="167"/>
                      <a:pt x="751" y="168"/>
                      <a:pt x="752" y="169"/>
                    </a:cubicBezTo>
                    <a:cubicBezTo>
                      <a:pt x="752" y="167"/>
                      <a:pt x="754" y="164"/>
                      <a:pt x="757" y="163"/>
                    </a:cubicBezTo>
                    <a:cubicBezTo>
                      <a:pt x="757" y="163"/>
                      <a:pt x="757" y="163"/>
                      <a:pt x="757" y="162"/>
                    </a:cubicBezTo>
                    <a:close/>
                    <a:moveTo>
                      <a:pt x="808" y="163"/>
                    </a:moveTo>
                    <a:cubicBezTo>
                      <a:pt x="808" y="162"/>
                      <a:pt x="808" y="162"/>
                      <a:pt x="808" y="162"/>
                    </a:cubicBezTo>
                    <a:cubicBezTo>
                      <a:pt x="808" y="162"/>
                      <a:pt x="808" y="162"/>
                      <a:pt x="808" y="162"/>
                    </a:cubicBezTo>
                    <a:cubicBezTo>
                      <a:pt x="808" y="163"/>
                      <a:pt x="808" y="163"/>
                      <a:pt x="808" y="163"/>
                    </a:cubicBezTo>
                    <a:close/>
                    <a:moveTo>
                      <a:pt x="790" y="209"/>
                    </a:moveTo>
                    <a:cubicBezTo>
                      <a:pt x="790" y="199"/>
                      <a:pt x="790" y="199"/>
                      <a:pt x="790" y="199"/>
                    </a:cubicBezTo>
                    <a:cubicBezTo>
                      <a:pt x="790" y="199"/>
                      <a:pt x="789" y="199"/>
                      <a:pt x="789" y="199"/>
                    </a:cubicBezTo>
                    <a:cubicBezTo>
                      <a:pt x="789" y="201"/>
                      <a:pt x="789" y="204"/>
                      <a:pt x="790" y="209"/>
                    </a:cubicBezTo>
                    <a:close/>
                    <a:moveTo>
                      <a:pt x="692" y="175"/>
                    </a:moveTo>
                    <a:cubicBezTo>
                      <a:pt x="692" y="176"/>
                      <a:pt x="692" y="176"/>
                      <a:pt x="692" y="177"/>
                    </a:cubicBezTo>
                    <a:cubicBezTo>
                      <a:pt x="691" y="178"/>
                      <a:pt x="691" y="179"/>
                      <a:pt x="690" y="180"/>
                    </a:cubicBezTo>
                    <a:cubicBezTo>
                      <a:pt x="690" y="181"/>
                      <a:pt x="690" y="181"/>
                      <a:pt x="690" y="182"/>
                    </a:cubicBezTo>
                    <a:cubicBezTo>
                      <a:pt x="696" y="182"/>
                      <a:pt x="696" y="182"/>
                      <a:pt x="696" y="182"/>
                    </a:cubicBezTo>
                    <a:cubicBezTo>
                      <a:pt x="696" y="181"/>
                      <a:pt x="696" y="181"/>
                      <a:pt x="696" y="181"/>
                    </a:cubicBezTo>
                    <a:cubicBezTo>
                      <a:pt x="695" y="180"/>
                      <a:pt x="695" y="179"/>
                      <a:pt x="695" y="178"/>
                    </a:cubicBezTo>
                    <a:cubicBezTo>
                      <a:pt x="694" y="177"/>
                      <a:pt x="693" y="176"/>
                      <a:pt x="692" y="175"/>
                    </a:cubicBezTo>
                    <a:close/>
                    <a:moveTo>
                      <a:pt x="210" y="180"/>
                    </a:moveTo>
                    <a:cubicBezTo>
                      <a:pt x="210" y="181"/>
                      <a:pt x="210" y="181"/>
                      <a:pt x="210" y="182"/>
                    </a:cubicBezTo>
                    <a:cubicBezTo>
                      <a:pt x="249" y="182"/>
                      <a:pt x="249" y="182"/>
                      <a:pt x="249" y="182"/>
                    </a:cubicBezTo>
                    <a:cubicBezTo>
                      <a:pt x="284" y="162"/>
                      <a:pt x="284" y="162"/>
                      <a:pt x="284" y="162"/>
                    </a:cubicBezTo>
                    <a:cubicBezTo>
                      <a:pt x="208" y="162"/>
                      <a:pt x="208" y="162"/>
                      <a:pt x="208" y="162"/>
                    </a:cubicBezTo>
                    <a:cubicBezTo>
                      <a:pt x="209" y="164"/>
                      <a:pt x="209" y="165"/>
                      <a:pt x="209" y="166"/>
                    </a:cubicBezTo>
                    <a:cubicBezTo>
                      <a:pt x="213" y="169"/>
                      <a:pt x="214" y="173"/>
                      <a:pt x="213" y="177"/>
                    </a:cubicBezTo>
                    <a:cubicBezTo>
                      <a:pt x="212" y="178"/>
                      <a:pt x="211" y="179"/>
                      <a:pt x="210" y="180"/>
                    </a:cubicBezTo>
                    <a:close/>
                    <a:moveTo>
                      <a:pt x="425" y="71"/>
                    </a:moveTo>
                    <a:cubicBezTo>
                      <a:pt x="426" y="70"/>
                      <a:pt x="426" y="69"/>
                      <a:pt x="426" y="67"/>
                    </a:cubicBezTo>
                    <a:cubicBezTo>
                      <a:pt x="426" y="65"/>
                      <a:pt x="426" y="63"/>
                      <a:pt x="425" y="62"/>
                    </a:cubicBezTo>
                    <a:cubicBezTo>
                      <a:pt x="424" y="61"/>
                      <a:pt x="423" y="61"/>
                      <a:pt x="421" y="61"/>
                    </a:cubicBezTo>
                    <a:cubicBezTo>
                      <a:pt x="419" y="61"/>
                      <a:pt x="419" y="61"/>
                      <a:pt x="419" y="61"/>
                    </a:cubicBezTo>
                    <a:cubicBezTo>
                      <a:pt x="419" y="73"/>
                      <a:pt x="419" y="73"/>
                      <a:pt x="419" y="73"/>
                    </a:cubicBezTo>
                    <a:cubicBezTo>
                      <a:pt x="421" y="73"/>
                      <a:pt x="421" y="73"/>
                      <a:pt x="421" y="73"/>
                    </a:cubicBezTo>
                    <a:cubicBezTo>
                      <a:pt x="422" y="73"/>
                      <a:pt x="423" y="73"/>
                      <a:pt x="424" y="73"/>
                    </a:cubicBezTo>
                    <a:cubicBezTo>
                      <a:pt x="425" y="73"/>
                      <a:pt x="425" y="72"/>
                      <a:pt x="425" y="71"/>
                    </a:cubicBezTo>
                    <a:close/>
                    <a:moveTo>
                      <a:pt x="670" y="199"/>
                    </a:moveTo>
                    <a:cubicBezTo>
                      <a:pt x="670" y="199"/>
                      <a:pt x="670" y="199"/>
                      <a:pt x="670" y="199"/>
                    </a:cubicBezTo>
                    <a:cubicBezTo>
                      <a:pt x="669" y="199"/>
                      <a:pt x="669" y="199"/>
                      <a:pt x="669" y="199"/>
                    </a:cubicBezTo>
                    <a:cubicBezTo>
                      <a:pt x="669" y="202"/>
                      <a:pt x="669" y="207"/>
                      <a:pt x="670" y="213"/>
                    </a:cubicBezTo>
                    <a:cubicBezTo>
                      <a:pt x="670" y="214"/>
                      <a:pt x="670" y="214"/>
                      <a:pt x="670" y="215"/>
                    </a:cubicBezTo>
                    <a:cubicBezTo>
                      <a:pt x="670" y="215"/>
                      <a:pt x="670" y="215"/>
                      <a:pt x="670" y="215"/>
                    </a:cubicBezTo>
                    <a:cubicBezTo>
                      <a:pt x="713" y="215"/>
                      <a:pt x="713" y="215"/>
                      <a:pt x="713" y="215"/>
                    </a:cubicBezTo>
                    <a:cubicBezTo>
                      <a:pt x="713" y="215"/>
                      <a:pt x="713" y="214"/>
                      <a:pt x="713" y="214"/>
                    </a:cubicBezTo>
                    <a:cubicBezTo>
                      <a:pt x="714" y="213"/>
                      <a:pt x="714" y="212"/>
                      <a:pt x="714" y="211"/>
                    </a:cubicBezTo>
                    <a:cubicBezTo>
                      <a:pt x="670" y="211"/>
                      <a:pt x="670" y="211"/>
                      <a:pt x="670" y="211"/>
                    </a:cubicBezTo>
                    <a:lnTo>
                      <a:pt x="670" y="199"/>
                    </a:lnTo>
                    <a:close/>
                    <a:moveTo>
                      <a:pt x="697" y="162"/>
                    </a:moveTo>
                    <a:cubicBezTo>
                      <a:pt x="687" y="162"/>
                      <a:pt x="687" y="162"/>
                      <a:pt x="687" y="162"/>
                    </a:cubicBezTo>
                    <a:cubicBezTo>
                      <a:pt x="688" y="164"/>
                      <a:pt x="689" y="165"/>
                      <a:pt x="689" y="166"/>
                    </a:cubicBezTo>
                    <a:cubicBezTo>
                      <a:pt x="690" y="167"/>
                      <a:pt x="691" y="168"/>
                      <a:pt x="691" y="169"/>
                    </a:cubicBezTo>
                    <a:cubicBezTo>
                      <a:pt x="692" y="167"/>
                      <a:pt x="694" y="164"/>
                      <a:pt x="697" y="163"/>
                    </a:cubicBezTo>
                    <a:cubicBezTo>
                      <a:pt x="697" y="163"/>
                      <a:pt x="697" y="163"/>
                      <a:pt x="697" y="162"/>
                    </a:cubicBezTo>
                    <a:close/>
                    <a:moveTo>
                      <a:pt x="637" y="163"/>
                    </a:moveTo>
                    <a:cubicBezTo>
                      <a:pt x="637" y="163"/>
                      <a:pt x="636" y="163"/>
                      <a:pt x="636" y="162"/>
                    </a:cubicBezTo>
                    <a:cubicBezTo>
                      <a:pt x="555" y="162"/>
                      <a:pt x="555" y="162"/>
                      <a:pt x="555" y="162"/>
                    </a:cubicBezTo>
                    <a:cubicBezTo>
                      <a:pt x="590" y="182"/>
                      <a:pt x="590" y="182"/>
                      <a:pt x="590" y="182"/>
                    </a:cubicBezTo>
                    <a:cubicBezTo>
                      <a:pt x="635" y="182"/>
                      <a:pt x="635" y="182"/>
                      <a:pt x="635" y="182"/>
                    </a:cubicBezTo>
                    <a:cubicBezTo>
                      <a:pt x="635" y="181"/>
                      <a:pt x="635" y="181"/>
                      <a:pt x="636" y="181"/>
                    </a:cubicBezTo>
                    <a:cubicBezTo>
                      <a:pt x="635" y="180"/>
                      <a:pt x="635" y="179"/>
                      <a:pt x="635" y="178"/>
                    </a:cubicBezTo>
                    <a:cubicBezTo>
                      <a:pt x="632" y="176"/>
                      <a:pt x="631" y="174"/>
                      <a:pt x="631" y="171"/>
                    </a:cubicBezTo>
                    <a:cubicBezTo>
                      <a:pt x="631" y="167"/>
                      <a:pt x="633" y="165"/>
                      <a:pt x="637" y="1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5" name="Group 55"/>
            <p:cNvGrpSpPr/>
            <p:nvPr/>
          </p:nvGrpSpPr>
          <p:grpSpPr>
            <a:xfrm>
              <a:off x="4365609" y="3467074"/>
              <a:ext cx="1135885" cy="703844"/>
              <a:chOff x="4127500" y="2292350"/>
              <a:chExt cx="889000" cy="550863"/>
            </a:xfrm>
            <a:grpFill/>
          </p:grpSpPr>
          <p:sp>
            <p:nvSpPr>
              <p:cNvPr id="88" name="Freeform 47"/>
              <p:cNvSpPr>
                <a:spLocks noEditPoints="1"/>
              </p:cNvSpPr>
              <p:nvPr/>
            </p:nvSpPr>
            <p:spPr bwMode="auto">
              <a:xfrm>
                <a:off x="4435475" y="2292350"/>
                <a:ext cx="277813" cy="223838"/>
              </a:xfrm>
              <a:custGeom>
                <a:avLst/>
                <a:gdLst/>
                <a:ahLst/>
                <a:cxnLst>
                  <a:cxn ang="0">
                    <a:pos x="18" y="9"/>
                  </a:cxn>
                  <a:cxn ang="0">
                    <a:pos x="14" y="23"/>
                  </a:cxn>
                  <a:cxn ang="0">
                    <a:pos x="18" y="37"/>
                  </a:cxn>
                  <a:cxn ang="0">
                    <a:pos x="23" y="33"/>
                  </a:cxn>
                  <a:cxn ang="0">
                    <a:pos x="19" y="23"/>
                  </a:cxn>
                  <a:cxn ang="0">
                    <a:pos x="23" y="13"/>
                  </a:cxn>
                  <a:cxn ang="0">
                    <a:pos x="18" y="9"/>
                  </a:cxn>
                  <a:cxn ang="0">
                    <a:pos x="7" y="1"/>
                  </a:cxn>
                  <a:cxn ang="0">
                    <a:pos x="0" y="23"/>
                  </a:cxn>
                  <a:cxn ang="0">
                    <a:pos x="7" y="44"/>
                  </a:cxn>
                  <a:cxn ang="0">
                    <a:pos x="11" y="41"/>
                  </a:cxn>
                  <a:cxn ang="0">
                    <a:pos x="5" y="23"/>
                  </a:cxn>
                  <a:cxn ang="0">
                    <a:pos x="11" y="5"/>
                  </a:cxn>
                  <a:cxn ang="0">
                    <a:pos x="7" y="1"/>
                  </a:cxn>
                  <a:cxn ang="0">
                    <a:pos x="50" y="13"/>
                  </a:cxn>
                  <a:cxn ang="0">
                    <a:pos x="54" y="23"/>
                  </a:cxn>
                  <a:cxn ang="0">
                    <a:pos x="50" y="33"/>
                  </a:cxn>
                  <a:cxn ang="0">
                    <a:pos x="55" y="37"/>
                  </a:cxn>
                  <a:cxn ang="0">
                    <a:pos x="59" y="23"/>
                  </a:cxn>
                  <a:cxn ang="0">
                    <a:pos x="55" y="9"/>
                  </a:cxn>
                  <a:cxn ang="0">
                    <a:pos x="50" y="13"/>
                  </a:cxn>
                  <a:cxn ang="0">
                    <a:pos x="66" y="1"/>
                  </a:cxn>
                  <a:cxn ang="0">
                    <a:pos x="62" y="5"/>
                  </a:cxn>
                  <a:cxn ang="0">
                    <a:pos x="68" y="23"/>
                  </a:cxn>
                  <a:cxn ang="0">
                    <a:pos x="62" y="41"/>
                  </a:cxn>
                  <a:cxn ang="0">
                    <a:pos x="66" y="44"/>
                  </a:cxn>
                  <a:cxn ang="0">
                    <a:pos x="74" y="23"/>
                  </a:cxn>
                  <a:cxn ang="0">
                    <a:pos x="66" y="1"/>
                  </a:cxn>
                  <a:cxn ang="0">
                    <a:pos x="36" y="15"/>
                  </a:cxn>
                  <a:cxn ang="0">
                    <a:pos x="28" y="23"/>
                  </a:cxn>
                  <a:cxn ang="0">
                    <a:pos x="33" y="30"/>
                  </a:cxn>
                  <a:cxn ang="0">
                    <a:pos x="33" y="60"/>
                  </a:cxn>
                  <a:cxn ang="0">
                    <a:pos x="40" y="60"/>
                  </a:cxn>
                  <a:cxn ang="0">
                    <a:pos x="40" y="30"/>
                  </a:cxn>
                  <a:cxn ang="0">
                    <a:pos x="44" y="23"/>
                  </a:cxn>
                  <a:cxn ang="0">
                    <a:pos x="36" y="15"/>
                  </a:cxn>
                </a:cxnLst>
                <a:rect l="0" t="0" r="r" b="b"/>
                <a:pathLst>
                  <a:path w="74" h="60">
                    <a:moveTo>
                      <a:pt x="18" y="9"/>
                    </a:moveTo>
                    <a:cubicBezTo>
                      <a:pt x="16" y="13"/>
                      <a:pt x="14" y="18"/>
                      <a:pt x="14" y="23"/>
                    </a:cubicBezTo>
                    <a:cubicBezTo>
                      <a:pt x="14" y="28"/>
                      <a:pt x="16" y="33"/>
                      <a:pt x="18" y="37"/>
                    </a:cubicBezTo>
                    <a:cubicBezTo>
                      <a:pt x="19" y="38"/>
                      <a:pt x="23" y="34"/>
                      <a:pt x="23" y="33"/>
                    </a:cubicBezTo>
                    <a:cubicBezTo>
                      <a:pt x="21" y="30"/>
                      <a:pt x="19" y="27"/>
                      <a:pt x="19" y="23"/>
                    </a:cubicBezTo>
                    <a:cubicBezTo>
                      <a:pt x="19" y="19"/>
                      <a:pt x="21" y="16"/>
                      <a:pt x="23" y="13"/>
                    </a:cubicBezTo>
                    <a:cubicBezTo>
                      <a:pt x="23" y="12"/>
                      <a:pt x="19" y="8"/>
                      <a:pt x="18" y="9"/>
                    </a:cubicBezTo>
                    <a:close/>
                    <a:moveTo>
                      <a:pt x="7" y="1"/>
                    </a:moveTo>
                    <a:cubicBezTo>
                      <a:pt x="2" y="7"/>
                      <a:pt x="0" y="15"/>
                      <a:pt x="0" y="23"/>
                    </a:cubicBezTo>
                    <a:cubicBezTo>
                      <a:pt x="0" y="31"/>
                      <a:pt x="2" y="39"/>
                      <a:pt x="7" y="44"/>
                    </a:cubicBezTo>
                    <a:cubicBezTo>
                      <a:pt x="8" y="45"/>
                      <a:pt x="12" y="42"/>
                      <a:pt x="11" y="41"/>
                    </a:cubicBezTo>
                    <a:cubicBezTo>
                      <a:pt x="8" y="36"/>
                      <a:pt x="5" y="30"/>
                      <a:pt x="5" y="23"/>
                    </a:cubicBezTo>
                    <a:cubicBezTo>
                      <a:pt x="5" y="16"/>
                      <a:pt x="8" y="10"/>
                      <a:pt x="11" y="5"/>
                    </a:cubicBezTo>
                    <a:cubicBezTo>
                      <a:pt x="12" y="4"/>
                      <a:pt x="8" y="0"/>
                      <a:pt x="7" y="1"/>
                    </a:cubicBezTo>
                    <a:close/>
                    <a:moveTo>
                      <a:pt x="50" y="13"/>
                    </a:moveTo>
                    <a:cubicBezTo>
                      <a:pt x="52" y="16"/>
                      <a:pt x="54" y="19"/>
                      <a:pt x="54" y="23"/>
                    </a:cubicBezTo>
                    <a:cubicBezTo>
                      <a:pt x="54" y="27"/>
                      <a:pt x="52" y="30"/>
                      <a:pt x="50" y="33"/>
                    </a:cubicBezTo>
                    <a:cubicBezTo>
                      <a:pt x="50" y="34"/>
                      <a:pt x="54" y="38"/>
                      <a:pt x="55" y="37"/>
                    </a:cubicBezTo>
                    <a:cubicBezTo>
                      <a:pt x="58" y="33"/>
                      <a:pt x="59" y="28"/>
                      <a:pt x="59" y="23"/>
                    </a:cubicBezTo>
                    <a:cubicBezTo>
                      <a:pt x="59" y="18"/>
                      <a:pt x="58" y="13"/>
                      <a:pt x="55" y="9"/>
                    </a:cubicBezTo>
                    <a:cubicBezTo>
                      <a:pt x="54" y="8"/>
                      <a:pt x="50" y="12"/>
                      <a:pt x="50" y="13"/>
                    </a:cubicBezTo>
                    <a:close/>
                    <a:moveTo>
                      <a:pt x="66" y="1"/>
                    </a:moveTo>
                    <a:cubicBezTo>
                      <a:pt x="65" y="0"/>
                      <a:pt x="61" y="4"/>
                      <a:pt x="62" y="5"/>
                    </a:cubicBezTo>
                    <a:cubicBezTo>
                      <a:pt x="66" y="10"/>
                      <a:pt x="68" y="16"/>
                      <a:pt x="68" y="23"/>
                    </a:cubicBezTo>
                    <a:cubicBezTo>
                      <a:pt x="68" y="30"/>
                      <a:pt x="66" y="36"/>
                      <a:pt x="62" y="41"/>
                    </a:cubicBezTo>
                    <a:cubicBezTo>
                      <a:pt x="61" y="42"/>
                      <a:pt x="65" y="45"/>
                      <a:pt x="66" y="44"/>
                    </a:cubicBezTo>
                    <a:cubicBezTo>
                      <a:pt x="71" y="39"/>
                      <a:pt x="74" y="31"/>
                      <a:pt x="74" y="23"/>
                    </a:cubicBezTo>
                    <a:cubicBezTo>
                      <a:pt x="74" y="15"/>
                      <a:pt x="71" y="7"/>
                      <a:pt x="66" y="1"/>
                    </a:cubicBezTo>
                    <a:close/>
                    <a:moveTo>
                      <a:pt x="36" y="15"/>
                    </a:moveTo>
                    <a:cubicBezTo>
                      <a:pt x="32" y="15"/>
                      <a:pt x="28" y="18"/>
                      <a:pt x="28" y="23"/>
                    </a:cubicBezTo>
                    <a:cubicBezTo>
                      <a:pt x="28" y="26"/>
                      <a:pt x="30" y="29"/>
                      <a:pt x="33" y="30"/>
                    </a:cubicBezTo>
                    <a:cubicBezTo>
                      <a:pt x="33" y="60"/>
                      <a:pt x="33" y="60"/>
                      <a:pt x="33" y="60"/>
                    </a:cubicBezTo>
                    <a:cubicBezTo>
                      <a:pt x="40" y="60"/>
                      <a:pt x="40" y="60"/>
                      <a:pt x="40" y="60"/>
                    </a:cubicBezTo>
                    <a:cubicBezTo>
                      <a:pt x="40" y="30"/>
                      <a:pt x="40" y="30"/>
                      <a:pt x="40" y="30"/>
                    </a:cubicBezTo>
                    <a:cubicBezTo>
                      <a:pt x="43" y="29"/>
                      <a:pt x="44" y="26"/>
                      <a:pt x="44" y="23"/>
                    </a:cubicBezTo>
                    <a:cubicBezTo>
                      <a:pt x="44" y="18"/>
                      <a:pt x="41" y="15"/>
                      <a:pt x="36"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1" name="Freeform 48"/>
              <p:cNvSpPr>
                <a:spLocks noEditPoints="1"/>
              </p:cNvSpPr>
              <p:nvPr/>
            </p:nvSpPr>
            <p:spPr bwMode="auto">
              <a:xfrm>
                <a:off x="4127500" y="2516188"/>
                <a:ext cx="889000" cy="327025"/>
              </a:xfrm>
              <a:custGeom>
                <a:avLst/>
                <a:gdLst/>
                <a:ahLst/>
                <a:cxnLst>
                  <a:cxn ang="0">
                    <a:pos x="199" y="161"/>
                  </a:cxn>
                  <a:cxn ang="0">
                    <a:pos x="175" y="161"/>
                  </a:cxn>
                  <a:cxn ang="0">
                    <a:pos x="163" y="161"/>
                  </a:cxn>
                  <a:cxn ang="0">
                    <a:pos x="376" y="161"/>
                  </a:cxn>
                  <a:cxn ang="0">
                    <a:pos x="390" y="161"/>
                  </a:cxn>
                  <a:cxn ang="0">
                    <a:pos x="399" y="142"/>
                  </a:cxn>
                  <a:cxn ang="0">
                    <a:pos x="399" y="142"/>
                  </a:cxn>
                  <a:cxn ang="0">
                    <a:pos x="560" y="0"/>
                  </a:cxn>
                  <a:cxn ang="0">
                    <a:pos x="149" y="173"/>
                  </a:cxn>
                  <a:cxn ang="0">
                    <a:pos x="149" y="137"/>
                  </a:cxn>
                  <a:cxn ang="0">
                    <a:pos x="21" y="118"/>
                  </a:cxn>
                  <a:cxn ang="0">
                    <a:pos x="21" y="92"/>
                  </a:cxn>
                  <a:cxn ang="0">
                    <a:pos x="149" y="76"/>
                  </a:cxn>
                  <a:cxn ang="0">
                    <a:pos x="149" y="67"/>
                  </a:cxn>
                  <a:cxn ang="0">
                    <a:pos x="149" y="31"/>
                  </a:cxn>
                  <a:cxn ang="0">
                    <a:pos x="163" y="173"/>
                  </a:cxn>
                  <a:cxn ang="0">
                    <a:pos x="163" y="142"/>
                  </a:cxn>
                  <a:cxn ang="0">
                    <a:pos x="201" y="123"/>
                  </a:cxn>
                  <a:cxn ang="0">
                    <a:pos x="201" y="114"/>
                  </a:cxn>
                  <a:cxn ang="0">
                    <a:pos x="201" y="74"/>
                  </a:cxn>
                  <a:cxn ang="0">
                    <a:pos x="175" y="74"/>
                  </a:cxn>
                  <a:cxn ang="0">
                    <a:pos x="201" y="74"/>
                  </a:cxn>
                  <a:cxn ang="0">
                    <a:pos x="201" y="33"/>
                  </a:cxn>
                  <a:cxn ang="0">
                    <a:pos x="210" y="175"/>
                  </a:cxn>
                  <a:cxn ang="0">
                    <a:pos x="210" y="144"/>
                  </a:cxn>
                  <a:cxn ang="0">
                    <a:pos x="350" y="126"/>
                  </a:cxn>
                  <a:cxn ang="0">
                    <a:pos x="350" y="114"/>
                  </a:cxn>
                  <a:cxn ang="0">
                    <a:pos x="350" y="74"/>
                  </a:cxn>
                  <a:cxn ang="0">
                    <a:pos x="210" y="52"/>
                  </a:cxn>
                  <a:cxn ang="0">
                    <a:pos x="210" y="22"/>
                  </a:cxn>
                  <a:cxn ang="0">
                    <a:pos x="350" y="3"/>
                  </a:cxn>
                  <a:cxn ang="0">
                    <a:pos x="402" y="173"/>
                  </a:cxn>
                  <a:cxn ang="0">
                    <a:pos x="402" y="133"/>
                  </a:cxn>
                  <a:cxn ang="0">
                    <a:pos x="364" y="114"/>
                  </a:cxn>
                  <a:cxn ang="0">
                    <a:pos x="364" y="83"/>
                  </a:cxn>
                  <a:cxn ang="0">
                    <a:pos x="390" y="74"/>
                  </a:cxn>
                  <a:cxn ang="0">
                    <a:pos x="364" y="74"/>
                  </a:cxn>
                  <a:cxn ang="0">
                    <a:pos x="364" y="43"/>
                  </a:cxn>
                  <a:cxn ang="0">
                    <a:pos x="402" y="24"/>
                  </a:cxn>
                  <a:cxn ang="0">
                    <a:pos x="543" y="173"/>
                  </a:cxn>
                  <a:cxn ang="0">
                    <a:pos x="543" y="137"/>
                  </a:cxn>
                  <a:cxn ang="0">
                    <a:pos x="418" y="118"/>
                  </a:cxn>
                  <a:cxn ang="0">
                    <a:pos x="418" y="92"/>
                  </a:cxn>
                  <a:cxn ang="0">
                    <a:pos x="543" y="76"/>
                  </a:cxn>
                  <a:cxn ang="0">
                    <a:pos x="543" y="67"/>
                  </a:cxn>
                  <a:cxn ang="0">
                    <a:pos x="543" y="31"/>
                  </a:cxn>
                  <a:cxn ang="0">
                    <a:pos x="399" y="170"/>
                  </a:cxn>
                  <a:cxn ang="0">
                    <a:pos x="390" y="152"/>
                  </a:cxn>
                  <a:cxn ang="0">
                    <a:pos x="399" y="43"/>
                  </a:cxn>
                  <a:cxn ang="0">
                    <a:pos x="163" y="152"/>
                  </a:cxn>
                  <a:cxn ang="0">
                    <a:pos x="187" y="74"/>
                  </a:cxn>
                  <a:cxn ang="0">
                    <a:pos x="376" y="74"/>
                  </a:cxn>
                  <a:cxn ang="0">
                    <a:pos x="399" y="64"/>
                  </a:cxn>
                  <a:cxn ang="0">
                    <a:pos x="399" y="64"/>
                  </a:cxn>
                  <a:cxn ang="0">
                    <a:pos x="199" y="74"/>
                  </a:cxn>
                  <a:cxn ang="0">
                    <a:pos x="189" y="152"/>
                  </a:cxn>
                  <a:cxn ang="0">
                    <a:pos x="175" y="152"/>
                  </a:cxn>
                  <a:cxn ang="0">
                    <a:pos x="399" y="92"/>
                  </a:cxn>
                  <a:cxn ang="0">
                    <a:pos x="399" y="24"/>
                  </a:cxn>
                </a:cxnLst>
                <a:rect l="0" t="0" r="r" b="b"/>
                <a:pathLst>
                  <a:path w="560" h="206">
                    <a:moveTo>
                      <a:pt x="399" y="123"/>
                    </a:moveTo>
                    <a:lnTo>
                      <a:pt x="399" y="123"/>
                    </a:lnTo>
                    <a:lnTo>
                      <a:pt x="399" y="133"/>
                    </a:lnTo>
                    <a:lnTo>
                      <a:pt x="399" y="133"/>
                    </a:lnTo>
                    <a:lnTo>
                      <a:pt x="399" y="123"/>
                    </a:lnTo>
                    <a:close/>
                    <a:moveTo>
                      <a:pt x="199" y="161"/>
                    </a:moveTo>
                    <a:lnTo>
                      <a:pt x="189" y="161"/>
                    </a:lnTo>
                    <a:lnTo>
                      <a:pt x="189" y="161"/>
                    </a:lnTo>
                    <a:lnTo>
                      <a:pt x="199" y="161"/>
                    </a:lnTo>
                    <a:lnTo>
                      <a:pt x="199" y="161"/>
                    </a:lnTo>
                    <a:close/>
                    <a:moveTo>
                      <a:pt x="187" y="161"/>
                    </a:moveTo>
                    <a:lnTo>
                      <a:pt x="175" y="161"/>
                    </a:lnTo>
                    <a:lnTo>
                      <a:pt x="175" y="161"/>
                    </a:lnTo>
                    <a:lnTo>
                      <a:pt x="187" y="161"/>
                    </a:lnTo>
                    <a:lnTo>
                      <a:pt x="187" y="161"/>
                    </a:lnTo>
                    <a:close/>
                    <a:moveTo>
                      <a:pt x="173" y="161"/>
                    </a:moveTo>
                    <a:lnTo>
                      <a:pt x="163" y="161"/>
                    </a:lnTo>
                    <a:lnTo>
                      <a:pt x="163" y="161"/>
                    </a:lnTo>
                    <a:lnTo>
                      <a:pt x="173" y="161"/>
                    </a:lnTo>
                    <a:lnTo>
                      <a:pt x="173" y="161"/>
                    </a:lnTo>
                    <a:close/>
                    <a:moveTo>
                      <a:pt x="376" y="161"/>
                    </a:moveTo>
                    <a:lnTo>
                      <a:pt x="366" y="161"/>
                    </a:lnTo>
                    <a:lnTo>
                      <a:pt x="366" y="161"/>
                    </a:lnTo>
                    <a:lnTo>
                      <a:pt x="376" y="161"/>
                    </a:lnTo>
                    <a:lnTo>
                      <a:pt x="376" y="161"/>
                    </a:lnTo>
                    <a:close/>
                    <a:moveTo>
                      <a:pt x="390" y="161"/>
                    </a:moveTo>
                    <a:lnTo>
                      <a:pt x="378" y="161"/>
                    </a:lnTo>
                    <a:lnTo>
                      <a:pt x="378" y="161"/>
                    </a:lnTo>
                    <a:lnTo>
                      <a:pt x="390" y="161"/>
                    </a:lnTo>
                    <a:lnTo>
                      <a:pt x="390" y="161"/>
                    </a:lnTo>
                    <a:close/>
                    <a:moveTo>
                      <a:pt x="376" y="152"/>
                    </a:moveTo>
                    <a:lnTo>
                      <a:pt x="366" y="152"/>
                    </a:lnTo>
                    <a:lnTo>
                      <a:pt x="366" y="152"/>
                    </a:lnTo>
                    <a:lnTo>
                      <a:pt x="376" y="152"/>
                    </a:lnTo>
                    <a:lnTo>
                      <a:pt x="376" y="152"/>
                    </a:lnTo>
                    <a:close/>
                    <a:moveTo>
                      <a:pt x="399" y="142"/>
                    </a:moveTo>
                    <a:lnTo>
                      <a:pt x="399" y="142"/>
                    </a:lnTo>
                    <a:lnTo>
                      <a:pt x="399" y="152"/>
                    </a:lnTo>
                    <a:lnTo>
                      <a:pt x="390" y="152"/>
                    </a:lnTo>
                    <a:lnTo>
                      <a:pt x="390" y="152"/>
                    </a:lnTo>
                    <a:lnTo>
                      <a:pt x="399" y="152"/>
                    </a:lnTo>
                    <a:lnTo>
                      <a:pt x="399" y="142"/>
                    </a:lnTo>
                    <a:close/>
                    <a:moveTo>
                      <a:pt x="0" y="0"/>
                    </a:moveTo>
                    <a:lnTo>
                      <a:pt x="0" y="182"/>
                    </a:lnTo>
                    <a:lnTo>
                      <a:pt x="560" y="182"/>
                    </a:lnTo>
                    <a:lnTo>
                      <a:pt x="560" y="206"/>
                    </a:lnTo>
                    <a:lnTo>
                      <a:pt x="560" y="206"/>
                    </a:lnTo>
                    <a:lnTo>
                      <a:pt x="560" y="0"/>
                    </a:lnTo>
                    <a:lnTo>
                      <a:pt x="0" y="0"/>
                    </a:lnTo>
                    <a:close/>
                    <a:moveTo>
                      <a:pt x="149" y="173"/>
                    </a:moveTo>
                    <a:lnTo>
                      <a:pt x="21" y="173"/>
                    </a:lnTo>
                    <a:lnTo>
                      <a:pt x="21" y="163"/>
                    </a:lnTo>
                    <a:lnTo>
                      <a:pt x="149" y="163"/>
                    </a:lnTo>
                    <a:lnTo>
                      <a:pt x="149" y="173"/>
                    </a:lnTo>
                    <a:close/>
                    <a:moveTo>
                      <a:pt x="149" y="154"/>
                    </a:moveTo>
                    <a:lnTo>
                      <a:pt x="21" y="154"/>
                    </a:lnTo>
                    <a:lnTo>
                      <a:pt x="21" y="147"/>
                    </a:lnTo>
                    <a:lnTo>
                      <a:pt x="149" y="147"/>
                    </a:lnTo>
                    <a:lnTo>
                      <a:pt x="149" y="154"/>
                    </a:lnTo>
                    <a:close/>
                    <a:moveTo>
                      <a:pt x="149" y="137"/>
                    </a:moveTo>
                    <a:lnTo>
                      <a:pt x="21" y="137"/>
                    </a:lnTo>
                    <a:lnTo>
                      <a:pt x="21" y="128"/>
                    </a:lnTo>
                    <a:lnTo>
                      <a:pt x="149" y="128"/>
                    </a:lnTo>
                    <a:lnTo>
                      <a:pt x="149" y="137"/>
                    </a:lnTo>
                    <a:close/>
                    <a:moveTo>
                      <a:pt x="149" y="118"/>
                    </a:moveTo>
                    <a:lnTo>
                      <a:pt x="21" y="118"/>
                    </a:lnTo>
                    <a:lnTo>
                      <a:pt x="21" y="111"/>
                    </a:lnTo>
                    <a:lnTo>
                      <a:pt x="149" y="111"/>
                    </a:lnTo>
                    <a:lnTo>
                      <a:pt x="149" y="118"/>
                    </a:lnTo>
                    <a:close/>
                    <a:moveTo>
                      <a:pt x="149" y="102"/>
                    </a:moveTo>
                    <a:lnTo>
                      <a:pt x="21" y="102"/>
                    </a:lnTo>
                    <a:lnTo>
                      <a:pt x="21" y="92"/>
                    </a:lnTo>
                    <a:lnTo>
                      <a:pt x="149" y="92"/>
                    </a:lnTo>
                    <a:lnTo>
                      <a:pt x="149" y="102"/>
                    </a:lnTo>
                    <a:close/>
                    <a:moveTo>
                      <a:pt x="149" y="83"/>
                    </a:moveTo>
                    <a:lnTo>
                      <a:pt x="21" y="83"/>
                    </a:lnTo>
                    <a:lnTo>
                      <a:pt x="21" y="76"/>
                    </a:lnTo>
                    <a:lnTo>
                      <a:pt x="149" y="76"/>
                    </a:lnTo>
                    <a:lnTo>
                      <a:pt x="149" y="83"/>
                    </a:lnTo>
                    <a:close/>
                    <a:moveTo>
                      <a:pt x="149" y="67"/>
                    </a:moveTo>
                    <a:lnTo>
                      <a:pt x="21" y="67"/>
                    </a:lnTo>
                    <a:lnTo>
                      <a:pt x="21" y="57"/>
                    </a:lnTo>
                    <a:lnTo>
                      <a:pt x="149" y="57"/>
                    </a:lnTo>
                    <a:lnTo>
                      <a:pt x="149" y="67"/>
                    </a:lnTo>
                    <a:close/>
                    <a:moveTo>
                      <a:pt x="149" y="50"/>
                    </a:moveTo>
                    <a:lnTo>
                      <a:pt x="21" y="50"/>
                    </a:lnTo>
                    <a:lnTo>
                      <a:pt x="21" y="41"/>
                    </a:lnTo>
                    <a:lnTo>
                      <a:pt x="149" y="41"/>
                    </a:lnTo>
                    <a:lnTo>
                      <a:pt x="149" y="50"/>
                    </a:lnTo>
                    <a:close/>
                    <a:moveTo>
                      <a:pt x="149" y="31"/>
                    </a:moveTo>
                    <a:lnTo>
                      <a:pt x="21" y="31"/>
                    </a:lnTo>
                    <a:lnTo>
                      <a:pt x="21" y="22"/>
                    </a:lnTo>
                    <a:lnTo>
                      <a:pt x="149" y="22"/>
                    </a:lnTo>
                    <a:lnTo>
                      <a:pt x="149" y="31"/>
                    </a:lnTo>
                    <a:close/>
                    <a:moveTo>
                      <a:pt x="201" y="173"/>
                    </a:moveTo>
                    <a:lnTo>
                      <a:pt x="163" y="173"/>
                    </a:lnTo>
                    <a:lnTo>
                      <a:pt x="163" y="161"/>
                    </a:lnTo>
                    <a:lnTo>
                      <a:pt x="201" y="161"/>
                    </a:lnTo>
                    <a:lnTo>
                      <a:pt x="201" y="173"/>
                    </a:lnTo>
                    <a:close/>
                    <a:moveTo>
                      <a:pt x="201" y="152"/>
                    </a:moveTo>
                    <a:lnTo>
                      <a:pt x="163" y="152"/>
                    </a:lnTo>
                    <a:lnTo>
                      <a:pt x="163" y="142"/>
                    </a:lnTo>
                    <a:lnTo>
                      <a:pt x="201" y="142"/>
                    </a:lnTo>
                    <a:lnTo>
                      <a:pt x="201" y="152"/>
                    </a:lnTo>
                    <a:close/>
                    <a:moveTo>
                      <a:pt x="201" y="133"/>
                    </a:moveTo>
                    <a:lnTo>
                      <a:pt x="163" y="133"/>
                    </a:lnTo>
                    <a:lnTo>
                      <a:pt x="163" y="123"/>
                    </a:lnTo>
                    <a:lnTo>
                      <a:pt x="201" y="123"/>
                    </a:lnTo>
                    <a:lnTo>
                      <a:pt x="201" y="133"/>
                    </a:lnTo>
                    <a:close/>
                    <a:moveTo>
                      <a:pt x="201" y="114"/>
                    </a:moveTo>
                    <a:lnTo>
                      <a:pt x="163" y="114"/>
                    </a:lnTo>
                    <a:lnTo>
                      <a:pt x="163" y="102"/>
                    </a:lnTo>
                    <a:lnTo>
                      <a:pt x="201" y="102"/>
                    </a:lnTo>
                    <a:lnTo>
                      <a:pt x="201" y="114"/>
                    </a:lnTo>
                    <a:close/>
                    <a:moveTo>
                      <a:pt x="201" y="92"/>
                    </a:moveTo>
                    <a:lnTo>
                      <a:pt x="163" y="92"/>
                    </a:lnTo>
                    <a:lnTo>
                      <a:pt x="163" y="83"/>
                    </a:lnTo>
                    <a:lnTo>
                      <a:pt x="201" y="83"/>
                    </a:lnTo>
                    <a:lnTo>
                      <a:pt x="201" y="92"/>
                    </a:lnTo>
                    <a:close/>
                    <a:moveTo>
                      <a:pt x="201" y="74"/>
                    </a:moveTo>
                    <a:lnTo>
                      <a:pt x="189" y="74"/>
                    </a:lnTo>
                    <a:lnTo>
                      <a:pt x="189" y="74"/>
                    </a:lnTo>
                    <a:lnTo>
                      <a:pt x="187" y="74"/>
                    </a:lnTo>
                    <a:lnTo>
                      <a:pt x="187" y="74"/>
                    </a:lnTo>
                    <a:lnTo>
                      <a:pt x="175" y="74"/>
                    </a:lnTo>
                    <a:lnTo>
                      <a:pt x="175" y="74"/>
                    </a:lnTo>
                    <a:lnTo>
                      <a:pt x="173" y="74"/>
                    </a:lnTo>
                    <a:lnTo>
                      <a:pt x="173" y="74"/>
                    </a:lnTo>
                    <a:lnTo>
                      <a:pt x="163" y="74"/>
                    </a:lnTo>
                    <a:lnTo>
                      <a:pt x="163" y="64"/>
                    </a:lnTo>
                    <a:lnTo>
                      <a:pt x="201" y="64"/>
                    </a:lnTo>
                    <a:lnTo>
                      <a:pt x="201" y="74"/>
                    </a:lnTo>
                    <a:close/>
                    <a:moveTo>
                      <a:pt x="201" y="55"/>
                    </a:moveTo>
                    <a:lnTo>
                      <a:pt x="163" y="55"/>
                    </a:lnTo>
                    <a:lnTo>
                      <a:pt x="163" y="43"/>
                    </a:lnTo>
                    <a:lnTo>
                      <a:pt x="201" y="43"/>
                    </a:lnTo>
                    <a:lnTo>
                      <a:pt x="201" y="55"/>
                    </a:lnTo>
                    <a:close/>
                    <a:moveTo>
                      <a:pt x="201" y="33"/>
                    </a:moveTo>
                    <a:lnTo>
                      <a:pt x="163" y="33"/>
                    </a:lnTo>
                    <a:lnTo>
                      <a:pt x="163" y="24"/>
                    </a:lnTo>
                    <a:lnTo>
                      <a:pt x="201" y="24"/>
                    </a:lnTo>
                    <a:lnTo>
                      <a:pt x="201" y="33"/>
                    </a:lnTo>
                    <a:close/>
                    <a:moveTo>
                      <a:pt x="350" y="175"/>
                    </a:moveTo>
                    <a:lnTo>
                      <a:pt x="210" y="175"/>
                    </a:lnTo>
                    <a:lnTo>
                      <a:pt x="210" y="166"/>
                    </a:lnTo>
                    <a:lnTo>
                      <a:pt x="350" y="166"/>
                    </a:lnTo>
                    <a:lnTo>
                      <a:pt x="350" y="175"/>
                    </a:lnTo>
                    <a:close/>
                    <a:moveTo>
                      <a:pt x="350" y="154"/>
                    </a:moveTo>
                    <a:lnTo>
                      <a:pt x="210" y="154"/>
                    </a:lnTo>
                    <a:lnTo>
                      <a:pt x="210" y="144"/>
                    </a:lnTo>
                    <a:lnTo>
                      <a:pt x="350" y="144"/>
                    </a:lnTo>
                    <a:lnTo>
                      <a:pt x="350" y="154"/>
                    </a:lnTo>
                    <a:close/>
                    <a:moveTo>
                      <a:pt x="350" y="135"/>
                    </a:moveTo>
                    <a:lnTo>
                      <a:pt x="210" y="135"/>
                    </a:lnTo>
                    <a:lnTo>
                      <a:pt x="210" y="126"/>
                    </a:lnTo>
                    <a:lnTo>
                      <a:pt x="350" y="126"/>
                    </a:lnTo>
                    <a:lnTo>
                      <a:pt x="350" y="135"/>
                    </a:lnTo>
                    <a:close/>
                    <a:moveTo>
                      <a:pt x="350" y="114"/>
                    </a:moveTo>
                    <a:lnTo>
                      <a:pt x="210" y="114"/>
                    </a:lnTo>
                    <a:lnTo>
                      <a:pt x="210" y="104"/>
                    </a:lnTo>
                    <a:lnTo>
                      <a:pt x="350" y="104"/>
                    </a:lnTo>
                    <a:lnTo>
                      <a:pt x="350" y="114"/>
                    </a:lnTo>
                    <a:close/>
                    <a:moveTo>
                      <a:pt x="350" y="92"/>
                    </a:moveTo>
                    <a:lnTo>
                      <a:pt x="210" y="92"/>
                    </a:lnTo>
                    <a:lnTo>
                      <a:pt x="210" y="83"/>
                    </a:lnTo>
                    <a:lnTo>
                      <a:pt x="350" y="83"/>
                    </a:lnTo>
                    <a:lnTo>
                      <a:pt x="350" y="92"/>
                    </a:lnTo>
                    <a:close/>
                    <a:moveTo>
                      <a:pt x="350" y="74"/>
                    </a:moveTo>
                    <a:lnTo>
                      <a:pt x="210" y="74"/>
                    </a:lnTo>
                    <a:lnTo>
                      <a:pt x="210" y="64"/>
                    </a:lnTo>
                    <a:lnTo>
                      <a:pt x="350" y="64"/>
                    </a:lnTo>
                    <a:lnTo>
                      <a:pt x="350" y="74"/>
                    </a:lnTo>
                    <a:close/>
                    <a:moveTo>
                      <a:pt x="350" y="52"/>
                    </a:moveTo>
                    <a:lnTo>
                      <a:pt x="210" y="52"/>
                    </a:lnTo>
                    <a:lnTo>
                      <a:pt x="210" y="43"/>
                    </a:lnTo>
                    <a:lnTo>
                      <a:pt x="350" y="43"/>
                    </a:lnTo>
                    <a:lnTo>
                      <a:pt x="350" y="52"/>
                    </a:lnTo>
                    <a:close/>
                    <a:moveTo>
                      <a:pt x="350" y="33"/>
                    </a:moveTo>
                    <a:lnTo>
                      <a:pt x="210" y="33"/>
                    </a:lnTo>
                    <a:lnTo>
                      <a:pt x="210" y="22"/>
                    </a:lnTo>
                    <a:lnTo>
                      <a:pt x="350" y="22"/>
                    </a:lnTo>
                    <a:lnTo>
                      <a:pt x="350" y="33"/>
                    </a:lnTo>
                    <a:close/>
                    <a:moveTo>
                      <a:pt x="350" y="12"/>
                    </a:moveTo>
                    <a:lnTo>
                      <a:pt x="210" y="12"/>
                    </a:lnTo>
                    <a:lnTo>
                      <a:pt x="210" y="3"/>
                    </a:lnTo>
                    <a:lnTo>
                      <a:pt x="350" y="3"/>
                    </a:lnTo>
                    <a:lnTo>
                      <a:pt x="350" y="12"/>
                    </a:lnTo>
                    <a:close/>
                    <a:moveTo>
                      <a:pt x="402" y="173"/>
                    </a:moveTo>
                    <a:lnTo>
                      <a:pt x="364" y="173"/>
                    </a:lnTo>
                    <a:lnTo>
                      <a:pt x="364" y="161"/>
                    </a:lnTo>
                    <a:lnTo>
                      <a:pt x="402" y="161"/>
                    </a:lnTo>
                    <a:lnTo>
                      <a:pt x="402" y="173"/>
                    </a:lnTo>
                    <a:close/>
                    <a:moveTo>
                      <a:pt x="402" y="152"/>
                    </a:moveTo>
                    <a:lnTo>
                      <a:pt x="364" y="152"/>
                    </a:lnTo>
                    <a:lnTo>
                      <a:pt x="364" y="142"/>
                    </a:lnTo>
                    <a:lnTo>
                      <a:pt x="402" y="142"/>
                    </a:lnTo>
                    <a:lnTo>
                      <a:pt x="402" y="152"/>
                    </a:lnTo>
                    <a:close/>
                    <a:moveTo>
                      <a:pt x="402" y="133"/>
                    </a:moveTo>
                    <a:lnTo>
                      <a:pt x="364" y="133"/>
                    </a:lnTo>
                    <a:lnTo>
                      <a:pt x="364" y="123"/>
                    </a:lnTo>
                    <a:lnTo>
                      <a:pt x="402" y="123"/>
                    </a:lnTo>
                    <a:lnTo>
                      <a:pt x="402" y="133"/>
                    </a:lnTo>
                    <a:close/>
                    <a:moveTo>
                      <a:pt x="402" y="114"/>
                    </a:moveTo>
                    <a:lnTo>
                      <a:pt x="364" y="114"/>
                    </a:lnTo>
                    <a:lnTo>
                      <a:pt x="364" y="102"/>
                    </a:lnTo>
                    <a:lnTo>
                      <a:pt x="402" y="102"/>
                    </a:lnTo>
                    <a:lnTo>
                      <a:pt x="402" y="114"/>
                    </a:lnTo>
                    <a:close/>
                    <a:moveTo>
                      <a:pt x="402" y="92"/>
                    </a:moveTo>
                    <a:lnTo>
                      <a:pt x="364" y="92"/>
                    </a:lnTo>
                    <a:lnTo>
                      <a:pt x="364" y="83"/>
                    </a:lnTo>
                    <a:lnTo>
                      <a:pt x="402" y="83"/>
                    </a:lnTo>
                    <a:lnTo>
                      <a:pt x="402" y="92"/>
                    </a:lnTo>
                    <a:close/>
                    <a:moveTo>
                      <a:pt x="402" y="74"/>
                    </a:moveTo>
                    <a:lnTo>
                      <a:pt x="390" y="74"/>
                    </a:lnTo>
                    <a:lnTo>
                      <a:pt x="390" y="74"/>
                    </a:lnTo>
                    <a:lnTo>
                      <a:pt x="390" y="74"/>
                    </a:lnTo>
                    <a:lnTo>
                      <a:pt x="390" y="74"/>
                    </a:lnTo>
                    <a:lnTo>
                      <a:pt x="378" y="74"/>
                    </a:lnTo>
                    <a:lnTo>
                      <a:pt x="378" y="74"/>
                    </a:lnTo>
                    <a:lnTo>
                      <a:pt x="376" y="74"/>
                    </a:lnTo>
                    <a:lnTo>
                      <a:pt x="376" y="74"/>
                    </a:lnTo>
                    <a:lnTo>
                      <a:pt x="364" y="74"/>
                    </a:lnTo>
                    <a:lnTo>
                      <a:pt x="364" y="64"/>
                    </a:lnTo>
                    <a:lnTo>
                      <a:pt x="402" y="64"/>
                    </a:lnTo>
                    <a:lnTo>
                      <a:pt x="402" y="74"/>
                    </a:lnTo>
                    <a:close/>
                    <a:moveTo>
                      <a:pt x="402" y="55"/>
                    </a:moveTo>
                    <a:lnTo>
                      <a:pt x="364" y="55"/>
                    </a:lnTo>
                    <a:lnTo>
                      <a:pt x="364" y="43"/>
                    </a:lnTo>
                    <a:lnTo>
                      <a:pt x="402" y="43"/>
                    </a:lnTo>
                    <a:lnTo>
                      <a:pt x="402" y="55"/>
                    </a:lnTo>
                    <a:close/>
                    <a:moveTo>
                      <a:pt x="402" y="33"/>
                    </a:moveTo>
                    <a:lnTo>
                      <a:pt x="364" y="33"/>
                    </a:lnTo>
                    <a:lnTo>
                      <a:pt x="364" y="24"/>
                    </a:lnTo>
                    <a:lnTo>
                      <a:pt x="402" y="24"/>
                    </a:lnTo>
                    <a:lnTo>
                      <a:pt x="402" y="33"/>
                    </a:lnTo>
                    <a:close/>
                    <a:moveTo>
                      <a:pt x="543" y="173"/>
                    </a:moveTo>
                    <a:lnTo>
                      <a:pt x="418" y="173"/>
                    </a:lnTo>
                    <a:lnTo>
                      <a:pt x="418" y="163"/>
                    </a:lnTo>
                    <a:lnTo>
                      <a:pt x="543" y="163"/>
                    </a:lnTo>
                    <a:lnTo>
                      <a:pt x="543" y="173"/>
                    </a:lnTo>
                    <a:close/>
                    <a:moveTo>
                      <a:pt x="543" y="154"/>
                    </a:moveTo>
                    <a:lnTo>
                      <a:pt x="418" y="154"/>
                    </a:lnTo>
                    <a:lnTo>
                      <a:pt x="418" y="147"/>
                    </a:lnTo>
                    <a:lnTo>
                      <a:pt x="543" y="147"/>
                    </a:lnTo>
                    <a:lnTo>
                      <a:pt x="543" y="154"/>
                    </a:lnTo>
                    <a:close/>
                    <a:moveTo>
                      <a:pt x="543" y="137"/>
                    </a:moveTo>
                    <a:lnTo>
                      <a:pt x="418" y="137"/>
                    </a:lnTo>
                    <a:lnTo>
                      <a:pt x="418" y="128"/>
                    </a:lnTo>
                    <a:lnTo>
                      <a:pt x="543" y="128"/>
                    </a:lnTo>
                    <a:lnTo>
                      <a:pt x="543" y="137"/>
                    </a:lnTo>
                    <a:close/>
                    <a:moveTo>
                      <a:pt x="543" y="118"/>
                    </a:moveTo>
                    <a:lnTo>
                      <a:pt x="418" y="118"/>
                    </a:lnTo>
                    <a:lnTo>
                      <a:pt x="418" y="111"/>
                    </a:lnTo>
                    <a:lnTo>
                      <a:pt x="543" y="111"/>
                    </a:lnTo>
                    <a:lnTo>
                      <a:pt x="543" y="118"/>
                    </a:lnTo>
                    <a:close/>
                    <a:moveTo>
                      <a:pt x="543" y="102"/>
                    </a:moveTo>
                    <a:lnTo>
                      <a:pt x="418" y="102"/>
                    </a:lnTo>
                    <a:lnTo>
                      <a:pt x="418" y="92"/>
                    </a:lnTo>
                    <a:lnTo>
                      <a:pt x="543" y="92"/>
                    </a:lnTo>
                    <a:lnTo>
                      <a:pt x="543" y="102"/>
                    </a:lnTo>
                    <a:close/>
                    <a:moveTo>
                      <a:pt x="543" y="83"/>
                    </a:moveTo>
                    <a:lnTo>
                      <a:pt x="418" y="83"/>
                    </a:lnTo>
                    <a:lnTo>
                      <a:pt x="418" y="76"/>
                    </a:lnTo>
                    <a:lnTo>
                      <a:pt x="543" y="76"/>
                    </a:lnTo>
                    <a:lnTo>
                      <a:pt x="543" y="83"/>
                    </a:lnTo>
                    <a:close/>
                    <a:moveTo>
                      <a:pt x="543" y="67"/>
                    </a:moveTo>
                    <a:lnTo>
                      <a:pt x="418" y="67"/>
                    </a:lnTo>
                    <a:lnTo>
                      <a:pt x="418" y="57"/>
                    </a:lnTo>
                    <a:lnTo>
                      <a:pt x="543" y="57"/>
                    </a:lnTo>
                    <a:lnTo>
                      <a:pt x="543" y="67"/>
                    </a:lnTo>
                    <a:close/>
                    <a:moveTo>
                      <a:pt x="543" y="50"/>
                    </a:moveTo>
                    <a:lnTo>
                      <a:pt x="418" y="50"/>
                    </a:lnTo>
                    <a:lnTo>
                      <a:pt x="418" y="41"/>
                    </a:lnTo>
                    <a:lnTo>
                      <a:pt x="543" y="41"/>
                    </a:lnTo>
                    <a:lnTo>
                      <a:pt x="543" y="50"/>
                    </a:lnTo>
                    <a:close/>
                    <a:moveTo>
                      <a:pt x="543" y="31"/>
                    </a:moveTo>
                    <a:lnTo>
                      <a:pt x="418" y="31"/>
                    </a:lnTo>
                    <a:lnTo>
                      <a:pt x="418" y="22"/>
                    </a:lnTo>
                    <a:lnTo>
                      <a:pt x="543" y="22"/>
                    </a:lnTo>
                    <a:lnTo>
                      <a:pt x="543" y="31"/>
                    </a:lnTo>
                    <a:close/>
                    <a:moveTo>
                      <a:pt x="399" y="170"/>
                    </a:moveTo>
                    <a:lnTo>
                      <a:pt x="399" y="170"/>
                    </a:lnTo>
                    <a:lnTo>
                      <a:pt x="399" y="161"/>
                    </a:lnTo>
                    <a:lnTo>
                      <a:pt x="390" y="161"/>
                    </a:lnTo>
                    <a:lnTo>
                      <a:pt x="390" y="161"/>
                    </a:lnTo>
                    <a:lnTo>
                      <a:pt x="399" y="161"/>
                    </a:lnTo>
                    <a:lnTo>
                      <a:pt x="399" y="170"/>
                    </a:lnTo>
                    <a:close/>
                    <a:moveTo>
                      <a:pt x="390" y="152"/>
                    </a:moveTo>
                    <a:lnTo>
                      <a:pt x="378" y="152"/>
                    </a:lnTo>
                    <a:lnTo>
                      <a:pt x="378" y="152"/>
                    </a:lnTo>
                    <a:lnTo>
                      <a:pt x="390" y="152"/>
                    </a:lnTo>
                    <a:lnTo>
                      <a:pt x="390" y="152"/>
                    </a:lnTo>
                    <a:close/>
                    <a:moveTo>
                      <a:pt x="399" y="43"/>
                    </a:moveTo>
                    <a:lnTo>
                      <a:pt x="399" y="43"/>
                    </a:lnTo>
                    <a:lnTo>
                      <a:pt x="399" y="52"/>
                    </a:lnTo>
                    <a:lnTo>
                      <a:pt x="399" y="52"/>
                    </a:lnTo>
                    <a:lnTo>
                      <a:pt x="399" y="43"/>
                    </a:lnTo>
                    <a:close/>
                    <a:moveTo>
                      <a:pt x="173" y="152"/>
                    </a:moveTo>
                    <a:lnTo>
                      <a:pt x="163" y="152"/>
                    </a:lnTo>
                    <a:lnTo>
                      <a:pt x="163" y="152"/>
                    </a:lnTo>
                    <a:lnTo>
                      <a:pt x="173" y="152"/>
                    </a:lnTo>
                    <a:lnTo>
                      <a:pt x="173" y="152"/>
                    </a:lnTo>
                    <a:close/>
                    <a:moveTo>
                      <a:pt x="187" y="74"/>
                    </a:moveTo>
                    <a:lnTo>
                      <a:pt x="175" y="74"/>
                    </a:lnTo>
                    <a:lnTo>
                      <a:pt x="175" y="74"/>
                    </a:lnTo>
                    <a:lnTo>
                      <a:pt x="187" y="74"/>
                    </a:lnTo>
                    <a:lnTo>
                      <a:pt x="187" y="74"/>
                    </a:lnTo>
                    <a:close/>
                    <a:moveTo>
                      <a:pt x="376" y="74"/>
                    </a:moveTo>
                    <a:lnTo>
                      <a:pt x="366" y="74"/>
                    </a:lnTo>
                    <a:lnTo>
                      <a:pt x="366" y="74"/>
                    </a:lnTo>
                    <a:lnTo>
                      <a:pt x="376" y="74"/>
                    </a:lnTo>
                    <a:lnTo>
                      <a:pt x="376" y="74"/>
                    </a:lnTo>
                    <a:close/>
                    <a:moveTo>
                      <a:pt x="390" y="74"/>
                    </a:moveTo>
                    <a:lnTo>
                      <a:pt x="378" y="74"/>
                    </a:lnTo>
                    <a:lnTo>
                      <a:pt x="378" y="74"/>
                    </a:lnTo>
                    <a:lnTo>
                      <a:pt x="390" y="74"/>
                    </a:lnTo>
                    <a:lnTo>
                      <a:pt x="390" y="74"/>
                    </a:lnTo>
                    <a:close/>
                    <a:moveTo>
                      <a:pt x="399" y="64"/>
                    </a:moveTo>
                    <a:lnTo>
                      <a:pt x="399" y="64"/>
                    </a:lnTo>
                    <a:lnTo>
                      <a:pt x="399" y="74"/>
                    </a:lnTo>
                    <a:lnTo>
                      <a:pt x="390" y="74"/>
                    </a:lnTo>
                    <a:lnTo>
                      <a:pt x="390" y="74"/>
                    </a:lnTo>
                    <a:lnTo>
                      <a:pt x="399" y="74"/>
                    </a:lnTo>
                    <a:lnTo>
                      <a:pt x="399" y="64"/>
                    </a:lnTo>
                    <a:close/>
                    <a:moveTo>
                      <a:pt x="173" y="74"/>
                    </a:moveTo>
                    <a:lnTo>
                      <a:pt x="163" y="74"/>
                    </a:lnTo>
                    <a:lnTo>
                      <a:pt x="163" y="74"/>
                    </a:lnTo>
                    <a:lnTo>
                      <a:pt x="173" y="74"/>
                    </a:lnTo>
                    <a:lnTo>
                      <a:pt x="173" y="74"/>
                    </a:lnTo>
                    <a:close/>
                    <a:moveTo>
                      <a:pt x="199" y="74"/>
                    </a:moveTo>
                    <a:lnTo>
                      <a:pt x="189" y="74"/>
                    </a:lnTo>
                    <a:lnTo>
                      <a:pt x="189" y="74"/>
                    </a:lnTo>
                    <a:lnTo>
                      <a:pt x="199" y="74"/>
                    </a:lnTo>
                    <a:lnTo>
                      <a:pt x="199" y="74"/>
                    </a:lnTo>
                    <a:close/>
                    <a:moveTo>
                      <a:pt x="199" y="152"/>
                    </a:moveTo>
                    <a:lnTo>
                      <a:pt x="189" y="152"/>
                    </a:lnTo>
                    <a:lnTo>
                      <a:pt x="189" y="152"/>
                    </a:lnTo>
                    <a:lnTo>
                      <a:pt x="199" y="152"/>
                    </a:lnTo>
                    <a:lnTo>
                      <a:pt x="199" y="152"/>
                    </a:lnTo>
                    <a:close/>
                    <a:moveTo>
                      <a:pt x="187" y="152"/>
                    </a:moveTo>
                    <a:lnTo>
                      <a:pt x="175" y="152"/>
                    </a:lnTo>
                    <a:lnTo>
                      <a:pt x="175" y="152"/>
                    </a:lnTo>
                    <a:lnTo>
                      <a:pt x="187" y="152"/>
                    </a:lnTo>
                    <a:lnTo>
                      <a:pt x="187" y="152"/>
                    </a:lnTo>
                    <a:close/>
                    <a:moveTo>
                      <a:pt x="399" y="83"/>
                    </a:moveTo>
                    <a:lnTo>
                      <a:pt x="399" y="83"/>
                    </a:lnTo>
                    <a:lnTo>
                      <a:pt x="399" y="92"/>
                    </a:lnTo>
                    <a:lnTo>
                      <a:pt x="399" y="92"/>
                    </a:lnTo>
                    <a:lnTo>
                      <a:pt x="399" y="83"/>
                    </a:lnTo>
                    <a:close/>
                    <a:moveTo>
                      <a:pt x="399" y="24"/>
                    </a:moveTo>
                    <a:lnTo>
                      <a:pt x="399" y="24"/>
                    </a:lnTo>
                    <a:lnTo>
                      <a:pt x="399" y="33"/>
                    </a:lnTo>
                    <a:lnTo>
                      <a:pt x="399" y="33"/>
                    </a:lnTo>
                    <a:lnTo>
                      <a:pt x="399" y="24"/>
                    </a:lnTo>
                    <a:close/>
                    <a:moveTo>
                      <a:pt x="399" y="102"/>
                    </a:moveTo>
                    <a:lnTo>
                      <a:pt x="399" y="102"/>
                    </a:lnTo>
                    <a:lnTo>
                      <a:pt x="399" y="111"/>
                    </a:lnTo>
                    <a:lnTo>
                      <a:pt x="399" y="111"/>
                    </a:lnTo>
                    <a:lnTo>
                      <a:pt x="399" y="10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2" name="Freeform 49"/>
              <p:cNvSpPr>
                <a:spLocks noEditPoints="1"/>
              </p:cNvSpPr>
              <p:nvPr/>
            </p:nvSpPr>
            <p:spPr bwMode="auto">
              <a:xfrm>
                <a:off x="4127500" y="2805113"/>
                <a:ext cx="889000" cy="38100"/>
              </a:xfrm>
              <a:custGeom>
                <a:avLst/>
                <a:gdLst/>
                <a:ahLst/>
                <a:cxnLst>
                  <a:cxn ang="0">
                    <a:pos x="0" y="0"/>
                  </a:cxn>
                  <a:cxn ang="0">
                    <a:pos x="0" y="24"/>
                  </a:cxn>
                  <a:cxn ang="0">
                    <a:pos x="560" y="24"/>
                  </a:cxn>
                  <a:cxn ang="0">
                    <a:pos x="560" y="0"/>
                  </a:cxn>
                  <a:cxn ang="0">
                    <a:pos x="0" y="0"/>
                  </a:cxn>
                  <a:cxn ang="0">
                    <a:pos x="64" y="17"/>
                  </a:cxn>
                  <a:cxn ang="0">
                    <a:pos x="26" y="17"/>
                  </a:cxn>
                  <a:cxn ang="0">
                    <a:pos x="26" y="7"/>
                  </a:cxn>
                  <a:cxn ang="0">
                    <a:pos x="64" y="7"/>
                  </a:cxn>
                  <a:cxn ang="0">
                    <a:pos x="64" y="17"/>
                  </a:cxn>
                  <a:cxn ang="0">
                    <a:pos x="123" y="17"/>
                  </a:cxn>
                  <a:cxn ang="0">
                    <a:pos x="85" y="17"/>
                  </a:cxn>
                  <a:cxn ang="0">
                    <a:pos x="85" y="7"/>
                  </a:cxn>
                  <a:cxn ang="0">
                    <a:pos x="123" y="7"/>
                  </a:cxn>
                  <a:cxn ang="0">
                    <a:pos x="123" y="17"/>
                  </a:cxn>
                  <a:cxn ang="0">
                    <a:pos x="182" y="17"/>
                  </a:cxn>
                  <a:cxn ang="0">
                    <a:pos x="144" y="17"/>
                  </a:cxn>
                  <a:cxn ang="0">
                    <a:pos x="144" y="7"/>
                  </a:cxn>
                  <a:cxn ang="0">
                    <a:pos x="182" y="7"/>
                  </a:cxn>
                  <a:cxn ang="0">
                    <a:pos x="182" y="17"/>
                  </a:cxn>
                  <a:cxn ang="0">
                    <a:pos x="239" y="17"/>
                  </a:cxn>
                  <a:cxn ang="0">
                    <a:pos x="201" y="17"/>
                  </a:cxn>
                  <a:cxn ang="0">
                    <a:pos x="201" y="7"/>
                  </a:cxn>
                  <a:cxn ang="0">
                    <a:pos x="239" y="7"/>
                  </a:cxn>
                  <a:cxn ang="0">
                    <a:pos x="239" y="17"/>
                  </a:cxn>
                  <a:cxn ang="0">
                    <a:pos x="298" y="17"/>
                  </a:cxn>
                  <a:cxn ang="0">
                    <a:pos x="260" y="17"/>
                  </a:cxn>
                  <a:cxn ang="0">
                    <a:pos x="260" y="7"/>
                  </a:cxn>
                  <a:cxn ang="0">
                    <a:pos x="298" y="7"/>
                  </a:cxn>
                  <a:cxn ang="0">
                    <a:pos x="298" y="17"/>
                  </a:cxn>
                  <a:cxn ang="0">
                    <a:pos x="357" y="17"/>
                  </a:cxn>
                  <a:cxn ang="0">
                    <a:pos x="319" y="17"/>
                  </a:cxn>
                  <a:cxn ang="0">
                    <a:pos x="319" y="7"/>
                  </a:cxn>
                  <a:cxn ang="0">
                    <a:pos x="357" y="7"/>
                  </a:cxn>
                  <a:cxn ang="0">
                    <a:pos x="357" y="17"/>
                  </a:cxn>
                  <a:cxn ang="0">
                    <a:pos x="416" y="17"/>
                  </a:cxn>
                  <a:cxn ang="0">
                    <a:pos x="378" y="17"/>
                  </a:cxn>
                  <a:cxn ang="0">
                    <a:pos x="378" y="7"/>
                  </a:cxn>
                  <a:cxn ang="0">
                    <a:pos x="416" y="7"/>
                  </a:cxn>
                  <a:cxn ang="0">
                    <a:pos x="416" y="17"/>
                  </a:cxn>
                  <a:cxn ang="0">
                    <a:pos x="475" y="17"/>
                  </a:cxn>
                  <a:cxn ang="0">
                    <a:pos x="437" y="17"/>
                  </a:cxn>
                  <a:cxn ang="0">
                    <a:pos x="437" y="7"/>
                  </a:cxn>
                  <a:cxn ang="0">
                    <a:pos x="475" y="7"/>
                  </a:cxn>
                  <a:cxn ang="0">
                    <a:pos x="475" y="17"/>
                  </a:cxn>
                  <a:cxn ang="0">
                    <a:pos x="532" y="17"/>
                  </a:cxn>
                  <a:cxn ang="0">
                    <a:pos x="494" y="17"/>
                  </a:cxn>
                  <a:cxn ang="0">
                    <a:pos x="494" y="7"/>
                  </a:cxn>
                  <a:cxn ang="0">
                    <a:pos x="532" y="7"/>
                  </a:cxn>
                  <a:cxn ang="0">
                    <a:pos x="532" y="17"/>
                  </a:cxn>
                </a:cxnLst>
                <a:rect l="0" t="0" r="r" b="b"/>
                <a:pathLst>
                  <a:path w="560" h="24">
                    <a:moveTo>
                      <a:pt x="0" y="0"/>
                    </a:moveTo>
                    <a:lnTo>
                      <a:pt x="0" y="24"/>
                    </a:lnTo>
                    <a:lnTo>
                      <a:pt x="560" y="24"/>
                    </a:lnTo>
                    <a:lnTo>
                      <a:pt x="560" y="0"/>
                    </a:lnTo>
                    <a:lnTo>
                      <a:pt x="0" y="0"/>
                    </a:lnTo>
                    <a:close/>
                    <a:moveTo>
                      <a:pt x="64" y="17"/>
                    </a:moveTo>
                    <a:lnTo>
                      <a:pt x="26" y="17"/>
                    </a:lnTo>
                    <a:lnTo>
                      <a:pt x="26" y="7"/>
                    </a:lnTo>
                    <a:lnTo>
                      <a:pt x="64" y="7"/>
                    </a:lnTo>
                    <a:lnTo>
                      <a:pt x="64" y="17"/>
                    </a:lnTo>
                    <a:close/>
                    <a:moveTo>
                      <a:pt x="123" y="17"/>
                    </a:moveTo>
                    <a:lnTo>
                      <a:pt x="85" y="17"/>
                    </a:lnTo>
                    <a:lnTo>
                      <a:pt x="85" y="7"/>
                    </a:lnTo>
                    <a:lnTo>
                      <a:pt x="123" y="7"/>
                    </a:lnTo>
                    <a:lnTo>
                      <a:pt x="123" y="17"/>
                    </a:lnTo>
                    <a:close/>
                    <a:moveTo>
                      <a:pt x="182" y="17"/>
                    </a:moveTo>
                    <a:lnTo>
                      <a:pt x="144" y="17"/>
                    </a:lnTo>
                    <a:lnTo>
                      <a:pt x="144" y="7"/>
                    </a:lnTo>
                    <a:lnTo>
                      <a:pt x="182" y="7"/>
                    </a:lnTo>
                    <a:lnTo>
                      <a:pt x="182" y="17"/>
                    </a:lnTo>
                    <a:close/>
                    <a:moveTo>
                      <a:pt x="239" y="17"/>
                    </a:moveTo>
                    <a:lnTo>
                      <a:pt x="201" y="17"/>
                    </a:lnTo>
                    <a:lnTo>
                      <a:pt x="201" y="7"/>
                    </a:lnTo>
                    <a:lnTo>
                      <a:pt x="239" y="7"/>
                    </a:lnTo>
                    <a:lnTo>
                      <a:pt x="239" y="17"/>
                    </a:lnTo>
                    <a:close/>
                    <a:moveTo>
                      <a:pt x="298" y="17"/>
                    </a:moveTo>
                    <a:lnTo>
                      <a:pt x="260" y="17"/>
                    </a:lnTo>
                    <a:lnTo>
                      <a:pt x="260" y="7"/>
                    </a:lnTo>
                    <a:lnTo>
                      <a:pt x="298" y="7"/>
                    </a:lnTo>
                    <a:lnTo>
                      <a:pt x="298" y="17"/>
                    </a:lnTo>
                    <a:close/>
                    <a:moveTo>
                      <a:pt x="357" y="17"/>
                    </a:moveTo>
                    <a:lnTo>
                      <a:pt x="319" y="17"/>
                    </a:lnTo>
                    <a:lnTo>
                      <a:pt x="319" y="7"/>
                    </a:lnTo>
                    <a:lnTo>
                      <a:pt x="357" y="7"/>
                    </a:lnTo>
                    <a:lnTo>
                      <a:pt x="357" y="17"/>
                    </a:lnTo>
                    <a:close/>
                    <a:moveTo>
                      <a:pt x="416" y="17"/>
                    </a:moveTo>
                    <a:lnTo>
                      <a:pt x="378" y="17"/>
                    </a:lnTo>
                    <a:lnTo>
                      <a:pt x="378" y="7"/>
                    </a:lnTo>
                    <a:lnTo>
                      <a:pt x="416" y="7"/>
                    </a:lnTo>
                    <a:lnTo>
                      <a:pt x="416" y="17"/>
                    </a:lnTo>
                    <a:close/>
                    <a:moveTo>
                      <a:pt x="475" y="17"/>
                    </a:moveTo>
                    <a:lnTo>
                      <a:pt x="437" y="17"/>
                    </a:lnTo>
                    <a:lnTo>
                      <a:pt x="437" y="7"/>
                    </a:lnTo>
                    <a:lnTo>
                      <a:pt x="475" y="7"/>
                    </a:lnTo>
                    <a:lnTo>
                      <a:pt x="475" y="17"/>
                    </a:lnTo>
                    <a:close/>
                    <a:moveTo>
                      <a:pt x="532" y="17"/>
                    </a:moveTo>
                    <a:lnTo>
                      <a:pt x="494" y="17"/>
                    </a:lnTo>
                    <a:lnTo>
                      <a:pt x="494" y="7"/>
                    </a:lnTo>
                    <a:lnTo>
                      <a:pt x="532" y="7"/>
                    </a:lnTo>
                    <a:lnTo>
                      <a:pt x="532" y="1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94" name="Freeform 50"/>
              <p:cNvSpPr>
                <a:spLocks noEditPoints="1"/>
              </p:cNvSpPr>
              <p:nvPr/>
            </p:nvSpPr>
            <p:spPr bwMode="auto">
              <a:xfrm>
                <a:off x="4160838" y="2520950"/>
                <a:ext cx="828675" cy="311150"/>
              </a:xfrm>
              <a:custGeom>
                <a:avLst/>
                <a:gdLst/>
                <a:ahLst/>
                <a:cxnLst>
                  <a:cxn ang="0">
                    <a:pos x="189" y="101"/>
                  </a:cxn>
                  <a:cxn ang="0">
                    <a:pos x="128" y="80"/>
                  </a:cxn>
                  <a:cxn ang="0">
                    <a:pos x="329" y="123"/>
                  </a:cxn>
                  <a:cxn ang="0">
                    <a:pos x="0" y="28"/>
                  </a:cxn>
                  <a:cxn ang="0">
                    <a:pos x="128" y="54"/>
                  </a:cxn>
                  <a:cxn ang="0">
                    <a:pos x="378" y="130"/>
                  </a:cxn>
                  <a:cxn ang="0">
                    <a:pos x="381" y="89"/>
                  </a:cxn>
                  <a:cxn ang="0">
                    <a:pos x="381" y="99"/>
                  </a:cxn>
                  <a:cxn ang="0">
                    <a:pos x="378" y="99"/>
                  </a:cxn>
                  <a:cxn ang="0">
                    <a:pos x="329" y="80"/>
                  </a:cxn>
                  <a:cxn ang="0">
                    <a:pos x="378" y="49"/>
                  </a:cxn>
                  <a:cxn ang="0">
                    <a:pos x="381" y="30"/>
                  </a:cxn>
                  <a:cxn ang="0">
                    <a:pos x="128" y="89"/>
                  </a:cxn>
                  <a:cxn ang="0">
                    <a:pos x="357" y="71"/>
                  </a:cxn>
                  <a:cxn ang="0">
                    <a:pos x="343" y="61"/>
                  </a:cxn>
                  <a:cxn ang="0">
                    <a:pos x="378" y="61"/>
                  </a:cxn>
                  <a:cxn ang="0">
                    <a:pos x="357" y="71"/>
                  </a:cxn>
                  <a:cxn ang="0">
                    <a:pos x="329" y="61"/>
                  </a:cxn>
                  <a:cxn ang="0">
                    <a:pos x="189" y="49"/>
                  </a:cxn>
                  <a:cxn ang="0">
                    <a:pos x="329" y="19"/>
                  </a:cxn>
                  <a:cxn ang="0">
                    <a:pos x="345" y="149"/>
                  </a:cxn>
                  <a:cxn ang="0">
                    <a:pos x="369" y="149"/>
                  </a:cxn>
                  <a:cxn ang="0">
                    <a:pos x="378" y="139"/>
                  </a:cxn>
                  <a:cxn ang="0">
                    <a:pos x="397" y="170"/>
                  </a:cxn>
                  <a:cxn ang="0">
                    <a:pos x="454" y="186"/>
                  </a:cxn>
                  <a:cxn ang="0">
                    <a:pos x="357" y="196"/>
                  </a:cxn>
                  <a:cxn ang="0">
                    <a:pos x="277" y="196"/>
                  </a:cxn>
                  <a:cxn ang="0">
                    <a:pos x="329" y="172"/>
                  </a:cxn>
                  <a:cxn ang="0">
                    <a:pos x="381" y="158"/>
                  </a:cxn>
                  <a:cxn ang="0">
                    <a:pos x="345" y="158"/>
                  </a:cxn>
                  <a:cxn ang="0">
                    <a:pos x="369" y="158"/>
                  </a:cxn>
                  <a:cxn ang="0">
                    <a:pos x="378" y="167"/>
                  </a:cxn>
                  <a:cxn ang="0">
                    <a:pos x="522" y="47"/>
                  </a:cxn>
                  <a:cxn ang="0">
                    <a:pos x="397" y="125"/>
                  </a:cxn>
                  <a:cxn ang="0">
                    <a:pos x="397" y="64"/>
                  </a:cxn>
                  <a:cxn ang="0">
                    <a:pos x="522" y="73"/>
                  </a:cxn>
                  <a:cxn ang="0">
                    <a:pos x="128" y="108"/>
                  </a:cxn>
                  <a:cxn ang="0">
                    <a:pos x="522" y="115"/>
                  </a:cxn>
                  <a:cxn ang="0">
                    <a:pos x="64" y="186"/>
                  </a:cxn>
                  <a:cxn ang="0">
                    <a:pos x="123" y="196"/>
                  </a:cxn>
                  <a:cxn ang="0">
                    <a:pos x="0" y="134"/>
                  </a:cxn>
                  <a:cxn ang="0">
                    <a:pos x="142" y="170"/>
                  </a:cxn>
                  <a:cxn ang="0">
                    <a:pos x="166" y="158"/>
                  </a:cxn>
                  <a:cxn ang="0">
                    <a:pos x="142" y="158"/>
                  </a:cxn>
                  <a:cxn ang="0">
                    <a:pos x="128" y="144"/>
                  </a:cxn>
                  <a:cxn ang="0">
                    <a:pos x="180" y="99"/>
                  </a:cxn>
                  <a:cxn ang="0">
                    <a:pos x="142" y="52"/>
                  </a:cxn>
                  <a:cxn ang="0">
                    <a:pos x="166" y="71"/>
                  </a:cxn>
                  <a:cxn ang="0">
                    <a:pos x="168" y="71"/>
                  </a:cxn>
                  <a:cxn ang="0">
                    <a:pos x="166" y="71"/>
                  </a:cxn>
                  <a:cxn ang="0">
                    <a:pos x="142" y="71"/>
                  </a:cxn>
                  <a:cxn ang="0">
                    <a:pos x="218" y="196"/>
                  </a:cxn>
                  <a:cxn ang="0">
                    <a:pos x="142" y="80"/>
                  </a:cxn>
                  <a:cxn ang="0">
                    <a:pos x="142" y="149"/>
                  </a:cxn>
                  <a:cxn ang="0">
                    <a:pos x="178" y="149"/>
                  </a:cxn>
                  <a:cxn ang="0">
                    <a:pos x="154" y="149"/>
                  </a:cxn>
                </a:cxnLst>
                <a:rect l="0" t="0" r="r" b="b"/>
                <a:pathLst>
                  <a:path w="522" h="196">
                    <a:moveTo>
                      <a:pt x="329" y="141"/>
                    </a:moveTo>
                    <a:lnTo>
                      <a:pt x="189" y="141"/>
                    </a:lnTo>
                    <a:lnTo>
                      <a:pt x="189" y="151"/>
                    </a:lnTo>
                    <a:lnTo>
                      <a:pt x="329" y="151"/>
                    </a:lnTo>
                    <a:lnTo>
                      <a:pt x="329" y="141"/>
                    </a:lnTo>
                    <a:close/>
                    <a:moveTo>
                      <a:pt x="329" y="101"/>
                    </a:moveTo>
                    <a:lnTo>
                      <a:pt x="189" y="101"/>
                    </a:lnTo>
                    <a:lnTo>
                      <a:pt x="189" y="111"/>
                    </a:lnTo>
                    <a:lnTo>
                      <a:pt x="329" y="111"/>
                    </a:lnTo>
                    <a:lnTo>
                      <a:pt x="329" y="101"/>
                    </a:lnTo>
                    <a:close/>
                    <a:moveTo>
                      <a:pt x="128" y="73"/>
                    </a:moveTo>
                    <a:lnTo>
                      <a:pt x="0" y="73"/>
                    </a:lnTo>
                    <a:lnTo>
                      <a:pt x="0" y="80"/>
                    </a:lnTo>
                    <a:lnTo>
                      <a:pt x="128" y="80"/>
                    </a:lnTo>
                    <a:lnTo>
                      <a:pt x="128" y="73"/>
                    </a:lnTo>
                    <a:close/>
                    <a:moveTo>
                      <a:pt x="128" y="38"/>
                    </a:moveTo>
                    <a:lnTo>
                      <a:pt x="0" y="38"/>
                    </a:lnTo>
                    <a:lnTo>
                      <a:pt x="0" y="47"/>
                    </a:lnTo>
                    <a:lnTo>
                      <a:pt x="128" y="47"/>
                    </a:lnTo>
                    <a:lnTo>
                      <a:pt x="128" y="38"/>
                    </a:lnTo>
                    <a:close/>
                    <a:moveTo>
                      <a:pt x="329" y="123"/>
                    </a:moveTo>
                    <a:lnTo>
                      <a:pt x="189" y="123"/>
                    </a:lnTo>
                    <a:lnTo>
                      <a:pt x="189" y="132"/>
                    </a:lnTo>
                    <a:lnTo>
                      <a:pt x="329" y="132"/>
                    </a:lnTo>
                    <a:lnTo>
                      <a:pt x="329" y="123"/>
                    </a:lnTo>
                    <a:close/>
                    <a:moveTo>
                      <a:pt x="128" y="19"/>
                    </a:moveTo>
                    <a:lnTo>
                      <a:pt x="0" y="19"/>
                    </a:lnTo>
                    <a:lnTo>
                      <a:pt x="0" y="28"/>
                    </a:lnTo>
                    <a:lnTo>
                      <a:pt x="128" y="28"/>
                    </a:lnTo>
                    <a:lnTo>
                      <a:pt x="128" y="19"/>
                    </a:lnTo>
                    <a:close/>
                    <a:moveTo>
                      <a:pt x="128" y="54"/>
                    </a:moveTo>
                    <a:lnTo>
                      <a:pt x="0" y="54"/>
                    </a:lnTo>
                    <a:lnTo>
                      <a:pt x="0" y="64"/>
                    </a:lnTo>
                    <a:lnTo>
                      <a:pt x="128" y="64"/>
                    </a:lnTo>
                    <a:lnTo>
                      <a:pt x="128" y="54"/>
                    </a:lnTo>
                    <a:close/>
                    <a:moveTo>
                      <a:pt x="381" y="120"/>
                    </a:moveTo>
                    <a:lnTo>
                      <a:pt x="343" y="120"/>
                    </a:lnTo>
                    <a:lnTo>
                      <a:pt x="343" y="130"/>
                    </a:lnTo>
                    <a:lnTo>
                      <a:pt x="381" y="130"/>
                    </a:lnTo>
                    <a:lnTo>
                      <a:pt x="381" y="120"/>
                    </a:lnTo>
                    <a:close/>
                    <a:moveTo>
                      <a:pt x="378" y="130"/>
                    </a:moveTo>
                    <a:lnTo>
                      <a:pt x="378" y="130"/>
                    </a:lnTo>
                    <a:lnTo>
                      <a:pt x="378" y="120"/>
                    </a:lnTo>
                    <a:lnTo>
                      <a:pt x="378" y="120"/>
                    </a:lnTo>
                    <a:lnTo>
                      <a:pt x="378" y="130"/>
                    </a:lnTo>
                    <a:close/>
                    <a:moveTo>
                      <a:pt x="381" y="80"/>
                    </a:moveTo>
                    <a:lnTo>
                      <a:pt x="343" y="80"/>
                    </a:lnTo>
                    <a:lnTo>
                      <a:pt x="343" y="89"/>
                    </a:lnTo>
                    <a:lnTo>
                      <a:pt x="381" y="89"/>
                    </a:lnTo>
                    <a:lnTo>
                      <a:pt x="381" y="80"/>
                    </a:lnTo>
                    <a:close/>
                    <a:moveTo>
                      <a:pt x="378" y="89"/>
                    </a:moveTo>
                    <a:lnTo>
                      <a:pt x="378" y="89"/>
                    </a:lnTo>
                    <a:lnTo>
                      <a:pt x="378" y="80"/>
                    </a:lnTo>
                    <a:lnTo>
                      <a:pt x="378" y="80"/>
                    </a:lnTo>
                    <a:lnTo>
                      <a:pt x="378" y="89"/>
                    </a:lnTo>
                    <a:close/>
                    <a:moveTo>
                      <a:pt x="381" y="99"/>
                    </a:moveTo>
                    <a:lnTo>
                      <a:pt x="343" y="99"/>
                    </a:lnTo>
                    <a:lnTo>
                      <a:pt x="343" y="111"/>
                    </a:lnTo>
                    <a:lnTo>
                      <a:pt x="381" y="111"/>
                    </a:lnTo>
                    <a:lnTo>
                      <a:pt x="381" y="99"/>
                    </a:lnTo>
                    <a:close/>
                    <a:moveTo>
                      <a:pt x="378" y="108"/>
                    </a:moveTo>
                    <a:lnTo>
                      <a:pt x="378" y="108"/>
                    </a:lnTo>
                    <a:lnTo>
                      <a:pt x="378" y="99"/>
                    </a:lnTo>
                    <a:lnTo>
                      <a:pt x="378" y="99"/>
                    </a:lnTo>
                    <a:lnTo>
                      <a:pt x="378" y="108"/>
                    </a:lnTo>
                    <a:close/>
                    <a:moveTo>
                      <a:pt x="329" y="80"/>
                    </a:moveTo>
                    <a:lnTo>
                      <a:pt x="189" y="80"/>
                    </a:lnTo>
                    <a:lnTo>
                      <a:pt x="189" y="89"/>
                    </a:lnTo>
                    <a:lnTo>
                      <a:pt x="329" y="89"/>
                    </a:lnTo>
                    <a:lnTo>
                      <a:pt x="329" y="80"/>
                    </a:lnTo>
                    <a:close/>
                    <a:moveTo>
                      <a:pt x="381" y="40"/>
                    </a:moveTo>
                    <a:lnTo>
                      <a:pt x="343" y="40"/>
                    </a:lnTo>
                    <a:lnTo>
                      <a:pt x="343" y="52"/>
                    </a:lnTo>
                    <a:lnTo>
                      <a:pt x="381" y="52"/>
                    </a:lnTo>
                    <a:lnTo>
                      <a:pt x="381" y="40"/>
                    </a:lnTo>
                    <a:close/>
                    <a:moveTo>
                      <a:pt x="378" y="49"/>
                    </a:moveTo>
                    <a:lnTo>
                      <a:pt x="378" y="49"/>
                    </a:lnTo>
                    <a:lnTo>
                      <a:pt x="378" y="40"/>
                    </a:lnTo>
                    <a:lnTo>
                      <a:pt x="378" y="40"/>
                    </a:lnTo>
                    <a:lnTo>
                      <a:pt x="378" y="49"/>
                    </a:lnTo>
                    <a:close/>
                    <a:moveTo>
                      <a:pt x="381" y="21"/>
                    </a:moveTo>
                    <a:lnTo>
                      <a:pt x="343" y="21"/>
                    </a:lnTo>
                    <a:lnTo>
                      <a:pt x="343" y="30"/>
                    </a:lnTo>
                    <a:lnTo>
                      <a:pt x="381" y="30"/>
                    </a:lnTo>
                    <a:lnTo>
                      <a:pt x="381" y="21"/>
                    </a:lnTo>
                    <a:close/>
                    <a:moveTo>
                      <a:pt x="378" y="30"/>
                    </a:moveTo>
                    <a:lnTo>
                      <a:pt x="378" y="30"/>
                    </a:lnTo>
                    <a:lnTo>
                      <a:pt x="378" y="21"/>
                    </a:lnTo>
                    <a:lnTo>
                      <a:pt x="378" y="21"/>
                    </a:lnTo>
                    <a:lnTo>
                      <a:pt x="378" y="30"/>
                    </a:lnTo>
                    <a:close/>
                    <a:moveTo>
                      <a:pt x="128" y="89"/>
                    </a:moveTo>
                    <a:lnTo>
                      <a:pt x="0" y="89"/>
                    </a:lnTo>
                    <a:lnTo>
                      <a:pt x="0" y="99"/>
                    </a:lnTo>
                    <a:lnTo>
                      <a:pt x="128" y="99"/>
                    </a:lnTo>
                    <a:lnTo>
                      <a:pt x="128" y="89"/>
                    </a:lnTo>
                    <a:close/>
                    <a:moveTo>
                      <a:pt x="355" y="71"/>
                    </a:moveTo>
                    <a:lnTo>
                      <a:pt x="357" y="71"/>
                    </a:lnTo>
                    <a:lnTo>
                      <a:pt x="357" y="71"/>
                    </a:lnTo>
                    <a:lnTo>
                      <a:pt x="369" y="71"/>
                    </a:lnTo>
                    <a:lnTo>
                      <a:pt x="369" y="71"/>
                    </a:lnTo>
                    <a:lnTo>
                      <a:pt x="369" y="71"/>
                    </a:lnTo>
                    <a:lnTo>
                      <a:pt x="369" y="71"/>
                    </a:lnTo>
                    <a:lnTo>
                      <a:pt x="381" y="71"/>
                    </a:lnTo>
                    <a:lnTo>
                      <a:pt x="381" y="61"/>
                    </a:lnTo>
                    <a:lnTo>
                      <a:pt x="343" y="61"/>
                    </a:lnTo>
                    <a:lnTo>
                      <a:pt x="343" y="71"/>
                    </a:lnTo>
                    <a:lnTo>
                      <a:pt x="355" y="71"/>
                    </a:lnTo>
                    <a:lnTo>
                      <a:pt x="355" y="71"/>
                    </a:lnTo>
                    <a:close/>
                    <a:moveTo>
                      <a:pt x="369" y="71"/>
                    </a:moveTo>
                    <a:lnTo>
                      <a:pt x="378" y="71"/>
                    </a:lnTo>
                    <a:lnTo>
                      <a:pt x="378" y="61"/>
                    </a:lnTo>
                    <a:lnTo>
                      <a:pt x="378" y="61"/>
                    </a:lnTo>
                    <a:lnTo>
                      <a:pt x="378" y="71"/>
                    </a:lnTo>
                    <a:lnTo>
                      <a:pt x="369" y="71"/>
                    </a:lnTo>
                    <a:lnTo>
                      <a:pt x="369" y="71"/>
                    </a:lnTo>
                    <a:close/>
                    <a:moveTo>
                      <a:pt x="357" y="71"/>
                    </a:moveTo>
                    <a:lnTo>
                      <a:pt x="369" y="71"/>
                    </a:lnTo>
                    <a:lnTo>
                      <a:pt x="369" y="71"/>
                    </a:lnTo>
                    <a:lnTo>
                      <a:pt x="357" y="71"/>
                    </a:lnTo>
                    <a:lnTo>
                      <a:pt x="357" y="71"/>
                    </a:lnTo>
                    <a:close/>
                    <a:moveTo>
                      <a:pt x="345" y="71"/>
                    </a:moveTo>
                    <a:lnTo>
                      <a:pt x="345" y="71"/>
                    </a:lnTo>
                    <a:lnTo>
                      <a:pt x="355" y="71"/>
                    </a:lnTo>
                    <a:lnTo>
                      <a:pt x="355" y="71"/>
                    </a:lnTo>
                    <a:lnTo>
                      <a:pt x="345" y="71"/>
                    </a:lnTo>
                    <a:close/>
                    <a:moveTo>
                      <a:pt x="329" y="61"/>
                    </a:moveTo>
                    <a:lnTo>
                      <a:pt x="189" y="61"/>
                    </a:lnTo>
                    <a:lnTo>
                      <a:pt x="189" y="71"/>
                    </a:lnTo>
                    <a:lnTo>
                      <a:pt x="329" y="71"/>
                    </a:lnTo>
                    <a:lnTo>
                      <a:pt x="329" y="61"/>
                    </a:lnTo>
                    <a:close/>
                    <a:moveTo>
                      <a:pt x="329" y="40"/>
                    </a:moveTo>
                    <a:lnTo>
                      <a:pt x="189" y="40"/>
                    </a:lnTo>
                    <a:lnTo>
                      <a:pt x="189" y="49"/>
                    </a:lnTo>
                    <a:lnTo>
                      <a:pt x="329" y="49"/>
                    </a:lnTo>
                    <a:lnTo>
                      <a:pt x="329" y="40"/>
                    </a:lnTo>
                    <a:close/>
                    <a:moveTo>
                      <a:pt x="329" y="19"/>
                    </a:moveTo>
                    <a:lnTo>
                      <a:pt x="189" y="19"/>
                    </a:lnTo>
                    <a:lnTo>
                      <a:pt x="189" y="30"/>
                    </a:lnTo>
                    <a:lnTo>
                      <a:pt x="329" y="30"/>
                    </a:lnTo>
                    <a:lnTo>
                      <a:pt x="329" y="19"/>
                    </a:lnTo>
                    <a:close/>
                    <a:moveTo>
                      <a:pt x="381" y="139"/>
                    </a:moveTo>
                    <a:lnTo>
                      <a:pt x="343" y="139"/>
                    </a:lnTo>
                    <a:lnTo>
                      <a:pt x="343" y="149"/>
                    </a:lnTo>
                    <a:lnTo>
                      <a:pt x="381" y="149"/>
                    </a:lnTo>
                    <a:lnTo>
                      <a:pt x="381" y="139"/>
                    </a:lnTo>
                    <a:close/>
                    <a:moveTo>
                      <a:pt x="355" y="149"/>
                    </a:moveTo>
                    <a:lnTo>
                      <a:pt x="345" y="149"/>
                    </a:lnTo>
                    <a:lnTo>
                      <a:pt x="345" y="149"/>
                    </a:lnTo>
                    <a:lnTo>
                      <a:pt x="355" y="149"/>
                    </a:lnTo>
                    <a:lnTo>
                      <a:pt x="355" y="149"/>
                    </a:lnTo>
                    <a:close/>
                    <a:moveTo>
                      <a:pt x="369" y="149"/>
                    </a:moveTo>
                    <a:lnTo>
                      <a:pt x="357" y="149"/>
                    </a:lnTo>
                    <a:lnTo>
                      <a:pt x="357" y="149"/>
                    </a:lnTo>
                    <a:lnTo>
                      <a:pt x="369" y="149"/>
                    </a:lnTo>
                    <a:lnTo>
                      <a:pt x="369" y="149"/>
                    </a:lnTo>
                    <a:close/>
                    <a:moveTo>
                      <a:pt x="378" y="149"/>
                    </a:moveTo>
                    <a:lnTo>
                      <a:pt x="369" y="149"/>
                    </a:lnTo>
                    <a:lnTo>
                      <a:pt x="369" y="149"/>
                    </a:lnTo>
                    <a:lnTo>
                      <a:pt x="378" y="149"/>
                    </a:lnTo>
                    <a:lnTo>
                      <a:pt x="378" y="139"/>
                    </a:lnTo>
                    <a:lnTo>
                      <a:pt x="378" y="139"/>
                    </a:lnTo>
                    <a:lnTo>
                      <a:pt x="378" y="149"/>
                    </a:lnTo>
                    <a:close/>
                    <a:moveTo>
                      <a:pt x="329" y="0"/>
                    </a:moveTo>
                    <a:lnTo>
                      <a:pt x="189" y="0"/>
                    </a:lnTo>
                    <a:lnTo>
                      <a:pt x="189" y="9"/>
                    </a:lnTo>
                    <a:lnTo>
                      <a:pt x="329" y="9"/>
                    </a:lnTo>
                    <a:lnTo>
                      <a:pt x="329" y="0"/>
                    </a:lnTo>
                    <a:close/>
                    <a:moveTo>
                      <a:pt x="397" y="170"/>
                    </a:moveTo>
                    <a:lnTo>
                      <a:pt x="522" y="170"/>
                    </a:lnTo>
                    <a:lnTo>
                      <a:pt x="522" y="160"/>
                    </a:lnTo>
                    <a:lnTo>
                      <a:pt x="397" y="160"/>
                    </a:lnTo>
                    <a:lnTo>
                      <a:pt x="397" y="170"/>
                    </a:lnTo>
                    <a:close/>
                    <a:moveTo>
                      <a:pt x="416" y="196"/>
                    </a:moveTo>
                    <a:lnTo>
                      <a:pt x="454" y="196"/>
                    </a:lnTo>
                    <a:lnTo>
                      <a:pt x="454" y="186"/>
                    </a:lnTo>
                    <a:lnTo>
                      <a:pt x="416" y="186"/>
                    </a:lnTo>
                    <a:lnTo>
                      <a:pt x="416" y="196"/>
                    </a:lnTo>
                    <a:close/>
                    <a:moveTo>
                      <a:pt x="357" y="196"/>
                    </a:moveTo>
                    <a:lnTo>
                      <a:pt x="395" y="196"/>
                    </a:lnTo>
                    <a:lnTo>
                      <a:pt x="395" y="186"/>
                    </a:lnTo>
                    <a:lnTo>
                      <a:pt x="357" y="186"/>
                    </a:lnTo>
                    <a:lnTo>
                      <a:pt x="357" y="196"/>
                    </a:lnTo>
                    <a:close/>
                    <a:moveTo>
                      <a:pt x="473" y="196"/>
                    </a:moveTo>
                    <a:lnTo>
                      <a:pt x="511" y="196"/>
                    </a:lnTo>
                    <a:lnTo>
                      <a:pt x="511" y="186"/>
                    </a:lnTo>
                    <a:lnTo>
                      <a:pt x="473" y="186"/>
                    </a:lnTo>
                    <a:lnTo>
                      <a:pt x="473" y="196"/>
                    </a:lnTo>
                    <a:close/>
                    <a:moveTo>
                      <a:pt x="239" y="196"/>
                    </a:moveTo>
                    <a:lnTo>
                      <a:pt x="277" y="196"/>
                    </a:lnTo>
                    <a:lnTo>
                      <a:pt x="277" y="186"/>
                    </a:lnTo>
                    <a:lnTo>
                      <a:pt x="239" y="186"/>
                    </a:lnTo>
                    <a:lnTo>
                      <a:pt x="239" y="196"/>
                    </a:lnTo>
                    <a:close/>
                    <a:moveTo>
                      <a:pt x="329" y="163"/>
                    </a:moveTo>
                    <a:lnTo>
                      <a:pt x="189" y="163"/>
                    </a:lnTo>
                    <a:lnTo>
                      <a:pt x="189" y="172"/>
                    </a:lnTo>
                    <a:lnTo>
                      <a:pt x="329" y="172"/>
                    </a:lnTo>
                    <a:lnTo>
                      <a:pt x="329" y="163"/>
                    </a:lnTo>
                    <a:close/>
                    <a:moveTo>
                      <a:pt x="298" y="196"/>
                    </a:moveTo>
                    <a:lnTo>
                      <a:pt x="336" y="196"/>
                    </a:lnTo>
                    <a:lnTo>
                      <a:pt x="336" y="186"/>
                    </a:lnTo>
                    <a:lnTo>
                      <a:pt x="298" y="186"/>
                    </a:lnTo>
                    <a:lnTo>
                      <a:pt x="298" y="196"/>
                    </a:lnTo>
                    <a:close/>
                    <a:moveTo>
                      <a:pt x="381" y="158"/>
                    </a:moveTo>
                    <a:lnTo>
                      <a:pt x="343" y="158"/>
                    </a:lnTo>
                    <a:lnTo>
                      <a:pt x="343" y="170"/>
                    </a:lnTo>
                    <a:lnTo>
                      <a:pt x="381" y="170"/>
                    </a:lnTo>
                    <a:lnTo>
                      <a:pt x="381" y="158"/>
                    </a:lnTo>
                    <a:close/>
                    <a:moveTo>
                      <a:pt x="355" y="158"/>
                    </a:moveTo>
                    <a:lnTo>
                      <a:pt x="345" y="158"/>
                    </a:lnTo>
                    <a:lnTo>
                      <a:pt x="345" y="158"/>
                    </a:lnTo>
                    <a:lnTo>
                      <a:pt x="355" y="158"/>
                    </a:lnTo>
                    <a:lnTo>
                      <a:pt x="355" y="158"/>
                    </a:lnTo>
                    <a:close/>
                    <a:moveTo>
                      <a:pt x="369" y="158"/>
                    </a:moveTo>
                    <a:lnTo>
                      <a:pt x="357" y="158"/>
                    </a:lnTo>
                    <a:lnTo>
                      <a:pt x="357" y="158"/>
                    </a:lnTo>
                    <a:lnTo>
                      <a:pt x="369" y="158"/>
                    </a:lnTo>
                    <a:lnTo>
                      <a:pt x="369" y="158"/>
                    </a:lnTo>
                    <a:close/>
                    <a:moveTo>
                      <a:pt x="378" y="167"/>
                    </a:moveTo>
                    <a:lnTo>
                      <a:pt x="378" y="167"/>
                    </a:lnTo>
                    <a:lnTo>
                      <a:pt x="378" y="158"/>
                    </a:lnTo>
                    <a:lnTo>
                      <a:pt x="369" y="158"/>
                    </a:lnTo>
                    <a:lnTo>
                      <a:pt x="369" y="158"/>
                    </a:lnTo>
                    <a:lnTo>
                      <a:pt x="378" y="158"/>
                    </a:lnTo>
                    <a:lnTo>
                      <a:pt x="378" y="167"/>
                    </a:lnTo>
                    <a:close/>
                    <a:moveTo>
                      <a:pt x="397" y="151"/>
                    </a:moveTo>
                    <a:lnTo>
                      <a:pt x="522" y="151"/>
                    </a:lnTo>
                    <a:lnTo>
                      <a:pt x="522" y="144"/>
                    </a:lnTo>
                    <a:lnTo>
                      <a:pt x="397" y="144"/>
                    </a:lnTo>
                    <a:lnTo>
                      <a:pt x="397" y="151"/>
                    </a:lnTo>
                    <a:close/>
                    <a:moveTo>
                      <a:pt x="397" y="47"/>
                    </a:moveTo>
                    <a:lnTo>
                      <a:pt x="522" y="47"/>
                    </a:lnTo>
                    <a:lnTo>
                      <a:pt x="522" y="38"/>
                    </a:lnTo>
                    <a:lnTo>
                      <a:pt x="397" y="38"/>
                    </a:lnTo>
                    <a:lnTo>
                      <a:pt x="397" y="47"/>
                    </a:lnTo>
                    <a:close/>
                    <a:moveTo>
                      <a:pt x="397" y="134"/>
                    </a:moveTo>
                    <a:lnTo>
                      <a:pt x="522" y="134"/>
                    </a:lnTo>
                    <a:lnTo>
                      <a:pt x="522" y="125"/>
                    </a:lnTo>
                    <a:lnTo>
                      <a:pt x="397" y="125"/>
                    </a:lnTo>
                    <a:lnTo>
                      <a:pt x="397" y="134"/>
                    </a:lnTo>
                    <a:close/>
                    <a:moveTo>
                      <a:pt x="397" y="19"/>
                    </a:moveTo>
                    <a:lnTo>
                      <a:pt x="397" y="28"/>
                    </a:lnTo>
                    <a:lnTo>
                      <a:pt x="522" y="28"/>
                    </a:lnTo>
                    <a:lnTo>
                      <a:pt x="522" y="19"/>
                    </a:lnTo>
                    <a:lnTo>
                      <a:pt x="397" y="19"/>
                    </a:lnTo>
                    <a:close/>
                    <a:moveTo>
                      <a:pt x="397" y="64"/>
                    </a:moveTo>
                    <a:lnTo>
                      <a:pt x="522" y="64"/>
                    </a:lnTo>
                    <a:lnTo>
                      <a:pt x="522" y="54"/>
                    </a:lnTo>
                    <a:lnTo>
                      <a:pt x="397" y="54"/>
                    </a:lnTo>
                    <a:lnTo>
                      <a:pt x="397" y="64"/>
                    </a:lnTo>
                    <a:close/>
                    <a:moveTo>
                      <a:pt x="397" y="80"/>
                    </a:moveTo>
                    <a:lnTo>
                      <a:pt x="522" y="80"/>
                    </a:lnTo>
                    <a:lnTo>
                      <a:pt x="522" y="73"/>
                    </a:lnTo>
                    <a:lnTo>
                      <a:pt x="397" y="73"/>
                    </a:lnTo>
                    <a:lnTo>
                      <a:pt x="397" y="80"/>
                    </a:lnTo>
                    <a:close/>
                    <a:moveTo>
                      <a:pt x="128" y="108"/>
                    </a:moveTo>
                    <a:lnTo>
                      <a:pt x="0" y="108"/>
                    </a:lnTo>
                    <a:lnTo>
                      <a:pt x="0" y="115"/>
                    </a:lnTo>
                    <a:lnTo>
                      <a:pt x="128" y="115"/>
                    </a:lnTo>
                    <a:lnTo>
                      <a:pt x="128" y="108"/>
                    </a:lnTo>
                    <a:close/>
                    <a:moveTo>
                      <a:pt x="397" y="99"/>
                    </a:moveTo>
                    <a:lnTo>
                      <a:pt x="522" y="99"/>
                    </a:lnTo>
                    <a:lnTo>
                      <a:pt x="522" y="89"/>
                    </a:lnTo>
                    <a:lnTo>
                      <a:pt x="397" y="89"/>
                    </a:lnTo>
                    <a:lnTo>
                      <a:pt x="397" y="99"/>
                    </a:lnTo>
                    <a:close/>
                    <a:moveTo>
                      <a:pt x="397" y="115"/>
                    </a:moveTo>
                    <a:lnTo>
                      <a:pt x="522" y="115"/>
                    </a:lnTo>
                    <a:lnTo>
                      <a:pt x="522" y="108"/>
                    </a:lnTo>
                    <a:lnTo>
                      <a:pt x="397" y="108"/>
                    </a:lnTo>
                    <a:lnTo>
                      <a:pt x="397" y="115"/>
                    </a:lnTo>
                    <a:close/>
                    <a:moveTo>
                      <a:pt x="64" y="196"/>
                    </a:moveTo>
                    <a:lnTo>
                      <a:pt x="102" y="196"/>
                    </a:lnTo>
                    <a:lnTo>
                      <a:pt x="102" y="186"/>
                    </a:lnTo>
                    <a:lnTo>
                      <a:pt x="64" y="186"/>
                    </a:lnTo>
                    <a:lnTo>
                      <a:pt x="64" y="196"/>
                    </a:lnTo>
                    <a:close/>
                    <a:moveTo>
                      <a:pt x="128" y="160"/>
                    </a:moveTo>
                    <a:lnTo>
                      <a:pt x="0" y="160"/>
                    </a:lnTo>
                    <a:lnTo>
                      <a:pt x="0" y="170"/>
                    </a:lnTo>
                    <a:lnTo>
                      <a:pt x="128" y="170"/>
                    </a:lnTo>
                    <a:lnTo>
                      <a:pt x="128" y="160"/>
                    </a:lnTo>
                    <a:close/>
                    <a:moveTo>
                      <a:pt x="123" y="196"/>
                    </a:moveTo>
                    <a:lnTo>
                      <a:pt x="161" y="196"/>
                    </a:lnTo>
                    <a:lnTo>
                      <a:pt x="161" y="186"/>
                    </a:lnTo>
                    <a:lnTo>
                      <a:pt x="123" y="186"/>
                    </a:lnTo>
                    <a:lnTo>
                      <a:pt x="123" y="196"/>
                    </a:lnTo>
                    <a:close/>
                    <a:moveTo>
                      <a:pt x="128" y="125"/>
                    </a:moveTo>
                    <a:lnTo>
                      <a:pt x="0" y="125"/>
                    </a:lnTo>
                    <a:lnTo>
                      <a:pt x="0" y="134"/>
                    </a:lnTo>
                    <a:lnTo>
                      <a:pt x="128" y="134"/>
                    </a:lnTo>
                    <a:lnTo>
                      <a:pt x="128" y="125"/>
                    </a:lnTo>
                    <a:close/>
                    <a:moveTo>
                      <a:pt x="142" y="170"/>
                    </a:moveTo>
                    <a:lnTo>
                      <a:pt x="180" y="170"/>
                    </a:lnTo>
                    <a:lnTo>
                      <a:pt x="180" y="158"/>
                    </a:lnTo>
                    <a:lnTo>
                      <a:pt x="142" y="158"/>
                    </a:lnTo>
                    <a:lnTo>
                      <a:pt x="142" y="170"/>
                    </a:lnTo>
                    <a:close/>
                    <a:moveTo>
                      <a:pt x="168" y="158"/>
                    </a:moveTo>
                    <a:lnTo>
                      <a:pt x="178" y="158"/>
                    </a:lnTo>
                    <a:lnTo>
                      <a:pt x="178" y="158"/>
                    </a:lnTo>
                    <a:lnTo>
                      <a:pt x="168" y="158"/>
                    </a:lnTo>
                    <a:lnTo>
                      <a:pt x="168" y="158"/>
                    </a:lnTo>
                    <a:close/>
                    <a:moveTo>
                      <a:pt x="154" y="158"/>
                    </a:moveTo>
                    <a:lnTo>
                      <a:pt x="166" y="158"/>
                    </a:lnTo>
                    <a:lnTo>
                      <a:pt x="166" y="158"/>
                    </a:lnTo>
                    <a:lnTo>
                      <a:pt x="154" y="158"/>
                    </a:lnTo>
                    <a:lnTo>
                      <a:pt x="154" y="158"/>
                    </a:lnTo>
                    <a:close/>
                    <a:moveTo>
                      <a:pt x="142" y="158"/>
                    </a:moveTo>
                    <a:lnTo>
                      <a:pt x="152" y="158"/>
                    </a:lnTo>
                    <a:lnTo>
                      <a:pt x="152" y="158"/>
                    </a:lnTo>
                    <a:lnTo>
                      <a:pt x="142" y="158"/>
                    </a:lnTo>
                    <a:lnTo>
                      <a:pt x="142" y="158"/>
                    </a:lnTo>
                    <a:close/>
                    <a:moveTo>
                      <a:pt x="5" y="196"/>
                    </a:moveTo>
                    <a:lnTo>
                      <a:pt x="43" y="196"/>
                    </a:lnTo>
                    <a:lnTo>
                      <a:pt x="43" y="186"/>
                    </a:lnTo>
                    <a:lnTo>
                      <a:pt x="5" y="186"/>
                    </a:lnTo>
                    <a:lnTo>
                      <a:pt x="5" y="196"/>
                    </a:lnTo>
                    <a:close/>
                    <a:moveTo>
                      <a:pt x="128" y="144"/>
                    </a:moveTo>
                    <a:lnTo>
                      <a:pt x="0" y="144"/>
                    </a:lnTo>
                    <a:lnTo>
                      <a:pt x="0" y="151"/>
                    </a:lnTo>
                    <a:lnTo>
                      <a:pt x="128" y="151"/>
                    </a:lnTo>
                    <a:lnTo>
                      <a:pt x="128" y="144"/>
                    </a:lnTo>
                    <a:close/>
                    <a:moveTo>
                      <a:pt x="142" y="111"/>
                    </a:moveTo>
                    <a:lnTo>
                      <a:pt x="180" y="111"/>
                    </a:lnTo>
                    <a:lnTo>
                      <a:pt x="180" y="99"/>
                    </a:lnTo>
                    <a:lnTo>
                      <a:pt x="142" y="99"/>
                    </a:lnTo>
                    <a:lnTo>
                      <a:pt x="142" y="111"/>
                    </a:lnTo>
                    <a:close/>
                    <a:moveTo>
                      <a:pt x="142" y="52"/>
                    </a:moveTo>
                    <a:lnTo>
                      <a:pt x="180" y="52"/>
                    </a:lnTo>
                    <a:lnTo>
                      <a:pt x="180" y="40"/>
                    </a:lnTo>
                    <a:lnTo>
                      <a:pt x="142" y="40"/>
                    </a:lnTo>
                    <a:lnTo>
                      <a:pt x="142" y="52"/>
                    </a:lnTo>
                    <a:close/>
                    <a:moveTo>
                      <a:pt x="142" y="71"/>
                    </a:moveTo>
                    <a:lnTo>
                      <a:pt x="152" y="71"/>
                    </a:lnTo>
                    <a:lnTo>
                      <a:pt x="152" y="71"/>
                    </a:lnTo>
                    <a:lnTo>
                      <a:pt x="154" y="71"/>
                    </a:lnTo>
                    <a:lnTo>
                      <a:pt x="154" y="71"/>
                    </a:lnTo>
                    <a:lnTo>
                      <a:pt x="166" y="71"/>
                    </a:lnTo>
                    <a:lnTo>
                      <a:pt x="166" y="71"/>
                    </a:lnTo>
                    <a:lnTo>
                      <a:pt x="168" y="71"/>
                    </a:lnTo>
                    <a:lnTo>
                      <a:pt x="168" y="71"/>
                    </a:lnTo>
                    <a:lnTo>
                      <a:pt x="180" y="71"/>
                    </a:lnTo>
                    <a:lnTo>
                      <a:pt x="180" y="61"/>
                    </a:lnTo>
                    <a:lnTo>
                      <a:pt x="142" y="61"/>
                    </a:lnTo>
                    <a:lnTo>
                      <a:pt x="142" y="71"/>
                    </a:lnTo>
                    <a:close/>
                    <a:moveTo>
                      <a:pt x="168" y="71"/>
                    </a:moveTo>
                    <a:lnTo>
                      <a:pt x="178" y="71"/>
                    </a:lnTo>
                    <a:lnTo>
                      <a:pt x="178" y="71"/>
                    </a:lnTo>
                    <a:lnTo>
                      <a:pt x="168" y="71"/>
                    </a:lnTo>
                    <a:lnTo>
                      <a:pt x="168" y="71"/>
                    </a:lnTo>
                    <a:close/>
                    <a:moveTo>
                      <a:pt x="154" y="71"/>
                    </a:moveTo>
                    <a:lnTo>
                      <a:pt x="166" y="71"/>
                    </a:lnTo>
                    <a:lnTo>
                      <a:pt x="166" y="71"/>
                    </a:lnTo>
                    <a:lnTo>
                      <a:pt x="154" y="71"/>
                    </a:lnTo>
                    <a:lnTo>
                      <a:pt x="154" y="71"/>
                    </a:lnTo>
                    <a:close/>
                    <a:moveTo>
                      <a:pt x="142" y="71"/>
                    </a:moveTo>
                    <a:lnTo>
                      <a:pt x="152" y="71"/>
                    </a:lnTo>
                    <a:lnTo>
                      <a:pt x="152" y="71"/>
                    </a:lnTo>
                    <a:lnTo>
                      <a:pt x="142" y="71"/>
                    </a:lnTo>
                    <a:lnTo>
                      <a:pt x="142" y="71"/>
                    </a:lnTo>
                    <a:close/>
                    <a:moveTo>
                      <a:pt x="142" y="30"/>
                    </a:moveTo>
                    <a:lnTo>
                      <a:pt x="180" y="30"/>
                    </a:lnTo>
                    <a:lnTo>
                      <a:pt x="180" y="21"/>
                    </a:lnTo>
                    <a:lnTo>
                      <a:pt x="142" y="21"/>
                    </a:lnTo>
                    <a:lnTo>
                      <a:pt x="142" y="30"/>
                    </a:lnTo>
                    <a:close/>
                    <a:moveTo>
                      <a:pt x="180" y="196"/>
                    </a:moveTo>
                    <a:lnTo>
                      <a:pt x="218" y="196"/>
                    </a:lnTo>
                    <a:lnTo>
                      <a:pt x="218" y="186"/>
                    </a:lnTo>
                    <a:lnTo>
                      <a:pt x="180" y="186"/>
                    </a:lnTo>
                    <a:lnTo>
                      <a:pt x="180" y="196"/>
                    </a:lnTo>
                    <a:close/>
                    <a:moveTo>
                      <a:pt x="142" y="89"/>
                    </a:moveTo>
                    <a:lnTo>
                      <a:pt x="180" y="89"/>
                    </a:lnTo>
                    <a:lnTo>
                      <a:pt x="180" y="80"/>
                    </a:lnTo>
                    <a:lnTo>
                      <a:pt x="142" y="80"/>
                    </a:lnTo>
                    <a:lnTo>
                      <a:pt x="142" y="89"/>
                    </a:lnTo>
                    <a:close/>
                    <a:moveTo>
                      <a:pt x="142" y="130"/>
                    </a:moveTo>
                    <a:lnTo>
                      <a:pt x="180" y="130"/>
                    </a:lnTo>
                    <a:lnTo>
                      <a:pt x="180" y="120"/>
                    </a:lnTo>
                    <a:lnTo>
                      <a:pt x="142" y="120"/>
                    </a:lnTo>
                    <a:lnTo>
                      <a:pt x="142" y="130"/>
                    </a:lnTo>
                    <a:close/>
                    <a:moveTo>
                      <a:pt x="142" y="149"/>
                    </a:moveTo>
                    <a:lnTo>
                      <a:pt x="180" y="149"/>
                    </a:lnTo>
                    <a:lnTo>
                      <a:pt x="180" y="139"/>
                    </a:lnTo>
                    <a:lnTo>
                      <a:pt x="142" y="139"/>
                    </a:lnTo>
                    <a:lnTo>
                      <a:pt x="142" y="149"/>
                    </a:lnTo>
                    <a:close/>
                    <a:moveTo>
                      <a:pt x="168" y="149"/>
                    </a:moveTo>
                    <a:lnTo>
                      <a:pt x="178" y="149"/>
                    </a:lnTo>
                    <a:lnTo>
                      <a:pt x="178" y="149"/>
                    </a:lnTo>
                    <a:lnTo>
                      <a:pt x="168" y="149"/>
                    </a:lnTo>
                    <a:lnTo>
                      <a:pt x="168" y="149"/>
                    </a:lnTo>
                    <a:close/>
                    <a:moveTo>
                      <a:pt x="154" y="149"/>
                    </a:moveTo>
                    <a:lnTo>
                      <a:pt x="166" y="149"/>
                    </a:lnTo>
                    <a:lnTo>
                      <a:pt x="166" y="149"/>
                    </a:lnTo>
                    <a:lnTo>
                      <a:pt x="154" y="149"/>
                    </a:lnTo>
                    <a:lnTo>
                      <a:pt x="154" y="149"/>
                    </a:lnTo>
                    <a:close/>
                    <a:moveTo>
                      <a:pt x="142" y="149"/>
                    </a:moveTo>
                    <a:lnTo>
                      <a:pt x="152" y="149"/>
                    </a:lnTo>
                    <a:lnTo>
                      <a:pt x="152" y="149"/>
                    </a:lnTo>
                    <a:lnTo>
                      <a:pt x="142" y="149"/>
                    </a:lnTo>
                    <a:lnTo>
                      <a:pt x="142" y="1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96" name="Freeform 70"/>
            <p:cNvSpPr>
              <a:spLocks noEditPoints="1"/>
            </p:cNvSpPr>
            <p:nvPr/>
          </p:nvSpPr>
          <p:spPr bwMode="auto">
            <a:xfrm>
              <a:off x="6998814" y="2619929"/>
              <a:ext cx="442573" cy="1550989"/>
            </a:xfrm>
            <a:custGeom>
              <a:avLst/>
              <a:gdLst/>
              <a:ahLst/>
              <a:cxnLst>
                <a:cxn ang="0">
                  <a:pos x="161" y="659"/>
                </a:cxn>
                <a:cxn ang="0">
                  <a:pos x="0" y="642"/>
                </a:cxn>
                <a:cxn ang="0">
                  <a:pos x="0" y="593"/>
                </a:cxn>
                <a:cxn ang="0">
                  <a:pos x="161" y="576"/>
                </a:cxn>
                <a:cxn ang="0">
                  <a:pos x="0" y="576"/>
                </a:cxn>
                <a:cxn ang="0">
                  <a:pos x="161" y="458"/>
                </a:cxn>
                <a:cxn ang="0">
                  <a:pos x="0" y="309"/>
                </a:cxn>
                <a:cxn ang="0">
                  <a:pos x="0" y="260"/>
                </a:cxn>
                <a:cxn ang="0">
                  <a:pos x="161" y="441"/>
                </a:cxn>
                <a:cxn ang="0">
                  <a:pos x="0" y="441"/>
                </a:cxn>
                <a:cxn ang="0">
                  <a:pos x="161" y="326"/>
                </a:cxn>
                <a:cxn ang="0">
                  <a:pos x="0" y="241"/>
                </a:cxn>
                <a:cxn ang="0">
                  <a:pos x="0" y="193"/>
                </a:cxn>
                <a:cxn ang="0">
                  <a:pos x="161" y="1174"/>
                </a:cxn>
                <a:cxn ang="0">
                  <a:pos x="0" y="1174"/>
                </a:cxn>
                <a:cxn ang="0">
                  <a:pos x="161" y="725"/>
                </a:cxn>
                <a:cxn ang="0">
                  <a:pos x="0" y="1107"/>
                </a:cxn>
                <a:cxn ang="0">
                  <a:pos x="0" y="1058"/>
                </a:cxn>
                <a:cxn ang="0">
                  <a:pos x="0" y="175"/>
                </a:cxn>
                <a:cxn ang="0">
                  <a:pos x="0" y="841"/>
                </a:cxn>
                <a:cxn ang="0">
                  <a:pos x="0" y="791"/>
                </a:cxn>
                <a:cxn ang="0">
                  <a:pos x="161" y="1041"/>
                </a:cxn>
                <a:cxn ang="0">
                  <a:pos x="0" y="1041"/>
                </a:cxn>
                <a:cxn ang="0">
                  <a:pos x="161" y="859"/>
                </a:cxn>
                <a:cxn ang="0">
                  <a:pos x="0" y="975"/>
                </a:cxn>
                <a:cxn ang="0">
                  <a:pos x="0" y="926"/>
                </a:cxn>
                <a:cxn ang="0">
                  <a:pos x="335" y="508"/>
                </a:cxn>
                <a:cxn ang="0">
                  <a:pos x="175" y="508"/>
                </a:cxn>
                <a:cxn ang="0">
                  <a:pos x="335" y="526"/>
                </a:cxn>
                <a:cxn ang="0">
                  <a:pos x="175" y="441"/>
                </a:cxn>
                <a:cxn ang="0">
                  <a:pos x="175" y="392"/>
                </a:cxn>
                <a:cxn ang="0">
                  <a:pos x="335" y="309"/>
                </a:cxn>
                <a:cxn ang="0">
                  <a:pos x="175" y="309"/>
                </a:cxn>
                <a:cxn ang="0">
                  <a:pos x="335" y="193"/>
                </a:cxn>
                <a:cxn ang="0">
                  <a:pos x="175" y="375"/>
                </a:cxn>
                <a:cxn ang="0">
                  <a:pos x="175" y="326"/>
                </a:cxn>
                <a:cxn ang="0">
                  <a:pos x="335" y="642"/>
                </a:cxn>
                <a:cxn ang="0">
                  <a:pos x="175" y="642"/>
                </a:cxn>
                <a:cxn ang="0">
                  <a:pos x="335" y="992"/>
                </a:cxn>
                <a:cxn ang="0">
                  <a:pos x="175" y="975"/>
                </a:cxn>
                <a:cxn ang="0">
                  <a:pos x="175" y="926"/>
                </a:cxn>
                <a:cxn ang="0">
                  <a:pos x="335" y="1174"/>
                </a:cxn>
                <a:cxn ang="0">
                  <a:pos x="175" y="1174"/>
                </a:cxn>
                <a:cxn ang="0">
                  <a:pos x="335" y="1058"/>
                </a:cxn>
                <a:cxn ang="0">
                  <a:pos x="175" y="841"/>
                </a:cxn>
                <a:cxn ang="0">
                  <a:pos x="175" y="791"/>
                </a:cxn>
                <a:cxn ang="0">
                  <a:pos x="335" y="774"/>
                </a:cxn>
                <a:cxn ang="0">
                  <a:pos x="175" y="774"/>
                </a:cxn>
                <a:cxn ang="0">
                  <a:pos x="335" y="859"/>
                </a:cxn>
                <a:cxn ang="0">
                  <a:pos x="175" y="708"/>
                </a:cxn>
                <a:cxn ang="0">
                  <a:pos x="175" y="659"/>
                </a:cxn>
              </a:cxnLst>
              <a:rect l="0" t="0" r="r" b="b"/>
              <a:pathLst>
                <a:path w="335" h="1174">
                  <a:moveTo>
                    <a:pt x="0" y="708"/>
                  </a:moveTo>
                  <a:lnTo>
                    <a:pt x="161" y="708"/>
                  </a:lnTo>
                  <a:lnTo>
                    <a:pt x="161" y="659"/>
                  </a:lnTo>
                  <a:lnTo>
                    <a:pt x="0" y="659"/>
                  </a:lnTo>
                  <a:lnTo>
                    <a:pt x="0" y="708"/>
                  </a:lnTo>
                  <a:close/>
                  <a:moveTo>
                    <a:pt x="0" y="642"/>
                  </a:moveTo>
                  <a:lnTo>
                    <a:pt x="161" y="642"/>
                  </a:lnTo>
                  <a:lnTo>
                    <a:pt x="161" y="593"/>
                  </a:lnTo>
                  <a:lnTo>
                    <a:pt x="0" y="593"/>
                  </a:lnTo>
                  <a:lnTo>
                    <a:pt x="0" y="642"/>
                  </a:lnTo>
                  <a:close/>
                  <a:moveTo>
                    <a:pt x="0" y="576"/>
                  </a:moveTo>
                  <a:lnTo>
                    <a:pt x="161" y="576"/>
                  </a:lnTo>
                  <a:lnTo>
                    <a:pt x="161" y="526"/>
                  </a:lnTo>
                  <a:lnTo>
                    <a:pt x="0" y="526"/>
                  </a:lnTo>
                  <a:lnTo>
                    <a:pt x="0" y="576"/>
                  </a:lnTo>
                  <a:close/>
                  <a:moveTo>
                    <a:pt x="0" y="508"/>
                  </a:moveTo>
                  <a:lnTo>
                    <a:pt x="161" y="508"/>
                  </a:lnTo>
                  <a:lnTo>
                    <a:pt x="161" y="458"/>
                  </a:lnTo>
                  <a:lnTo>
                    <a:pt x="0" y="458"/>
                  </a:lnTo>
                  <a:lnTo>
                    <a:pt x="0" y="508"/>
                  </a:lnTo>
                  <a:close/>
                  <a:moveTo>
                    <a:pt x="0" y="309"/>
                  </a:moveTo>
                  <a:lnTo>
                    <a:pt x="161" y="309"/>
                  </a:lnTo>
                  <a:lnTo>
                    <a:pt x="161" y="260"/>
                  </a:lnTo>
                  <a:lnTo>
                    <a:pt x="0" y="260"/>
                  </a:lnTo>
                  <a:lnTo>
                    <a:pt x="0" y="309"/>
                  </a:lnTo>
                  <a:close/>
                  <a:moveTo>
                    <a:pt x="0" y="441"/>
                  </a:moveTo>
                  <a:lnTo>
                    <a:pt x="161" y="441"/>
                  </a:lnTo>
                  <a:lnTo>
                    <a:pt x="161" y="392"/>
                  </a:lnTo>
                  <a:lnTo>
                    <a:pt x="0" y="392"/>
                  </a:lnTo>
                  <a:lnTo>
                    <a:pt x="0" y="441"/>
                  </a:lnTo>
                  <a:close/>
                  <a:moveTo>
                    <a:pt x="0" y="375"/>
                  </a:moveTo>
                  <a:lnTo>
                    <a:pt x="161" y="375"/>
                  </a:lnTo>
                  <a:lnTo>
                    <a:pt x="161" y="326"/>
                  </a:lnTo>
                  <a:lnTo>
                    <a:pt x="0" y="326"/>
                  </a:lnTo>
                  <a:lnTo>
                    <a:pt x="0" y="375"/>
                  </a:lnTo>
                  <a:close/>
                  <a:moveTo>
                    <a:pt x="0" y="241"/>
                  </a:moveTo>
                  <a:lnTo>
                    <a:pt x="161" y="241"/>
                  </a:lnTo>
                  <a:lnTo>
                    <a:pt x="161" y="193"/>
                  </a:lnTo>
                  <a:lnTo>
                    <a:pt x="0" y="193"/>
                  </a:lnTo>
                  <a:lnTo>
                    <a:pt x="0" y="241"/>
                  </a:lnTo>
                  <a:close/>
                  <a:moveTo>
                    <a:pt x="0" y="1174"/>
                  </a:moveTo>
                  <a:lnTo>
                    <a:pt x="161" y="1174"/>
                  </a:lnTo>
                  <a:lnTo>
                    <a:pt x="161" y="1124"/>
                  </a:lnTo>
                  <a:lnTo>
                    <a:pt x="0" y="1124"/>
                  </a:lnTo>
                  <a:lnTo>
                    <a:pt x="0" y="1174"/>
                  </a:lnTo>
                  <a:close/>
                  <a:moveTo>
                    <a:pt x="0" y="774"/>
                  </a:moveTo>
                  <a:lnTo>
                    <a:pt x="161" y="774"/>
                  </a:lnTo>
                  <a:lnTo>
                    <a:pt x="161" y="725"/>
                  </a:lnTo>
                  <a:lnTo>
                    <a:pt x="0" y="725"/>
                  </a:lnTo>
                  <a:lnTo>
                    <a:pt x="0" y="774"/>
                  </a:lnTo>
                  <a:close/>
                  <a:moveTo>
                    <a:pt x="0" y="1107"/>
                  </a:moveTo>
                  <a:lnTo>
                    <a:pt x="161" y="1107"/>
                  </a:lnTo>
                  <a:lnTo>
                    <a:pt x="161" y="1058"/>
                  </a:lnTo>
                  <a:lnTo>
                    <a:pt x="0" y="1058"/>
                  </a:lnTo>
                  <a:lnTo>
                    <a:pt x="0" y="1107"/>
                  </a:lnTo>
                  <a:close/>
                  <a:moveTo>
                    <a:pt x="168" y="0"/>
                  </a:moveTo>
                  <a:lnTo>
                    <a:pt x="0" y="175"/>
                  </a:lnTo>
                  <a:lnTo>
                    <a:pt x="335" y="175"/>
                  </a:lnTo>
                  <a:lnTo>
                    <a:pt x="168" y="0"/>
                  </a:lnTo>
                  <a:close/>
                  <a:moveTo>
                    <a:pt x="0" y="841"/>
                  </a:moveTo>
                  <a:lnTo>
                    <a:pt x="161" y="841"/>
                  </a:lnTo>
                  <a:lnTo>
                    <a:pt x="161" y="791"/>
                  </a:lnTo>
                  <a:lnTo>
                    <a:pt x="0" y="791"/>
                  </a:lnTo>
                  <a:lnTo>
                    <a:pt x="0" y="841"/>
                  </a:lnTo>
                  <a:close/>
                  <a:moveTo>
                    <a:pt x="0" y="1041"/>
                  </a:moveTo>
                  <a:lnTo>
                    <a:pt x="161" y="1041"/>
                  </a:lnTo>
                  <a:lnTo>
                    <a:pt x="161" y="992"/>
                  </a:lnTo>
                  <a:lnTo>
                    <a:pt x="0" y="992"/>
                  </a:lnTo>
                  <a:lnTo>
                    <a:pt x="0" y="1041"/>
                  </a:lnTo>
                  <a:close/>
                  <a:moveTo>
                    <a:pt x="0" y="909"/>
                  </a:moveTo>
                  <a:lnTo>
                    <a:pt x="161" y="909"/>
                  </a:lnTo>
                  <a:lnTo>
                    <a:pt x="161" y="859"/>
                  </a:lnTo>
                  <a:lnTo>
                    <a:pt x="0" y="859"/>
                  </a:lnTo>
                  <a:lnTo>
                    <a:pt x="0" y="909"/>
                  </a:lnTo>
                  <a:close/>
                  <a:moveTo>
                    <a:pt x="0" y="975"/>
                  </a:moveTo>
                  <a:lnTo>
                    <a:pt x="161" y="975"/>
                  </a:lnTo>
                  <a:lnTo>
                    <a:pt x="161" y="926"/>
                  </a:lnTo>
                  <a:lnTo>
                    <a:pt x="0" y="926"/>
                  </a:lnTo>
                  <a:lnTo>
                    <a:pt x="0" y="975"/>
                  </a:lnTo>
                  <a:close/>
                  <a:moveTo>
                    <a:pt x="175" y="508"/>
                  </a:moveTo>
                  <a:lnTo>
                    <a:pt x="335" y="508"/>
                  </a:lnTo>
                  <a:lnTo>
                    <a:pt x="335" y="458"/>
                  </a:lnTo>
                  <a:lnTo>
                    <a:pt x="175" y="458"/>
                  </a:lnTo>
                  <a:lnTo>
                    <a:pt x="175" y="508"/>
                  </a:lnTo>
                  <a:close/>
                  <a:moveTo>
                    <a:pt x="175" y="576"/>
                  </a:moveTo>
                  <a:lnTo>
                    <a:pt x="335" y="576"/>
                  </a:lnTo>
                  <a:lnTo>
                    <a:pt x="335" y="526"/>
                  </a:lnTo>
                  <a:lnTo>
                    <a:pt x="175" y="526"/>
                  </a:lnTo>
                  <a:lnTo>
                    <a:pt x="175" y="576"/>
                  </a:lnTo>
                  <a:close/>
                  <a:moveTo>
                    <a:pt x="175" y="441"/>
                  </a:moveTo>
                  <a:lnTo>
                    <a:pt x="335" y="441"/>
                  </a:lnTo>
                  <a:lnTo>
                    <a:pt x="335" y="392"/>
                  </a:lnTo>
                  <a:lnTo>
                    <a:pt x="175" y="392"/>
                  </a:lnTo>
                  <a:lnTo>
                    <a:pt x="175" y="441"/>
                  </a:lnTo>
                  <a:close/>
                  <a:moveTo>
                    <a:pt x="175" y="309"/>
                  </a:moveTo>
                  <a:lnTo>
                    <a:pt x="335" y="309"/>
                  </a:lnTo>
                  <a:lnTo>
                    <a:pt x="335" y="260"/>
                  </a:lnTo>
                  <a:lnTo>
                    <a:pt x="175" y="260"/>
                  </a:lnTo>
                  <a:lnTo>
                    <a:pt x="175" y="309"/>
                  </a:lnTo>
                  <a:close/>
                  <a:moveTo>
                    <a:pt x="175" y="241"/>
                  </a:moveTo>
                  <a:lnTo>
                    <a:pt x="335" y="241"/>
                  </a:lnTo>
                  <a:lnTo>
                    <a:pt x="335" y="193"/>
                  </a:lnTo>
                  <a:lnTo>
                    <a:pt x="175" y="193"/>
                  </a:lnTo>
                  <a:lnTo>
                    <a:pt x="175" y="241"/>
                  </a:lnTo>
                  <a:close/>
                  <a:moveTo>
                    <a:pt x="175" y="375"/>
                  </a:moveTo>
                  <a:lnTo>
                    <a:pt x="335" y="375"/>
                  </a:lnTo>
                  <a:lnTo>
                    <a:pt x="335" y="326"/>
                  </a:lnTo>
                  <a:lnTo>
                    <a:pt x="175" y="326"/>
                  </a:lnTo>
                  <a:lnTo>
                    <a:pt x="175" y="375"/>
                  </a:lnTo>
                  <a:close/>
                  <a:moveTo>
                    <a:pt x="175" y="642"/>
                  </a:moveTo>
                  <a:lnTo>
                    <a:pt x="335" y="642"/>
                  </a:lnTo>
                  <a:lnTo>
                    <a:pt x="335" y="593"/>
                  </a:lnTo>
                  <a:lnTo>
                    <a:pt x="175" y="593"/>
                  </a:lnTo>
                  <a:lnTo>
                    <a:pt x="175" y="642"/>
                  </a:lnTo>
                  <a:close/>
                  <a:moveTo>
                    <a:pt x="175" y="1041"/>
                  </a:moveTo>
                  <a:lnTo>
                    <a:pt x="335" y="1041"/>
                  </a:lnTo>
                  <a:lnTo>
                    <a:pt x="335" y="992"/>
                  </a:lnTo>
                  <a:lnTo>
                    <a:pt x="175" y="992"/>
                  </a:lnTo>
                  <a:lnTo>
                    <a:pt x="175" y="1041"/>
                  </a:lnTo>
                  <a:close/>
                  <a:moveTo>
                    <a:pt x="175" y="975"/>
                  </a:moveTo>
                  <a:lnTo>
                    <a:pt x="335" y="975"/>
                  </a:lnTo>
                  <a:lnTo>
                    <a:pt x="335" y="926"/>
                  </a:lnTo>
                  <a:lnTo>
                    <a:pt x="175" y="926"/>
                  </a:lnTo>
                  <a:lnTo>
                    <a:pt x="175" y="975"/>
                  </a:lnTo>
                  <a:close/>
                  <a:moveTo>
                    <a:pt x="175" y="1174"/>
                  </a:moveTo>
                  <a:lnTo>
                    <a:pt x="335" y="1174"/>
                  </a:lnTo>
                  <a:lnTo>
                    <a:pt x="335" y="1124"/>
                  </a:lnTo>
                  <a:lnTo>
                    <a:pt x="175" y="1124"/>
                  </a:lnTo>
                  <a:lnTo>
                    <a:pt x="175" y="1174"/>
                  </a:lnTo>
                  <a:close/>
                  <a:moveTo>
                    <a:pt x="175" y="1107"/>
                  </a:moveTo>
                  <a:lnTo>
                    <a:pt x="335" y="1107"/>
                  </a:lnTo>
                  <a:lnTo>
                    <a:pt x="335" y="1058"/>
                  </a:lnTo>
                  <a:lnTo>
                    <a:pt x="175" y="1058"/>
                  </a:lnTo>
                  <a:lnTo>
                    <a:pt x="175" y="1107"/>
                  </a:lnTo>
                  <a:close/>
                  <a:moveTo>
                    <a:pt x="175" y="841"/>
                  </a:moveTo>
                  <a:lnTo>
                    <a:pt x="335" y="841"/>
                  </a:lnTo>
                  <a:lnTo>
                    <a:pt x="335" y="791"/>
                  </a:lnTo>
                  <a:lnTo>
                    <a:pt x="175" y="791"/>
                  </a:lnTo>
                  <a:lnTo>
                    <a:pt x="175" y="841"/>
                  </a:lnTo>
                  <a:close/>
                  <a:moveTo>
                    <a:pt x="175" y="774"/>
                  </a:moveTo>
                  <a:lnTo>
                    <a:pt x="335" y="774"/>
                  </a:lnTo>
                  <a:lnTo>
                    <a:pt x="335" y="725"/>
                  </a:lnTo>
                  <a:lnTo>
                    <a:pt x="175" y="725"/>
                  </a:lnTo>
                  <a:lnTo>
                    <a:pt x="175" y="774"/>
                  </a:lnTo>
                  <a:close/>
                  <a:moveTo>
                    <a:pt x="175" y="909"/>
                  </a:moveTo>
                  <a:lnTo>
                    <a:pt x="335" y="909"/>
                  </a:lnTo>
                  <a:lnTo>
                    <a:pt x="335" y="859"/>
                  </a:lnTo>
                  <a:lnTo>
                    <a:pt x="175" y="859"/>
                  </a:lnTo>
                  <a:lnTo>
                    <a:pt x="175" y="909"/>
                  </a:lnTo>
                  <a:close/>
                  <a:moveTo>
                    <a:pt x="175" y="708"/>
                  </a:moveTo>
                  <a:lnTo>
                    <a:pt x="335" y="708"/>
                  </a:lnTo>
                  <a:lnTo>
                    <a:pt x="335" y="659"/>
                  </a:lnTo>
                  <a:lnTo>
                    <a:pt x="175" y="659"/>
                  </a:lnTo>
                  <a:lnTo>
                    <a:pt x="175" y="7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16" name="Group 89"/>
            <p:cNvGrpSpPr/>
            <p:nvPr/>
          </p:nvGrpSpPr>
          <p:grpSpPr>
            <a:xfrm>
              <a:off x="5501495" y="3061893"/>
              <a:ext cx="1542753" cy="1109025"/>
              <a:chOff x="5820057" y="3111857"/>
              <a:chExt cx="1691103" cy="1215668"/>
            </a:xfrm>
            <a:grpFill/>
          </p:grpSpPr>
          <p:grpSp>
            <p:nvGrpSpPr>
              <p:cNvPr id="17" name="Group 81"/>
              <p:cNvGrpSpPr/>
              <p:nvPr/>
            </p:nvGrpSpPr>
            <p:grpSpPr>
              <a:xfrm>
                <a:off x="5850148" y="3367629"/>
                <a:ext cx="1642959" cy="959896"/>
                <a:chOff x="9172575" y="1344613"/>
                <a:chExt cx="1733551" cy="1012825"/>
              </a:xfrm>
              <a:grpFill/>
            </p:grpSpPr>
            <p:sp>
              <p:nvSpPr>
                <p:cNvPr id="100" name="Rectangle 99"/>
                <p:cNvSpPr/>
                <p:nvPr/>
              </p:nvSpPr>
              <p:spPr>
                <a:xfrm>
                  <a:off x="9527381" y="1344613"/>
                  <a:ext cx="1226344" cy="32702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18" name="Group 79"/>
                <p:cNvGrpSpPr/>
                <p:nvPr/>
              </p:nvGrpSpPr>
              <p:grpSpPr>
                <a:xfrm>
                  <a:off x="9172575" y="1344613"/>
                  <a:ext cx="1733551" cy="1012825"/>
                  <a:chOff x="9172575" y="1344613"/>
                  <a:chExt cx="1733551" cy="1012825"/>
                </a:xfrm>
                <a:grpFill/>
              </p:grpSpPr>
              <p:sp>
                <p:nvSpPr>
                  <p:cNvPr id="102" name="Freeform 65"/>
                  <p:cNvSpPr>
                    <a:spLocks noEditPoints="1"/>
                  </p:cNvSpPr>
                  <p:nvPr/>
                </p:nvSpPr>
                <p:spPr bwMode="auto">
                  <a:xfrm>
                    <a:off x="9317038" y="1344613"/>
                    <a:ext cx="1589088" cy="1012825"/>
                  </a:xfrm>
                  <a:custGeom>
                    <a:avLst/>
                    <a:gdLst/>
                    <a:ahLst/>
                    <a:cxnLst>
                      <a:cxn ang="0">
                        <a:pos x="122" y="136"/>
                      </a:cxn>
                      <a:cxn ang="0">
                        <a:pos x="52" y="152"/>
                      </a:cxn>
                      <a:cxn ang="0">
                        <a:pos x="52" y="136"/>
                      </a:cxn>
                      <a:cxn ang="0">
                        <a:pos x="96" y="152"/>
                      </a:cxn>
                      <a:cxn ang="0">
                        <a:pos x="79" y="152"/>
                      </a:cxn>
                      <a:cxn ang="0">
                        <a:pos x="201" y="136"/>
                      </a:cxn>
                      <a:cxn ang="0">
                        <a:pos x="131" y="152"/>
                      </a:cxn>
                      <a:cxn ang="0">
                        <a:pos x="131" y="136"/>
                      </a:cxn>
                      <a:cxn ang="0">
                        <a:pos x="175" y="152"/>
                      </a:cxn>
                      <a:cxn ang="0">
                        <a:pos x="157" y="152"/>
                      </a:cxn>
                      <a:cxn ang="0">
                        <a:pos x="110" y="86"/>
                      </a:cxn>
                      <a:cxn ang="0">
                        <a:pos x="26" y="152"/>
                      </a:cxn>
                      <a:cxn ang="0">
                        <a:pos x="26" y="136"/>
                      </a:cxn>
                      <a:cxn ang="0">
                        <a:pos x="227" y="152"/>
                      </a:cxn>
                      <a:cxn ang="0">
                        <a:pos x="210" y="152"/>
                      </a:cxn>
                      <a:cxn ang="0">
                        <a:pos x="83" y="86"/>
                      </a:cxn>
                      <a:cxn ang="0">
                        <a:pos x="79" y="0"/>
                      </a:cxn>
                      <a:cxn ang="0">
                        <a:pos x="79" y="86"/>
                      </a:cxn>
                      <a:cxn ang="0">
                        <a:pos x="17" y="152"/>
                      </a:cxn>
                      <a:cxn ang="0">
                        <a:pos x="0" y="152"/>
                      </a:cxn>
                      <a:cxn ang="0">
                        <a:pos x="400" y="90"/>
                      </a:cxn>
                      <a:cxn ang="0">
                        <a:pos x="378" y="179"/>
                      </a:cxn>
                      <a:cxn ang="0">
                        <a:pos x="400" y="234"/>
                      </a:cxn>
                      <a:cxn ang="0">
                        <a:pos x="351" y="86"/>
                      </a:cxn>
                      <a:cxn ang="0">
                        <a:pos x="351" y="0"/>
                      </a:cxn>
                      <a:cxn ang="0">
                        <a:pos x="253" y="152"/>
                      </a:cxn>
                      <a:cxn ang="0">
                        <a:pos x="236" y="152"/>
                      </a:cxn>
                      <a:cxn ang="0">
                        <a:pos x="400" y="0"/>
                      </a:cxn>
                      <a:cxn ang="0">
                        <a:pos x="405" y="265"/>
                      </a:cxn>
                      <a:cxn ang="0">
                        <a:pos x="405" y="90"/>
                      </a:cxn>
                      <a:cxn ang="0">
                        <a:pos x="405" y="86"/>
                      </a:cxn>
                      <a:cxn ang="0">
                        <a:pos x="405" y="0"/>
                      </a:cxn>
                      <a:cxn ang="0">
                        <a:pos x="373" y="90"/>
                      </a:cxn>
                      <a:cxn ang="0">
                        <a:pos x="306" y="136"/>
                      </a:cxn>
                      <a:cxn ang="0">
                        <a:pos x="306" y="152"/>
                      </a:cxn>
                      <a:cxn ang="0">
                        <a:pos x="279" y="152"/>
                      </a:cxn>
                      <a:cxn ang="0">
                        <a:pos x="262" y="152"/>
                      </a:cxn>
                      <a:cxn ang="0">
                        <a:pos x="373" y="179"/>
                      </a:cxn>
                      <a:cxn ang="0">
                        <a:pos x="324" y="58"/>
                      </a:cxn>
                      <a:cxn ang="0">
                        <a:pos x="327" y="63"/>
                      </a:cxn>
                      <a:cxn ang="0">
                        <a:pos x="331" y="265"/>
                      </a:cxn>
                      <a:cxn ang="0">
                        <a:pos x="331" y="179"/>
                      </a:cxn>
                      <a:cxn ang="0">
                        <a:pos x="347" y="90"/>
                      </a:cxn>
                      <a:cxn ang="0">
                        <a:pos x="347" y="86"/>
                      </a:cxn>
                      <a:cxn ang="0">
                        <a:pos x="324" y="58"/>
                      </a:cxn>
                      <a:cxn ang="0">
                        <a:pos x="317" y="186"/>
                      </a:cxn>
                    </a:cxnLst>
                    <a:rect l="0" t="0" r="r" b="b"/>
                    <a:pathLst>
                      <a:path w="424" h="270">
                        <a:moveTo>
                          <a:pt x="105" y="152"/>
                        </a:moveTo>
                        <a:cubicBezTo>
                          <a:pt x="122" y="152"/>
                          <a:pt x="122" y="152"/>
                          <a:pt x="122" y="152"/>
                        </a:cubicBezTo>
                        <a:cubicBezTo>
                          <a:pt x="122" y="136"/>
                          <a:pt x="122" y="136"/>
                          <a:pt x="122" y="136"/>
                        </a:cubicBezTo>
                        <a:cubicBezTo>
                          <a:pt x="105" y="136"/>
                          <a:pt x="105" y="136"/>
                          <a:pt x="105" y="136"/>
                        </a:cubicBezTo>
                        <a:lnTo>
                          <a:pt x="105" y="152"/>
                        </a:lnTo>
                        <a:close/>
                        <a:moveTo>
                          <a:pt x="52" y="152"/>
                        </a:moveTo>
                        <a:cubicBezTo>
                          <a:pt x="70" y="152"/>
                          <a:pt x="70" y="152"/>
                          <a:pt x="70" y="152"/>
                        </a:cubicBezTo>
                        <a:cubicBezTo>
                          <a:pt x="70" y="136"/>
                          <a:pt x="70" y="136"/>
                          <a:pt x="70" y="136"/>
                        </a:cubicBezTo>
                        <a:cubicBezTo>
                          <a:pt x="52" y="136"/>
                          <a:pt x="52" y="136"/>
                          <a:pt x="52" y="136"/>
                        </a:cubicBezTo>
                        <a:lnTo>
                          <a:pt x="52" y="152"/>
                        </a:lnTo>
                        <a:close/>
                        <a:moveTo>
                          <a:pt x="79" y="152"/>
                        </a:moveTo>
                        <a:cubicBezTo>
                          <a:pt x="96" y="152"/>
                          <a:pt x="96" y="152"/>
                          <a:pt x="96" y="152"/>
                        </a:cubicBezTo>
                        <a:cubicBezTo>
                          <a:pt x="96" y="136"/>
                          <a:pt x="96" y="136"/>
                          <a:pt x="96" y="136"/>
                        </a:cubicBezTo>
                        <a:cubicBezTo>
                          <a:pt x="79" y="136"/>
                          <a:pt x="79" y="136"/>
                          <a:pt x="79" y="136"/>
                        </a:cubicBezTo>
                        <a:lnTo>
                          <a:pt x="79" y="152"/>
                        </a:lnTo>
                        <a:close/>
                        <a:moveTo>
                          <a:pt x="183" y="152"/>
                        </a:moveTo>
                        <a:cubicBezTo>
                          <a:pt x="201" y="152"/>
                          <a:pt x="201" y="152"/>
                          <a:pt x="201" y="152"/>
                        </a:cubicBezTo>
                        <a:cubicBezTo>
                          <a:pt x="201" y="136"/>
                          <a:pt x="201" y="136"/>
                          <a:pt x="201" y="136"/>
                        </a:cubicBezTo>
                        <a:cubicBezTo>
                          <a:pt x="183" y="136"/>
                          <a:pt x="183" y="136"/>
                          <a:pt x="183" y="136"/>
                        </a:cubicBezTo>
                        <a:lnTo>
                          <a:pt x="183" y="152"/>
                        </a:lnTo>
                        <a:close/>
                        <a:moveTo>
                          <a:pt x="131" y="152"/>
                        </a:moveTo>
                        <a:cubicBezTo>
                          <a:pt x="148" y="152"/>
                          <a:pt x="148" y="152"/>
                          <a:pt x="148" y="152"/>
                        </a:cubicBezTo>
                        <a:cubicBezTo>
                          <a:pt x="148" y="136"/>
                          <a:pt x="148" y="136"/>
                          <a:pt x="148" y="136"/>
                        </a:cubicBezTo>
                        <a:cubicBezTo>
                          <a:pt x="131" y="136"/>
                          <a:pt x="131" y="136"/>
                          <a:pt x="131" y="136"/>
                        </a:cubicBezTo>
                        <a:lnTo>
                          <a:pt x="131" y="152"/>
                        </a:lnTo>
                        <a:close/>
                        <a:moveTo>
                          <a:pt x="157" y="152"/>
                        </a:moveTo>
                        <a:cubicBezTo>
                          <a:pt x="175" y="152"/>
                          <a:pt x="175" y="152"/>
                          <a:pt x="175" y="152"/>
                        </a:cubicBezTo>
                        <a:cubicBezTo>
                          <a:pt x="175" y="136"/>
                          <a:pt x="175" y="136"/>
                          <a:pt x="175" y="136"/>
                        </a:cubicBezTo>
                        <a:cubicBezTo>
                          <a:pt x="157" y="136"/>
                          <a:pt x="157" y="136"/>
                          <a:pt x="157" y="136"/>
                        </a:cubicBezTo>
                        <a:lnTo>
                          <a:pt x="157" y="152"/>
                        </a:lnTo>
                        <a:close/>
                        <a:moveTo>
                          <a:pt x="132" y="0"/>
                        </a:moveTo>
                        <a:cubicBezTo>
                          <a:pt x="110" y="0"/>
                          <a:pt x="110" y="0"/>
                          <a:pt x="110" y="0"/>
                        </a:cubicBezTo>
                        <a:cubicBezTo>
                          <a:pt x="110" y="86"/>
                          <a:pt x="110" y="86"/>
                          <a:pt x="110" y="86"/>
                        </a:cubicBezTo>
                        <a:cubicBezTo>
                          <a:pt x="132" y="86"/>
                          <a:pt x="132" y="86"/>
                          <a:pt x="132" y="86"/>
                        </a:cubicBezTo>
                        <a:lnTo>
                          <a:pt x="132" y="0"/>
                        </a:lnTo>
                        <a:close/>
                        <a:moveTo>
                          <a:pt x="26" y="152"/>
                        </a:moveTo>
                        <a:cubicBezTo>
                          <a:pt x="44" y="152"/>
                          <a:pt x="44" y="152"/>
                          <a:pt x="44" y="152"/>
                        </a:cubicBezTo>
                        <a:cubicBezTo>
                          <a:pt x="44" y="136"/>
                          <a:pt x="44" y="136"/>
                          <a:pt x="44" y="136"/>
                        </a:cubicBezTo>
                        <a:cubicBezTo>
                          <a:pt x="26" y="136"/>
                          <a:pt x="26" y="136"/>
                          <a:pt x="26" y="136"/>
                        </a:cubicBezTo>
                        <a:lnTo>
                          <a:pt x="26" y="152"/>
                        </a:lnTo>
                        <a:close/>
                        <a:moveTo>
                          <a:pt x="210" y="152"/>
                        </a:moveTo>
                        <a:cubicBezTo>
                          <a:pt x="227" y="152"/>
                          <a:pt x="227" y="152"/>
                          <a:pt x="227" y="152"/>
                        </a:cubicBezTo>
                        <a:cubicBezTo>
                          <a:pt x="227" y="136"/>
                          <a:pt x="227" y="136"/>
                          <a:pt x="227" y="136"/>
                        </a:cubicBezTo>
                        <a:cubicBezTo>
                          <a:pt x="210" y="136"/>
                          <a:pt x="210" y="136"/>
                          <a:pt x="210" y="136"/>
                        </a:cubicBezTo>
                        <a:lnTo>
                          <a:pt x="210" y="152"/>
                        </a:lnTo>
                        <a:close/>
                        <a:moveTo>
                          <a:pt x="105" y="0"/>
                        </a:moveTo>
                        <a:cubicBezTo>
                          <a:pt x="83" y="0"/>
                          <a:pt x="83" y="0"/>
                          <a:pt x="83" y="0"/>
                        </a:cubicBezTo>
                        <a:cubicBezTo>
                          <a:pt x="83" y="86"/>
                          <a:pt x="83" y="86"/>
                          <a:pt x="83" y="86"/>
                        </a:cubicBezTo>
                        <a:cubicBezTo>
                          <a:pt x="105" y="86"/>
                          <a:pt x="105" y="86"/>
                          <a:pt x="105" y="86"/>
                        </a:cubicBezTo>
                        <a:lnTo>
                          <a:pt x="105" y="0"/>
                        </a:lnTo>
                        <a:close/>
                        <a:moveTo>
                          <a:pt x="79" y="0"/>
                        </a:moveTo>
                        <a:cubicBezTo>
                          <a:pt x="59" y="0"/>
                          <a:pt x="59" y="0"/>
                          <a:pt x="59" y="0"/>
                        </a:cubicBezTo>
                        <a:cubicBezTo>
                          <a:pt x="59" y="86"/>
                          <a:pt x="59" y="86"/>
                          <a:pt x="59" y="86"/>
                        </a:cubicBezTo>
                        <a:cubicBezTo>
                          <a:pt x="79" y="86"/>
                          <a:pt x="79" y="86"/>
                          <a:pt x="79" y="86"/>
                        </a:cubicBezTo>
                        <a:lnTo>
                          <a:pt x="79" y="0"/>
                        </a:lnTo>
                        <a:close/>
                        <a:moveTo>
                          <a:pt x="0" y="152"/>
                        </a:moveTo>
                        <a:cubicBezTo>
                          <a:pt x="17" y="152"/>
                          <a:pt x="17" y="152"/>
                          <a:pt x="17" y="152"/>
                        </a:cubicBezTo>
                        <a:cubicBezTo>
                          <a:pt x="17" y="136"/>
                          <a:pt x="17" y="136"/>
                          <a:pt x="17" y="136"/>
                        </a:cubicBezTo>
                        <a:cubicBezTo>
                          <a:pt x="0" y="136"/>
                          <a:pt x="0" y="136"/>
                          <a:pt x="0" y="136"/>
                        </a:cubicBezTo>
                        <a:lnTo>
                          <a:pt x="0" y="152"/>
                        </a:lnTo>
                        <a:close/>
                        <a:moveTo>
                          <a:pt x="378" y="175"/>
                        </a:moveTo>
                        <a:cubicBezTo>
                          <a:pt x="400" y="175"/>
                          <a:pt x="400" y="175"/>
                          <a:pt x="400" y="175"/>
                        </a:cubicBezTo>
                        <a:cubicBezTo>
                          <a:pt x="400" y="90"/>
                          <a:pt x="400" y="90"/>
                          <a:pt x="400" y="90"/>
                        </a:cubicBezTo>
                        <a:cubicBezTo>
                          <a:pt x="378" y="90"/>
                          <a:pt x="378" y="90"/>
                          <a:pt x="378" y="90"/>
                        </a:cubicBezTo>
                        <a:lnTo>
                          <a:pt x="378" y="175"/>
                        </a:lnTo>
                        <a:close/>
                        <a:moveTo>
                          <a:pt x="378" y="179"/>
                        </a:moveTo>
                        <a:cubicBezTo>
                          <a:pt x="378" y="265"/>
                          <a:pt x="378" y="265"/>
                          <a:pt x="378" y="265"/>
                        </a:cubicBezTo>
                        <a:cubicBezTo>
                          <a:pt x="400" y="265"/>
                          <a:pt x="400" y="265"/>
                          <a:pt x="400" y="265"/>
                        </a:cubicBezTo>
                        <a:cubicBezTo>
                          <a:pt x="400" y="234"/>
                          <a:pt x="400" y="234"/>
                          <a:pt x="400" y="234"/>
                        </a:cubicBezTo>
                        <a:cubicBezTo>
                          <a:pt x="400" y="225"/>
                          <a:pt x="399" y="178"/>
                          <a:pt x="399" y="179"/>
                        </a:cubicBezTo>
                        <a:lnTo>
                          <a:pt x="378" y="179"/>
                        </a:lnTo>
                        <a:close/>
                        <a:moveTo>
                          <a:pt x="351" y="86"/>
                        </a:moveTo>
                        <a:cubicBezTo>
                          <a:pt x="373" y="86"/>
                          <a:pt x="373" y="86"/>
                          <a:pt x="373" y="86"/>
                        </a:cubicBezTo>
                        <a:cubicBezTo>
                          <a:pt x="373" y="0"/>
                          <a:pt x="373" y="0"/>
                          <a:pt x="373" y="0"/>
                        </a:cubicBezTo>
                        <a:cubicBezTo>
                          <a:pt x="351" y="0"/>
                          <a:pt x="351" y="0"/>
                          <a:pt x="351" y="0"/>
                        </a:cubicBezTo>
                        <a:lnTo>
                          <a:pt x="351" y="86"/>
                        </a:lnTo>
                        <a:close/>
                        <a:moveTo>
                          <a:pt x="236" y="152"/>
                        </a:moveTo>
                        <a:cubicBezTo>
                          <a:pt x="253" y="152"/>
                          <a:pt x="253" y="152"/>
                          <a:pt x="253" y="152"/>
                        </a:cubicBezTo>
                        <a:cubicBezTo>
                          <a:pt x="253" y="136"/>
                          <a:pt x="253" y="136"/>
                          <a:pt x="253" y="136"/>
                        </a:cubicBezTo>
                        <a:cubicBezTo>
                          <a:pt x="236" y="136"/>
                          <a:pt x="236" y="136"/>
                          <a:pt x="236" y="136"/>
                        </a:cubicBezTo>
                        <a:lnTo>
                          <a:pt x="236" y="152"/>
                        </a:lnTo>
                        <a:close/>
                        <a:moveTo>
                          <a:pt x="378" y="86"/>
                        </a:moveTo>
                        <a:cubicBezTo>
                          <a:pt x="400" y="86"/>
                          <a:pt x="400" y="86"/>
                          <a:pt x="400" y="86"/>
                        </a:cubicBezTo>
                        <a:cubicBezTo>
                          <a:pt x="400" y="0"/>
                          <a:pt x="400" y="0"/>
                          <a:pt x="400" y="0"/>
                        </a:cubicBezTo>
                        <a:cubicBezTo>
                          <a:pt x="378" y="0"/>
                          <a:pt x="378" y="0"/>
                          <a:pt x="378" y="0"/>
                        </a:cubicBezTo>
                        <a:lnTo>
                          <a:pt x="378" y="86"/>
                        </a:lnTo>
                        <a:close/>
                        <a:moveTo>
                          <a:pt x="405" y="265"/>
                        </a:moveTo>
                        <a:cubicBezTo>
                          <a:pt x="424" y="265"/>
                          <a:pt x="424" y="265"/>
                          <a:pt x="424" y="265"/>
                        </a:cubicBezTo>
                        <a:cubicBezTo>
                          <a:pt x="424" y="90"/>
                          <a:pt x="424" y="90"/>
                          <a:pt x="424" y="90"/>
                        </a:cubicBezTo>
                        <a:cubicBezTo>
                          <a:pt x="405" y="90"/>
                          <a:pt x="405" y="90"/>
                          <a:pt x="405" y="90"/>
                        </a:cubicBezTo>
                        <a:lnTo>
                          <a:pt x="405" y="265"/>
                        </a:lnTo>
                        <a:close/>
                        <a:moveTo>
                          <a:pt x="405" y="0"/>
                        </a:moveTo>
                        <a:cubicBezTo>
                          <a:pt x="405" y="86"/>
                          <a:pt x="405" y="86"/>
                          <a:pt x="405" y="86"/>
                        </a:cubicBezTo>
                        <a:cubicBezTo>
                          <a:pt x="424" y="86"/>
                          <a:pt x="424" y="86"/>
                          <a:pt x="424" y="86"/>
                        </a:cubicBezTo>
                        <a:cubicBezTo>
                          <a:pt x="424" y="0"/>
                          <a:pt x="424" y="0"/>
                          <a:pt x="424" y="0"/>
                        </a:cubicBezTo>
                        <a:lnTo>
                          <a:pt x="405" y="0"/>
                        </a:lnTo>
                        <a:close/>
                        <a:moveTo>
                          <a:pt x="351" y="175"/>
                        </a:moveTo>
                        <a:cubicBezTo>
                          <a:pt x="373" y="175"/>
                          <a:pt x="373" y="175"/>
                          <a:pt x="373" y="175"/>
                        </a:cubicBezTo>
                        <a:cubicBezTo>
                          <a:pt x="373" y="90"/>
                          <a:pt x="373" y="90"/>
                          <a:pt x="373" y="90"/>
                        </a:cubicBezTo>
                        <a:cubicBezTo>
                          <a:pt x="351" y="90"/>
                          <a:pt x="351" y="90"/>
                          <a:pt x="351" y="90"/>
                        </a:cubicBezTo>
                        <a:lnTo>
                          <a:pt x="351" y="175"/>
                        </a:lnTo>
                        <a:close/>
                        <a:moveTo>
                          <a:pt x="306" y="136"/>
                        </a:moveTo>
                        <a:cubicBezTo>
                          <a:pt x="288" y="136"/>
                          <a:pt x="288" y="136"/>
                          <a:pt x="288" y="136"/>
                        </a:cubicBezTo>
                        <a:cubicBezTo>
                          <a:pt x="288" y="152"/>
                          <a:pt x="288" y="152"/>
                          <a:pt x="288" y="152"/>
                        </a:cubicBezTo>
                        <a:cubicBezTo>
                          <a:pt x="306" y="152"/>
                          <a:pt x="306" y="152"/>
                          <a:pt x="306" y="152"/>
                        </a:cubicBezTo>
                        <a:lnTo>
                          <a:pt x="306" y="136"/>
                        </a:lnTo>
                        <a:close/>
                        <a:moveTo>
                          <a:pt x="262" y="152"/>
                        </a:moveTo>
                        <a:cubicBezTo>
                          <a:pt x="279" y="152"/>
                          <a:pt x="279" y="152"/>
                          <a:pt x="279" y="152"/>
                        </a:cubicBezTo>
                        <a:cubicBezTo>
                          <a:pt x="279" y="136"/>
                          <a:pt x="279" y="136"/>
                          <a:pt x="279" y="136"/>
                        </a:cubicBezTo>
                        <a:cubicBezTo>
                          <a:pt x="262" y="136"/>
                          <a:pt x="262" y="136"/>
                          <a:pt x="262" y="136"/>
                        </a:cubicBezTo>
                        <a:lnTo>
                          <a:pt x="262" y="152"/>
                        </a:lnTo>
                        <a:close/>
                        <a:moveTo>
                          <a:pt x="351" y="265"/>
                        </a:moveTo>
                        <a:cubicBezTo>
                          <a:pt x="373" y="265"/>
                          <a:pt x="373" y="265"/>
                          <a:pt x="373" y="265"/>
                        </a:cubicBezTo>
                        <a:cubicBezTo>
                          <a:pt x="373" y="179"/>
                          <a:pt x="373" y="179"/>
                          <a:pt x="373" y="179"/>
                        </a:cubicBezTo>
                        <a:cubicBezTo>
                          <a:pt x="351" y="179"/>
                          <a:pt x="351" y="179"/>
                          <a:pt x="351" y="179"/>
                        </a:cubicBezTo>
                        <a:lnTo>
                          <a:pt x="351" y="265"/>
                        </a:lnTo>
                        <a:close/>
                        <a:moveTo>
                          <a:pt x="324" y="58"/>
                        </a:moveTo>
                        <a:cubicBezTo>
                          <a:pt x="320" y="59"/>
                          <a:pt x="320" y="59"/>
                          <a:pt x="320" y="59"/>
                        </a:cubicBezTo>
                        <a:cubicBezTo>
                          <a:pt x="320" y="64"/>
                          <a:pt x="320" y="64"/>
                          <a:pt x="320" y="64"/>
                        </a:cubicBezTo>
                        <a:cubicBezTo>
                          <a:pt x="327" y="63"/>
                          <a:pt x="327" y="63"/>
                          <a:pt x="327" y="63"/>
                        </a:cubicBezTo>
                        <a:cubicBezTo>
                          <a:pt x="327" y="270"/>
                          <a:pt x="327" y="270"/>
                          <a:pt x="327" y="270"/>
                        </a:cubicBezTo>
                        <a:cubicBezTo>
                          <a:pt x="331" y="270"/>
                          <a:pt x="331" y="270"/>
                          <a:pt x="331" y="270"/>
                        </a:cubicBezTo>
                        <a:cubicBezTo>
                          <a:pt x="331" y="265"/>
                          <a:pt x="331" y="265"/>
                          <a:pt x="331" y="265"/>
                        </a:cubicBezTo>
                        <a:cubicBezTo>
                          <a:pt x="347" y="265"/>
                          <a:pt x="347" y="265"/>
                          <a:pt x="347" y="265"/>
                        </a:cubicBezTo>
                        <a:cubicBezTo>
                          <a:pt x="347" y="179"/>
                          <a:pt x="347" y="179"/>
                          <a:pt x="347" y="179"/>
                        </a:cubicBezTo>
                        <a:cubicBezTo>
                          <a:pt x="331" y="179"/>
                          <a:pt x="331" y="179"/>
                          <a:pt x="331" y="179"/>
                        </a:cubicBezTo>
                        <a:cubicBezTo>
                          <a:pt x="331" y="175"/>
                          <a:pt x="331" y="175"/>
                          <a:pt x="331" y="175"/>
                        </a:cubicBezTo>
                        <a:cubicBezTo>
                          <a:pt x="347" y="175"/>
                          <a:pt x="347" y="175"/>
                          <a:pt x="347" y="175"/>
                        </a:cubicBezTo>
                        <a:cubicBezTo>
                          <a:pt x="347" y="90"/>
                          <a:pt x="347" y="90"/>
                          <a:pt x="347" y="90"/>
                        </a:cubicBezTo>
                        <a:cubicBezTo>
                          <a:pt x="331" y="90"/>
                          <a:pt x="331" y="90"/>
                          <a:pt x="331" y="90"/>
                        </a:cubicBezTo>
                        <a:cubicBezTo>
                          <a:pt x="331" y="86"/>
                          <a:pt x="331" y="86"/>
                          <a:pt x="331" y="86"/>
                        </a:cubicBezTo>
                        <a:cubicBezTo>
                          <a:pt x="347" y="86"/>
                          <a:pt x="347" y="86"/>
                          <a:pt x="347" y="86"/>
                        </a:cubicBezTo>
                        <a:cubicBezTo>
                          <a:pt x="347" y="0"/>
                          <a:pt x="347" y="0"/>
                          <a:pt x="347" y="0"/>
                        </a:cubicBezTo>
                        <a:cubicBezTo>
                          <a:pt x="324" y="0"/>
                          <a:pt x="324" y="0"/>
                          <a:pt x="324" y="0"/>
                        </a:cubicBezTo>
                        <a:lnTo>
                          <a:pt x="324" y="58"/>
                        </a:lnTo>
                        <a:close/>
                        <a:moveTo>
                          <a:pt x="294" y="190"/>
                        </a:moveTo>
                        <a:cubicBezTo>
                          <a:pt x="316" y="190"/>
                          <a:pt x="316" y="190"/>
                          <a:pt x="316" y="190"/>
                        </a:cubicBezTo>
                        <a:cubicBezTo>
                          <a:pt x="317" y="186"/>
                          <a:pt x="317" y="186"/>
                          <a:pt x="317" y="186"/>
                        </a:cubicBezTo>
                        <a:cubicBezTo>
                          <a:pt x="294" y="186"/>
                          <a:pt x="294" y="186"/>
                          <a:pt x="294" y="186"/>
                        </a:cubicBezTo>
                        <a:lnTo>
                          <a:pt x="294" y="1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4" name="Rectangle 103"/>
                  <p:cNvSpPr/>
                  <p:nvPr/>
                </p:nvSpPr>
                <p:spPr>
                  <a:xfrm>
                    <a:off x="9172575" y="1985963"/>
                    <a:ext cx="1454944" cy="371475"/>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grpSp>
          <p:sp>
            <p:nvSpPr>
              <p:cNvPr id="99" name="Freeform 64"/>
              <p:cNvSpPr>
                <a:spLocks noEditPoints="1"/>
              </p:cNvSpPr>
              <p:nvPr/>
            </p:nvSpPr>
            <p:spPr bwMode="auto">
              <a:xfrm>
                <a:off x="5820057" y="3111857"/>
                <a:ext cx="1691103" cy="1215668"/>
              </a:xfrm>
              <a:custGeom>
                <a:avLst/>
                <a:gdLst/>
                <a:ahLst/>
                <a:cxnLst>
                  <a:cxn ang="0">
                    <a:pos x="93" y="342"/>
                  </a:cxn>
                  <a:cxn ang="0">
                    <a:pos x="111" y="290"/>
                  </a:cxn>
                  <a:cxn ang="0">
                    <a:pos x="14" y="191"/>
                  </a:cxn>
                  <a:cxn ang="0">
                    <a:pos x="38" y="208"/>
                  </a:cxn>
                  <a:cxn ang="0">
                    <a:pos x="15" y="219"/>
                  </a:cxn>
                  <a:cxn ang="0">
                    <a:pos x="7" y="222"/>
                  </a:cxn>
                  <a:cxn ang="0">
                    <a:pos x="0" y="241"/>
                  </a:cxn>
                  <a:cxn ang="0">
                    <a:pos x="139" y="342"/>
                  </a:cxn>
                  <a:cxn ang="0">
                    <a:pos x="356" y="276"/>
                  </a:cxn>
                  <a:cxn ang="0">
                    <a:pos x="64" y="224"/>
                  </a:cxn>
                  <a:cxn ang="0">
                    <a:pos x="73" y="224"/>
                  </a:cxn>
                  <a:cxn ang="0">
                    <a:pos x="99" y="208"/>
                  </a:cxn>
                  <a:cxn ang="0">
                    <a:pos x="143" y="208"/>
                  </a:cxn>
                  <a:cxn ang="0">
                    <a:pos x="169" y="224"/>
                  </a:cxn>
                  <a:cxn ang="0">
                    <a:pos x="222" y="224"/>
                  </a:cxn>
                  <a:cxn ang="0">
                    <a:pos x="230" y="224"/>
                  </a:cxn>
                  <a:cxn ang="0">
                    <a:pos x="257" y="208"/>
                  </a:cxn>
                  <a:cxn ang="0">
                    <a:pos x="300" y="208"/>
                  </a:cxn>
                  <a:cxn ang="0">
                    <a:pos x="326" y="224"/>
                  </a:cxn>
                  <a:cxn ang="0">
                    <a:pos x="353" y="224"/>
                  </a:cxn>
                  <a:cxn ang="0">
                    <a:pos x="208" y="342"/>
                  </a:cxn>
                  <a:cxn ang="0">
                    <a:pos x="186" y="295"/>
                  </a:cxn>
                  <a:cxn ang="0">
                    <a:pos x="167" y="279"/>
                  </a:cxn>
                  <a:cxn ang="0">
                    <a:pos x="25" y="290"/>
                  </a:cxn>
                  <a:cxn ang="0">
                    <a:pos x="70" y="290"/>
                  </a:cxn>
                  <a:cxn ang="0">
                    <a:pos x="66" y="342"/>
                  </a:cxn>
                  <a:cxn ang="0">
                    <a:pos x="89" y="295"/>
                  </a:cxn>
                  <a:cxn ang="0">
                    <a:pos x="48" y="279"/>
                  </a:cxn>
                  <a:cxn ang="0">
                    <a:pos x="145" y="342"/>
                  </a:cxn>
                  <a:cxn ang="0">
                    <a:pos x="332" y="290"/>
                  </a:cxn>
                  <a:cxn ang="0">
                    <a:pos x="328" y="290"/>
                  </a:cxn>
                  <a:cxn ang="0">
                    <a:pos x="101" y="63"/>
                  </a:cxn>
                  <a:cxn ang="0">
                    <a:pos x="106" y="162"/>
                  </a:cxn>
                  <a:cxn ang="0">
                    <a:pos x="152" y="163"/>
                  </a:cxn>
                  <a:cxn ang="0">
                    <a:pos x="184" y="72"/>
                  </a:cxn>
                  <a:cxn ang="0">
                    <a:pos x="233" y="151"/>
                  </a:cxn>
                  <a:cxn ang="0">
                    <a:pos x="264" y="72"/>
                  </a:cxn>
                  <a:cxn ang="0">
                    <a:pos x="313" y="139"/>
                  </a:cxn>
                  <a:cxn ang="0">
                    <a:pos x="344" y="72"/>
                  </a:cxn>
                  <a:cxn ang="0">
                    <a:pos x="394" y="158"/>
                  </a:cxn>
                  <a:cxn ang="0">
                    <a:pos x="378" y="251"/>
                  </a:cxn>
                  <a:cxn ang="0">
                    <a:pos x="476" y="68"/>
                  </a:cxn>
                  <a:cxn ang="0">
                    <a:pos x="452" y="158"/>
                  </a:cxn>
                  <a:cxn ang="0">
                    <a:pos x="452" y="162"/>
                  </a:cxn>
                  <a:cxn ang="0">
                    <a:pos x="425" y="162"/>
                  </a:cxn>
                  <a:cxn ang="0">
                    <a:pos x="446" y="251"/>
                  </a:cxn>
                  <a:cxn ang="0">
                    <a:pos x="420" y="72"/>
                  </a:cxn>
                  <a:cxn ang="0">
                    <a:pos x="420" y="247"/>
                  </a:cxn>
                  <a:cxn ang="0">
                    <a:pos x="398" y="337"/>
                  </a:cxn>
                  <a:cxn ang="0">
                    <a:pos x="157" y="72"/>
                  </a:cxn>
                  <a:cxn ang="0">
                    <a:pos x="106" y="72"/>
                  </a:cxn>
                  <a:cxn ang="0">
                    <a:pos x="328" y="342"/>
                  </a:cxn>
                  <a:cxn ang="0">
                    <a:pos x="282" y="279"/>
                  </a:cxn>
                  <a:cxn ang="0">
                    <a:pos x="212" y="279"/>
                  </a:cxn>
                  <a:cxn ang="0">
                    <a:pos x="212" y="342"/>
                  </a:cxn>
                  <a:cxn ang="0">
                    <a:pos x="190" y="290"/>
                  </a:cxn>
                  <a:cxn ang="0">
                    <a:pos x="305" y="290"/>
                  </a:cxn>
                  <a:cxn ang="0">
                    <a:pos x="305" y="295"/>
                  </a:cxn>
                </a:cxnLst>
                <a:rect l="0" t="0" r="r" b="b"/>
                <a:pathLst>
                  <a:path w="476" h="342">
                    <a:moveTo>
                      <a:pt x="145" y="290"/>
                    </a:moveTo>
                    <a:cubicBezTo>
                      <a:pt x="163" y="290"/>
                      <a:pt x="163" y="290"/>
                      <a:pt x="163" y="290"/>
                    </a:cubicBezTo>
                    <a:cubicBezTo>
                      <a:pt x="163" y="279"/>
                      <a:pt x="163" y="279"/>
                      <a:pt x="163" y="279"/>
                    </a:cubicBezTo>
                    <a:cubicBezTo>
                      <a:pt x="145" y="279"/>
                      <a:pt x="145" y="279"/>
                      <a:pt x="145" y="279"/>
                    </a:cubicBezTo>
                    <a:lnTo>
                      <a:pt x="145" y="290"/>
                    </a:lnTo>
                    <a:close/>
                    <a:moveTo>
                      <a:pt x="93" y="342"/>
                    </a:moveTo>
                    <a:cubicBezTo>
                      <a:pt x="111" y="342"/>
                      <a:pt x="111" y="342"/>
                      <a:pt x="111" y="342"/>
                    </a:cubicBezTo>
                    <a:cubicBezTo>
                      <a:pt x="111" y="295"/>
                      <a:pt x="111" y="295"/>
                      <a:pt x="111" y="295"/>
                    </a:cubicBezTo>
                    <a:cubicBezTo>
                      <a:pt x="93" y="295"/>
                      <a:pt x="93" y="295"/>
                      <a:pt x="93" y="295"/>
                    </a:cubicBezTo>
                    <a:lnTo>
                      <a:pt x="93" y="342"/>
                    </a:lnTo>
                    <a:close/>
                    <a:moveTo>
                      <a:pt x="93" y="290"/>
                    </a:moveTo>
                    <a:cubicBezTo>
                      <a:pt x="111" y="290"/>
                      <a:pt x="111" y="290"/>
                      <a:pt x="111" y="290"/>
                    </a:cubicBezTo>
                    <a:cubicBezTo>
                      <a:pt x="111" y="279"/>
                      <a:pt x="111" y="279"/>
                      <a:pt x="111" y="279"/>
                    </a:cubicBezTo>
                    <a:cubicBezTo>
                      <a:pt x="93" y="279"/>
                      <a:pt x="93" y="279"/>
                      <a:pt x="93" y="279"/>
                    </a:cubicBezTo>
                    <a:lnTo>
                      <a:pt x="93" y="290"/>
                    </a:lnTo>
                    <a:close/>
                    <a:moveTo>
                      <a:pt x="20" y="188"/>
                    </a:moveTo>
                    <a:cubicBezTo>
                      <a:pt x="19" y="188"/>
                      <a:pt x="18" y="189"/>
                      <a:pt x="17" y="189"/>
                    </a:cubicBezTo>
                    <a:cubicBezTo>
                      <a:pt x="17" y="190"/>
                      <a:pt x="16" y="190"/>
                      <a:pt x="14" y="191"/>
                    </a:cubicBezTo>
                    <a:cubicBezTo>
                      <a:pt x="14" y="192"/>
                      <a:pt x="13" y="192"/>
                      <a:pt x="13" y="192"/>
                    </a:cubicBezTo>
                    <a:cubicBezTo>
                      <a:pt x="13" y="192"/>
                      <a:pt x="13" y="192"/>
                      <a:pt x="12" y="192"/>
                    </a:cubicBezTo>
                    <a:cubicBezTo>
                      <a:pt x="12" y="192"/>
                      <a:pt x="12" y="193"/>
                      <a:pt x="12" y="193"/>
                    </a:cubicBezTo>
                    <a:cubicBezTo>
                      <a:pt x="22" y="196"/>
                      <a:pt x="30" y="204"/>
                      <a:pt x="31" y="205"/>
                    </a:cubicBezTo>
                    <a:cubicBezTo>
                      <a:pt x="32" y="206"/>
                      <a:pt x="33" y="207"/>
                      <a:pt x="33" y="208"/>
                    </a:cubicBezTo>
                    <a:cubicBezTo>
                      <a:pt x="38" y="208"/>
                      <a:pt x="38" y="208"/>
                      <a:pt x="38" y="208"/>
                    </a:cubicBezTo>
                    <a:cubicBezTo>
                      <a:pt x="38" y="224"/>
                      <a:pt x="38" y="224"/>
                      <a:pt x="38" y="224"/>
                    </a:cubicBezTo>
                    <a:cubicBezTo>
                      <a:pt x="21" y="224"/>
                      <a:pt x="21" y="224"/>
                      <a:pt x="21" y="224"/>
                    </a:cubicBezTo>
                    <a:cubicBezTo>
                      <a:pt x="21" y="219"/>
                      <a:pt x="21" y="219"/>
                      <a:pt x="21" y="219"/>
                    </a:cubicBezTo>
                    <a:cubicBezTo>
                      <a:pt x="20" y="219"/>
                      <a:pt x="19" y="219"/>
                      <a:pt x="18" y="219"/>
                    </a:cubicBezTo>
                    <a:cubicBezTo>
                      <a:pt x="17" y="219"/>
                      <a:pt x="17" y="219"/>
                      <a:pt x="16" y="219"/>
                    </a:cubicBezTo>
                    <a:cubicBezTo>
                      <a:pt x="16" y="219"/>
                      <a:pt x="16" y="219"/>
                      <a:pt x="15" y="219"/>
                    </a:cubicBezTo>
                    <a:cubicBezTo>
                      <a:pt x="15" y="219"/>
                      <a:pt x="15" y="219"/>
                      <a:pt x="15" y="219"/>
                    </a:cubicBezTo>
                    <a:cubicBezTo>
                      <a:pt x="13" y="219"/>
                      <a:pt x="11" y="219"/>
                      <a:pt x="9" y="219"/>
                    </a:cubicBezTo>
                    <a:cubicBezTo>
                      <a:pt x="9" y="219"/>
                      <a:pt x="8" y="219"/>
                      <a:pt x="8" y="219"/>
                    </a:cubicBezTo>
                    <a:cubicBezTo>
                      <a:pt x="7" y="219"/>
                      <a:pt x="6" y="219"/>
                      <a:pt x="5" y="219"/>
                    </a:cubicBezTo>
                    <a:cubicBezTo>
                      <a:pt x="5" y="219"/>
                      <a:pt x="5" y="219"/>
                      <a:pt x="5" y="219"/>
                    </a:cubicBezTo>
                    <a:cubicBezTo>
                      <a:pt x="6" y="220"/>
                      <a:pt x="6" y="221"/>
                      <a:pt x="7" y="222"/>
                    </a:cubicBezTo>
                    <a:cubicBezTo>
                      <a:pt x="9" y="224"/>
                      <a:pt x="10" y="227"/>
                      <a:pt x="11" y="228"/>
                    </a:cubicBezTo>
                    <a:cubicBezTo>
                      <a:pt x="12" y="230"/>
                      <a:pt x="13" y="232"/>
                      <a:pt x="13" y="234"/>
                    </a:cubicBezTo>
                    <a:cubicBezTo>
                      <a:pt x="13" y="239"/>
                      <a:pt x="10" y="243"/>
                      <a:pt x="5" y="243"/>
                    </a:cubicBezTo>
                    <a:cubicBezTo>
                      <a:pt x="5" y="243"/>
                      <a:pt x="5" y="243"/>
                      <a:pt x="5" y="243"/>
                    </a:cubicBezTo>
                    <a:cubicBezTo>
                      <a:pt x="3" y="243"/>
                      <a:pt x="1" y="242"/>
                      <a:pt x="0" y="241"/>
                    </a:cubicBezTo>
                    <a:cubicBezTo>
                      <a:pt x="0" y="241"/>
                      <a:pt x="0" y="241"/>
                      <a:pt x="0" y="241"/>
                    </a:cubicBezTo>
                    <a:cubicBezTo>
                      <a:pt x="0" y="342"/>
                      <a:pt x="0" y="342"/>
                      <a:pt x="0" y="342"/>
                    </a:cubicBezTo>
                    <a:cubicBezTo>
                      <a:pt x="19" y="342"/>
                      <a:pt x="19" y="342"/>
                      <a:pt x="19" y="342"/>
                    </a:cubicBezTo>
                    <a:cubicBezTo>
                      <a:pt x="19" y="276"/>
                      <a:pt x="19" y="276"/>
                      <a:pt x="19" y="276"/>
                    </a:cubicBezTo>
                    <a:cubicBezTo>
                      <a:pt x="117" y="276"/>
                      <a:pt x="117" y="276"/>
                      <a:pt x="117" y="276"/>
                    </a:cubicBezTo>
                    <a:cubicBezTo>
                      <a:pt x="117" y="342"/>
                      <a:pt x="117" y="342"/>
                      <a:pt x="117" y="342"/>
                    </a:cubicBezTo>
                    <a:cubicBezTo>
                      <a:pt x="139" y="342"/>
                      <a:pt x="139" y="342"/>
                      <a:pt x="139" y="342"/>
                    </a:cubicBezTo>
                    <a:cubicBezTo>
                      <a:pt x="139" y="276"/>
                      <a:pt x="139" y="276"/>
                      <a:pt x="139" y="276"/>
                    </a:cubicBezTo>
                    <a:cubicBezTo>
                      <a:pt x="236" y="276"/>
                      <a:pt x="236" y="276"/>
                      <a:pt x="236" y="276"/>
                    </a:cubicBezTo>
                    <a:cubicBezTo>
                      <a:pt x="236" y="342"/>
                      <a:pt x="236" y="342"/>
                      <a:pt x="236" y="342"/>
                    </a:cubicBezTo>
                    <a:cubicBezTo>
                      <a:pt x="259" y="342"/>
                      <a:pt x="259" y="342"/>
                      <a:pt x="259" y="342"/>
                    </a:cubicBezTo>
                    <a:cubicBezTo>
                      <a:pt x="259" y="276"/>
                      <a:pt x="259" y="276"/>
                      <a:pt x="259" y="276"/>
                    </a:cubicBezTo>
                    <a:cubicBezTo>
                      <a:pt x="356" y="276"/>
                      <a:pt x="356" y="276"/>
                      <a:pt x="356" y="276"/>
                    </a:cubicBezTo>
                    <a:cubicBezTo>
                      <a:pt x="356" y="342"/>
                      <a:pt x="356" y="342"/>
                      <a:pt x="356" y="342"/>
                    </a:cubicBezTo>
                    <a:cubicBezTo>
                      <a:pt x="374" y="342"/>
                      <a:pt x="374" y="342"/>
                      <a:pt x="374" y="342"/>
                    </a:cubicBezTo>
                    <a:cubicBezTo>
                      <a:pt x="374" y="135"/>
                      <a:pt x="374" y="135"/>
                      <a:pt x="374" y="135"/>
                    </a:cubicBezTo>
                    <a:cubicBezTo>
                      <a:pt x="367" y="136"/>
                      <a:pt x="367" y="136"/>
                      <a:pt x="367" y="136"/>
                    </a:cubicBezTo>
                    <a:lnTo>
                      <a:pt x="20" y="188"/>
                    </a:lnTo>
                    <a:close/>
                    <a:moveTo>
                      <a:pt x="64" y="224"/>
                    </a:moveTo>
                    <a:cubicBezTo>
                      <a:pt x="47" y="224"/>
                      <a:pt x="47" y="224"/>
                      <a:pt x="47" y="224"/>
                    </a:cubicBezTo>
                    <a:cubicBezTo>
                      <a:pt x="47" y="208"/>
                      <a:pt x="47" y="208"/>
                      <a:pt x="47" y="208"/>
                    </a:cubicBezTo>
                    <a:cubicBezTo>
                      <a:pt x="64" y="208"/>
                      <a:pt x="64" y="208"/>
                      <a:pt x="64" y="208"/>
                    </a:cubicBezTo>
                    <a:lnTo>
                      <a:pt x="64" y="224"/>
                    </a:lnTo>
                    <a:close/>
                    <a:moveTo>
                      <a:pt x="91" y="224"/>
                    </a:moveTo>
                    <a:cubicBezTo>
                      <a:pt x="73" y="224"/>
                      <a:pt x="73" y="224"/>
                      <a:pt x="73" y="224"/>
                    </a:cubicBezTo>
                    <a:cubicBezTo>
                      <a:pt x="73" y="208"/>
                      <a:pt x="73" y="208"/>
                      <a:pt x="73" y="208"/>
                    </a:cubicBezTo>
                    <a:cubicBezTo>
                      <a:pt x="91" y="208"/>
                      <a:pt x="91" y="208"/>
                      <a:pt x="91" y="208"/>
                    </a:cubicBezTo>
                    <a:lnTo>
                      <a:pt x="91" y="224"/>
                    </a:lnTo>
                    <a:close/>
                    <a:moveTo>
                      <a:pt x="117" y="224"/>
                    </a:moveTo>
                    <a:cubicBezTo>
                      <a:pt x="99" y="224"/>
                      <a:pt x="99" y="224"/>
                      <a:pt x="99" y="224"/>
                    </a:cubicBezTo>
                    <a:cubicBezTo>
                      <a:pt x="99" y="208"/>
                      <a:pt x="99" y="208"/>
                      <a:pt x="99" y="208"/>
                    </a:cubicBezTo>
                    <a:cubicBezTo>
                      <a:pt x="117" y="208"/>
                      <a:pt x="117" y="208"/>
                      <a:pt x="117" y="208"/>
                    </a:cubicBezTo>
                    <a:lnTo>
                      <a:pt x="117" y="224"/>
                    </a:lnTo>
                    <a:close/>
                    <a:moveTo>
                      <a:pt x="143" y="224"/>
                    </a:moveTo>
                    <a:cubicBezTo>
                      <a:pt x="126" y="224"/>
                      <a:pt x="126" y="224"/>
                      <a:pt x="126" y="224"/>
                    </a:cubicBezTo>
                    <a:cubicBezTo>
                      <a:pt x="126" y="208"/>
                      <a:pt x="126" y="208"/>
                      <a:pt x="126" y="208"/>
                    </a:cubicBezTo>
                    <a:cubicBezTo>
                      <a:pt x="143" y="208"/>
                      <a:pt x="143" y="208"/>
                      <a:pt x="143" y="208"/>
                    </a:cubicBezTo>
                    <a:lnTo>
                      <a:pt x="143" y="224"/>
                    </a:lnTo>
                    <a:close/>
                    <a:moveTo>
                      <a:pt x="169" y="224"/>
                    </a:moveTo>
                    <a:cubicBezTo>
                      <a:pt x="152" y="224"/>
                      <a:pt x="152" y="224"/>
                      <a:pt x="152" y="224"/>
                    </a:cubicBezTo>
                    <a:cubicBezTo>
                      <a:pt x="152" y="208"/>
                      <a:pt x="152" y="208"/>
                      <a:pt x="152" y="208"/>
                    </a:cubicBezTo>
                    <a:cubicBezTo>
                      <a:pt x="169" y="208"/>
                      <a:pt x="169" y="208"/>
                      <a:pt x="169" y="208"/>
                    </a:cubicBezTo>
                    <a:lnTo>
                      <a:pt x="169" y="224"/>
                    </a:lnTo>
                    <a:close/>
                    <a:moveTo>
                      <a:pt x="195" y="224"/>
                    </a:moveTo>
                    <a:cubicBezTo>
                      <a:pt x="178" y="224"/>
                      <a:pt x="178" y="224"/>
                      <a:pt x="178" y="224"/>
                    </a:cubicBezTo>
                    <a:cubicBezTo>
                      <a:pt x="178" y="208"/>
                      <a:pt x="178" y="208"/>
                      <a:pt x="178" y="208"/>
                    </a:cubicBezTo>
                    <a:cubicBezTo>
                      <a:pt x="195" y="208"/>
                      <a:pt x="195" y="208"/>
                      <a:pt x="195" y="208"/>
                    </a:cubicBezTo>
                    <a:lnTo>
                      <a:pt x="195" y="224"/>
                    </a:lnTo>
                    <a:close/>
                    <a:moveTo>
                      <a:pt x="222" y="224"/>
                    </a:moveTo>
                    <a:cubicBezTo>
                      <a:pt x="204" y="224"/>
                      <a:pt x="204" y="224"/>
                      <a:pt x="204" y="224"/>
                    </a:cubicBezTo>
                    <a:cubicBezTo>
                      <a:pt x="204" y="208"/>
                      <a:pt x="204" y="208"/>
                      <a:pt x="204" y="208"/>
                    </a:cubicBezTo>
                    <a:cubicBezTo>
                      <a:pt x="222" y="208"/>
                      <a:pt x="222" y="208"/>
                      <a:pt x="222" y="208"/>
                    </a:cubicBezTo>
                    <a:lnTo>
                      <a:pt x="222" y="224"/>
                    </a:lnTo>
                    <a:close/>
                    <a:moveTo>
                      <a:pt x="248" y="224"/>
                    </a:moveTo>
                    <a:cubicBezTo>
                      <a:pt x="230" y="224"/>
                      <a:pt x="230" y="224"/>
                      <a:pt x="230" y="224"/>
                    </a:cubicBezTo>
                    <a:cubicBezTo>
                      <a:pt x="230" y="208"/>
                      <a:pt x="230" y="208"/>
                      <a:pt x="230" y="208"/>
                    </a:cubicBezTo>
                    <a:cubicBezTo>
                      <a:pt x="248" y="208"/>
                      <a:pt x="248" y="208"/>
                      <a:pt x="248" y="208"/>
                    </a:cubicBezTo>
                    <a:lnTo>
                      <a:pt x="248" y="224"/>
                    </a:lnTo>
                    <a:close/>
                    <a:moveTo>
                      <a:pt x="274" y="224"/>
                    </a:moveTo>
                    <a:cubicBezTo>
                      <a:pt x="257" y="224"/>
                      <a:pt x="257" y="224"/>
                      <a:pt x="257" y="224"/>
                    </a:cubicBezTo>
                    <a:cubicBezTo>
                      <a:pt x="257" y="208"/>
                      <a:pt x="257" y="208"/>
                      <a:pt x="257" y="208"/>
                    </a:cubicBezTo>
                    <a:cubicBezTo>
                      <a:pt x="274" y="208"/>
                      <a:pt x="274" y="208"/>
                      <a:pt x="274" y="208"/>
                    </a:cubicBezTo>
                    <a:lnTo>
                      <a:pt x="274" y="224"/>
                    </a:lnTo>
                    <a:close/>
                    <a:moveTo>
                      <a:pt x="300" y="224"/>
                    </a:moveTo>
                    <a:cubicBezTo>
                      <a:pt x="283" y="224"/>
                      <a:pt x="283" y="224"/>
                      <a:pt x="283" y="224"/>
                    </a:cubicBezTo>
                    <a:cubicBezTo>
                      <a:pt x="283" y="208"/>
                      <a:pt x="283" y="208"/>
                      <a:pt x="283" y="208"/>
                    </a:cubicBezTo>
                    <a:cubicBezTo>
                      <a:pt x="300" y="208"/>
                      <a:pt x="300" y="208"/>
                      <a:pt x="300" y="208"/>
                    </a:cubicBezTo>
                    <a:lnTo>
                      <a:pt x="300" y="224"/>
                    </a:lnTo>
                    <a:close/>
                    <a:moveTo>
                      <a:pt x="326" y="224"/>
                    </a:moveTo>
                    <a:cubicBezTo>
                      <a:pt x="309" y="224"/>
                      <a:pt x="309" y="224"/>
                      <a:pt x="309" y="224"/>
                    </a:cubicBezTo>
                    <a:cubicBezTo>
                      <a:pt x="309" y="208"/>
                      <a:pt x="309" y="208"/>
                      <a:pt x="309" y="208"/>
                    </a:cubicBezTo>
                    <a:cubicBezTo>
                      <a:pt x="326" y="208"/>
                      <a:pt x="326" y="208"/>
                      <a:pt x="326" y="208"/>
                    </a:cubicBezTo>
                    <a:lnTo>
                      <a:pt x="326" y="224"/>
                    </a:lnTo>
                    <a:close/>
                    <a:moveTo>
                      <a:pt x="349" y="251"/>
                    </a:moveTo>
                    <a:cubicBezTo>
                      <a:pt x="327" y="251"/>
                      <a:pt x="327" y="251"/>
                      <a:pt x="327" y="251"/>
                    </a:cubicBezTo>
                    <a:cubicBezTo>
                      <a:pt x="327" y="247"/>
                      <a:pt x="327" y="247"/>
                      <a:pt x="327" y="247"/>
                    </a:cubicBezTo>
                    <a:cubicBezTo>
                      <a:pt x="349" y="247"/>
                      <a:pt x="349" y="247"/>
                      <a:pt x="349" y="247"/>
                    </a:cubicBezTo>
                    <a:lnTo>
                      <a:pt x="349" y="251"/>
                    </a:lnTo>
                    <a:close/>
                    <a:moveTo>
                      <a:pt x="353" y="224"/>
                    </a:moveTo>
                    <a:cubicBezTo>
                      <a:pt x="335" y="224"/>
                      <a:pt x="335" y="224"/>
                      <a:pt x="335" y="224"/>
                    </a:cubicBezTo>
                    <a:cubicBezTo>
                      <a:pt x="335" y="208"/>
                      <a:pt x="335" y="208"/>
                      <a:pt x="335" y="208"/>
                    </a:cubicBezTo>
                    <a:cubicBezTo>
                      <a:pt x="353" y="208"/>
                      <a:pt x="353" y="208"/>
                      <a:pt x="353" y="208"/>
                    </a:cubicBezTo>
                    <a:lnTo>
                      <a:pt x="353" y="224"/>
                    </a:lnTo>
                    <a:close/>
                    <a:moveTo>
                      <a:pt x="190" y="342"/>
                    </a:moveTo>
                    <a:cubicBezTo>
                      <a:pt x="208" y="342"/>
                      <a:pt x="208" y="342"/>
                      <a:pt x="208" y="342"/>
                    </a:cubicBezTo>
                    <a:cubicBezTo>
                      <a:pt x="208" y="295"/>
                      <a:pt x="208" y="295"/>
                      <a:pt x="208" y="295"/>
                    </a:cubicBezTo>
                    <a:cubicBezTo>
                      <a:pt x="190" y="295"/>
                      <a:pt x="190" y="295"/>
                      <a:pt x="190" y="295"/>
                    </a:cubicBezTo>
                    <a:lnTo>
                      <a:pt x="190" y="342"/>
                    </a:lnTo>
                    <a:close/>
                    <a:moveTo>
                      <a:pt x="167" y="342"/>
                    </a:moveTo>
                    <a:cubicBezTo>
                      <a:pt x="186" y="342"/>
                      <a:pt x="186" y="342"/>
                      <a:pt x="186" y="342"/>
                    </a:cubicBezTo>
                    <a:cubicBezTo>
                      <a:pt x="186" y="295"/>
                      <a:pt x="186" y="295"/>
                      <a:pt x="186" y="295"/>
                    </a:cubicBezTo>
                    <a:cubicBezTo>
                      <a:pt x="167" y="295"/>
                      <a:pt x="167" y="295"/>
                      <a:pt x="167" y="295"/>
                    </a:cubicBezTo>
                    <a:lnTo>
                      <a:pt x="167" y="342"/>
                    </a:lnTo>
                    <a:close/>
                    <a:moveTo>
                      <a:pt x="167" y="290"/>
                    </a:moveTo>
                    <a:cubicBezTo>
                      <a:pt x="186" y="290"/>
                      <a:pt x="186" y="290"/>
                      <a:pt x="186" y="290"/>
                    </a:cubicBezTo>
                    <a:cubicBezTo>
                      <a:pt x="186" y="279"/>
                      <a:pt x="186" y="279"/>
                      <a:pt x="186" y="279"/>
                    </a:cubicBezTo>
                    <a:cubicBezTo>
                      <a:pt x="167" y="279"/>
                      <a:pt x="167" y="279"/>
                      <a:pt x="167" y="279"/>
                    </a:cubicBezTo>
                    <a:lnTo>
                      <a:pt x="167" y="290"/>
                    </a:lnTo>
                    <a:close/>
                    <a:moveTo>
                      <a:pt x="25" y="290"/>
                    </a:moveTo>
                    <a:cubicBezTo>
                      <a:pt x="43" y="290"/>
                      <a:pt x="43" y="290"/>
                      <a:pt x="43" y="290"/>
                    </a:cubicBezTo>
                    <a:cubicBezTo>
                      <a:pt x="43" y="279"/>
                      <a:pt x="43" y="279"/>
                      <a:pt x="43" y="279"/>
                    </a:cubicBezTo>
                    <a:cubicBezTo>
                      <a:pt x="25" y="279"/>
                      <a:pt x="25" y="279"/>
                      <a:pt x="25" y="279"/>
                    </a:cubicBezTo>
                    <a:lnTo>
                      <a:pt x="25" y="290"/>
                    </a:lnTo>
                    <a:close/>
                    <a:moveTo>
                      <a:pt x="25" y="342"/>
                    </a:moveTo>
                    <a:cubicBezTo>
                      <a:pt x="43" y="342"/>
                      <a:pt x="43" y="342"/>
                      <a:pt x="43" y="342"/>
                    </a:cubicBezTo>
                    <a:cubicBezTo>
                      <a:pt x="43" y="295"/>
                      <a:pt x="43" y="295"/>
                      <a:pt x="43" y="295"/>
                    </a:cubicBezTo>
                    <a:cubicBezTo>
                      <a:pt x="25" y="295"/>
                      <a:pt x="25" y="295"/>
                      <a:pt x="25" y="295"/>
                    </a:cubicBezTo>
                    <a:lnTo>
                      <a:pt x="25" y="342"/>
                    </a:lnTo>
                    <a:close/>
                    <a:moveTo>
                      <a:pt x="70" y="290"/>
                    </a:moveTo>
                    <a:cubicBezTo>
                      <a:pt x="89" y="290"/>
                      <a:pt x="89" y="290"/>
                      <a:pt x="89" y="290"/>
                    </a:cubicBezTo>
                    <a:cubicBezTo>
                      <a:pt x="89" y="279"/>
                      <a:pt x="89" y="279"/>
                      <a:pt x="89" y="279"/>
                    </a:cubicBezTo>
                    <a:cubicBezTo>
                      <a:pt x="70" y="279"/>
                      <a:pt x="70" y="279"/>
                      <a:pt x="70" y="279"/>
                    </a:cubicBezTo>
                    <a:lnTo>
                      <a:pt x="70" y="290"/>
                    </a:lnTo>
                    <a:close/>
                    <a:moveTo>
                      <a:pt x="48" y="342"/>
                    </a:moveTo>
                    <a:cubicBezTo>
                      <a:pt x="66" y="342"/>
                      <a:pt x="66" y="342"/>
                      <a:pt x="66" y="342"/>
                    </a:cubicBezTo>
                    <a:cubicBezTo>
                      <a:pt x="66" y="295"/>
                      <a:pt x="66" y="295"/>
                      <a:pt x="66" y="295"/>
                    </a:cubicBezTo>
                    <a:cubicBezTo>
                      <a:pt x="48" y="295"/>
                      <a:pt x="48" y="295"/>
                      <a:pt x="48" y="295"/>
                    </a:cubicBezTo>
                    <a:lnTo>
                      <a:pt x="48" y="342"/>
                    </a:lnTo>
                    <a:close/>
                    <a:moveTo>
                      <a:pt x="70" y="342"/>
                    </a:moveTo>
                    <a:cubicBezTo>
                      <a:pt x="89" y="342"/>
                      <a:pt x="89" y="342"/>
                      <a:pt x="89" y="342"/>
                    </a:cubicBezTo>
                    <a:cubicBezTo>
                      <a:pt x="89" y="295"/>
                      <a:pt x="89" y="295"/>
                      <a:pt x="89" y="295"/>
                    </a:cubicBezTo>
                    <a:cubicBezTo>
                      <a:pt x="70" y="295"/>
                      <a:pt x="70" y="295"/>
                      <a:pt x="70" y="295"/>
                    </a:cubicBezTo>
                    <a:lnTo>
                      <a:pt x="70" y="342"/>
                    </a:lnTo>
                    <a:close/>
                    <a:moveTo>
                      <a:pt x="48" y="290"/>
                    </a:moveTo>
                    <a:cubicBezTo>
                      <a:pt x="66" y="290"/>
                      <a:pt x="66" y="290"/>
                      <a:pt x="66" y="290"/>
                    </a:cubicBezTo>
                    <a:cubicBezTo>
                      <a:pt x="66" y="279"/>
                      <a:pt x="66" y="279"/>
                      <a:pt x="66" y="279"/>
                    </a:cubicBezTo>
                    <a:cubicBezTo>
                      <a:pt x="48" y="279"/>
                      <a:pt x="48" y="279"/>
                      <a:pt x="48" y="279"/>
                    </a:cubicBezTo>
                    <a:lnTo>
                      <a:pt x="48" y="290"/>
                    </a:lnTo>
                    <a:close/>
                    <a:moveTo>
                      <a:pt x="145" y="342"/>
                    </a:moveTo>
                    <a:cubicBezTo>
                      <a:pt x="163" y="342"/>
                      <a:pt x="163" y="342"/>
                      <a:pt x="163" y="342"/>
                    </a:cubicBezTo>
                    <a:cubicBezTo>
                      <a:pt x="163" y="295"/>
                      <a:pt x="163" y="295"/>
                      <a:pt x="163" y="295"/>
                    </a:cubicBezTo>
                    <a:cubicBezTo>
                      <a:pt x="145" y="295"/>
                      <a:pt x="145" y="295"/>
                      <a:pt x="145" y="295"/>
                    </a:cubicBezTo>
                    <a:lnTo>
                      <a:pt x="145" y="342"/>
                    </a:lnTo>
                    <a:close/>
                    <a:moveTo>
                      <a:pt x="332" y="342"/>
                    </a:moveTo>
                    <a:cubicBezTo>
                      <a:pt x="350" y="342"/>
                      <a:pt x="350" y="342"/>
                      <a:pt x="350" y="342"/>
                    </a:cubicBezTo>
                    <a:cubicBezTo>
                      <a:pt x="350" y="295"/>
                      <a:pt x="350" y="295"/>
                      <a:pt x="350" y="295"/>
                    </a:cubicBezTo>
                    <a:cubicBezTo>
                      <a:pt x="332" y="295"/>
                      <a:pt x="332" y="295"/>
                      <a:pt x="332" y="295"/>
                    </a:cubicBezTo>
                    <a:lnTo>
                      <a:pt x="332" y="342"/>
                    </a:lnTo>
                    <a:close/>
                    <a:moveTo>
                      <a:pt x="332" y="290"/>
                    </a:moveTo>
                    <a:cubicBezTo>
                      <a:pt x="350" y="290"/>
                      <a:pt x="350" y="290"/>
                      <a:pt x="350" y="290"/>
                    </a:cubicBezTo>
                    <a:cubicBezTo>
                      <a:pt x="350" y="279"/>
                      <a:pt x="350" y="279"/>
                      <a:pt x="350" y="279"/>
                    </a:cubicBezTo>
                    <a:cubicBezTo>
                      <a:pt x="332" y="279"/>
                      <a:pt x="332" y="279"/>
                      <a:pt x="332" y="279"/>
                    </a:cubicBezTo>
                    <a:lnTo>
                      <a:pt x="332" y="290"/>
                    </a:lnTo>
                    <a:close/>
                    <a:moveTo>
                      <a:pt x="309" y="290"/>
                    </a:moveTo>
                    <a:cubicBezTo>
                      <a:pt x="328" y="290"/>
                      <a:pt x="328" y="290"/>
                      <a:pt x="328" y="290"/>
                    </a:cubicBezTo>
                    <a:cubicBezTo>
                      <a:pt x="328" y="279"/>
                      <a:pt x="328" y="279"/>
                      <a:pt x="328" y="279"/>
                    </a:cubicBezTo>
                    <a:cubicBezTo>
                      <a:pt x="309" y="279"/>
                      <a:pt x="309" y="279"/>
                      <a:pt x="309" y="279"/>
                    </a:cubicBezTo>
                    <a:lnTo>
                      <a:pt x="309" y="290"/>
                    </a:lnTo>
                    <a:close/>
                    <a:moveTo>
                      <a:pt x="289" y="0"/>
                    </a:moveTo>
                    <a:cubicBezTo>
                      <a:pt x="215" y="0"/>
                      <a:pt x="148" y="14"/>
                      <a:pt x="101" y="36"/>
                    </a:cubicBezTo>
                    <a:cubicBezTo>
                      <a:pt x="101" y="63"/>
                      <a:pt x="101" y="63"/>
                      <a:pt x="101" y="63"/>
                    </a:cubicBezTo>
                    <a:cubicBezTo>
                      <a:pt x="476" y="63"/>
                      <a:pt x="476" y="63"/>
                      <a:pt x="476" y="63"/>
                    </a:cubicBezTo>
                    <a:cubicBezTo>
                      <a:pt x="476" y="36"/>
                      <a:pt x="476" y="36"/>
                      <a:pt x="476" y="36"/>
                    </a:cubicBezTo>
                    <a:cubicBezTo>
                      <a:pt x="429" y="14"/>
                      <a:pt x="362" y="0"/>
                      <a:pt x="289" y="0"/>
                    </a:cubicBezTo>
                    <a:close/>
                    <a:moveTo>
                      <a:pt x="101" y="171"/>
                    </a:moveTo>
                    <a:cubicBezTo>
                      <a:pt x="106" y="170"/>
                      <a:pt x="106" y="170"/>
                      <a:pt x="106" y="170"/>
                    </a:cubicBezTo>
                    <a:cubicBezTo>
                      <a:pt x="106" y="162"/>
                      <a:pt x="106" y="162"/>
                      <a:pt x="106" y="162"/>
                    </a:cubicBezTo>
                    <a:cubicBezTo>
                      <a:pt x="126" y="162"/>
                      <a:pt x="126" y="162"/>
                      <a:pt x="126" y="162"/>
                    </a:cubicBezTo>
                    <a:cubicBezTo>
                      <a:pt x="126" y="167"/>
                      <a:pt x="126" y="167"/>
                      <a:pt x="126" y="167"/>
                    </a:cubicBezTo>
                    <a:cubicBezTo>
                      <a:pt x="130" y="166"/>
                      <a:pt x="130" y="166"/>
                      <a:pt x="130" y="166"/>
                    </a:cubicBezTo>
                    <a:cubicBezTo>
                      <a:pt x="130" y="162"/>
                      <a:pt x="130" y="162"/>
                      <a:pt x="130" y="162"/>
                    </a:cubicBezTo>
                    <a:cubicBezTo>
                      <a:pt x="152" y="162"/>
                      <a:pt x="152" y="162"/>
                      <a:pt x="152" y="162"/>
                    </a:cubicBezTo>
                    <a:cubicBezTo>
                      <a:pt x="152" y="163"/>
                      <a:pt x="152" y="163"/>
                      <a:pt x="152" y="163"/>
                    </a:cubicBezTo>
                    <a:cubicBezTo>
                      <a:pt x="157" y="162"/>
                      <a:pt x="157" y="162"/>
                      <a:pt x="157" y="162"/>
                    </a:cubicBezTo>
                    <a:cubicBezTo>
                      <a:pt x="157" y="162"/>
                      <a:pt x="157" y="162"/>
                      <a:pt x="157" y="162"/>
                    </a:cubicBezTo>
                    <a:cubicBezTo>
                      <a:pt x="158" y="162"/>
                      <a:pt x="158" y="162"/>
                      <a:pt x="158" y="162"/>
                    </a:cubicBezTo>
                    <a:cubicBezTo>
                      <a:pt x="187" y="158"/>
                      <a:pt x="187" y="158"/>
                      <a:pt x="187" y="158"/>
                    </a:cubicBezTo>
                    <a:cubicBezTo>
                      <a:pt x="184" y="158"/>
                      <a:pt x="184" y="158"/>
                      <a:pt x="184" y="158"/>
                    </a:cubicBezTo>
                    <a:cubicBezTo>
                      <a:pt x="184" y="72"/>
                      <a:pt x="184" y="72"/>
                      <a:pt x="184" y="72"/>
                    </a:cubicBezTo>
                    <a:cubicBezTo>
                      <a:pt x="206" y="72"/>
                      <a:pt x="206" y="72"/>
                      <a:pt x="206" y="72"/>
                    </a:cubicBezTo>
                    <a:cubicBezTo>
                      <a:pt x="206" y="155"/>
                      <a:pt x="206" y="155"/>
                      <a:pt x="206" y="155"/>
                    </a:cubicBezTo>
                    <a:cubicBezTo>
                      <a:pt x="210" y="154"/>
                      <a:pt x="210" y="154"/>
                      <a:pt x="210" y="154"/>
                    </a:cubicBezTo>
                    <a:cubicBezTo>
                      <a:pt x="210" y="72"/>
                      <a:pt x="210" y="72"/>
                      <a:pt x="210" y="72"/>
                    </a:cubicBezTo>
                    <a:cubicBezTo>
                      <a:pt x="233" y="72"/>
                      <a:pt x="233" y="72"/>
                      <a:pt x="233" y="72"/>
                    </a:cubicBezTo>
                    <a:cubicBezTo>
                      <a:pt x="233" y="151"/>
                      <a:pt x="233" y="151"/>
                      <a:pt x="233" y="151"/>
                    </a:cubicBezTo>
                    <a:cubicBezTo>
                      <a:pt x="237" y="150"/>
                      <a:pt x="237" y="150"/>
                      <a:pt x="237" y="150"/>
                    </a:cubicBezTo>
                    <a:cubicBezTo>
                      <a:pt x="237" y="72"/>
                      <a:pt x="237" y="72"/>
                      <a:pt x="237" y="72"/>
                    </a:cubicBezTo>
                    <a:cubicBezTo>
                      <a:pt x="260" y="72"/>
                      <a:pt x="260" y="72"/>
                      <a:pt x="260" y="72"/>
                    </a:cubicBezTo>
                    <a:cubicBezTo>
                      <a:pt x="260" y="147"/>
                      <a:pt x="260" y="147"/>
                      <a:pt x="260" y="147"/>
                    </a:cubicBezTo>
                    <a:cubicBezTo>
                      <a:pt x="264" y="146"/>
                      <a:pt x="264" y="146"/>
                      <a:pt x="264" y="146"/>
                    </a:cubicBezTo>
                    <a:cubicBezTo>
                      <a:pt x="264" y="72"/>
                      <a:pt x="264" y="72"/>
                      <a:pt x="264" y="72"/>
                    </a:cubicBezTo>
                    <a:cubicBezTo>
                      <a:pt x="286" y="72"/>
                      <a:pt x="286" y="72"/>
                      <a:pt x="286" y="72"/>
                    </a:cubicBezTo>
                    <a:cubicBezTo>
                      <a:pt x="286" y="143"/>
                      <a:pt x="286" y="143"/>
                      <a:pt x="286" y="143"/>
                    </a:cubicBezTo>
                    <a:cubicBezTo>
                      <a:pt x="291" y="142"/>
                      <a:pt x="291" y="142"/>
                      <a:pt x="291" y="142"/>
                    </a:cubicBezTo>
                    <a:cubicBezTo>
                      <a:pt x="291" y="72"/>
                      <a:pt x="291" y="72"/>
                      <a:pt x="291" y="72"/>
                    </a:cubicBezTo>
                    <a:cubicBezTo>
                      <a:pt x="313" y="72"/>
                      <a:pt x="313" y="72"/>
                      <a:pt x="313" y="72"/>
                    </a:cubicBezTo>
                    <a:cubicBezTo>
                      <a:pt x="313" y="139"/>
                      <a:pt x="313" y="139"/>
                      <a:pt x="313" y="139"/>
                    </a:cubicBezTo>
                    <a:cubicBezTo>
                      <a:pt x="318" y="138"/>
                      <a:pt x="318" y="138"/>
                      <a:pt x="318" y="138"/>
                    </a:cubicBezTo>
                    <a:cubicBezTo>
                      <a:pt x="318" y="72"/>
                      <a:pt x="318" y="72"/>
                      <a:pt x="318" y="72"/>
                    </a:cubicBezTo>
                    <a:cubicBezTo>
                      <a:pt x="340" y="72"/>
                      <a:pt x="340" y="72"/>
                      <a:pt x="340" y="72"/>
                    </a:cubicBezTo>
                    <a:cubicBezTo>
                      <a:pt x="340" y="135"/>
                      <a:pt x="340" y="135"/>
                      <a:pt x="340" y="135"/>
                    </a:cubicBezTo>
                    <a:cubicBezTo>
                      <a:pt x="344" y="134"/>
                      <a:pt x="344" y="134"/>
                      <a:pt x="344" y="134"/>
                    </a:cubicBezTo>
                    <a:cubicBezTo>
                      <a:pt x="344" y="72"/>
                      <a:pt x="344" y="72"/>
                      <a:pt x="344" y="72"/>
                    </a:cubicBezTo>
                    <a:cubicBezTo>
                      <a:pt x="367" y="72"/>
                      <a:pt x="367" y="72"/>
                      <a:pt x="367" y="72"/>
                    </a:cubicBezTo>
                    <a:cubicBezTo>
                      <a:pt x="367" y="131"/>
                      <a:pt x="367" y="131"/>
                      <a:pt x="367" y="131"/>
                    </a:cubicBezTo>
                    <a:cubicBezTo>
                      <a:pt x="371" y="130"/>
                      <a:pt x="371" y="130"/>
                      <a:pt x="371" y="130"/>
                    </a:cubicBezTo>
                    <a:cubicBezTo>
                      <a:pt x="371" y="72"/>
                      <a:pt x="371" y="72"/>
                      <a:pt x="371" y="72"/>
                    </a:cubicBezTo>
                    <a:cubicBezTo>
                      <a:pt x="394" y="72"/>
                      <a:pt x="394" y="72"/>
                      <a:pt x="394" y="72"/>
                    </a:cubicBezTo>
                    <a:cubicBezTo>
                      <a:pt x="394" y="158"/>
                      <a:pt x="394" y="158"/>
                      <a:pt x="394" y="158"/>
                    </a:cubicBezTo>
                    <a:cubicBezTo>
                      <a:pt x="378" y="158"/>
                      <a:pt x="378" y="158"/>
                      <a:pt x="378" y="158"/>
                    </a:cubicBezTo>
                    <a:cubicBezTo>
                      <a:pt x="378" y="162"/>
                      <a:pt x="378" y="162"/>
                      <a:pt x="378" y="162"/>
                    </a:cubicBezTo>
                    <a:cubicBezTo>
                      <a:pt x="394" y="162"/>
                      <a:pt x="394" y="162"/>
                      <a:pt x="394" y="162"/>
                    </a:cubicBezTo>
                    <a:cubicBezTo>
                      <a:pt x="394" y="247"/>
                      <a:pt x="394" y="247"/>
                      <a:pt x="394" y="247"/>
                    </a:cubicBezTo>
                    <a:cubicBezTo>
                      <a:pt x="378" y="247"/>
                      <a:pt x="378" y="247"/>
                      <a:pt x="378" y="247"/>
                    </a:cubicBezTo>
                    <a:cubicBezTo>
                      <a:pt x="378" y="251"/>
                      <a:pt x="378" y="251"/>
                      <a:pt x="378" y="251"/>
                    </a:cubicBezTo>
                    <a:cubicBezTo>
                      <a:pt x="394" y="251"/>
                      <a:pt x="394" y="251"/>
                      <a:pt x="394" y="251"/>
                    </a:cubicBezTo>
                    <a:cubicBezTo>
                      <a:pt x="394" y="337"/>
                      <a:pt x="394" y="337"/>
                      <a:pt x="394" y="337"/>
                    </a:cubicBezTo>
                    <a:cubicBezTo>
                      <a:pt x="378" y="337"/>
                      <a:pt x="378" y="337"/>
                      <a:pt x="378" y="337"/>
                    </a:cubicBezTo>
                    <a:cubicBezTo>
                      <a:pt x="378" y="342"/>
                      <a:pt x="378" y="342"/>
                      <a:pt x="378" y="342"/>
                    </a:cubicBezTo>
                    <a:cubicBezTo>
                      <a:pt x="476" y="342"/>
                      <a:pt x="476" y="342"/>
                      <a:pt x="476" y="342"/>
                    </a:cubicBezTo>
                    <a:cubicBezTo>
                      <a:pt x="476" y="68"/>
                      <a:pt x="476" y="68"/>
                      <a:pt x="476" y="68"/>
                    </a:cubicBezTo>
                    <a:cubicBezTo>
                      <a:pt x="101" y="68"/>
                      <a:pt x="101" y="68"/>
                      <a:pt x="101" y="68"/>
                    </a:cubicBezTo>
                    <a:lnTo>
                      <a:pt x="101" y="171"/>
                    </a:lnTo>
                    <a:close/>
                    <a:moveTo>
                      <a:pt x="452" y="72"/>
                    </a:moveTo>
                    <a:cubicBezTo>
                      <a:pt x="471" y="72"/>
                      <a:pt x="471" y="72"/>
                      <a:pt x="471" y="72"/>
                    </a:cubicBezTo>
                    <a:cubicBezTo>
                      <a:pt x="471" y="158"/>
                      <a:pt x="471" y="158"/>
                      <a:pt x="471" y="158"/>
                    </a:cubicBezTo>
                    <a:cubicBezTo>
                      <a:pt x="452" y="158"/>
                      <a:pt x="452" y="158"/>
                      <a:pt x="452" y="158"/>
                    </a:cubicBezTo>
                    <a:lnTo>
                      <a:pt x="452" y="72"/>
                    </a:lnTo>
                    <a:close/>
                    <a:moveTo>
                      <a:pt x="452" y="162"/>
                    </a:moveTo>
                    <a:cubicBezTo>
                      <a:pt x="471" y="162"/>
                      <a:pt x="471" y="162"/>
                      <a:pt x="471" y="162"/>
                    </a:cubicBezTo>
                    <a:cubicBezTo>
                      <a:pt x="471" y="337"/>
                      <a:pt x="471" y="337"/>
                      <a:pt x="471" y="337"/>
                    </a:cubicBezTo>
                    <a:cubicBezTo>
                      <a:pt x="452" y="337"/>
                      <a:pt x="452" y="337"/>
                      <a:pt x="452" y="337"/>
                    </a:cubicBezTo>
                    <a:lnTo>
                      <a:pt x="452" y="162"/>
                    </a:lnTo>
                    <a:close/>
                    <a:moveTo>
                      <a:pt x="425" y="72"/>
                    </a:moveTo>
                    <a:cubicBezTo>
                      <a:pt x="447" y="72"/>
                      <a:pt x="447" y="72"/>
                      <a:pt x="447" y="72"/>
                    </a:cubicBezTo>
                    <a:cubicBezTo>
                      <a:pt x="447" y="158"/>
                      <a:pt x="447" y="158"/>
                      <a:pt x="447" y="158"/>
                    </a:cubicBezTo>
                    <a:cubicBezTo>
                      <a:pt x="425" y="158"/>
                      <a:pt x="425" y="158"/>
                      <a:pt x="425" y="158"/>
                    </a:cubicBezTo>
                    <a:lnTo>
                      <a:pt x="425" y="72"/>
                    </a:lnTo>
                    <a:close/>
                    <a:moveTo>
                      <a:pt x="425" y="162"/>
                    </a:moveTo>
                    <a:cubicBezTo>
                      <a:pt x="447" y="162"/>
                      <a:pt x="447" y="162"/>
                      <a:pt x="447" y="162"/>
                    </a:cubicBezTo>
                    <a:cubicBezTo>
                      <a:pt x="447" y="247"/>
                      <a:pt x="447" y="247"/>
                      <a:pt x="447" y="247"/>
                    </a:cubicBezTo>
                    <a:cubicBezTo>
                      <a:pt x="425" y="247"/>
                      <a:pt x="425" y="247"/>
                      <a:pt x="425" y="247"/>
                    </a:cubicBezTo>
                    <a:lnTo>
                      <a:pt x="425" y="162"/>
                    </a:lnTo>
                    <a:close/>
                    <a:moveTo>
                      <a:pt x="425" y="251"/>
                    </a:moveTo>
                    <a:cubicBezTo>
                      <a:pt x="446" y="251"/>
                      <a:pt x="446" y="251"/>
                      <a:pt x="446" y="251"/>
                    </a:cubicBezTo>
                    <a:cubicBezTo>
                      <a:pt x="446" y="250"/>
                      <a:pt x="447" y="297"/>
                      <a:pt x="447" y="306"/>
                    </a:cubicBezTo>
                    <a:cubicBezTo>
                      <a:pt x="447" y="337"/>
                      <a:pt x="447" y="337"/>
                      <a:pt x="447" y="337"/>
                    </a:cubicBezTo>
                    <a:cubicBezTo>
                      <a:pt x="425" y="337"/>
                      <a:pt x="425" y="337"/>
                      <a:pt x="425" y="337"/>
                    </a:cubicBezTo>
                    <a:lnTo>
                      <a:pt x="425" y="251"/>
                    </a:lnTo>
                    <a:close/>
                    <a:moveTo>
                      <a:pt x="398" y="72"/>
                    </a:moveTo>
                    <a:cubicBezTo>
                      <a:pt x="420" y="72"/>
                      <a:pt x="420" y="72"/>
                      <a:pt x="420" y="72"/>
                    </a:cubicBezTo>
                    <a:cubicBezTo>
                      <a:pt x="420" y="158"/>
                      <a:pt x="420" y="158"/>
                      <a:pt x="420" y="158"/>
                    </a:cubicBezTo>
                    <a:cubicBezTo>
                      <a:pt x="398" y="158"/>
                      <a:pt x="398" y="158"/>
                      <a:pt x="398" y="158"/>
                    </a:cubicBezTo>
                    <a:lnTo>
                      <a:pt x="398" y="72"/>
                    </a:lnTo>
                    <a:close/>
                    <a:moveTo>
                      <a:pt x="398" y="162"/>
                    </a:moveTo>
                    <a:cubicBezTo>
                      <a:pt x="420" y="162"/>
                      <a:pt x="420" y="162"/>
                      <a:pt x="420" y="162"/>
                    </a:cubicBezTo>
                    <a:cubicBezTo>
                      <a:pt x="420" y="247"/>
                      <a:pt x="420" y="247"/>
                      <a:pt x="420" y="247"/>
                    </a:cubicBezTo>
                    <a:cubicBezTo>
                      <a:pt x="398" y="247"/>
                      <a:pt x="398" y="247"/>
                      <a:pt x="398" y="247"/>
                    </a:cubicBezTo>
                    <a:lnTo>
                      <a:pt x="398" y="162"/>
                    </a:lnTo>
                    <a:close/>
                    <a:moveTo>
                      <a:pt x="398" y="251"/>
                    </a:moveTo>
                    <a:cubicBezTo>
                      <a:pt x="420" y="251"/>
                      <a:pt x="420" y="251"/>
                      <a:pt x="420" y="251"/>
                    </a:cubicBezTo>
                    <a:cubicBezTo>
                      <a:pt x="420" y="337"/>
                      <a:pt x="420" y="337"/>
                      <a:pt x="420" y="337"/>
                    </a:cubicBezTo>
                    <a:cubicBezTo>
                      <a:pt x="398" y="337"/>
                      <a:pt x="398" y="337"/>
                      <a:pt x="398" y="337"/>
                    </a:cubicBezTo>
                    <a:lnTo>
                      <a:pt x="398" y="251"/>
                    </a:lnTo>
                    <a:close/>
                    <a:moveTo>
                      <a:pt x="157" y="72"/>
                    </a:moveTo>
                    <a:cubicBezTo>
                      <a:pt x="179" y="72"/>
                      <a:pt x="179" y="72"/>
                      <a:pt x="179" y="72"/>
                    </a:cubicBezTo>
                    <a:cubicBezTo>
                      <a:pt x="179" y="158"/>
                      <a:pt x="179" y="158"/>
                      <a:pt x="179" y="158"/>
                    </a:cubicBezTo>
                    <a:cubicBezTo>
                      <a:pt x="157" y="158"/>
                      <a:pt x="157" y="158"/>
                      <a:pt x="157" y="158"/>
                    </a:cubicBezTo>
                    <a:lnTo>
                      <a:pt x="157" y="72"/>
                    </a:lnTo>
                    <a:close/>
                    <a:moveTo>
                      <a:pt x="130" y="72"/>
                    </a:moveTo>
                    <a:cubicBezTo>
                      <a:pt x="152" y="72"/>
                      <a:pt x="152" y="72"/>
                      <a:pt x="152" y="72"/>
                    </a:cubicBezTo>
                    <a:cubicBezTo>
                      <a:pt x="152" y="158"/>
                      <a:pt x="152" y="158"/>
                      <a:pt x="152" y="158"/>
                    </a:cubicBezTo>
                    <a:cubicBezTo>
                      <a:pt x="130" y="158"/>
                      <a:pt x="130" y="158"/>
                      <a:pt x="130" y="158"/>
                    </a:cubicBezTo>
                    <a:lnTo>
                      <a:pt x="130" y="72"/>
                    </a:lnTo>
                    <a:close/>
                    <a:moveTo>
                      <a:pt x="106" y="72"/>
                    </a:moveTo>
                    <a:cubicBezTo>
                      <a:pt x="126" y="72"/>
                      <a:pt x="126" y="72"/>
                      <a:pt x="126" y="72"/>
                    </a:cubicBezTo>
                    <a:cubicBezTo>
                      <a:pt x="126" y="158"/>
                      <a:pt x="126" y="158"/>
                      <a:pt x="126" y="158"/>
                    </a:cubicBezTo>
                    <a:cubicBezTo>
                      <a:pt x="106" y="158"/>
                      <a:pt x="106" y="158"/>
                      <a:pt x="106" y="158"/>
                    </a:cubicBezTo>
                    <a:lnTo>
                      <a:pt x="106" y="72"/>
                    </a:lnTo>
                    <a:close/>
                    <a:moveTo>
                      <a:pt x="309" y="342"/>
                    </a:moveTo>
                    <a:cubicBezTo>
                      <a:pt x="328" y="342"/>
                      <a:pt x="328" y="342"/>
                      <a:pt x="328" y="342"/>
                    </a:cubicBezTo>
                    <a:cubicBezTo>
                      <a:pt x="328" y="295"/>
                      <a:pt x="328" y="295"/>
                      <a:pt x="328" y="295"/>
                    </a:cubicBezTo>
                    <a:cubicBezTo>
                      <a:pt x="309" y="295"/>
                      <a:pt x="309" y="295"/>
                      <a:pt x="309" y="295"/>
                    </a:cubicBezTo>
                    <a:lnTo>
                      <a:pt x="309" y="342"/>
                    </a:lnTo>
                    <a:close/>
                    <a:moveTo>
                      <a:pt x="264" y="290"/>
                    </a:moveTo>
                    <a:cubicBezTo>
                      <a:pt x="282" y="290"/>
                      <a:pt x="282" y="290"/>
                      <a:pt x="282" y="290"/>
                    </a:cubicBezTo>
                    <a:cubicBezTo>
                      <a:pt x="282" y="279"/>
                      <a:pt x="282" y="279"/>
                      <a:pt x="282" y="279"/>
                    </a:cubicBezTo>
                    <a:cubicBezTo>
                      <a:pt x="264" y="279"/>
                      <a:pt x="264" y="279"/>
                      <a:pt x="264" y="279"/>
                    </a:cubicBezTo>
                    <a:lnTo>
                      <a:pt x="264" y="290"/>
                    </a:lnTo>
                    <a:close/>
                    <a:moveTo>
                      <a:pt x="212" y="290"/>
                    </a:moveTo>
                    <a:cubicBezTo>
                      <a:pt x="231" y="290"/>
                      <a:pt x="231" y="290"/>
                      <a:pt x="231" y="290"/>
                    </a:cubicBezTo>
                    <a:cubicBezTo>
                      <a:pt x="231" y="279"/>
                      <a:pt x="231" y="279"/>
                      <a:pt x="231" y="279"/>
                    </a:cubicBezTo>
                    <a:cubicBezTo>
                      <a:pt x="212" y="279"/>
                      <a:pt x="212" y="279"/>
                      <a:pt x="212" y="279"/>
                    </a:cubicBezTo>
                    <a:lnTo>
                      <a:pt x="212" y="290"/>
                    </a:lnTo>
                    <a:close/>
                    <a:moveTo>
                      <a:pt x="212" y="342"/>
                    </a:moveTo>
                    <a:cubicBezTo>
                      <a:pt x="231" y="342"/>
                      <a:pt x="231" y="342"/>
                      <a:pt x="231" y="342"/>
                    </a:cubicBezTo>
                    <a:cubicBezTo>
                      <a:pt x="231" y="295"/>
                      <a:pt x="231" y="295"/>
                      <a:pt x="231" y="295"/>
                    </a:cubicBezTo>
                    <a:cubicBezTo>
                      <a:pt x="212" y="295"/>
                      <a:pt x="212" y="295"/>
                      <a:pt x="212" y="295"/>
                    </a:cubicBezTo>
                    <a:lnTo>
                      <a:pt x="212" y="342"/>
                    </a:lnTo>
                    <a:close/>
                    <a:moveTo>
                      <a:pt x="264" y="342"/>
                    </a:moveTo>
                    <a:cubicBezTo>
                      <a:pt x="282" y="342"/>
                      <a:pt x="282" y="342"/>
                      <a:pt x="282" y="342"/>
                    </a:cubicBezTo>
                    <a:cubicBezTo>
                      <a:pt x="282" y="295"/>
                      <a:pt x="282" y="295"/>
                      <a:pt x="282" y="295"/>
                    </a:cubicBezTo>
                    <a:cubicBezTo>
                      <a:pt x="264" y="295"/>
                      <a:pt x="264" y="295"/>
                      <a:pt x="264" y="295"/>
                    </a:cubicBezTo>
                    <a:lnTo>
                      <a:pt x="264" y="342"/>
                    </a:lnTo>
                    <a:close/>
                    <a:moveTo>
                      <a:pt x="190" y="290"/>
                    </a:moveTo>
                    <a:cubicBezTo>
                      <a:pt x="208" y="290"/>
                      <a:pt x="208" y="290"/>
                      <a:pt x="208" y="290"/>
                    </a:cubicBezTo>
                    <a:cubicBezTo>
                      <a:pt x="208" y="279"/>
                      <a:pt x="208" y="279"/>
                      <a:pt x="208" y="279"/>
                    </a:cubicBezTo>
                    <a:cubicBezTo>
                      <a:pt x="190" y="279"/>
                      <a:pt x="190" y="279"/>
                      <a:pt x="190" y="279"/>
                    </a:cubicBezTo>
                    <a:lnTo>
                      <a:pt x="190" y="290"/>
                    </a:lnTo>
                    <a:close/>
                    <a:moveTo>
                      <a:pt x="287" y="290"/>
                    </a:moveTo>
                    <a:cubicBezTo>
                      <a:pt x="305" y="290"/>
                      <a:pt x="305" y="290"/>
                      <a:pt x="305" y="290"/>
                    </a:cubicBezTo>
                    <a:cubicBezTo>
                      <a:pt x="305" y="279"/>
                      <a:pt x="305" y="279"/>
                      <a:pt x="305" y="279"/>
                    </a:cubicBezTo>
                    <a:cubicBezTo>
                      <a:pt x="287" y="279"/>
                      <a:pt x="287" y="279"/>
                      <a:pt x="287" y="279"/>
                    </a:cubicBezTo>
                    <a:lnTo>
                      <a:pt x="287" y="290"/>
                    </a:lnTo>
                    <a:close/>
                    <a:moveTo>
                      <a:pt x="287" y="342"/>
                    </a:moveTo>
                    <a:cubicBezTo>
                      <a:pt x="305" y="342"/>
                      <a:pt x="305" y="342"/>
                      <a:pt x="305" y="342"/>
                    </a:cubicBezTo>
                    <a:cubicBezTo>
                      <a:pt x="305" y="295"/>
                      <a:pt x="305" y="295"/>
                      <a:pt x="305" y="295"/>
                    </a:cubicBezTo>
                    <a:cubicBezTo>
                      <a:pt x="287" y="295"/>
                      <a:pt x="287" y="295"/>
                      <a:pt x="287" y="295"/>
                    </a:cubicBezTo>
                    <a:lnTo>
                      <a:pt x="287" y="3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9" name="Group 116"/>
            <p:cNvGrpSpPr/>
            <p:nvPr/>
          </p:nvGrpSpPr>
          <p:grpSpPr>
            <a:xfrm>
              <a:off x="7443788" y="2351088"/>
              <a:ext cx="655637" cy="1819275"/>
              <a:chOff x="7291388" y="2198688"/>
              <a:chExt cx="655637" cy="1819275"/>
            </a:xfrm>
            <a:grpFill/>
          </p:grpSpPr>
          <p:sp>
            <p:nvSpPr>
              <p:cNvPr id="108" name="Freeform 6"/>
              <p:cNvSpPr>
                <a:spLocks noEditPoints="1"/>
              </p:cNvSpPr>
              <p:nvPr/>
            </p:nvSpPr>
            <p:spPr bwMode="auto">
              <a:xfrm>
                <a:off x="7291388" y="2198688"/>
                <a:ext cx="655637" cy="1819275"/>
              </a:xfrm>
              <a:custGeom>
                <a:avLst/>
                <a:gdLst/>
                <a:ahLst/>
                <a:cxnLst>
                  <a:cxn ang="0">
                    <a:pos x="17" y="1036"/>
                  </a:cxn>
                  <a:cxn ang="0">
                    <a:pos x="17" y="883"/>
                  </a:cxn>
                  <a:cxn ang="0">
                    <a:pos x="17" y="730"/>
                  </a:cxn>
                  <a:cxn ang="0">
                    <a:pos x="17" y="579"/>
                  </a:cxn>
                  <a:cxn ang="0">
                    <a:pos x="17" y="426"/>
                  </a:cxn>
                  <a:cxn ang="0">
                    <a:pos x="17" y="274"/>
                  </a:cxn>
                  <a:cxn ang="0">
                    <a:pos x="17" y="123"/>
                  </a:cxn>
                  <a:cxn ang="0">
                    <a:pos x="91" y="933"/>
                  </a:cxn>
                  <a:cxn ang="0">
                    <a:pos x="91" y="782"/>
                  </a:cxn>
                  <a:cxn ang="0">
                    <a:pos x="91" y="629"/>
                  </a:cxn>
                  <a:cxn ang="0">
                    <a:pos x="91" y="476"/>
                  </a:cxn>
                  <a:cxn ang="0">
                    <a:pos x="91" y="325"/>
                  </a:cxn>
                  <a:cxn ang="0">
                    <a:pos x="91" y="172"/>
                  </a:cxn>
                  <a:cxn ang="0">
                    <a:pos x="145" y="1019"/>
                  </a:cxn>
                  <a:cxn ang="0">
                    <a:pos x="145" y="879"/>
                  </a:cxn>
                  <a:cxn ang="0">
                    <a:pos x="145" y="739"/>
                  </a:cxn>
                  <a:cxn ang="0">
                    <a:pos x="145" y="599"/>
                  </a:cxn>
                  <a:cxn ang="0">
                    <a:pos x="145" y="461"/>
                  </a:cxn>
                  <a:cxn ang="0">
                    <a:pos x="145" y="321"/>
                  </a:cxn>
                  <a:cxn ang="0">
                    <a:pos x="145" y="181"/>
                  </a:cxn>
                  <a:cxn ang="0">
                    <a:pos x="158" y="1019"/>
                  </a:cxn>
                  <a:cxn ang="0">
                    <a:pos x="158" y="879"/>
                  </a:cxn>
                  <a:cxn ang="0">
                    <a:pos x="158" y="739"/>
                  </a:cxn>
                  <a:cxn ang="0">
                    <a:pos x="158" y="599"/>
                  </a:cxn>
                  <a:cxn ang="0">
                    <a:pos x="158" y="461"/>
                  </a:cxn>
                  <a:cxn ang="0">
                    <a:pos x="158" y="321"/>
                  </a:cxn>
                  <a:cxn ang="0">
                    <a:pos x="158" y="181"/>
                  </a:cxn>
                  <a:cxn ang="0">
                    <a:pos x="180" y="1006"/>
                  </a:cxn>
                  <a:cxn ang="0">
                    <a:pos x="180" y="866"/>
                  </a:cxn>
                  <a:cxn ang="0">
                    <a:pos x="180" y="726"/>
                  </a:cxn>
                  <a:cxn ang="0">
                    <a:pos x="180" y="588"/>
                  </a:cxn>
                  <a:cxn ang="0">
                    <a:pos x="180" y="448"/>
                  </a:cxn>
                  <a:cxn ang="0">
                    <a:pos x="180" y="308"/>
                  </a:cxn>
                  <a:cxn ang="0">
                    <a:pos x="180" y="168"/>
                  </a:cxn>
                  <a:cxn ang="0">
                    <a:pos x="247" y="1019"/>
                  </a:cxn>
                  <a:cxn ang="0">
                    <a:pos x="247" y="879"/>
                  </a:cxn>
                  <a:cxn ang="0">
                    <a:pos x="247" y="739"/>
                  </a:cxn>
                  <a:cxn ang="0">
                    <a:pos x="247" y="599"/>
                  </a:cxn>
                  <a:cxn ang="0">
                    <a:pos x="247" y="461"/>
                  </a:cxn>
                  <a:cxn ang="0">
                    <a:pos x="247" y="321"/>
                  </a:cxn>
                  <a:cxn ang="0">
                    <a:pos x="247" y="181"/>
                  </a:cxn>
                  <a:cxn ang="0">
                    <a:pos x="260" y="1019"/>
                  </a:cxn>
                  <a:cxn ang="0">
                    <a:pos x="260" y="879"/>
                  </a:cxn>
                  <a:cxn ang="0">
                    <a:pos x="260" y="739"/>
                  </a:cxn>
                  <a:cxn ang="0">
                    <a:pos x="260" y="599"/>
                  </a:cxn>
                  <a:cxn ang="0">
                    <a:pos x="260" y="461"/>
                  </a:cxn>
                  <a:cxn ang="0">
                    <a:pos x="260" y="321"/>
                  </a:cxn>
                  <a:cxn ang="0">
                    <a:pos x="260" y="181"/>
                  </a:cxn>
                  <a:cxn ang="0">
                    <a:pos x="290" y="985"/>
                  </a:cxn>
                  <a:cxn ang="0">
                    <a:pos x="290" y="832"/>
                  </a:cxn>
                  <a:cxn ang="0">
                    <a:pos x="290" y="681"/>
                  </a:cxn>
                  <a:cxn ang="0">
                    <a:pos x="290" y="528"/>
                  </a:cxn>
                  <a:cxn ang="0">
                    <a:pos x="290" y="375"/>
                  </a:cxn>
                  <a:cxn ang="0">
                    <a:pos x="290" y="224"/>
                  </a:cxn>
                  <a:cxn ang="0">
                    <a:pos x="335" y="1036"/>
                  </a:cxn>
                  <a:cxn ang="0">
                    <a:pos x="335" y="883"/>
                  </a:cxn>
                  <a:cxn ang="0">
                    <a:pos x="335" y="730"/>
                  </a:cxn>
                  <a:cxn ang="0">
                    <a:pos x="335" y="579"/>
                  </a:cxn>
                  <a:cxn ang="0">
                    <a:pos x="335" y="426"/>
                  </a:cxn>
                  <a:cxn ang="0">
                    <a:pos x="335" y="274"/>
                  </a:cxn>
                  <a:cxn ang="0">
                    <a:pos x="335" y="123"/>
                  </a:cxn>
                </a:cxnLst>
                <a:rect l="0" t="0" r="r" b="b"/>
                <a:pathLst>
                  <a:path w="413" h="1146">
                    <a:moveTo>
                      <a:pt x="298" y="49"/>
                    </a:moveTo>
                    <a:lnTo>
                      <a:pt x="298" y="0"/>
                    </a:lnTo>
                    <a:lnTo>
                      <a:pt x="115" y="0"/>
                    </a:lnTo>
                    <a:lnTo>
                      <a:pt x="115" y="49"/>
                    </a:lnTo>
                    <a:lnTo>
                      <a:pt x="0" y="49"/>
                    </a:lnTo>
                    <a:lnTo>
                      <a:pt x="0" y="1146"/>
                    </a:lnTo>
                    <a:lnTo>
                      <a:pt x="141" y="1146"/>
                    </a:lnTo>
                    <a:lnTo>
                      <a:pt x="141" y="1144"/>
                    </a:lnTo>
                    <a:lnTo>
                      <a:pt x="273" y="1144"/>
                    </a:lnTo>
                    <a:lnTo>
                      <a:pt x="273" y="1146"/>
                    </a:lnTo>
                    <a:lnTo>
                      <a:pt x="413" y="1146"/>
                    </a:lnTo>
                    <a:lnTo>
                      <a:pt x="413" y="49"/>
                    </a:lnTo>
                    <a:lnTo>
                      <a:pt x="298" y="49"/>
                    </a:lnTo>
                    <a:close/>
                    <a:moveTo>
                      <a:pt x="74" y="1036"/>
                    </a:moveTo>
                    <a:lnTo>
                      <a:pt x="17" y="1036"/>
                    </a:lnTo>
                    <a:lnTo>
                      <a:pt x="17" y="1010"/>
                    </a:lnTo>
                    <a:lnTo>
                      <a:pt x="74" y="1010"/>
                    </a:lnTo>
                    <a:lnTo>
                      <a:pt x="74" y="1036"/>
                    </a:lnTo>
                    <a:close/>
                    <a:moveTo>
                      <a:pt x="74" y="985"/>
                    </a:moveTo>
                    <a:lnTo>
                      <a:pt x="17" y="985"/>
                    </a:lnTo>
                    <a:lnTo>
                      <a:pt x="17" y="959"/>
                    </a:lnTo>
                    <a:lnTo>
                      <a:pt x="74" y="959"/>
                    </a:lnTo>
                    <a:lnTo>
                      <a:pt x="74" y="985"/>
                    </a:lnTo>
                    <a:close/>
                    <a:moveTo>
                      <a:pt x="74" y="933"/>
                    </a:moveTo>
                    <a:lnTo>
                      <a:pt x="17" y="933"/>
                    </a:lnTo>
                    <a:lnTo>
                      <a:pt x="17" y="909"/>
                    </a:lnTo>
                    <a:lnTo>
                      <a:pt x="74" y="909"/>
                    </a:lnTo>
                    <a:lnTo>
                      <a:pt x="74" y="933"/>
                    </a:lnTo>
                    <a:close/>
                    <a:moveTo>
                      <a:pt x="74" y="883"/>
                    </a:moveTo>
                    <a:lnTo>
                      <a:pt x="17" y="883"/>
                    </a:lnTo>
                    <a:lnTo>
                      <a:pt x="17" y="857"/>
                    </a:lnTo>
                    <a:lnTo>
                      <a:pt x="74" y="857"/>
                    </a:lnTo>
                    <a:lnTo>
                      <a:pt x="74" y="883"/>
                    </a:lnTo>
                    <a:close/>
                    <a:moveTo>
                      <a:pt x="74" y="832"/>
                    </a:moveTo>
                    <a:lnTo>
                      <a:pt x="17" y="832"/>
                    </a:lnTo>
                    <a:lnTo>
                      <a:pt x="17" y="808"/>
                    </a:lnTo>
                    <a:lnTo>
                      <a:pt x="74" y="808"/>
                    </a:lnTo>
                    <a:lnTo>
                      <a:pt x="74" y="832"/>
                    </a:lnTo>
                    <a:close/>
                    <a:moveTo>
                      <a:pt x="74" y="782"/>
                    </a:moveTo>
                    <a:lnTo>
                      <a:pt x="17" y="782"/>
                    </a:lnTo>
                    <a:lnTo>
                      <a:pt x="17" y="756"/>
                    </a:lnTo>
                    <a:lnTo>
                      <a:pt x="74" y="756"/>
                    </a:lnTo>
                    <a:lnTo>
                      <a:pt x="74" y="782"/>
                    </a:lnTo>
                    <a:close/>
                    <a:moveTo>
                      <a:pt x="74" y="730"/>
                    </a:moveTo>
                    <a:lnTo>
                      <a:pt x="17" y="730"/>
                    </a:lnTo>
                    <a:lnTo>
                      <a:pt x="17" y="704"/>
                    </a:lnTo>
                    <a:lnTo>
                      <a:pt x="74" y="704"/>
                    </a:lnTo>
                    <a:lnTo>
                      <a:pt x="74" y="730"/>
                    </a:lnTo>
                    <a:close/>
                    <a:moveTo>
                      <a:pt x="74" y="681"/>
                    </a:moveTo>
                    <a:lnTo>
                      <a:pt x="17" y="681"/>
                    </a:lnTo>
                    <a:lnTo>
                      <a:pt x="17" y="655"/>
                    </a:lnTo>
                    <a:lnTo>
                      <a:pt x="74" y="655"/>
                    </a:lnTo>
                    <a:lnTo>
                      <a:pt x="74" y="681"/>
                    </a:lnTo>
                    <a:close/>
                    <a:moveTo>
                      <a:pt x="74" y="629"/>
                    </a:moveTo>
                    <a:lnTo>
                      <a:pt x="17" y="629"/>
                    </a:lnTo>
                    <a:lnTo>
                      <a:pt x="17" y="603"/>
                    </a:lnTo>
                    <a:lnTo>
                      <a:pt x="74" y="603"/>
                    </a:lnTo>
                    <a:lnTo>
                      <a:pt x="74" y="629"/>
                    </a:lnTo>
                    <a:close/>
                    <a:moveTo>
                      <a:pt x="74" y="579"/>
                    </a:moveTo>
                    <a:lnTo>
                      <a:pt x="17" y="579"/>
                    </a:lnTo>
                    <a:lnTo>
                      <a:pt x="17" y="554"/>
                    </a:lnTo>
                    <a:lnTo>
                      <a:pt x="74" y="554"/>
                    </a:lnTo>
                    <a:lnTo>
                      <a:pt x="74" y="579"/>
                    </a:lnTo>
                    <a:close/>
                    <a:moveTo>
                      <a:pt x="74" y="528"/>
                    </a:moveTo>
                    <a:lnTo>
                      <a:pt x="17" y="528"/>
                    </a:lnTo>
                    <a:lnTo>
                      <a:pt x="17" y="502"/>
                    </a:lnTo>
                    <a:lnTo>
                      <a:pt x="74" y="502"/>
                    </a:lnTo>
                    <a:lnTo>
                      <a:pt x="74" y="528"/>
                    </a:lnTo>
                    <a:close/>
                    <a:moveTo>
                      <a:pt x="74" y="476"/>
                    </a:moveTo>
                    <a:lnTo>
                      <a:pt x="17" y="476"/>
                    </a:lnTo>
                    <a:lnTo>
                      <a:pt x="17" y="452"/>
                    </a:lnTo>
                    <a:lnTo>
                      <a:pt x="74" y="452"/>
                    </a:lnTo>
                    <a:lnTo>
                      <a:pt x="74" y="476"/>
                    </a:lnTo>
                    <a:close/>
                    <a:moveTo>
                      <a:pt x="74" y="426"/>
                    </a:moveTo>
                    <a:lnTo>
                      <a:pt x="17" y="426"/>
                    </a:lnTo>
                    <a:lnTo>
                      <a:pt x="17" y="401"/>
                    </a:lnTo>
                    <a:lnTo>
                      <a:pt x="74" y="401"/>
                    </a:lnTo>
                    <a:lnTo>
                      <a:pt x="74" y="426"/>
                    </a:lnTo>
                    <a:close/>
                    <a:moveTo>
                      <a:pt x="74" y="375"/>
                    </a:moveTo>
                    <a:lnTo>
                      <a:pt x="17" y="375"/>
                    </a:lnTo>
                    <a:lnTo>
                      <a:pt x="17" y="351"/>
                    </a:lnTo>
                    <a:lnTo>
                      <a:pt x="74" y="351"/>
                    </a:lnTo>
                    <a:lnTo>
                      <a:pt x="74" y="375"/>
                    </a:lnTo>
                    <a:close/>
                    <a:moveTo>
                      <a:pt x="74" y="325"/>
                    </a:moveTo>
                    <a:lnTo>
                      <a:pt x="17" y="325"/>
                    </a:lnTo>
                    <a:lnTo>
                      <a:pt x="17" y="299"/>
                    </a:lnTo>
                    <a:lnTo>
                      <a:pt x="74" y="299"/>
                    </a:lnTo>
                    <a:lnTo>
                      <a:pt x="74" y="325"/>
                    </a:lnTo>
                    <a:close/>
                    <a:moveTo>
                      <a:pt x="74" y="274"/>
                    </a:moveTo>
                    <a:lnTo>
                      <a:pt x="17" y="274"/>
                    </a:lnTo>
                    <a:lnTo>
                      <a:pt x="17" y="250"/>
                    </a:lnTo>
                    <a:lnTo>
                      <a:pt x="74" y="250"/>
                    </a:lnTo>
                    <a:lnTo>
                      <a:pt x="74" y="274"/>
                    </a:lnTo>
                    <a:close/>
                    <a:moveTo>
                      <a:pt x="74" y="224"/>
                    </a:moveTo>
                    <a:lnTo>
                      <a:pt x="17" y="224"/>
                    </a:lnTo>
                    <a:lnTo>
                      <a:pt x="17" y="198"/>
                    </a:lnTo>
                    <a:lnTo>
                      <a:pt x="74" y="198"/>
                    </a:lnTo>
                    <a:lnTo>
                      <a:pt x="74" y="224"/>
                    </a:lnTo>
                    <a:close/>
                    <a:moveTo>
                      <a:pt x="74" y="172"/>
                    </a:moveTo>
                    <a:lnTo>
                      <a:pt x="17" y="172"/>
                    </a:lnTo>
                    <a:lnTo>
                      <a:pt x="17" y="146"/>
                    </a:lnTo>
                    <a:lnTo>
                      <a:pt x="74" y="146"/>
                    </a:lnTo>
                    <a:lnTo>
                      <a:pt x="74" y="172"/>
                    </a:lnTo>
                    <a:close/>
                    <a:moveTo>
                      <a:pt x="74" y="123"/>
                    </a:moveTo>
                    <a:lnTo>
                      <a:pt x="17" y="123"/>
                    </a:lnTo>
                    <a:lnTo>
                      <a:pt x="17" y="97"/>
                    </a:lnTo>
                    <a:lnTo>
                      <a:pt x="74" y="97"/>
                    </a:lnTo>
                    <a:lnTo>
                      <a:pt x="74" y="123"/>
                    </a:lnTo>
                    <a:close/>
                    <a:moveTo>
                      <a:pt x="119" y="1036"/>
                    </a:moveTo>
                    <a:lnTo>
                      <a:pt x="91" y="1036"/>
                    </a:lnTo>
                    <a:lnTo>
                      <a:pt x="91" y="1010"/>
                    </a:lnTo>
                    <a:lnTo>
                      <a:pt x="119" y="1010"/>
                    </a:lnTo>
                    <a:lnTo>
                      <a:pt x="119" y="1036"/>
                    </a:lnTo>
                    <a:close/>
                    <a:moveTo>
                      <a:pt x="119" y="985"/>
                    </a:moveTo>
                    <a:lnTo>
                      <a:pt x="91" y="985"/>
                    </a:lnTo>
                    <a:lnTo>
                      <a:pt x="91" y="959"/>
                    </a:lnTo>
                    <a:lnTo>
                      <a:pt x="119" y="959"/>
                    </a:lnTo>
                    <a:lnTo>
                      <a:pt x="119" y="985"/>
                    </a:lnTo>
                    <a:close/>
                    <a:moveTo>
                      <a:pt x="119" y="933"/>
                    </a:moveTo>
                    <a:lnTo>
                      <a:pt x="91" y="933"/>
                    </a:lnTo>
                    <a:lnTo>
                      <a:pt x="91" y="909"/>
                    </a:lnTo>
                    <a:lnTo>
                      <a:pt x="119" y="909"/>
                    </a:lnTo>
                    <a:lnTo>
                      <a:pt x="119" y="933"/>
                    </a:lnTo>
                    <a:close/>
                    <a:moveTo>
                      <a:pt x="119" y="883"/>
                    </a:moveTo>
                    <a:lnTo>
                      <a:pt x="91" y="883"/>
                    </a:lnTo>
                    <a:lnTo>
                      <a:pt x="91" y="857"/>
                    </a:lnTo>
                    <a:lnTo>
                      <a:pt x="119" y="857"/>
                    </a:lnTo>
                    <a:lnTo>
                      <a:pt x="119" y="883"/>
                    </a:lnTo>
                    <a:close/>
                    <a:moveTo>
                      <a:pt x="119" y="832"/>
                    </a:moveTo>
                    <a:lnTo>
                      <a:pt x="91" y="832"/>
                    </a:lnTo>
                    <a:lnTo>
                      <a:pt x="91" y="808"/>
                    </a:lnTo>
                    <a:lnTo>
                      <a:pt x="119" y="808"/>
                    </a:lnTo>
                    <a:lnTo>
                      <a:pt x="119" y="832"/>
                    </a:lnTo>
                    <a:close/>
                    <a:moveTo>
                      <a:pt x="119" y="782"/>
                    </a:moveTo>
                    <a:lnTo>
                      <a:pt x="91" y="782"/>
                    </a:lnTo>
                    <a:lnTo>
                      <a:pt x="91" y="756"/>
                    </a:lnTo>
                    <a:lnTo>
                      <a:pt x="119" y="756"/>
                    </a:lnTo>
                    <a:lnTo>
                      <a:pt x="119" y="782"/>
                    </a:lnTo>
                    <a:close/>
                    <a:moveTo>
                      <a:pt x="119" y="730"/>
                    </a:moveTo>
                    <a:lnTo>
                      <a:pt x="91" y="730"/>
                    </a:lnTo>
                    <a:lnTo>
                      <a:pt x="91" y="704"/>
                    </a:lnTo>
                    <a:lnTo>
                      <a:pt x="119" y="704"/>
                    </a:lnTo>
                    <a:lnTo>
                      <a:pt x="119" y="730"/>
                    </a:lnTo>
                    <a:close/>
                    <a:moveTo>
                      <a:pt x="119" y="681"/>
                    </a:moveTo>
                    <a:lnTo>
                      <a:pt x="91" y="681"/>
                    </a:lnTo>
                    <a:lnTo>
                      <a:pt x="91" y="655"/>
                    </a:lnTo>
                    <a:lnTo>
                      <a:pt x="119" y="655"/>
                    </a:lnTo>
                    <a:lnTo>
                      <a:pt x="119" y="681"/>
                    </a:lnTo>
                    <a:close/>
                    <a:moveTo>
                      <a:pt x="119" y="629"/>
                    </a:moveTo>
                    <a:lnTo>
                      <a:pt x="91" y="629"/>
                    </a:lnTo>
                    <a:lnTo>
                      <a:pt x="91" y="603"/>
                    </a:lnTo>
                    <a:lnTo>
                      <a:pt x="119" y="603"/>
                    </a:lnTo>
                    <a:lnTo>
                      <a:pt x="119" y="629"/>
                    </a:lnTo>
                    <a:close/>
                    <a:moveTo>
                      <a:pt x="119" y="579"/>
                    </a:moveTo>
                    <a:lnTo>
                      <a:pt x="91" y="579"/>
                    </a:lnTo>
                    <a:lnTo>
                      <a:pt x="91" y="554"/>
                    </a:lnTo>
                    <a:lnTo>
                      <a:pt x="119" y="554"/>
                    </a:lnTo>
                    <a:lnTo>
                      <a:pt x="119" y="579"/>
                    </a:lnTo>
                    <a:close/>
                    <a:moveTo>
                      <a:pt x="119" y="528"/>
                    </a:moveTo>
                    <a:lnTo>
                      <a:pt x="91" y="528"/>
                    </a:lnTo>
                    <a:lnTo>
                      <a:pt x="91" y="502"/>
                    </a:lnTo>
                    <a:lnTo>
                      <a:pt x="119" y="502"/>
                    </a:lnTo>
                    <a:lnTo>
                      <a:pt x="119" y="528"/>
                    </a:lnTo>
                    <a:close/>
                    <a:moveTo>
                      <a:pt x="119" y="476"/>
                    </a:moveTo>
                    <a:lnTo>
                      <a:pt x="91" y="476"/>
                    </a:lnTo>
                    <a:lnTo>
                      <a:pt x="91" y="452"/>
                    </a:lnTo>
                    <a:lnTo>
                      <a:pt x="119" y="452"/>
                    </a:lnTo>
                    <a:lnTo>
                      <a:pt x="119" y="476"/>
                    </a:lnTo>
                    <a:close/>
                    <a:moveTo>
                      <a:pt x="119" y="426"/>
                    </a:moveTo>
                    <a:lnTo>
                      <a:pt x="91" y="426"/>
                    </a:lnTo>
                    <a:lnTo>
                      <a:pt x="91" y="401"/>
                    </a:lnTo>
                    <a:lnTo>
                      <a:pt x="119" y="401"/>
                    </a:lnTo>
                    <a:lnTo>
                      <a:pt x="119" y="426"/>
                    </a:lnTo>
                    <a:close/>
                    <a:moveTo>
                      <a:pt x="119" y="375"/>
                    </a:moveTo>
                    <a:lnTo>
                      <a:pt x="91" y="375"/>
                    </a:lnTo>
                    <a:lnTo>
                      <a:pt x="91" y="351"/>
                    </a:lnTo>
                    <a:lnTo>
                      <a:pt x="119" y="351"/>
                    </a:lnTo>
                    <a:lnTo>
                      <a:pt x="119" y="375"/>
                    </a:lnTo>
                    <a:close/>
                    <a:moveTo>
                      <a:pt x="119" y="325"/>
                    </a:moveTo>
                    <a:lnTo>
                      <a:pt x="91" y="325"/>
                    </a:lnTo>
                    <a:lnTo>
                      <a:pt x="91" y="299"/>
                    </a:lnTo>
                    <a:lnTo>
                      <a:pt x="119" y="299"/>
                    </a:lnTo>
                    <a:lnTo>
                      <a:pt x="119" y="325"/>
                    </a:lnTo>
                    <a:close/>
                    <a:moveTo>
                      <a:pt x="119" y="274"/>
                    </a:moveTo>
                    <a:lnTo>
                      <a:pt x="91" y="274"/>
                    </a:lnTo>
                    <a:lnTo>
                      <a:pt x="91" y="250"/>
                    </a:lnTo>
                    <a:lnTo>
                      <a:pt x="119" y="250"/>
                    </a:lnTo>
                    <a:lnTo>
                      <a:pt x="119" y="274"/>
                    </a:lnTo>
                    <a:close/>
                    <a:moveTo>
                      <a:pt x="119" y="224"/>
                    </a:moveTo>
                    <a:lnTo>
                      <a:pt x="91" y="224"/>
                    </a:lnTo>
                    <a:lnTo>
                      <a:pt x="91" y="198"/>
                    </a:lnTo>
                    <a:lnTo>
                      <a:pt x="119" y="198"/>
                    </a:lnTo>
                    <a:lnTo>
                      <a:pt x="119" y="224"/>
                    </a:lnTo>
                    <a:close/>
                    <a:moveTo>
                      <a:pt x="119" y="172"/>
                    </a:moveTo>
                    <a:lnTo>
                      <a:pt x="91" y="172"/>
                    </a:lnTo>
                    <a:lnTo>
                      <a:pt x="91" y="146"/>
                    </a:lnTo>
                    <a:lnTo>
                      <a:pt x="119" y="146"/>
                    </a:lnTo>
                    <a:lnTo>
                      <a:pt x="119" y="172"/>
                    </a:lnTo>
                    <a:close/>
                    <a:moveTo>
                      <a:pt x="119" y="123"/>
                    </a:moveTo>
                    <a:lnTo>
                      <a:pt x="91" y="123"/>
                    </a:lnTo>
                    <a:lnTo>
                      <a:pt x="91" y="97"/>
                    </a:lnTo>
                    <a:lnTo>
                      <a:pt x="119" y="97"/>
                    </a:lnTo>
                    <a:lnTo>
                      <a:pt x="119" y="123"/>
                    </a:lnTo>
                    <a:close/>
                    <a:moveTo>
                      <a:pt x="154" y="1064"/>
                    </a:moveTo>
                    <a:lnTo>
                      <a:pt x="145" y="1064"/>
                    </a:lnTo>
                    <a:lnTo>
                      <a:pt x="145" y="1028"/>
                    </a:lnTo>
                    <a:lnTo>
                      <a:pt x="154" y="1028"/>
                    </a:lnTo>
                    <a:lnTo>
                      <a:pt x="154" y="1064"/>
                    </a:lnTo>
                    <a:close/>
                    <a:moveTo>
                      <a:pt x="154" y="1019"/>
                    </a:moveTo>
                    <a:lnTo>
                      <a:pt x="145" y="1019"/>
                    </a:lnTo>
                    <a:lnTo>
                      <a:pt x="145" y="980"/>
                    </a:lnTo>
                    <a:lnTo>
                      <a:pt x="154" y="980"/>
                    </a:lnTo>
                    <a:lnTo>
                      <a:pt x="154" y="1019"/>
                    </a:lnTo>
                    <a:close/>
                    <a:moveTo>
                      <a:pt x="154" y="972"/>
                    </a:moveTo>
                    <a:lnTo>
                      <a:pt x="145" y="972"/>
                    </a:lnTo>
                    <a:lnTo>
                      <a:pt x="145" y="933"/>
                    </a:lnTo>
                    <a:lnTo>
                      <a:pt x="154" y="933"/>
                    </a:lnTo>
                    <a:lnTo>
                      <a:pt x="154" y="972"/>
                    </a:lnTo>
                    <a:close/>
                    <a:moveTo>
                      <a:pt x="154" y="926"/>
                    </a:moveTo>
                    <a:lnTo>
                      <a:pt x="145" y="926"/>
                    </a:lnTo>
                    <a:lnTo>
                      <a:pt x="145" y="888"/>
                    </a:lnTo>
                    <a:lnTo>
                      <a:pt x="154" y="888"/>
                    </a:lnTo>
                    <a:lnTo>
                      <a:pt x="154" y="926"/>
                    </a:lnTo>
                    <a:close/>
                    <a:moveTo>
                      <a:pt x="154" y="879"/>
                    </a:moveTo>
                    <a:lnTo>
                      <a:pt x="145" y="879"/>
                    </a:lnTo>
                    <a:lnTo>
                      <a:pt x="145" y="840"/>
                    </a:lnTo>
                    <a:lnTo>
                      <a:pt x="154" y="840"/>
                    </a:lnTo>
                    <a:lnTo>
                      <a:pt x="154" y="879"/>
                    </a:lnTo>
                    <a:close/>
                    <a:moveTo>
                      <a:pt x="154" y="832"/>
                    </a:moveTo>
                    <a:lnTo>
                      <a:pt x="145" y="832"/>
                    </a:lnTo>
                    <a:lnTo>
                      <a:pt x="145" y="795"/>
                    </a:lnTo>
                    <a:lnTo>
                      <a:pt x="154" y="795"/>
                    </a:lnTo>
                    <a:lnTo>
                      <a:pt x="154" y="832"/>
                    </a:lnTo>
                    <a:close/>
                    <a:moveTo>
                      <a:pt x="154" y="786"/>
                    </a:moveTo>
                    <a:lnTo>
                      <a:pt x="145" y="786"/>
                    </a:lnTo>
                    <a:lnTo>
                      <a:pt x="145" y="748"/>
                    </a:lnTo>
                    <a:lnTo>
                      <a:pt x="154" y="748"/>
                    </a:lnTo>
                    <a:lnTo>
                      <a:pt x="154" y="786"/>
                    </a:lnTo>
                    <a:close/>
                    <a:moveTo>
                      <a:pt x="154" y="739"/>
                    </a:moveTo>
                    <a:lnTo>
                      <a:pt x="145" y="739"/>
                    </a:lnTo>
                    <a:lnTo>
                      <a:pt x="145" y="702"/>
                    </a:lnTo>
                    <a:lnTo>
                      <a:pt x="154" y="702"/>
                    </a:lnTo>
                    <a:lnTo>
                      <a:pt x="154" y="739"/>
                    </a:lnTo>
                    <a:close/>
                    <a:moveTo>
                      <a:pt x="154" y="694"/>
                    </a:moveTo>
                    <a:lnTo>
                      <a:pt x="145" y="694"/>
                    </a:lnTo>
                    <a:lnTo>
                      <a:pt x="145" y="655"/>
                    </a:lnTo>
                    <a:lnTo>
                      <a:pt x="154" y="655"/>
                    </a:lnTo>
                    <a:lnTo>
                      <a:pt x="154" y="694"/>
                    </a:lnTo>
                    <a:close/>
                    <a:moveTo>
                      <a:pt x="154" y="646"/>
                    </a:moveTo>
                    <a:lnTo>
                      <a:pt x="145" y="646"/>
                    </a:lnTo>
                    <a:lnTo>
                      <a:pt x="145" y="607"/>
                    </a:lnTo>
                    <a:lnTo>
                      <a:pt x="154" y="607"/>
                    </a:lnTo>
                    <a:lnTo>
                      <a:pt x="154" y="646"/>
                    </a:lnTo>
                    <a:close/>
                    <a:moveTo>
                      <a:pt x="154" y="599"/>
                    </a:moveTo>
                    <a:lnTo>
                      <a:pt x="145" y="599"/>
                    </a:lnTo>
                    <a:lnTo>
                      <a:pt x="145" y="562"/>
                    </a:lnTo>
                    <a:lnTo>
                      <a:pt x="154" y="562"/>
                    </a:lnTo>
                    <a:lnTo>
                      <a:pt x="154" y="599"/>
                    </a:lnTo>
                    <a:close/>
                    <a:moveTo>
                      <a:pt x="154" y="554"/>
                    </a:moveTo>
                    <a:lnTo>
                      <a:pt x="145" y="554"/>
                    </a:lnTo>
                    <a:lnTo>
                      <a:pt x="145" y="515"/>
                    </a:lnTo>
                    <a:lnTo>
                      <a:pt x="154" y="515"/>
                    </a:lnTo>
                    <a:lnTo>
                      <a:pt x="154" y="554"/>
                    </a:lnTo>
                    <a:close/>
                    <a:moveTo>
                      <a:pt x="154" y="506"/>
                    </a:moveTo>
                    <a:lnTo>
                      <a:pt x="145" y="506"/>
                    </a:lnTo>
                    <a:lnTo>
                      <a:pt x="145" y="470"/>
                    </a:lnTo>
                    <a:lnTo>
                      <a:pt x="154" y="470"/>
                    </a:lnTo>
                    <a:lnTo>
                      <a:pt x="154" y="506"/>
                    </a:lnTo>
                    <a:close/>
                    <a:moveTo>
                      <a:pt x="154" y="461"/>
                    </a:moveTo>
                    <a:lnTo>
                      <a:pt x="145" y="461"/>
                    </a:lnTo>
                    <a:lnTo>
                      <a:pt x="145" y="422"/>
                    </a:lnTo>
                    <a:lnTo>
                      <a:pt x="154" y="422"/>
                    </a:lnTo>
                    <a:lnTo>
                      <a:pt x="154" y="461"/>
                    </a:lnTo>
                    <a:close/>
                    <a:moveTo>
                      <a:pt x="154" y="414"/>
                    </a:moveTo>
                    <a:lnTo>
                      <a:pt x="145" y="414"/>
                    </a:lnTo>
                    <a:lnTo>
                      <a:pt x="145" y="375"/>
                    </a:lnTo>
                    <a:lnTo>
                      <a:pt x="154" y="375"/>
                    </a:lnTo>
                    <a:lnTo>
                      <a:pt x="154" y="414"/>
                    </a:lnTo>
                    <a:close/>
                    <a:moveTo>
                      <a:pt x="154" y="366"/>
                    </a:moveTo>
                    <a:lnTo>
                      <a:pt x="145" y="366"/>
                    </a:lnTo>
                    <a:lnTo>
                      <a:pt x="145" y="330"/>
                    </a:lnTo>
                    <a:lnTo>
                      <a:pt x="154" y="330"/>
                    </a:lnTo>
                    <a:lnTo>
                      <a:pt x="154" y="366"/>
                    </a:lnTo>
                    <a:close/>
                    <a:moveTo>
                      <a:pt x="154" y="321"/>
                    </a:moveTo>
                    <a:lnTo>
                      <a:pt x="145" y="321"/>
                    </a:lnTo>
                    <a:lnTo>
                      <a:pt x="145" y="282"/>
                    </a:lnTo>
                    <a:lnTo>
                      <a:pt x="154" y="282"/>
                    </a:lnTo>
                    <a:lnTo>
                      <a:pt x="154" y="321"/>
                    </a:lnTo>
                    <a:close/>
                    <a:moveTo>
                      <a:pt x="154" y="274"/>
                    </a:moveTo>
                    <a:lnTo>
                      <a:pt x="145" y="274"/>
                    </a:lnTo>
                    <a:lnTo>
                      <a:pt x="145" y="237"/>
                    </a:lnTo>
                    <a:lnTo>
                      <a:pt x="154" y="237"/>
                    </a:lnTo>
                    <a:lnTo>
                      <a:pt x="154" y="274"/>
                    </a:lnTo>
                    <a:close/>
                    <a:moveTo>
                      <a:pt x="154" y="228"/>
                    </a:moveTo>
                    <a:lnTo>
                      <a:pt x="145" y="228"/>
                    </a:lnTo>
                    <a:lnTo>
                      <a:pt x="145" y="189"/>
                    </a:lnTo>
                    <a:lnTo>
                      <a:pt x="154" y="189"/>
                    </a:lnTo>
                    <a:lnTo>
                      <a:pt x="154" y="228"/>
                    </a:lnTo>
                    <a:close/>
                    <a:moveTo>
                      <a:pt x="154" y="181"/>
                    </a:moveTo>
                    <a:lnTo>
                      <a:pt x="145" y="181"/>
                    </a:lnTo>
                    <a:lnTo>
                      <a:pt x="145" y="142"/>
                    </a:lnTo>
                    <a:lnTo>
                      <a:pt x="154" y="142"/>
                    </a:lnTo>
                    <a:lnTo>
                      <a:pt x="154" y="181"/>
                    </a:lnTo>
                    <a:close/>
                    <a:moveTo>
                      <a:pt x="154" y="136"/>
                    </a:moveTo>
                    <a:lnTo>
                      <a:pt x="145" y="136"/>
                    </a:lnTo>
                    <a:lnTo>
                      <a:pt x="145" y="97"/>
                    </a:lnTo>
                    <a:lnTo>
                      <a:pt x="154" y="97"/>
                    </a:lnTo>
                    <a:lnTo>
                      <a:pt x="154" y="136"/>
                    </a:lnTo>
                    <a:close/>
                    <a:moveTo>
                      <a:pt x="167" y="1064"/>
                    </a:moveTo>
                    <a:lnTo>
                      <a:pt x="158" y="1064"/>
                    </a:lnTo>
                    <a:lnTo>
                      <a:pt x="158" y="1028"/>
                    </a:lnTo>
                    <a:lnTo>
                      <a:pt x="167" y="1028"/>
                    </a:lnTo>
                    <a:lnTo>
                      <a:pt x="167" y="1064"/>
                    </a:lnTo>
                    <a:close/>
                    <a:moveTo>
                      <a:pt x="167" y="1019"/>
                    </a:moveTo>
                    <a:lnTo>
                      <a:pt x="158" y="1019"/>
                    </a:lnTo>
                    <a:lnTo>
                      <a:pt x="158" y="980"/>
                    </a:lnTo>
                    <a:lnTo>
                      <a:pt x="167" y="980"/>
                    </a:lnTo>
                    <a:lnTo>
                      <a:pt x="167" y="1019"/>
                    </a:lnTo>
                    <a:close/>
                    <a:moveTo>
                      <a:pt x="167" y="972"/>
                    </a:moveTo>
                    <a:lnTo>
                      <a:pt x="158" y="972"/>
                    </a:lnTo>
                    <a:lnTo>
                      <a:pt x="158" y="933"/>
                    </a:lnTo>
                    <a:lnTo>
                      <a:pt x="167" y="933"/>
                    </a:lnTo>
                    <a:lnTo>
                      <a:pt x="167" y="972"/>
                    </a:lnTo>
                    <a:close/>
                    <a:moveTo>
                      <a:pt x="167" y="926"/>
                    </a:moveTo>
                    <a:lnTo>
                      <a:pt x="158" y="926"/>
                    </a:lnTo>
                    <a:lnTo>
                      <a:pt x="158" y="888"/>
                    </a:lnTo>
                    <a:lnTo>
                      <a:pt x="167" y="888"/>
                    </a:lnTo>
                    <a:lnTo>
                      <a:pt x="167" y="926"/>
                    </a:lnTo>
                    <a:close/>
                    <a:moveTo>
                      <a:pt x="167" y="879"/>
                    </a:moveTo>
                    <a:lnTo>
                      <a:pt x="158" y="879"/>
                    </a:lnTo>
                    <a:lnTo>
                      <a:pt x="158" y="840"/>
                    </a:lnTo>
                    <a:lnTo>
                      <a:pt x="167" y="840"/>
                    </a:lnTo>
                    <a:lnTo>
                      <a:pt x="167" y="879"/>
                    </a:lnTo>
                    <a:close/>
                    <a:moveTo>
                      <a:pt x="167" y="832"/>
                    </a:moveTo>
                    <a:lnTo>
                      <a:pt x="158" y="832"/>
                    </a:lnTo>
                    <a:lnTo>
                      <a:pt x="158" y="795"/>
                    </a:lnTo>
                    <a:lnTo>
                      <a:pt x="167" y="795"/>
                    </a:lnTo>
                    <a:lnTo>
                      <a:pt x="167" y="832"/>
                    </a:lnTo>
                    <a:close/>
                    <a:moveTo>
                      <a:pt x="167" y="786"/>
                    </a:moveTo>
                    <a:lnTo>
                      <a:pt x="158" y="786"/>
                    </a:lnTo>
                    <a:lnTo>
                      <a:pt x="158" y="748"/>
                    </a:lnTo>
                    <a:lnTo>
                      <a:pt x="167" y="748"/>
                    </a:lnTo>
                    <a:lnTo>
                      <a:pt x="167" y="786"/>
                    </a:lnTo>
                    <a:close/>
                    <a:moveTo>
                      <a:pt x="167" y="739"/>
                    </a:moveTo>
                    <a:lnTo>
                      <a:pt x="158" y="739"/>
                    </a:lnTo>
                    <a:lnTo>
                      <a:pt x="158" y="702"/>
                    </a:lnTo>
                    <a:lnTo>
                      <a:pt x="167" y="702"/>
                    </a:lnTo>
                    <a:lnTo>
                      <a:pt x="167" y="739"/>
                    </a:lnTo>
                    <a:close/>
                    <a:moveTo>
                      <a:pt x="167" y="694"/>
                    </a:moveTo>
                    <a:lnTo>
                      <a:pt x="158" y="694"/>
                    </a:lnTo>
                    <a:lnTo>
                      <a:pt x="158" y="655"/>
                    </a:lnTo>
                    <a:lnTo>
                      <a:pt x="167" y="655"/>
                    </a:lnTo>
                    <a:lnTo>
                      <a:pt x="167" y="694"/>
                    </a:lnTo>
                    <a:close/>
                    <a:moveTo>
                      <a:pt x="167" y="646"/>
                    </a:moveTo>
                    <a:lnTo>
                      <a:pt x="158" y="646"/>
                    </a:lnTo>
                    <a:lnTo>
                      <a:pt x="158" y="607"/>
                    </a:lnTo>
                    <a:lnTo>
                      <a:pt x="167" y="607"/>
                    </a:lnTo>
                    <a:lnTo>
                      <a:pt x="167" y="646"/>
                    </a:lnTo>
                    <a:close/>
                    <a:moveTo>
                      <a:pt x="167" y="599"/>
                    </a:moveTo>
                    <a:lnTo>
                      <a:pt x="158" y="599"/>
                    </a:lnTo>
                    <a:lnTo>
                      <a:pt x="158" y="562"/>
                    </a:lnTo>
                    <a:lnTo>
                      <a:pt x="167" y="562"/>
                    </a:lnTo>
                    <a:lnTo>
                      <a:pt x="167" y="599"/>
                    </a:lnTo>
                    <a:close/>
                    <a:moveTo>
                      <a:pt x="167" y="554"/>
                    </a:moveTo>
                    <a:lnTo>
                      <a:pt x="158" y="554"/>
                    </a:lnTo>
                    <a:lnTo>
                      <a:pt x="158" y="515"/>
                    </a:lnTo>
                    <a:lnTo>
                      <a:pt x="167" y="515"/>
                    </a:lnTo>
                    <a:lnTo>
                      <a:pt x="167" y="554"/>
                    </a:lnTo>
                    <a:close/>
                    <a:moveTo>
                      <a:pt x="167" y="506"/>
                    </a:moveTo>
                    <a:lnTo>
                      <a:pt x="158" y="506"/>
                    </a:lnTo>
                    <a:lnTo>
                      <a:pt x="158" y="470"/>
                    </a:lnTo>
                    <a:lnTo>
                      <a:pt x="167" y="470"/>
                    </a:lnTo>
                    <a:lnTo>
                      <a:pt x="167" y="506"/>
                    </a:lnTo>
                    <a:close/>
                    <a:moveTo>
                      <a:pt x="167" y="461"/>
                    </a:moveTo>
                    <a:lnTo>
                      <a:pt x="158" y="461"/>
                    </a:lnTo>
                    <a:lnTo>
                      <a:pt x="158" y="422"/>
                    </a:lnTo>
                    <a:lnTo>
                      <a:pt x="167" y="422"/>
                    </a:lnTo>
                    <a:lnTo>
                      <a:pt x="167" y="461"/>
                    </a:lnTo>
                    <a:close/>
                    <a:moveTo>
                      <a:pt x="167" y="414"/>
                    </a:moveTo>
                    <a:lnTo>
                      <a:pt x="158" y="414"/>
                    </a:lnTo>
                    <a:lnTo>
                      <a:pt x="158" y="375"/>
                    </a:lnTo>
                    <a:lnTo>
                      <a:pt x="167" y="375"/>
                    </a:lnTo>
                    <a:lnTo>
                      <a:pt x="167" y="414"/>
                    </a:lnTo>
                    <a:close/>
                    <a:moveTo>
                      <a:pt x="167" y="366"/>
                    </a:moveTo>
                    <a:lnTo>
                      <a:pt x="158" y="366"/>
                    </a:lnTo>
                    <a:lnTo>
                      <a:pt x="158" y="330"/>
                    </a:lnTo>
                    <a:lnTo>
                      <a:pt x="167" y="330"/>
                    </a:lnTo>
                    <a:lnTo>
                      <a:pt x="167" y="366"/>
                    </a:lnTo>
                    <a:close/>
                    <a:moveTo>
                      <a:pt x="167" y="321"/>
                    </a:moveTo>
                    <a:lnTo>
                      <a:pt x="158" y="321"/>
                    </a:lnTo>
                    <a:lnTo>
                      <a:pt x="158" y="282"/>
                    </a:lnTo>
                    <a:lnTo>
                      <a:pt x="167" y="282"/>
                    </a:lnTo>
                    <a:lnTo>
                      <a:pt x="167" y="321"/>
                    </a:lnTo>
                    <a:close/>
                    <a:moveTo>
                      <a:pt x="167" y="274"/>
                    </a:moveTo>
                    <a:lnTo>
                      <a:pt x="158" y="274"/>
                    </a:lnTo>
                    <a:lnTo>
                      <a:pt x="158" y="237"/>
                    </a:lnTo>
                    <a:lnTo>
                      <a:pt x="167" y="237"/>
                    </a:lnTo>
                    <a:lnTo>
                      <a:pt x="167" y="274"/>
                    </a:lnTo>
                    <a:close/>
                    <a:moveTo>
                      <a:pt x="167" y="228"/>
                    </a:moveTo>
                    <a:lnTo>
                      <a:pt x="158" y="228"/>
                    </a:lnTo>
                    <a:lnTo>
                      <a:pt x="158" y="189"/>
                    </a:lnTo>
                    <a:lnTo>
                      <a:pt x="167" y="189"/>
                    </a:lnTo>
                    <a:lnTo>
                      <a:pt x="167" y="228"/>
                    </a:lnTo>
                    <a:close/>
                    <a:moveTo>
                      <a:pt x="167" y="181"/>
                    </a:moveTo>
                    <a:lnTo>
                      <a:pt x="158" y="181"/>
                    </a:lnTo>
                    <a:lnTo>
                      <a:pt x="158" y="142"/>
                    </a:lnTo>
                    <a:lnTo>
                      <a:pt x="167" y="142"/>
                    </a:lnTo>
                    <a:lnTo>
                      <a:pt x="167" y="181"/>
                    </a:lnTo>
                    <a:close/>
                    <a:moveTo>
                      <a:pt x="167" y="136"/>
                    </a:moveTo>
                    <a:lnTo>
                      <a:pt x="158" y="136"/>
                    </a:lnTo>
                    <a:lnTo>
                      <a:pt x="158" y="97"/>
                    </a:lnTo>
                    <a:lnTo>
                      <a:pt x="167" y="97"/>
                    </a:lnTo>
                    <a:lnTo>
                      <a:pt x="167" y="136"/>
                    </a:lnTo>
                    <a:close/>
                    <a:moveTo>
                      <a:pt x="234" y="1051"/>
                    </a:moveTo>
                    <a:lnTo>
                      <a:pt x="180" y="1051"/>
                    </a:lnTo>
                    <a:lnTo>
                      <a:pt x="180" y="1028"/>
                    </a:lnTo>
                    <a:lnTo>
                      <a:pt x="234" y="1028"/>
                    </a:lnTo>
                    <a:lnTo>
                      <a:pt x="234" y="1051"/>
                    </a:lnTo>
                    <a:close/>
                    <a:moveTo>
                      <a:pt x="234" y="1006"/>
                    </a:moveTo>
                    <a:lnTo>
                      <a:pt x="180" y="1006"/>
                    </a:lnTo>
                    <a:lnTo>
                      <a:pt x="180" y="980"/>
                    </a:lnTo>
                    <a:lnTo>
                      <a:pt x="234" y="980"/>
                    </a:lnTo>
                    <a:lnTo>
                      <a:pt x="234" y="1006"/>
                    </a:lnTo>
                    <a:close/>
                    <a:moveTo>
                      <a:pt x="234" y="959"/>
                    </a:moveTo>
                    <a:lnTo>
                      <a:pt x="180" y="959"/>
                    </a:lnTo>
                    <a:lnTo>
                      <a:pt x="180" y="933"/>
                    </a:lnTo>
                    <a:lnTo>
                      <a:pt x="234" y="933"/>
                    </a:lnTo>
                    <a:lnTo>
                      <a:pt x="234" y="959"/>
                    </a:lnTo>
                    <a:close/>
                    <a:moveTo>
                      <a:pt x="234" y="913"/>
                    </a:moveTo>
                    <a:lnTo>
                      <a:pt x="180" y="913"/>
                    </a:lnTo>
                    <a:lnTo>
                      <a:pt x="180" y="888"/>
                    </a:lnTo>
                    <a:lnTo>
                      <a:pt x="234" y="888"/>
                    </a:lnTo>
                    <a:lnTo>
                      <a:pt x="234" y="913"/>
                    </a:lnTo>
                    <a:close/>
                    <a:moveTo>
                      <a:pt x="234" y="866"/>
                    </a:moveTo>
                    <a:lnTo>
                      <a:pt x="180" y="866"/>
                    </a:lnTo>
                    <a:lnTo>
                      <a:pt x="180" y="840"/>
                    </a:lnTo>
                    <a:lnTo>
                      <a:pt x="234" y="840"/>
                    </a:lnTo>
                    <a:lnTo>
                      <a:pt x="234" y="866"/>
                    </a:lnTo>
                    <a:close/>
                    <a:moveTo>
                      <a:pt x="234" y="819"/>
                    </a:moveTo>
                    <a:lnTo>
                      <a:pt x="180" y="819"/>
                    </a:lnTo>
                    <a:lnTo>
                      <a:pt x="180" y="795"/>
                    </a:lnTo>
                    <a:lnTo>
                      <a:pt x="234" y="795"/>
                    </a:lnTo>
                    <a:lnTo>
                      <a:pt x="234" y="819"/>
                    </a:lnTo>
                    <a:close/>
                    <a:moveTo>
                      <a:pt x="234" y="773"/>
                    </a:moveTo>
                    <a:lnTo>
                      <a:pt x="180" y="773"/>
                    </a:lnTo>
                    <a:lnTo>
                      <a:pt x="180" y="748"/>
                    </a:lnTo>
                    <a:lnTo>
                      <a:pt x="234" y="748"/>
                    </a:lnTo>
                    <a:lnTo>
                      <a:pt x="234" y="773"/>
                    </a:lnTo>
                    <a:close/>
                    <a:moveTo>
                      <a:pt x="234" y="726"/>
                    </a:moveTo>
                    <a:lnTo>
                      <a:pt x="180" y="726"/>
                    </a:lnTo>
                    <a:lnTo>
                      <a:pt x="180" y="702"/>
                    </a:lnTo>
                    <a:lnTo>
                      <a:pt x="234" y="702"/>
                    </a:lnTo>
                    <a:lnTo>
                      <a:pt x="234" y="726"/>
                    </a:lnTo>
                    <a:close/>
                    <a:moveTo>
                      <a:pt x="234" y="681"/>
                    </a:moveTo>
                    <a:lnTo>
                      <a:pt x="180" y="681"/>
                    </a:lnTo>
                    <a:lnTo>
                      <a:pt x="180" y="655"/>
                    </a:lnTo>
                    <a:lnTo>
                      <a:pt x="234" y="655"/>
                    </a:lnTo>
                    <a:lnTo>
                      <a:pt x="234" y="681"/>
                    </a:lnTo>
                    <a:close/>
                    <a:moveTo>
                      <a:pt x="234" y="633"/>
                    </a:moveTo>
                    <a:lnTo>
                      <a:pt x="180" y="633"/>
                    </a:lnTo>
                    <a:lnTo>
                      <a:pt x="180" y="607"/>
                    </a:lnTo>
                    <a:lnTo>
                      <a:pt x="234" y="607"/>
                    </a:lnTo>
                    <a:lnTo>
                      <a:pt x="234" y="633"/>
                    </a:lnTo>
                    <a:close/>
                    <a:moveTo>
                      <a:pt x="234" y="588"/>
                    </a:moveTo>
                    <a:lnTo>
                      <a:pt x="180" y="588"/>
                    </a:lnTo>
                    <a:lnTo>
                      <a:pt x="180" y="562"/>
                    </a:lnTo>
                    <a:lnTo>
                      <a:pt x="234" y="562"/>
                    </a:lnTo>
                    <a:lnTo>
                      <a:pt x="234" y="588"/>
                    </a:lnTo>
                    <a:close/>
                    <a:moveTo>
                      <a:pt x="234" y="541"/>
                    </a:moveTo>
                    <a:lnTo>
                      <a:pt x="180" y="541"/>
                    </a:lnTo>
                    <a:lnTo>
                      <a:pt x="180" y="515"/>
                    </a:lnTo>
                    <a:lnTo>
                      <a:pt x="234" y="515"/>
                    </a:lnTo>
                    <a:lnTo>
                      <a:pt x="234" y="541"/>
                    </a:lnTo>
                    <a:close/>
                    <a:moveTo>
                      <a:pt x="234" y="493"/>
                    </a:moveTo>
                    <a:lnTo>
                      <a:pt x="180" y="493"/>
                    </a:lnTo>
                    <a:lnTo>
                      <a:pt x="180" y="470"/>
                    </a:lnTo>
                    <a:lnTo>
                      <a:pt x="234" y="470"/>
                    </a:lnTo>
                    <a:lnTo>
                      <a:pt x="234" y="493"/>
                    </a:lnTo>
                    <a:close/>
                    <a:moveTo>
                      <a:pt x="234" y="448"/>
                    </a:moveTo>
                    <a:lnTo>
                      <a:pt x="180" y="448"/>
                    </a:lnTo>
                    <a:lnTo>
                      <a:pt x="180" y="422"/>
                    </a:lnTo>
                    <a:lnTo>
                      <a:pt x="234" y="422"/>
                    </a:lnTo>
                    <a:lnTo>
                      <a:pt x="234" y="448"/>
                    </a:lnTo>
                    <a:close/>
                    <a:moveTo>
                      <a:pt x="234" y="401"/>
                    </a:moveTo>
                    <a:lnTo>
                      <a:pt x="180" y="401"/>
                    </a:lnTo>
                    <a:lnTo>
                      <a:pt x="180" y="375"/>
                    </a:lnTo>
                    <a:lnTo>
                      <a:pt x="234" y="375"/>
                    </a:lnTo>
                    <a:lnTo>
                      <a:pt x="234" y="401"/>
                    </a:lnTo>
                    <a:close/>
                    <a:moveTo>
                      <a:pt x="234" y="355"/>
                    </a:moveTo>
                    <a:lnTo>
                      <a:pt x="180" y="355"/>
                    </a:lnTo>
                    <a:lnTo>
                      <a:pt x="180" y="330"/>
                    </a:lnTo>
                    <a:lnTo>
                      <a:pt x="234" y="330"/>
                    </a:lnTo>
                    <a:lnTo>
                      <a:pt x="234" y="355"/>
                    </a:lnTo>
                    <a:close/>
                    <a:moveTo>
                      <a:pt x="234" y="308"/>
                    </a:moveTo>
                    <a:lnTo>
                      <a:pt x="180" y="308"/>
                    </a:lnTo>
                    <a:lnTo>
                      <a:pt x="180" y="282"/>
                    </a:lnTo>
                    <a:lnTo>
                      <a:pt x="234" y="282"/>
                    </a:lnTo>
                    <a:lnTo>
                      <a:pt x="234" y="308"/>
                    </a:lnTo>
                    <a:close/>
                    <a:moveTo>
                      <a:pt x="234" y="261"/>
                    </a:moveTo>
                    <a:lnTo>
                      <a:pt x="180" y="261"/>
                    </a:lnTo>
                    <a:lnTo>
                      <a:pt x="180" y="237"/>
                    </a:lnTo>
                    <a:lnTo>
                      <a:pt x="234" y="237"/>
                    </a:lnTo>
                    <a:lnTo>
                      <a:pt x="234" y="261"/>
                    </a:lnTo>
                    <a:close/>
                    <a:moveTo>
                      <a:pt x="234" y="215"/>
                    </a:moveTo>
                    <a:lnTo>
                      <a:pt x="180" y="215"/>
                    </a:lnTo>
                    <a:lnTo>
                      <a:pt x="180" y="189"/>
                    </a:lnTo>
                    <a:lnTo>
                      <a:pt x="234" y="189"/>
                    </a:lnTo>
                    <a:lnTo>
                      <a:pt x="234" y="215"/>
                    </a:lnTo>
                    <a:close/>
                    <a:moveTo>
                      <a:pt x="234" y="168"/>
                    </a:moveTo>
                    <a:lnTo>
                      <a:pt x="180" y="168"/>
                    </a:lnTo>
                    <a:lnTo>
                      <a:pt x="180" y="142"/>
                    </a:lnTo>
                    <a:lnTo>
                      <a:pt x="234" y="142"/>
                    </a:lnTo>
                    <a:lnTo>
                      <a:pt x="234" y="168"/>
                    </a:lnTo>
                    <a:close/>
                    <a:moveTo>
                      <a:pt x="234" y="123"/>
                    </a:moveTo>
                    <a:lnTo>
                      <a:pt x="180" y="123"/>
                    </a:lnTo>
                    <a:lnTo>
                      <a:pt x="180" y="97"/>
                    </a:lnTo>
                    <a:lnTo>
                      <a:pt x="234" y="97"/>
                    </a:lnTo>
                    <a:lnTo>
                      <a:pt x="234" y="123"/>
                    </a:lnTo>
                    <a:close/>
                    <a:moveTo>
                      <a:pt x="255" y="1064"/>
                    </a:moveTo>
                    <a:lnTo>
                      <a:pt x="247" y="1064"/>
                    </a:lnTo>
                    <a:lnTo>
                      <a:pt x="247" y="1028"/>
                    </a:lnTo>
                    <a:lnTo>
                      <a:pt x="255" y="1028"/>
                    </a:lnTo>
                    <a:lnTo>
                      <a:pt x="255" y="1064"/>
                    </a:lnTo>
                    <a:close/>
                    <a:moveTo>
                      <a:pt x="255" y="1019"/>
                    </a:moveTo>
                    <a:lnTo>
                      <a:pt x="247" y="1019"/>
                    </a:lnTo>
                    <a:lnTo>
                      <a:pt x="247" y="980"/>
                    </a:lnTo>
                    <a:lnTo>
                      <a:pt x="255" y="980"/>
                    </a:lnTo>
                    <a:lnTo>
                      <a:pt x="255" y="1019"/>
                    </a:lnTo>
                    <a:close/>
                    <a:moveTo>
                      <a:pt x="255" y="972"/>
                    </a:moveTo>
                    <a:lnTo>
                      <a:pt x="247" y="972"/>
                    </a:lnTo>
                    <a:lnTo>
                      <a:pt x="247" y="933"/>
                    </a:lnTo>
                    <a:lnTo>
                      <a:pt x="255" y="933"/>
                    </a:lnTo>
                    <a:lnTo>
                      <a:pt x="255" y="972"/>
                    </a:lnTo>
                    <a:close/>
                    <a:moveTo>
                      <a:pt x="255" y="926"/>
                    </a:moveTo>
                    <a:lnTo>
                      <a:pt x="247" y="926"/>
                    </a:lnTo>
                    <a:lnTo>
                      <a:pt x="247" y="888"/>
                    </a:lnTo>
                    <a:lnTo>
                      <a:pt x="255" y="888"/>
                    </a:lnTo>
                    <a:lnTo>
                      <a:pt x="255" y="926"/>
                    </a:lnTo>
                    <a:close/>
                    <a:moveTo>
                      <a:pt x="255" y="879"/>
                    </a:moveTo>
                    <a:lnTo>
                      <a:pt x="247" y="879"/>
                    </a:lnTo>
                    <a:lnTo>
                      <a:pt x="247" y="840"/>
                    </a:lnTo>
                    <a:lnTo>
                      <a:pt x="255" y="840"/>
                    </a:lnTo>
                    <a:lnTo>
                      <a:pt x="255" y="879"/>
                    </a:lnTo>
                    <a:close/>
                    <a:moveTo>
                      <a:pt x="255" y="832"/>
                    </a:moveTo>
                    <a:lnTo>
                      <a:pt x="247" y="832"/>
                    </a:lnTo>
                    <a:lnTo>
                      <a:pt x="247" y="795"/>
                    </a:lnTo>
                    <a:lnTo>
                      <a:pt x="255" y="795"/>
                    </a:lnTo>
                    <a:lnTo>
                      <a:pt x="255" y="832"/>
                    </a:lnTo>
                    <a:close/>
                    <a:moveTo>
                      <a:pt x="255" y="786"/>
                    </a:moveTo>
                    <a:lnTo>
                      <a:pt x="247" y="786"/>
                    </a:lnTo>
                    <a:lnTo>
                      <a:pt x="247" y="748"/>
                    </a:lnTo>
                    <a:lnTo>
                      <a:pt x="255" y="748"/>
                    </a:lnTo>
                    <a:lnTo>
                      <a:pt x="255" y="786"/>
                    </a:lnTo>
                    <a:close/>
                    <a:moveTo>
                      <a:pt x="255" y="739"/>
                    </a:moveTo>
                    <a:lnTo>
                      <a:pt x="247" y="739"/>
                    </a:lnTo>
                    <a:lnTo>
                      <a:pt x="247" y="702"/>
                    </a:lnTo>
                    <a:lnTo>
                      <a:pt x="255" y="702"/>
                    </a:lnTo>
                    <a:lnTo>
                      <a:pt x="255" y="739"/>
                    </a:lnTo>
                    <a:close/>
                    <a:moveTo>
                      <a:pt x="255" y="694"/>
                    </a:moveTo>
                    <a:lnTo>
                      <a:pt x="247" y="694"/>
                    </a:lnTo>
                    <a:lnTo>
                      <a:pt x="247" y="655"/>
                    </a:lnTo>
                    <a:lnTo>
                      <a:pt x="255" y="655"/>
                    </a:lnTo>
                    <a:lnTo>
                      <a:pt x="255" y="694"/>
                    </a:lnTo>
                    <a:close/>
                    <a:moveTo>
                      <a:pt x="255" y="646"/>
                    </a:moveTo>
                    <a:lnTo>
                      <a:pt x="247" y="646"/>
                    </a:lnTo>
                    <a:lnTo>
                      <a:pt x="247" y="607"/>
                    </a:lnTo>
                    <a:lnTo>
                      <a:pt x="255" y="607"/>
                    </a:lnTo>
                    <a:lnTo>
                      <a:pt x="255" y="646"/>
                    </a:lnTo>
                    <a:close/>
                    <a:moveTo>
                      <a:pt x="255" y="599"/>
                    </a:moveTo>
                    <a:lnTo>
                      <a:pt x="247" y="599"/>
                    </a:lnTo>
                    <a:lnTo>
                      <a:pt x="247" y="562"/>
                    </a:lnTo>
                    <a:lnTo>
                      <a:pt x="255" y="562"/>
                    </a:lnTo>
                    <a:lnTo>
                      <a:pt x="255" y="599"/>
                    </a:lnTo>
                    <a:close/>
                    <a:moveTo>
                      <a:pt x="255" y="554"/>
                    </a:moveTo>
                    <a:lnTo>
                      <a:pt x="247" y="554"/>
                    </a:lnTo>
                    <a:lnTo>
                      <a:pt x="247" y="515"/>
                    </a:lnTo>
                    <a:lnTo>
                      <a:pt x="255" y="515"/>
                    </a:lnTo>
                    <a:lnTo>
                      <a:pt x="255" y="554"/>
                    </a:lnTo>
                    <a:close/>
                    <a:moveTo>
                      <a:pt x="255" y="506"/>
                    </a:moveTo>
                    <a:lnTo>
                      <a:pt x="247" y="506"/>
                    </a:lnTo>
                    <a:lnTo>
                      <a:pt x="247" y="470"/>
                    </a:lnTo>
                    <a:lnTo>
                      <a:pt x="255" y="470"/>
                    </a:lnTo>
                    <a:lnTo>
                      <a:pt x="255" y="506"/>
                    </a:lnTo>
                    <a:close/>
                    <a:moveTo>
                      <a:pt x="255" y="461"/>
                    </a:moveTo>
                    <a:lnTo>
                      <a:pt x="247" y="461"/>
                    </a:lnTo>
                    <a:lnTo>
                      <a:pt x="247" y="422"/>
                    </a:lnTo>
                    <a:lnTo>
                      <a:pt x="255" y="422"/>
                    </a:lnTo>
                    <a:lnTo>
                      <a:pt x="255" y="461"/>
                    </a:lnTo>
                    <a:close/>
                    <a:moveTo>
                      <a:pt x="255" y="414"/>
                    </a:moveTo>
                    <a:lnTo>
                      <a:pt x="247" y="414"/>
                    </a:lnTo>
                    <a:lnTo>
                      <a:pt x="247" y="375"/>
                    </a:lnTo>
                    <a:lnTo>
                      <a:pt x="255" y="375"/>
                    </a:lnTo>
                    <a:lnTo>
                      <a:pt x="255" y="414"/>
                    </a:lnTo>
                    <a:close/>
                    <a:moveTo>
                      <a:pt x="255" y="366"/>
                    </a:moveTo>
                    <a:lnTo>
                      <a:pt x="247" y="366"/>
                    </a:lnTo>
                    <a:lnTo>
                      <a:pt x="247" y="330"/>
                    </a:lnTo>
                    <a:lnTo>
                      <a:pt x="255" y="330"/>
                    </a:lnTo>
                    <a:lnTo>
                      <a:pt x="255" y="366"/>
                    </a:lnTo>
                    <a:close/>
                    <a:moveTo>
                      <a:pt x="255" y="321"/>
                    </a:moveTo>
                    <a:lnTo>
                      <a:pt x="247" y="321"/>
                    </a:lnTo>
                    <a:lnTo>
                      <a:pt x="247" y="282"/>
                    </a:lnTo>
                    <a:lnTo>
                      <a:pt x="255" y="282"/>
                    </a:lnTo>
                    <a:lnTo>
                      <a:pt x="255" y="321"/>
                    </a:lnTo>
                    <a:close/>
                    <a:moveTo>
                      <a:pt x="255" y="274"/>
                    </a:moveTo>
                    <a:lnTo>
                      <a:pt x="247" y="274"/>
                    </a:lnTo>
                    <a:lnTo>
                      <a:pt x="247" y="237"/>
                    </a:lnTo>
                    <a:lnTo>
                      <a:pt x="255" y="237"/>
                    </a:lnTo>
                    <a:lnTo>
                      <a:pt x="255" y="274"/>
                    </a:lnTo>
                    <a:close/>
                    <a:moveTo>
                      <a:pt x="255" y="228"/>
                    </a:moveTo>
                    <a:lnTo>
                      <a:pt x="247" y="228"/>
                    </a:lnTo>
                    <a:lnTo>
                      <a:pt x="247" y="189"/>
                    </a:lnTo>
                    <a:lnTo>
                      <a:pt x="255" y="189"/>
                    </a:lnTo>
                    <a:lnTo>
                      <a:pt x="255" y="228"/>
                    </a:lnTo>
                    <a:close/>
                    <a:moveTo>
                      <a:pt x="255" y="181"/>
                    </a:moveTo>
                    <a:lnTo>
                      <a:pt x="247" y="181"/>
                    </a:lnTo>
                    <a:lnTo>
                      <a:pt x="247" y="142"/>
                    </a:lnTo>
                    <a:lnTo>
                      <a:pt x="255" y="142"/>
                    </a:lnTo>
                    <a:lnTo>
                      <a:pt x="255" y="181"/>
                    </a:lnTo>
                    <a:close/>
                    <a:moveTo>
                      <a:pt x="255" y="136"/>
                    </a:moveTo>
                    <a:lnTo>
                      <a:pt x="247" y="136"/>
                    </a:lnTo>
                    <a:lnTo>
                      <a:pt x="247" y="97"/>
                    </a:lnTo>
                    <a:lnTo>
                      <a:pt x="255" y="97"/>
                    </a:lnTo>
                    <a:lnTo>
                      <a:pt x="255" y="136"/>
                    </a:lnTo>
                    <a:close/>
                    <a:moveTo>
                      <a:pt x="268" y="1064"/>
                    </a:moveTo>
                    <a:lnTo>
                      <a:pt x="260" y="1064"/>
                    </a:lnTo>
                    <a:lnTo>
                      <a:pt x="260" y="1028"/>
                    </a:lnTo>
                    <a:lnTo>
                      <a:pt x="268" y="1028"/>
                    </a:lnTo>
                    <a:lnTo>
                      <a:pt x="268" y="1064"/>
                    </a:lnTo>
                    <a:close/>
                    <a:moveTo>
                      <a:pt x="268" y="1019"/>
                    </a:moveTo>
                    <a:lnTo>
                      <a:pt x="260" y="1019"/>
                    </a:lnTo>
                    <a:lnTo>
                      <a:pt x="260" y="980"/>
                    </a:lnTo>
                    <a:lnTo>
                      <a:pt x="268" y="980"/>
                    </a:lnTo>
                    <a:lnTo>
                      <a:pt x="268" y="1019"/>
                    </a:lnTo>
                    <a:close/>
                    <a:moveTo>
                      <a:pt x="268" y="972"/>
                    </a:moveTo>
                    <a:lnTo>
                      <a:pt x="260" y="972"/>
                    </a:lnTo>
                    <a:lnTo>
                      <a:pt x="260" y="933"/>
                    </a:lnTo>
                    <a:lnTo>
                      <a:pt x="268" y="933"/>
                    </a:lnTo>
                    <a:lnTo>
                      <a:pt x="268" y="972"/>
                    </a:lnTo>
                    <a:close/>
                    <a:moveTo>
                      <a:pt x="268" y="926"/>
                    </a:moveTo>
                    <a:lnTo>
                      <a:pt x="260" y="926"/>
                    </a:lnTo>
                    <a:lnTo>
                      <a:pt x="260" y="888"/>
                    </a:lnTo>
                    <a:lnTo>
                      <a:pt x="268" y="888"/>
                    </a:lnTo>
                    <a:lnTo>
                      <a:pt x="268" y="926"/>
                    </a:lnTo>
                    <a:close/>
                    <a:moveTo>
                      <a:pt x="268" y="879"/>
                    </a:moveTo>
                    <a:lnTo>
                      <a:pt x="260" y="879"/>
                    </a:lnTo>
                    <a:lnTo>
                      <a:pt x="260" y="840"/>
                    </a:lnTo>
                    <a:lnTo>
                      <a:pt x="268" y="840"/>
                    </a:lnTo>
                    <a:lnTo>
                      <a:pt x="268" y="879"/>
                    </a:lnTo>
                    <a:close/>
                    <a:moveTo>
                      <a:pt x="268" y="832"/>
                    </a:moveTo>
                    <a:lnTo>
                      <a:pt x="260" y="832"/>
                    </a:lnTo>
                    <a:lnTo>
                      <a:pt x="260" y="795"/>
                    </a:lnTo>
                    <a:lnTo>
                      <a:pt x="268" y="795"/>
                    </a:lnTo>
                    <a:lnTo>
                      <a:pt x="268" y="832"/>
                    </a:lnTo>
                    <a:close/>
                    <a:moveTo>
                      <a:pt x="268" y="786"/>
                    </a:moveTo>
                    <a:lnTo>
                      <a:pt x="260" y="786"/>
                    </a:lnTo>
                    <a:lnTo>
                      <a:pt x="260" y="748"/>
                    </a:lnTo>
                    <a:lnTo>
                      <a:pt x="268" y="748"/>
                    </a:lnTo>
                    <a:lnTo>
                      <a:pt x="268" y="786"/>
                    </a:lnTo>
                    <a:close/>
                    <a:moveTo>
                      <a:pt x="268" y="739"/>
                    </a:moveTo>
                    <a:lnTo>
                      <a:pt x="260" y="739"/>
                    </a:lnTo>
                    <a:lnTo>
                      <a:pt x="260" y="702"/>
                    </a:lnTo>
                    <a:lnTo>
                      <a:pt x="268" y="702"/>
                    </a:lnTo>
                    <a:lnTo>
                      <a:pt x="268" y="739"/>
                    </a:lnTo>
                    <a:close/>
                    <a:moveTo>
                      <a:pt x="268" y="694"/>
                    </a:moveTo>
                    <a:lnTo>
                      <a:pt x="260" y="694"/>
                    </a:lnTo>
                    <a:lnTo>
                      <a:pt x="260" y="655"/>
                    </a:lnTo>
                    <a:lnTo>
                      <a:pt x="268" y="655"/>
                    </a:lnTo>
                    <a:lnTo>
                      <a:pt x="268" y="694"/>
                    </a:lnTo>
                    <a:close/>
                    <a:moveTo>
                      <a:pt x="268" y="646"/>
                    </a:moveTo>
                    <a:lnTo>
                      <a:pt x="260" y="646"/>
                    </a:lnTo>
                    <a:lnTo>
                      <a:pt x="260" y="607"/>
                    </a:lnTo>
                    <a:lnTo>
                      <a:pt x="268" y="607"/>
                    </a:lnTo>
                    <a:lnTo>
                      <a:pt x="268" y="646"/>
                    </a:lnTo>
                    <a:close/>
                    <a:moveTo>
                      <a:pt x="268" y="599"/>
                    </a:moveTo>
                    <a:lnTo>
                      <a:pt x="260" y="599"/>
                    </a:lnTo>
                    <a:lnTo>
                      <a:pt x="260" y="562"/>
                    </a:lnTo>
                    <a:lnTo>
                      <a:pt x="268" y="562"/>
                    </a:lnTo>
                    <a:lnTo>
                      <a:pt x="268" y="599"/>
                    </a:lnTo>
                    <a:close/>
                    <a:moveTo>
                      <a:pt x="268" y="554"/>
                    </a:moveTo>
                    <a:lnTo>
                      <a:pt x="260" y="554"/>
                    </a:lnTo>
                    <a:lnTo>
                      <a:pt x="260" y="515"/>
                    </a:lnTo>
                    <a:lnTo>
                      <a:pt x="268" y="515"/>
                    </a:lnTo>
                    <a:lnTo>
                      <a:pt x="268" y="554"/>
                    </a:lnTo>
                    <a:close/>
                    <a:moveTo>
                      <a:pt x="268" y="506"/>
                    </a:moveTo>
                    <a:lnTo>
                      <a:pt x="260" y="506"/>
                    </a:lnTo>
                    <a:lnTo>
                      <a:pt x="260" y="470"/>
                    </a:lnTo>
                    <a:lnTo>
                      <a:pt x="268" y="470"/>
                    </a:lnTo>
                    <a:lnTo>
                      <a:pt x="268" y="506"/>
                    </a:lnTo>
                    <a:close/>
                    <a:moveTo>
                      <a:pt x="268" y="461"/>
                    </a:moveTo>
                    <a:lnTo>
                      <a:pt x="260" y="461"/>
                    </a:lnTo>
                    <a:lnTo>
                      <a:pt x="260" y="422"/>
                    </a:lnTo>
                    <a:lnTo>
                      <a:pt x="268" y="422"/>
                    </a:lnTo>
                    <a:lnTo>
                      <a:pt x="268" y="461"/>
                    </a:lnTo>
                    <a:close/>
                    <a:moveTo>
                      <a:pt x="268" y="414"/>
                    </a:moveTo>
                    <a:lnTo>
                      <a:pt x="260" y="414"/>
                    </a:lnTo>
                    <a:lnTo>
                      <a:pt x="260" y="375"/>
                    </a:lnTo>
                    <a:lnTo>
                      <a:pt x="268" y="375"/>
                    </a:lnTo>
                    <a:lnTo>
                      <a:pt x="268" y="414"/>
                    </a:lnTo>
                    <a:close/>
                    <a:moveTo>
                      <a:pt x="268" y="366"/>
                    </a:moveTo>
                    <a:lnTo>
                      <a:pt x="260" y="366"/>
                    </a:lnTo>
                    <a:lnTo>
                      <a:pt x="260" y="330"/>
                    </a:lnTo>
                    <a:lnTo>
                      <a:pt x="268" y="330"/>
                    </a:lnTo>
                    <a:lnTo>
                      <a:pt x="268" y="366"/>
                    </a:lnTo>
                    <a:close/>
                    <a:moveTo>
                      <a:pt x="268" y="321"/>
                    </a:moveTo>
                    <a:lnTo>
                      <a:pt x="260" y="321"/>
                    </a:lnTo>
                    <a:lnTo>
                      <a:pt x="260" y="282"/>
                    </a:lnTo>
                    <a:lnTo>
                      <a:pt x="268" y="282"/>
                    </a:lnTo>
                    <a:lnTo>
                      <a:pt x="268" y="321"/>
                    </a:lnTo>
                    <a:close/>
                    <a:moveTo>
                      <a:pt x="268" y="274"/>
                    </a:moveTo>
                    <a:lnTo>
                      <a:pt x="260" y="274"/>
                    </a:lnTo>
                    <a:lnTo>
                      <a:pt x="260" y="237"/>
                    </a:lnTo>
                    <a:lnTo>
                      <a:pt x="268" y="237"/>
                    </a:lnTo>
                    <a:lnTo>
                      <a:pt x="268" y="274"/>
                    </a:lnTo>
                    <a:close/>
                    <a:moveTo>
                      <a:pt x="268" y="228"/>
                    </a:moveTo>
                    <a:lnTo>
                      <a:pt x="260" y="228"/>
                    </a:lnTo>
                    <a:lnTo>
                      <a:pt x="260" y="189"/>
                    </a:lnTo>
                    <a:lnTo>
                      <a:pt x="268" y="189"/>
                    </a:lnTo>
                    <a:lnTo>
                      <a:pt x="268" y="228"/>
                    </a:lnTo>
                    <a:close/>
                    <a:moveTo>
                      <a:pt x="268" y="181"/>
                    </a:moveTo>
                    <a:lnTo>
                      <a:pt x="260" y="181"/>
                    </a:lnTo>
                    <a:lnTo>
                      <a:pt x="260" y="142"/>
                    </a:lnTo>
                    <a:lnTo>
                      <a:pt x="268" y="142"/>
                    </a:lnTo>
                    <a:lnTo>
                      <a:pt x="268" y="181"/>
                    </a:lnTo>
                    <a:close/>
                    <a:moveTo>
                      <a:pt x="268" y="136"/>
                    </a:moveTo>
                    <a:lnTo>
                      <a:pt x="260" y="136"/>
                    </a:lnTo>
                    <a:lnTo>
                      <a:pt x="260" y="97"/>
                    </a:lnTo>
                    <a:lnTo>
                      <a:pt x="268" y="97"/>
                    </a:lnTo>
                    <a:lnTo>
                      <a:pt x="268" y="136"/>
                    </a:lnTo>
                    <a:close/>
                    <a:moveTo>
                      <a:pt x="320" y="1036"/>
                    </a:moveTo>
                    <a:lnTo>
                      <a:pt x="290" y="1036"/>
                    </a:lnTo>
                    <a:lnTo>
                      <a:pt x="290" y="1010"/>
                    </a:lnTo>
                    <a:lnTo>
                      <a:pt x="320" y="1010"/>
                    </a:lnTo>
                    <a:lnTo>
                      <a:pt x="320" y="1036"/>
                    </a:lnTo>
                    <a:close/>
                    <a:moveTo>
                      <a:pt x="320" y="985"/>
                    </a:moveTo>
                    <a:lnTo>
                      <a:pt x="290" y="985"/>
                    </a:lnTo>
                    <a:lnTo>
                      <a:pt x="290" y="959"/>
                    </a:lnTo>
                    <a:lnTo>
                      <a:pt x="320" y="959"/>
                    </a:lnTo>
                    <a:lnTo>
                      <a:pt x="320" y="985"/>
                    </a:lnTo>
                    <a:close/>
                    <a:moveTo>
                      <a:pt x="320" y="933"/>
                    </a:moveTo>
                    <a:lnTo>
                      <a:pt x="290" y="933"/>
                    </a:lnTo>
                    <a:lnTo>
                      <a:pt x="290" y="909"/>
                    </a:lnTo>
                    <a:lnTo>
                      <a:pt x="320" y="909"/>
                    </a:lnTo>
                    <a:lnTo>
                      <a:pt x="320" y="933"/>
                    </a:lnTo>
                    <a:close/>
                    <a:moveTo>
                      <a:pt x="320" y="883"/>
                    </a:moveTo>
                    <a:lnTo>
                      <a:pt x="290" y="883"/>
                    </a:lnTo>
                    <a:lnTo>
                      <a:pt x="290" y="857"/>
                    </a:lnTo>
                    <a:lnTo>
                      <a:pt x="320" y="857"/>
                    </a:lnTo>
                    <a:lnTo>
                      <a:pt x="320" y="883"/>
                    </a:lnTo>
                    <a:close/>
                    <a:moveTo>
                      <a:pt x="320" y="832"/>
                    </a:moveTo>
                    <a:lnTo>
                      <a:pt x="290" y="832"/>
                    </a:lnTo>
                    <a:lnTo>
                      <a:pt x="290" y="808"/>
                    </a:lnTo>
                    <a:lnTo>
                      <a:pt x="320" y="808"/>
                    </a:lnTo>
                    <a:lnTo>
                      <a:pt x="320" y="832"/>
                    </a:lnTo>
                    <a:close/>
                    <a:moveTo>
                      <a:pt x="320" y="782"/>
                    </a:moveTo>
                    <a:lnTo>
                      <a:pt x="290" y="782"/>
                    </a:lnTo>
                    <a:lnTo>
                      <a:pt x="290" y="756"/>
                    </a:lnTo>
                    <a:lnTo>
                      <a:pt x="320" y="756"/>
                    </a:lnTo>
                    <a:lnTo>
                      <a:pt x="320" y="782"/>
                    </a:lnTo>
                    <a:close/>
                    <a:moveTo>
                      <a:pt x="320" y="730"/>
                    </a:moveTo>
                    <a:lnTo>
                      <a:pt x="290" y="730"/>
                    </a:lnTo>
                    <a:lnTo>
                      <a:pt x="290" y="704"/>
                    </a:lnTo>
                    <a:lnTo>
                      <a:pt x="320" y="704"/>
                    </a:lnTo>
                    <a:lnTo>
                      <a:pt x="320" y="730"/>
                    </a:lnTo>
                    <a:close/>
                    <a:moveTo>
                      <a:pt x="320" y="681"/>
                    </a:moveTo>
                    <a:lnTo>
                      <a:pt x="290" y="681"/>
                    </a:lnTo>
                    <a:lnTo>
                      <a:pt x="290" y="655"/>
                    </a:lnTo>
                    <a:lnTo>
                      <a:pt x="320" y="655"/>
                    </a:lnTo>
                    <a:lnTo>
                      <a:pt x="320" y="681"/>
                    </a:lnTo>
                    <a:close/>
                    <a:moveTo>
                      <a:pt x="320" y="629"/>
                    </a:moveTo>
                    <a:lnTo>
                      <a:pt x="290" y="629"/>
                    </a:lnTo>
                    <a:lnTo>
                      <a:pt x="290" y="603"/>
                    </a:lnTo>
                    <a:lnTo>
                      <a:pt x="320" y="603"/>
                    </a:lnTo>
                    <a:lnTo>
                      <a:pt x="320" y="629"/>
                    </a:lnTo>
                    <a:close/>
                    <a:moveTo>
                      <a:pt x="320" y="579"/>
                    </a:moveTo>
                    <a:lnTo>
                      <a:pt x="290" y="579"/>
                    </a:lnTo>
                    <a:lnTo>
                      <a:pt x="290" y="554"/>
                    </a:lnTo>
                    <a:lnTo>
                      <a:pt x="320" y="554"/>
                    </a:lnTo>
                    <a:lnTo>
                      <a:pt x="320" y="579"/>
                    </a:lnTo>
                    <a:close/>
                    <a:moveTo>
                      <a:pt x="320" y="528"/>
                    </a:moveTo>
                    <a:lnTo>
                      <a:pt x="290" y="528"/>
                    </a:lnTo>
                    <a:lnTo>
                      <a:pt x="290" y="502"/>
                    </a:lnTo>
                    <a:lnTo>
                      <a:pt x="320" y="502"/>
                    </a:lnTo>
                    <a:lnTo>
                      <a:pt x="320" y="528"/>
                    </a:lnTo>
                    <a:close/>
                    <a:moveTo>
                      <a:pt x="320" y="476"/>
                    </a:moveTo>
                    <a:lnTo>
                      <a:pt x="290" y="476"/>
                    </a:lnTo>
                    <a:lnTo>
                      <a:pt x="290" y="452"/>
                    </a:lnTo>
                    <a:lnTo>
                      <a:pt x="320" y="452"/>
                    </a:lnTo>
                    <a:lnTo>
                      <a:pt x="320" y="476"/>
                    </a:lnTo>
                    <a:close/>
                    <a:moveTo>
                      <a:pt x="320" y="426"/>
                    </a:moveTo>
                    <a:lnTo>
                      <a:pt x="290" y="426"/>
                    </a:lnTo>
                    <a:lnTo>
                      <a:pt x="290" y="401"/>
                    </a:lnTo>
                    <a:lnTo>
                      <a:pt x="320" y="401"/>
                    </a:lnTo>
                    <a:lnTo>
                      <a:pt x="320" y="426"/>
                    </a:lnTo>
                    <a:close/>
                    <a:moveTo>
                      <a:pt x="320" y="375"/>
                    </a:moveTo>
                    <a:lnTo>
                      <a:pt x="290" y="375"/>
                    </a:lnTo>
                    <a:lnTo>
                      <a:pt x="290" y="351"/>
                    </a:lnTo>
                    <a:lnTo>
                      <a:pt x="320" y="351"/>
                    </a:lnTo>
                    <a:lnTo>
                      <a:pt x="320" y="375"/>
                    </a:lnTo>
                    <a:close/>
                    <a:moveTo>
                      <a:pt x="320" y="325"/>
                    </a:moveTo>
                    <a:lnTo>
                      <a:pt x="290" y="325"/>
                    </a:lnTo>
                    <a:lnTo>
                      <a:pt x="290" y="299"/>
                    </a:lnTo>
                    <a:lnTo>
                      <a:pt x="320" y="299"/>
                    </a:lnTo>
                    <a:lnTo>
                      <a:pt x="320" y="325"/>
                    </a:lnTo>
                    <a:close/>
                    <a:moveTo>
                      <a:pt x="320" y="274"/>
                    </a:moveTo>
                    <a:lnTo>
                      <a:pt x="290" y="274"/>
                    </a:lnTo>
                    <a:lnTo>
                      <a:pt x="290" y="250"/>
                    </a:lnTo>
                    <a:lnTo>
                      <a:pt x="320" y="250"/>
                    </a:lnTo>
                    <a:lnTo>
                      <a:pt x="320" y="274"/>
                    </a:lnTo>
                    <a:close/>
                    <a:moveTo>
                      <a:pt x="320" y="224"/>
                    </a:moveTo>
                    <a:lnTo>
                      <a:pt x="290" y="224"/>
                    </a:lnTo>
                    <a:lnTo>
                      <a:pt x="290" y="198"/>
                    </a:lnTo>
                    <a:lnTo>
                      <a:pt x="320" y="198"/>
                    </a:lnTo>
                    <a:lnTo>
                      <a:pt x="320" y="224"/>
                    </a:lnTo>
                    <a:close/>
                    <a:moveTo>
                      <a:pt x="320" y="172"/>
                    </a:moveTo>
                    <a:lnTo>
                      <a:pt x="290" y="172"/>
                    </a:lnTo>
                    <a:lnTo>
                      <a:pt x="290" y="146"/>
                    </a:lnTo>
                    <a:lnTo>
                      <a:pt x="320" y="146"/>
                    </a:lnTo>
                    <a:lnTo>
                      <a:pt x="320" y="172"/>
                    </a:lnTo>
                    <a:close/>
                    <a:moveTo>
                      <a:pt x="320" y="123"/>
                    </a:moveTo>
                    <a:lnTo>
                      <a:pt x="290" y="123"/>
                    </a:lnTo>
                    <a:lnTo>
                      <a:pt x="290" y="97"/>
                    </a:lnTo>
                    <a:lnTo>
                      <a:pt x="320" y="97"/>
                    </a:lnTo>
                    <a:lnTo>
                      <a:pt x="320" y="123"/>
                    </a:lnTo>
                    <a:close/>
                    <a:moveTo>
                      <a:pt x="391" y="1036"/>
                    </a:moveTo>
                    <a:lnTo>
                      <a:pt x="335" y="1036"/>
                    </a:lnTo>
                    <a:lnTo>
                      <a:pt x="335" y="1010"/>
                    </a:lnTo>
                    <a:lnTo>
                      <a:pt x="391" y="1010"/>
                    </a:lnTo>
                    <a:lnTo>
                      <a:pt x="391" y="1036"/>
                    </a:lnTo>
                    <a:close/>
                    <a:moveTo>
                      <a:pt x="391" y="985"/>
                    </a:moveTo>
                    <a:lnTo>
                      <a:pt x="335" y="985"/>
                    </a:lnTo>
                    <a:lnTo>
                      <a:pt x="335" y="959"/>
                    </a:lnTo>
                    <a:lnTo>
                      <a:pt x="391" y="959"/>
                    </a:lnTo>
                    <a:lnTo>
                      <a:pt x="391" y="985"/>
                    </a:lnTo>
                    <a:close/>
                    <a:moveTo>
                      <a:pt x="391" y="933"/>
                    </a:moveTo>
                    <a:lnTo>
                      <a:pt x="335" y="933"/>
                    </a:lnTo>
                    <a:lnTo>
                      <a:pt x="335" y="909"/>
                    </a:lnTo>
                    <a:lnTo>
                      <a:pt x="391" y="909"/>
                    </a:lnTo>
                    <a:lnTo>
                      <a:pt x="391" y="933"/>
                    </a:lnTo>
                    <a:close/>
                    <a:moveTo>
                      <a:pt x="391" y="883"/>
                    </a:moveTo>
                    <a:lnTo>
                      <a:pt x="335" y="883"/>
                    </a:lnTo>
                    <a:lnTo>
                      <a:pt x="335" y="857"/>
                    </a:lnTo>
                    <a:lnTo>
                      <a:pt x="391" y="857"/>
                    </a:lnTo>
                    <a:lnTo>
                      <a:pt x="391" y="883"/>
                    </a:lnTo>
                    <a:close/>
                    <a:moveTo>
                      <a:pt x="391" y="832"/>
                    </a:moveTo>
                    <a:lnTo>
                      <a:pt x="335" y="832"/>
                    </a:lnTo>
                    <a:lnTo>
                      <a:pt x="335" y="808"/>
                    </a:lnTo>
                    <a:lnTo>
                      <a:pt x="391" y="808"/>
                    </a:lnTo>
                    <a:lnTo>
                      <a:pt x="391" y="832"/>
                    </a:lnTo>
                    <a:close/>
                    <a:moveTo>
                      <a:pt x="391" y="782"/>
                    </a:moveTo>
                    <a:lnTo>
                      <a:pt x="335" y="782"/>
                    </a:lnTo>
                    <a:lnTo>
                      <a:pt x="335" y="756"/>
                    </a:lnTo>
                    <a:lnTo>
                      <a:pt x="391" y="756"/>
                    </a:lnTo>
                    <a:lnTo>
                      <a:pt x="391" y="782"/>
                    </a:lnTo>
                    <a:close/>
                    <a:moveTo>
                      <a:pt x="391" y="730"/>
                    </a:moveTo>
                    <a:lnTo>
                      <a:pt x="335" y="730"/>
                    </a:lnTo>
                    <a:lnTo>
                      <a:pt x="335" y="704"/>
                    </a:lnTo>
                    <a:lnTo>
                      <a:pt x="391" y="704"/>
                    </a:lnTo>
                    <a:lnTo>
                      <a:pt x="391" y="730"/>
                    </a:lnTo>
                    <a:close/>
                    <a:moveTo>
                      <a:pt x="391" y="681"/>
                    </a:moveTo>
                    <a:lnTo>
                      <a:pt x="335" y="681"/>
                    </a:lnTo>
                    <a:lnTo>
                      <a:pt x="335" y="655"/>
                    </a:lnTo>
                    <a:lnTo>
                      <a:pt x="391" y="655"/>
                    </a:lnTo>
                    <a:lnTo>
                      <a:pt x="391" y="681"/>
                    </a:lnTo>
                    <a:close/>
                    <a:moveTo>
                      <a:pt x="391" y="629"/>
                    </a:moveTo>
                    <a:lnTo>
                      <a:pt x="335" y="629"/>
                    </a:lnTo>
                    <a:lnTo>
                      <a:pt x="335" y="603"/>
                    </a:lnTo>
                    <a:lnTo>
                      <a:pt x="391" y="603"/>
                    </a:lnTo>
                    <a:lnTo>
                      <a:pt x="391" y="629"/>
                    </a:lnTo>
                    <a:close/>
                    <a:moveTo>
                      <a:pt x="391" y="579"/>
                    </a:moveTo>
                    <a:lnTo>
                      <a:pt x="335" y="579"/>
                    </a:lnTo>
                    <a:lnTo>
                      <a:pt x="335" y="554"/>
                    </a:lnTo>
                    <a:lnTo>
                      <a:pt x="391" y="554"/>
                    </a:lnTo>
                    <a:lnTo>
                      <a:pt x="391" y="579"/>
                    </a:lnTo>
                    <a:close/>
                    <a:moveTo>
                      <a:pt x="391" y="528"/>
                    </a:moveTo>
                    <a:lnTo>
                      <a:pt x="335" y="528"/>
                    </a:lnTo>
                    <a:lnTo>
                      <a:pt x="335" y="502"/>
                    </a:lnTo>
                    <a:lnTo>
                      <a:pt x="391" y="502"/>
                    </a:lnTo>
                    <a:lnTo>
                      <a:pt x="391" y="528"/>
                    </a:lnTo>
                    <a:close/>
                    <a:moveTo>
                      <a:pt x="391" y="476"/>
                    </a:moveTo>
                    <a:lnTo>
                      <a:pt x="335" y="476"/>
                    </a:lnTo>
                    <a:lnTo>
                      <a:pt x="335" y="452"/>
                    </a:lnTo>
                    <a:lnTo>
                      <a:pt x="391" y="452"/>
                    </a:lnTo>
                    <a:lnTo>
                      <a:pt x="391" y="476"/>
                    </a:lnTo>
                    <a:close/>
                    <a:moveTo>
                      <a:pt x="391" y="426"/>
                    </a:moveTo>
                    <a:lnTo>
                      <a:pt x="335" y="426"/>
                    </a:lnTo>
                    <a:lnTo>
                      <a:pt x="335" y="401"/>
                    </a:lnTo>
                    <a:lnTo>
                      <a:pt x="391" y="401"/>
                    </a:lnTo>
                    <a:lnTo>
                      <a:pt x="391" y="426"/>
                    </a:lnTo>
                    <a:close/>
                    <a:moveTo>
                      <a:pt x="391" y="375"/>
                    </a:moveTo>
                    <a:lnTo>
                      <a:pt x="335" y="375"/>
                    </a:lnTo>
                    <a:lnTo>
                      <a:pt x="335" y="351"/>
                    </a:lnTo>
                    <a:lnTo>
                      <a:pt x="391" y="351"/>
                    </a:lnTo>
                    <a:lnTo>
                      <a:pt x="391" y="375"/>
                    </a:lnTo>
                    <a:close/>
                    <a:moveTo>
                      <a:pt x="391" y="325"/>
                    </a:moveTo>
                    <a:lnTo>
                      <a:pt x="335" y="325"/>
                    </a:lnTo>
                    <a:lnTo>
                      <a:pt x="335" y="299"/>
                    </a:lnTo>
                    <a:lnTo>
                      <a:pt x="391" y="299"/>
                    </a:lnTo>
                    <a:lnTo>
                      <a:pt x="391" y="325"/>
                    </a:lnTo>
                    <a:close/>
                    <a:moveTo>
                      <a:pt x="391" y="274"/>
                    </a:moveTo>
                    <a:lnTo>
                      <a:pt x="335" y="274"/>
                    </a:lnTo>
                    <a:lnTo>
                      <a:pt x="335" y="250"/>
                    </a:lnTo>
                    <a:lnTo>
                      <a:pt x="391" y="250"/>
                    </a:lnTo>
                    <a:lnTo>
                      <a:pt x="391" y="274"/>
                    </a:lnTo>
                    <a:close/>
                    <a:moveTo>
                      <a:pt x="391" y="224"/>
                    </a:moveTo>
                    <a:lnTo>
                      <a:pt x="335" y="224"/>
                    </a:lnTo>
                    <a:lnTo>
                      <a:pt x="335" y="198"/>
                    </a:lnTo>
                    <a:lnTo>
                      <a:pt x="391" y="198"/>
                    </a:lnTo>
                    <a:lnTo>
                      <a:pt x="391" y="224"/>
                    </a:lnTo>
                    <a:close/>
                    <a:moveTo>
                      <a:pt x="391" y="172"/>
                    </a:moveTo>
                    <a:lnTo>
                      <a:pt x="335" y="172"/>
                    </a:lnTo>
                    <a:lnTo>
                      <a:pt x="335" y="146"/>
                    </a:lnTo>
                    <a:lnTo>
                      <a:pt x="391" y="146"/>
                    </a:lnTo>
                    <a:lnTo>
                      <a:pt x="391" y="172"/>
                    </a:lnTo>
                    <a:close/>
                    <a:moveTo>
                      <a:pt x="391" y="123"/>
                    </a:moveTo>
                    <a:lnTo>
                      <a:pt x="335" y="123"/>
                    </a:lnTo>
                    <a:lnTo>
                      <a:pt x="335" y="97"/>
                    </a:lnTo>
                    <a:lnTo>
                      <a:pt x="391" y="97"/>
                    </a:lnTo>
                    <a:lnTo>
                      <a:pt x="391" y="12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9" name="Freeform 7"/>
              <p:cNvSpPr>
                <a:spLocks noEditPoints="1"/>
              </p:cNvSpPr>
              <p:nvPr/>
            </p:nvSpPr>
            <p:spPr bwMode="auto">
              <a:xfrm>
                <a:off x="7318375" y="2352676"/>
                <a:ext cx="593725" cy="1535113"/>
              </a:xfrm>
              <a:custGeom>
                <a:avLst/>
                <a:gdLst/>
                <a:ahLst/>
                <a:cxnLst>
                  <a:cxn ang="0">
                    <a:pos x="141" y="875"/>
                  </a:cxn>
                  <a:cxn ang="0">
                    <a:pos x="128" y="131"/>
                  </a:cxn>
                  <a:cxn ang="0">
                    <a:pos x="141" y="689"/>
                  </a:cxn>
                  <a:cxn ang="0">
                    <a:pos x="141" y="642"/>
                  </a:cxn>
                  <a:cxn ang="0">
                    <a:pos x="128" y="597"/>
                  </a:cxn>
                  <a:cxn ang="0">
                    <a:pos x="128" y="549"/>
                  </a:cxn>
                  <a:cxn ang="0">
                    <a:pos x="128" y="224"/>
                  </a:cxn>
                  <a:cxn ang="0">
                    <a:pos x="128" y="642"/>
                  </a:cxn>
                  <a:cxn ang="0">
                    <a:pos x="141" y="39"/>
                  </a:cxn>
                  <a:cxn ang="0">
                    <a:pos x="163" y="629"/>
                  </a:cxn>
                  <a:cxn ang="0">
                    <a:pos x="163" y="676"/>
                  </a:cxn>
                  <a:cxn ang="0">
                    <a:pos x="141" y="409"/>
                  </a:cxn>
                  <a:cxn ang="0">
                    <a:pos x="141" y="502"/>
                  </a:cxn>
                  <a:cxn ang="0">
                    <a:pos x="141" y="131"/>
                  </a:cxn>
                  <a:cxn ang="0">
                    <a:pos x="0" y="75"/>
                  </a:cxn>
                  <a:cxn ang="0">
                    <a:pos x="0" y="177"/>
                  </a:cxn>
                  <a:cxn ang="0">
                    <a:pos x="0" y="127"/>
                  </a:cxn>
                  <a:cxn ang="0">
                    <a:pos x="74" y="836"/>
                  </a:cxn>
                  <a:cxn ang="0">
                    <a:pos x="163" y="536"/>
                  </a:cxn>
                  <a:cxn ang="0">
                    <a:pos x="0" y="786"/>
                  </a:cxn>
                  <a:cxn ang="0">
                    <a:pos x="0" y="633"/>
                  </a:cxn>
                  <a:cxn ang="0">
                    <a:pos x="0" y="532"/>
                  </a:cxn>
                  <a:cxn ang="0">
                    <a:pos x="74" y="228"/>
                  </a:cxn>
                  <a:cxn ang="0">
                    <a:pos x="74" y="127"/>
                  </a:cxn>
                  <a:cxn ang="0">
                    <a:pos x="128" y="782"/>
                  </a:cxn>
                  <a:cxn ang="0">
                    <a:pos x="128" y="829"/>
                  </a:cxn>
                  <a:cxn ang="0">
                    <a:pos x="74" y="532"/>
                  </a:cxn>
                  <a:cxn ang="0">
                    <a:pos x="74" y="685"/>
                  </a:cxn>
                  <a:cxn ang="0">
                    <a:pos x="74" y="482"/>
                  </a:cxn>
                  <a:cxn ang="0">
                    <a:pos x="74" y="431"/>
                  </a:cxn>
                  <a:cxn ang="0">
                    <a:pos x="273" y="532"/>
                  </a:cxn>
                  <a:cxn ang="0">
                    <a:pos x="273" y="633"/>
                  </a:cxn>
                  <a:cxn ang="0">
                    <a:pos x="273" y="278"/>
                  </a:cxn>
                  <a:cxn ang="0">
                    <a:pos x="273" y="735"/>
                  </a:cxn>
                  <a:cxn ang="0">
                    <a:pos x="243" y="131"/>
                  </a:cxn>
                  <a:cxn ang="0">
                    <a:pos x="243" y="224"/>
                  </a:cxn>
                  <a:cxn ang="0">
                    <a:pos x="273" y="836"/>
                  </a:cxn>
                  <a:cxn ang="0">
                    <a:pos x="273" y="584"/>
                  </a:cxn>
                  <a:cxn ang="0">
                    <a:pos x="318" y="431"/>
                  </a:cxn>
                  <a:cxn ang="0">
                    <a:pos x="318" y="482"/>
                  </a:cxn>
                  <a:cxn ang="0">
                    <a:pos x="318" y="177"/>
                  </a:cxn>
                  <a:cxn ang="0">
                    <a:pos x="318" y="0"/>
                  </a:cxn>
                  <a:cxn ang="0">
                    <a:pos x="273" y="26"/>
                  </a:cxn>
                  <a:cxn ang="0">
                    <a:pos x="318" y="786"/>
                  </a:cxn>
                  <a:cxn ang="0">
                    <a:pos x="318" y="685"/>
                  </a:cxn>
                  <a:cxn ang="0">
                    <a:pos x="230" y="782"/>
                  </a:cxn>
                  <a:cxn ang="0">
                    <a:pos x="230" y="829"/>
                  </a:cxn>
                  <a:cxn ang="0">
                    <a:pos x="230" y="502"/>
                  </a:cxn>
                  <a:cxn ang="0">
                    <a:pos x="230" y="549"/>
                  </a:cxn>
                  <a:cxn ang="0">
                    <a:pos x="163" y="26"/>
                  </a:cxn>
                  <a:cxn ang="0">
                    <a:pos x="163" y="396"/>
                  </a:cxn>
                  <a:cxn ang="0">
                    <a:pos x="163" y="118"/>
                  </a:cxn>
                  <a:cxn ang="0">
                    <a:pos x="230" y="409"/>
                  </a:cxn>
                  <a:cxn ang="0">
                    <a:pos x="243" y="597"/>
                  </a:cxn>
                  <a:cxn ang="0">
                    <a:pos x="230" y="364"/>
                  </a:cxn>
                  <a:cxn ang="0">
                    <a:pos x="243" y="457"/>
                  </a:cxn>
                  <a:cxn ang="0">
                    <a:pos x="243" y="735"/>
                  </a:cxn>
                  <a:cxn ang="0">
                    <a:pos x="230" y="224"/>
                  </a:cxn>
                  <a:cxn ang="0">
                    <a:pos x="243" y="875"/>
                  </a:cxn>
                  <a:cxn ang="0">
                    <a:pos x="243" y="922"/>
                  </a:cxn>
                </a:cxnLst>
                <a:rect l="0" t="0" r="r" b="b"/>
                <a:pathLst>
                  <a:path w="374" h="967">
                    <a:moveTo>
                      <a:pt x="141" y="922"/>
                    </a:moveTo>
                    <a:lnTo>
                      <a:pt x="150" y="922"/>
                    </a:lnTo>
                    <a:lnTo>
                      <a:pt x="150" y="883"/>
                    </a:lnTo>
                    <a:lnTo>
                      <a:pt x="141" y="883"/>
                    </a:lnTo>
                    <a:lnTo>
                      <a:pt x="141" y="922"/>
                    </a:lnTo>
                    <a:close/>
                    <a:moveTo>
                      <a:pt x="141" y="967"/>
                    </a:moveTo>
                    <a:lnTo>
                      <a:pt x="150" y="967"/>
                    </a:lnTo>
                    <a:lnTo>
                      <a:pt x="150" y="931"/>
                    </a:lnTo>
                    <a:lnTo>
                      <a:pt x="141" y="931"/>
                    </a:lnTo>
                    <a:lnTo>
                      <a:pt x="141" y="967"/>
                    </a:lnTo>
                    <a:close/>
                    <a:moveTo>
                      <a:pt x="141" y="875"/>
                    </a:moveTo>
                    <a:lnTo>
                      <a:pt x="150" y="875"/>
                    </a:lnTo>
                    <a:lnTo>
                      <a:pt x="150" y="836"/>
                    </a:lnTo>
                    <a:lnTo>
                      <a:pt x="141" y="836"/>
                    </a:lnTo>
                    <a:lnTo>
                      <a:pt x="141" y="875"/>
                    </a:lnTo>
                    <a:close/>
                    <a:moveTo>
                      <a:pt x="128" y="39"/>
                    </a:moveTo>
                    <a:lnTo>
                      <a:pt x="137" y="39"/>
                    </a:lnTo>
                    <a:lnTo>
                      <a:pt x="137" y="0"/>
                    </a:lnTo>
                    <a:lnTo>
                      <a:pt x="128" y="0"/>
                    </a:lnTo>
                    <a:lnTo>
                      <a:pt x="128" y="39"/>
                    </a:lnTo>
                    <a:close/>
                    <a:moveTo>
                      <a:pt x="128" y="84"/>
                    </a:moveTo>
                    <a:lnTo>
                      <a:pt x="137" y="84"/>
                    </a:lnTo>
                    <a:lnTo>
                      <a:pt x="137" y="45"/>
                    </a:lnTo>
                    <a:lnTo>
                      <a:pt x="128" y="45"/>
                    </a:lnTo>
                    <a:lnTo>
                      <a:pt x="128" y="84"/>
                    </a:lnTo>
                    <a:close/>
                    <a:moveTo>
                      <a:pt x="128" y="131"/>
                    </a:moveTo>
                    <a:lnTo>
                      <a:pt x="137" y="131"/>
                    </a:lnTo>
                    <a:lnTo>
                      <a:pt x="137" y="92"/>
                    </a:lnTo>
                    <a:lnTo>
                      <a:pt x="128" y="92"/>
                    </a:lnTo>
                    <a:lnTo>
                      <a:pt x="128" y="131"/>
                    </a:lnTo>
                    <a:close/>
                    <a:moveTo>
                      <a:pt x="141" y="597"/>
                    </a:moveTo>
                    <a:lnTo>
                      <a:pt x="150" y="597"/>
                    </a:lnTo>
                    <a:lnTo>
                      <a:pt x="150" y="558"/>
                    </a:lnTo>
                    <a:lnTo>
                      <a:pt x="141" y="558"/>
                    </a:lnTo>
                    <a:lnTo>
                      <a:pt x="141" y="597"/>
                    </a:lnTo>
                    <a:close/>
                    <a:moveTo>
                      <a:pt x="141" y="829"/>
                    </a:moveTo>
                    <a:lnTo>
                      <a:pt x="150" y="829"/>
                    </a:lnTo>
                    <a:lnTo>
                      <a:pt x="150" y="791"/>
                    </a:lnTo>
                    <a:lnTo>
                      <a:pt x="141" y="791"/>
                    </a:lnTo>
                    <a:lnTo>
                      <a:pt x="141" y="829"/>
                    </a:lnTo>
                    <a:close/>
                    <a:moveTo>
                      <a:pt x="141" y="689"/>
                    </a:moveTo>
                    <a:lnTo>
                      <a:pt x="150" y="689"/>
                    </a:lnTo>
                    <a:lnTo>
                      <a:pt x="150" y="651"/>
                    </a:lnTo>
                    <a:lnTo>
                      <a:pt x="141" y="651"/>
                    </a:lnTo>
                    <a:lnTo>
                      <a:pt x="141" y="689"/>
                    </a:lnTo>
                    <a:close/>
                    <a:moveTo>
                      <a:pt x="141" y="782"/>
                    </a:moveTo>
                    <a:lnTo>
                      <a:pt x="150" y="782"/>
                    </a:lnTo>
                    <a:lnTo>
                      <a:pt x="150" y="743"/>
                    </a:lnTo>
                    <a:lnTo>
                      <a:pt x="141" y="743"/>
                    </a:lnTo>
                    <a:lnTo>
                      <a:pt x="141" y="782"/>
                    </a:lnTo>
                    <a:close/>
                    <a:moveTo>
                      <a:pt x="141" y="735"/>
                    </a:moveTo>
                    <a:lnTo>
                      <a:pt x="150" y="735"/>
                    </a:lnTo>
                    <a:lnTo>
                      <a:pt x="150" y="698"/>
                    </a:lnTo>
                    <a:lnTo>
                      <a:pt x="141" y="698"/>
                    </a:lnTo>
                    <a:lnTo>
                      <a:pt x="141" y="735"/>
                    </a:lnTo>
                    <a:close/>
                    <a:moveTo>
                      <a:pt x="141" y="642"/>
                    </a:moveTo>
                    <a:lnTo>
                      <a:pt x="150" y="642"/>
                    </a:lnTo>
                    <a:lnTo>
                      <a:pt x="150" y="605"/>
                    </a:lnTo>
                    <a:lnTo>
                      <a:pt x="141" y="605"/>
                    </a:lnTo>
                    <a:lnTo>
                      <a:pt x="141" y="642"/>
                    </a:lnTo>
                    <a:close/>
                    <a:moveTo>
                      <a:pt x="128" y="457"/>
                    </a:moveTo>
                    <a:lnTo>
                      <a:pt x="137" y="457"/>
                    </a:lnTo>
                    <a:lnTo>
                      <a:pt x="137" y="418"/>
                    </a:lnTo>
                    <a:lnTo>
                      <a:pt x="128" y="418"/>
                    </a:lnTo>
                    <a:lnTo>
                      <a:pt x="128" y="457"/>
                    </a:lnTo>
                    <a:close/>
                    <a:moveTo>
                      <a:pt x="128" y="502"/>
                    </a:moveTo>
                    <a:lnTo>
                      <a:pt x="137" y="502"/>
                    </a:lnTo>
                    <a:lnTo>
                      <a:pt x="137" y="465"/>
                    </a:lnTo>
                    <a:lnTo>
                      <a:pt x="128" y="465"/>
                    </a:lnTo>
                    <a:lnTo>
                      <a:pt x="128" y="502"/>
                    </a:lnTo>
                    <a:close/>
                    <a:moveTo>
                      <a:pt x="128" y="597"/>
                    </a:moveTo>
                    <a:lnTo>
                      <a:pt x="137" y="597"/>
                    </a:lnTo>
                    <a:lnTo>
                      <a:pt x="137" y="558"/>
                    </a:lnTo>
                    <a:lnTo>
                      <a:pt x="128" y="558"/>
                    </a:lnTo>
                    <a:lnTo>
                      <a:pt x="128" y="597"/>
                    </a:lnTo>
                    <a:close/>
                    <a:moveTo>
                      <a:pt x="128" y="409"/>
                    </a:moveTo>
                    <a:lnTo>
                      <a:pt x="137" y="409"/>
                    </a:lnTo>
                    <a:lnTo>
                      <a:pt x="137" y="373"/>
                    </a:lnTo>
                    <a:lnTo>
                      <a:pt x="128" y="373"/>
                    </a:lnTo>
                    <a:lnTo>
                      <a:pt x="128" y="409"/>
                    </a:lnTo>
                    <a:close/>
                    <a:moveTo>
                      <a:pt x="128" y="177"/>
                    </a:moveTo>
                    <a:lnTo>
                      <a:pt x="137" y="177"/>
                    </a:lnTo>
                    <a:lnTo>
                      <a:pt x="137" y="140"/>
                    </a:lnTo>
                    <a:lnTo>
                      <a:pt x="128" y="140"/>
                    </a:lnTo>
                    <a:lnTo>
                      <a:pt x="128" y="177"/>
                    </a:lnTo>
                    <a:close/>
                    <a:moveTo>
                      <a:pt x="128" y="549"/>
                    </a:moveTo>
                    <a:lnTo>
                      <a:pt x="137" y="549"/>
                    </a:lnTo>
                    <a:lnTo>
                      <a:pt x="137" y="510"/>
                    </a:lnTo>
                    <a:lnTo>
                      <a:pt x="128" y="510"/>
                    </a:lnTo>
                    <a:lnTo>
                      <a:pt x="128" y="549"/>
                    </a:lnTo>
                    <a:close/>
                    <a:moveTo>
                      <a:pt x="128" y="364"/>
                    </a:moveTo>
                    <a:lnTo>
                      <a:pt x="137" y="364"/>
                    </a:lnTo>
                    <a:lnTo>
                      <a:pt x="137" y="325"/>
                    </a:lnTo>
                    <a:lnTo>
                      <a:pt x="128" y="325"/>
                    </a:lnTo>
                    <a:lnTo>
                      <a:pt x="128" y="364"/>
                    </a:lnTo>
                    <a:close/>
                    <a:moveTo>
                      <a:pt x="128" y="269"/>
                    </a:moveTo>
                    <a:lnTo>
                      <a:pt x="137" y="269"/>
                    </a:lnTo>
                    <a:lnTo>
                      <a:pt x="137" y="233"/>
                    </a:lnTo>
                    <a:lnTo>
                      <a:pt x="128" y="233"/>
                    </a:lnTo>
                    <a:lnTo>
                      <a:pt x="128" y="269"/>
                    </a:lnTo>
                    <a:close/>
                    <a:moveTo>
                      <a:pt x="128" y="224"/>
                    </a:moveTo>
                    <a:lnTo>
                      <a:pt x="137" y="224"/>
                    </a:lnTo>
                    <a:lnTo>
                      <a:pt x="137" y="185"/>
                    </a:lnTo>
                    <a:lnTo>
                      <a:pt x="128" y="185"/>
                    </a:lnTo>
                    <a:lnTo>
                      <a:pt x="128" y="224"/>
                    </a:lnTo>
                    <a:close/>
                    <a:moveTo>
                      <a:pt x="128" y="317"/>
                    </a:moveTo>
                    <a:lnTo>
                      <a:pt x="137" y="317"/>
                    </a:lnTo>
                    <a:lnTo>
                      <a:pt x="137" y="278"/>
                    </a:lnTo>
                    <a:lnTo>
                      <a:pt x="128" y="278"/>
                    </a:lnTo>
                    <a:lnTo>
                      <a:pt x="128" y="317"/>
                    </a:lnTo>
                    <a:close/>
                    <a:moveTo>
                      <a:pt x="163" y="862"/>
                    </a:moveTo>
                    <a:lnTo>
                      <a:pt x="217" y="862"/>
                    </a:lnTo>
                    <a:lnTo>
                      <a:pt x="217" y="836"/>
                    </a:lnTo>
                    <a:lnTo>
                      <a:pt x="163" y="836"/>
                    </a:lnTo>
                    <a:lnTo>
                      <a:pt x="163" y="862"/>
                    </a:lnTo>
                    <a:close/>
                    <a:moveTo>
                      <a:pt x="128" y="642"/>
                    </a:moveTo>
                    <a:lnTo>
                      <a:pt x="137" y="642"/>
                    </a:lnTo>
                    <a:lnTo>
                      <a:pt x="137" y="605"/>
                    </a:lnTo>
                    <a:lnTo>
                      <a:pt x="128" y="605"/>
                    </a:lnTo>
                    <a:lnTo>
                      <a:pt x="128" y="642"/>
                    </a:lnTo>
                    <a:close/>
                    <a:moveTo>
                      <a:pt x="163" y="816"/>
                    </a:moveTo>
                    <a:lnTo>
                      <a:pt x="217" y="816"/>
                    </a:lnTo>
                    <a:lnTo>
                      <a:pt x="217" y="791"/>
                    </a:lnTo>
                    <a:lnTo>
                      <a:pt x="163" y="791"/>
                    </a:lnTo>
                    <a:lnTo>
                      <a:pt x="163" y="816"/>
                    </a:lnTo>
                    <a:close/>
                    <a:moveTo>
                      <a:pt x="163" y="769"/>
                    </a:moveTo>
                    <a:lnTo>
                      <a:pt x="217" y="769"/>
                    </a:lnTo>
                    <a:lnTo>
                      <a:pt x="217" y="743"/>
                    </a:lnTo>
                    <a:lnTo>
                      <a:pt x="163" y="743"/>
                    </a:lnTo>
                    <a:lnTo>
                      <a:pt x="163" y="769"/>
                    </a:lnTo>
                    <a:close/>
                    <a:moveTo>
                      <a:pt x="141" y="39"/>
                    </a:moveTo>
                    <a:lnTo>
                      <a:pt x="150" y="39"/>
                    </a:lnTo>
                    <a:lnTo>
                      <a:pt x="150" y="0"/>
                    </a:lnTo>
                    <a:lnTo>
                      <a:pt x="141" y="0"/>
                    </a:lnTo>
                    <a:lnTo>
                      <a:pt x="141" y="39"/>
                    </a:lnTo>
                    <a:close/>
                    <a:moveTo>
                      <a:pt x="163" y="909"/>
                    </a:moveTo>
                    <a:lnTo>
                      <a:pt x="217" y="909"/>
                    </a:lnTo>
                    <a:lnTo>
                      <a:pt x="217" y="883"/>
                    </a:lnTo>
                    <a:lnTo>
                      <a:pt x="163" y="883"/>
                    </a:lnTo>
                    <a:lnTo>
                      <a:pt x="163" y="909"/>
                    </a:lnTo>
                    <a:close/>
                    <a:moveTo>
                      <a:pt x="163" y="954"/>
                    </a:moveTo>
                    <a:lnTo>
                      <a:pt x="217" y="954"/>
                    </a:lnTo>
                    <a:lnTo>
                      <a:pt x="217" y="931"/>
                    </a:lnTo>
                    <a:lnTo>
                      <a:pt x="163" y="931"/>
                    </a:lnTo>
                    <a:lnTo>
                      <a:pt x="163" y="954"/>
                    </a:lnTo>
                    <a:close/>
                    <a:moveTo>
                      <a:pt x="163" y="629"/>
                    </a:moveTo>
                    <a:lnTo>
                      <a:pt x="217" y="629"/>
                    </a:lnTo>
                    <a:lnTo>
                      <a:pt x="217" y="605"/>
                    </a:lnTo>
                    <a:lnTo>
                      <a:pt x="163" y="605"/>
                    </a:lnTo>
                    <a:lnTo>
                      <a:pt x="163" y="629"/>
                    </a:lnTo>
                    <a:close/>
                    <a:moveTo>
                      <a:pt x="163" y="584"/>
                    </a:moveTo>
                    <a:lnTo>
                      <a:pt x="217" y="584"/>
                    </a:lnTo>
                    <a:lnTo>
                      <a:pt x="217" y="558"/>
                    </a:lnTo>
                    <a:lnTo>
                      <a:pt x="163" y="558"/>
                    </a:lnTo>
                    <a:lnTo>
                      <a:pt x="163" y="584"/>
                    </a:lnTo>
                    <a:close/>
                    <a:moveTo>
                      <a:pt x="163" y="722"/>
                    </a:moveTo>
                    <a:lnTo>
                      <a:pt x="217" y="722"/>
                    </a:lnTo>
                    <a:lnTo>
                      <a:pt x="217" y="698"/>
                    </a:lnTo>
                    <a:lnTo>
                      <a:pt x="163" y="698"/>
                    </a:lnTo>
                    <a:lnTo>
                      <a:pt x="163" y="722"/>
                    </a:lnTo>
                    <a:close/>
                    <a:moveTo>
                      <a:pt x="163" y="676"/>
                    </a:moveTo>
                    <a:lnTo>
                      <a:pt x="217" y="676"/>
                    </a:lnTo>
                    <a:lnTo>
                      <a:pt x="217" y="651"/>
                    </a:lnTo>
                    <a:lnTo>
                      <a:pt x="163" y="651"/>
                    </a:lnTo>
                    <a:lnTo>
                      <a:pt x="163" y="676"/>
                    </a:lnTo>
                    <a:close/>
                    <a:moveTo>
                      <a:pt x="141" y="317"/>
                    </a:moveTo>
                    <a:lnTo>
                      <a:pt x="150" y="317"/>
                    </a:lnTo>
                    <a:lnTo>
                      <a:pt x="150" y="278"/>
                    </a:lnTo>
                    <a:lnTo>
                      <a:pt x="141" y="278"/>
                    </a:lnTo>
                    <a:lnTo>
                      <a:pt x="141" y="317"/>
                    </a:lnTo>
                    <a:close/>
                    <a:moveTo>
                      <a:pt x="141" y="549"/>
                    </a:moveTo>
                    <a:lnTo>
                      <a:pt x="150" y="549"/>
                    </a:lnTo>
                    <a:lnTo>
                      <a:pt x="150" y="510"/>
                    </a:lnTo>
                    <a:lnTo>
                      <a:pt x="141" y="510"/>
                    </a:lnTo>
                    <a:lnTo>
                      <a:pt x="141" y="549"/>
                    </a:lnTo>
                    <a:close/>
                    <a:moveTo>
                      <a:pt x="141" y="409"/>
                    </a:moveTo>
                    <a:lnTo>
                      <a:pt x="150" y="409"/>
                    </a:lnTo>
                    <a:lnTo>
                      <a:pt x="150" y="373"/>
                    </a:lnTo>
                    <a:lnTo>
                      <a:pt x="141" y="373"/>
                    </a:lnTo>
                    <a:lnTo>
                      <a:pt x="141" y="409"/>
                    </a:lnTo>
                    <a:close/>
                    <a:moveTo>
                      <a:pt x="141" y="364"/>
                    </a:moveTo>
                    <a:lnTo>
                      <a:pt x="150" y="364"/>
                    </a:lnTo>
                    <a:lnTo>
                      <a:pt x="150" y="325"/>
                    </a:lnTo>
                    <a:lnTo>
                      <a:pt x="141" y="325"/>
                    </a:lnTo>
                    <a:lnTo>
                      <a:pt x="141" y="364"/>
                    </a:lnTo>
                    <a:close/>
                    <a:moveTo>
                      <a:pt x="141" y="457"/>
                    </a:moveTo>
                    <a:lnTo>
                      <a:pt x="150" y="457"/>
                    </a:lnTo>
                    <a:lnTo>
                      <a:pt x="150" y="418"/>
                    </a:lnTo>
                    <a:lnTo>
                      <a:pt x="141" y="418"/>
                    </a:lnTo>
                    <a:lnTo>
                      <a:pt x="141" y="457"/>
                    </a:lnTo>
                    <a:close/>
                    <a:moveTo>
                      <a:pt x="141" y="502"/>
                    </a:moveTo>
                    <a:lnTo>
                      <a:pt x="150" y="502"/>
                    </a:lnTo>
                    <a:lnTo>
                      <a:pt x="150" y="465"/>
                    </a:lnTo>
                    <a:lnTo>
                      <a:pt x="141" y="465"/>
                    </a:lnTo>
                    <a:lnTo>
                      <a:pt x="141" y="502"/>
                    </a:lnTo>
                    <a:close/>
                    <a:moveTo>
                      <a:pt x="141" y="177"/>
                    </a:moveTo>
                    <a:lnTo>
                      <a:pt x="150" y="177"/>
                    </a:lnTo>
                    <a:lnTo>
                      <a:pt x="150" y="140"/>
                    </a:lnTo>
                    <a:lnTo>
                      <a:pt x="141" y="140"/>
                    </a:lnTo>
                    <a:lnTo>
                      <a:pt x="141" y="177"/>
                    </a:lnTo>
                    <a:close/>
                    <a:moveTo>
                      <a:pt x="141" y="84"/>
                    </a:moveTo>
                    <a:lnTo>
                      <a:pt x="150" y="84"/>
                    </a:lnTo>
                    <a:lnTo>
                      <a:pt x="150" y="45"/>
                    </a:lnTo>
                    <a:lnTo>
                      <a:pt x="141" y="45"/>
                    </a:lnTo>
                    <a:lnTo>
                      <a:pt x="141" y="84"/>
                    </a:lnTo>
                    <a:close/>
                    <a:moveTo>
                      <a:pt x="141" y="131"/>
                    </a:moveTo>
                    <a:lnTo>
                      <a:pt x="150" y="131"/>
                    </a:lnTo>
                    <a:lnTo>
                      <a:pt x="150" y="92"/>
                    </a:lnTo>
                    <a:lnTo>
                      <a:pt x="141" y="92"/>
                    </a:lnTo>
                    <a:lnTo>
                      <a:pt x="141" y="131"/>
                    </a:lnTo>
                    <a:close/>
                    <a:moveTo>
                      <a:pt x="141" y="269"/>
                    </a:moveTo>
                    <a:lnTo>
                      <a:pt x="150" y="269"/>
                    </a:lnTo>
                    <a:lnTo>
                      <a:pt x="150" y="233"/>
                    </a:lnTo>
                    <a:lnTo>
                      <a:pt x="141" y="233"/>
                    </a:lnTo>
                    <a:lnTo>
                      <a:pt x="141" y="269"/>
                    </a:lnTo>
                    <a:close/>
                    <a:moveTo>
                      <a:pt x="141" y="224"/>
                    </a:moveTo>
                    <a:lnTo>
                      <a:pt x="150" y="224"/>
                    </a:lnTo>
                    <a:lnTo>
                      <a:pt x="150" y="185"/>
                    </a:lnTo>
                    <a:lnTo>
                      <a:pt x="141" y="185"/>
                    </a:lnTo>
                    <a:lnTo>
                      <a:pt x="141" y="224"/>
                    </a:lnTo>
                    <a:close/>
                    <a:moveTo>
                      <a:pt x="0" y="75"/>
                    </a:moveTo>
                    <a:lnTo>
                      <a:pt x="57" y="75"/>
                    </a:lnTo>
                    <a:lnTo>
                      <a:pt x="57" y="49"/>
                    </a:lnTo>
                    <a:lnTo>
                      <a:pt x="0" y="49"/>
                    </a:lnTo>
                    <a:lnTo>
                      <a:pt x="0" y="75"/>
                    </a:lnTo>
                    <a:close/>
                    <a:moveTo>
                      <a:pt x="0" y="228"/>
                    </a:moveTo>
                    <a:lnTo>
                      <a:pt x="57" y="228"/>
                    </a:lnTo>
                    <a:lnTo>
                      <a:pt x="57" y="202"/>
                    </a:lnTo>
                    <a:lnTo>
                      <a:pt x="0" y="202"/>
                    </a:lnTo>
                    <a:lnTo>
                      <a:pt x="0" y="228"/>
                    </a:lnTo>
                    <a:close/>
                    <a:moveTo>
                      <a:pt x="0" y="278"/>
                    </a:moveTo>
                    <a:lnTo>
                      <a:pt x="57" y="278"/>
                    </a:lnTo>
                    <a:lnTo>
                      <a:pt x="57" y="254"/>
                    </a:lnTo>
                    <a:lnTo>
                      <a:pt x="0" y="254"/>
                    </a:lnTo>
                    <a:lnTo>
                      <a:pt x="0" y="278"/>
                    </a:lnTo>
                    <a:close/>
                    <a:moveTo>
                      <a:pt x="0" y="177"/>
                    </a:moveTo>
                    <a:lnTo>
                      <a:pt x="57" y="177"/>
                    </a:lnTo>
                    <a:lnTo>
                      <a:pt x="57" y="153"/>
                    </a:lnTo>
                    <a:lnTo>
                      <a:pt x="0" y="153"/>
                    </a:lnTo>
                    <a:lnTo>
                      <a:pt x="0" y="177"/>
                    </a:lnTo>
                    <a:close/>
                    <a:moveTo>
                      <a:pt x="0" y="379"/>
                    </a:moveTo>
                    <a:lnTo>
                      <a:pt x="57" y="379"/>
                    </a:lnTo>
                    <a:lnTo>
                      <a:pt x="57" y="355"/>
                    </a:lnTo>
                    <a:lnTo>
                      <a:pt x="0" y="355"/>
                    </a:lnTo>
                    <a:lnTo>
                      <a:pt x="0" y="379"/>
                    </a:lnTo>
                    <a:close/>
                    <a:moveTo>
                      <a:pt x="0" y="329"/>
                    </a:moveTo>
                    <a:lnTo>
                      <a:pt x="57" y="329"/>
                    </a:lnTo>
                    <a:lnTo>
                      <a:pt x="57" y="304"/>
                    </a:lnTo>
                    <a:lnTo>
                      <a:pt x="0" y="304"/>
                    </a:lnTo>
                    <a:lnTo>
                      <a:pt x="0" y="329"/>
                    </a:lnTo>
                    <a:close/>
                    <a:moveTo>
                      <a:pt x="0" y="127"/>
                    </a:moveTo>
                    <a:lnTo>
                      <a:pt x="57" y="127"/>
                    </a:lnTo>
                    <a:lnTo>
                      <a:pt x="57" y="101"/>
                    </a:lnTo>
                    <a:lnTo>
                      <a:pt x="0" y="101"/>
                    </a:lnTo>
                    <a:lnTo>
                      <a:pt x="0" y="127"/>
                    </a:lnTo>
                    <a:close/>
                    <a:moveTo>
                      <a:pt x="74" y="888"/>
                    </a:moveTo>
                    <a:lnTo>
                      <a:pt x="102" y="888"/>
                    </a:lnTo>
                    <a:lnTo>
                      <a:pt x="102" y="862"/>
                    </a:lnTo>
                    <a:lnTo>
                      <a:pt x="74" y="862"/>
                    </a:lnTo>
                    <a:lnTo>
                      <a:pt x="74" y="888"/>
                    </a:lnTo>
                    <a:close/>
                    <a:moveTo>
                      <a:pt x="74" y="939"/>
                    </a:moveTo>
                    <a:lnTo>
                      <a:pt x="102" y="939"/>
                    </a:lnTo>
                    <a:lnTo>
                      <a:pt x="102" y="913"/>
                    </a:lnTo>
                    <a:lnTo>
                      <a:pt x="74" y="913"/>
                    </a:lnTo>
                    <a:lnTo>
                      <a:pt x="74" y="939"/>
                    </a:lnTo>
                    <a:close/>
                    <a:moveTo>
                      <a:pt x="74" y="836"/>
                    </a:moveTo>
                    <a:lnTo>
                      <a:pt x="102" y="836"/>
                    </a:lnTo>
                    <a:lnTo>
                      <a:pt x="102" y="812"/>
                    </a:lnTo>
                    <a:lnTo>
                      <a:pt x="74" y="812"/>
                    </a:lnTo>
                    <a:lnTo>
                      <a:pt x="74" y="836"/>
                    </a:lnTo>
                    <a:close/>
                    <a:moveTo>
                      <a:pt x="0" y="26"/>
                    </a:moveTo>
                    <a:lnTo>
                      <a:pt x="57" y="26"/>
                    </a:lnTo>
                    <a:lnTo>
                      <a:pt x="57" y="0"/>
                    </a:lnTo>
                    <a:lnTo>
                      <a:pt x="0" y="0"/>
                    </a:lnTo>
                    <a:lnTo>
                      <a:pt x="0" y="26"/>
                    </a:lnTo>
                    <a:close/>
                    <a:moveTo>
                      <a:pt x="0" y="431"/>
                    </a:moveTo>
                    <a:lnTo>
                      <a:pt x="57" y="431"/>
                    </a:lnTo>
                    <a:lnTo>
                      <a:pt x="57" y="405"/>
                    </a:lnTo>
                    <a:lnTo>
                      <a:pt x="0" y="405"/>
                    </a:lnTo>
                    <a:lnTo>
                      <a:pt x="0" y="431"/>
                    </a:lnTo>
                    <a:close/>
                    <a:moveTo>
                      <a:pt x="163" y="536"/>
                    </a:moveTo>
                    <a:lnTo>
                      <a:pt x="217" y="536"/>
                    </a:lnTo>
                    <a:lnTo>
                      <a:pt x="217" y="510"/>
                    </a:lnTo>
                    <a:lnTo>
                      <a:pt x="163" y="510"/>
                    </a:lnTo>
                    <a:lnTo>
                      <a:pt x="163" y="536"/>
                    </a:lnTo>
                    <a:close/>
                    <a:moveTo>
                      <a:pt x="0" y="735"/>
                    </a:moveTo>
                    <a:lnTo>
                      <a:pt x="57" y="735"/>
                    </a:lnTo>
                    <a:lnTo>
                      <a:pt x="57" y="711"/>
                    </a:lnTo>
                    <a:lnTo>
                      <a:pt x="0" y="711"/>
                    </a:lnTo>
                    <a:lnTo>
                      <a:pt x="0" y="735"/>
                    </a:lnTo>
                    <a:close/>
                    <a:moveTo>
                      <a:pt x="0" y="836"/>
                    </a:moveTo>
                    <a:lnTo>
                      <a:pt x="57" y="836"/>
                    </a:lnTo>
                    <a:lnTo>
                      <a:pt x="57" y="812"/>
                    </a:lnTo>
                    <a:lnTo>
                      <a:pt x="0" y="812"/>
                    </a:lnTo>
                    <a:lnTo>
                      <a:pt x="0" y="836"/>
                    </a:lnTo>
                    <a:close/>
                    <a:moveTo>
                      <a:pt x="0" y="786"/>
                    </a:moveTo>
                    <a:lnTo>
                      <a:pt x="57" y="786"/>
                    </a:lnTo>
                    <a:lnTo>
                      <a:pt x="57" y="760"/>
                    </a:lnTo>
                    <a:lnTo>
                      <a:pt x="0" y="760"/>
                    </a:lnTo>
                    <a:lnTo>
                      <a:pt x="0" y="786"/>
                    </a:lnTo>
                    <a:close/>
                    <a:moveTo>
                      <a:pt x="0" y="888"/>
                    </a:moveTo>
                    <a:lnTo>
                      <a:pt x="57" y="888"/>
                    </a:lnTo>
                    <a:lnTo>
                      <a:pt x="57" y="862"/>
                    </a:lnTo>
                    <a:lnTo>
                      <a:pt x="0" y="862"/>
                    </a:lnTo>
                    <a:lnTo>
                      <a:pt x="0" y="888"/>
                    </a:lnTo>
                    <a:close/>
                    <a:moveTo>
                      <a:pt x="0" y="939"/>
                    </a:moveTo>
                    <a:lnTo>
                      <a:pt x="57" y="939"/>
                    </a:lnTo>
                    <a:lnTo>
                      <a:pt x="57" y="913"/>
                    </a:lnTo>
                    <a:lnTo>
                      <a:pt x="0" y="913"/>
                    </a:lnTo>
                    <a:lnTo>
                      <a:pt x="0" y="939"/>
                    </a:lnTo>
                    <a:close/>
                    <a:moveTo>
                      <a:pt x="0" y="633"/>
                    </a:moveTo>
                    <a:lnTo>
                      <a:pt x="57" y="633"/>
                    </a:lnTo>
                    <a:lnTo>
                      <a:pt x="57" y="607"/>
                    </a:lnTo>
                    <a:lnTo>
                      <a:pt x="0" y="607"/>
                    </a:lnTo>
                    <a:lnTo>
                      <a:pt x="0" y="633"/>
                    </a:lnTo>
                    <a:close/>
                    <a:moveTo>
                      <a:pt x="0" y="685"/>
                    </a:moveTo>
                    <a:lnTo>
                      <a:pt x="57" y="685"/>
                    </a:lnTo>
                    <a:lnTo>
                      <a:pt x="57" y="659"/>
                    </a:lnTo>
                    <a:lnTo>
                      <a:pt x="0" y="659"/>
                    </a:lnTo>
                    <a:lnTo>
                      <a:pt x="0" y="685"/>
                    </a:lnTo>
                    <a:close/>
                    <a:moveTo>
                      <a:pt x="0" y="584"/>
                    </a:moveTo>
                    <a:lnTo>
                      <a:pt x="57" y="584"/>
                    </a:lnTo>
                    <a:lnTo>
                      <a:pt x="57" y="558"/>
                    </a:lnTo>
                    <a:lnTo>
                      <a:pt x="0" y="558"/>
                    </a:lnTo>
                    <a:lnTo>
                      <a:pt x="0" y="584"/>
                    </a:lnTo>
                    <a:close/>
                    <a:moveTo>
                      <a:pt x="0" y="532"/>
                    </a:moveTo>
                    <a:lnTo>
                      <a:pt x="57" y="532"/>
                    </a:lnTo>
                    <a:lnTo>
                      <a:pt x="57" y="506"/>
                    </a:lnTo>
                    <a:lnTo>
                      <a:pt x="0" y="506"/>
                    </a:lnTo>
                    <a:lnTo>
                      <a:pt x="0" y="532"/>
                    </a:lnTo>
                    <a:close/>
                    <a:moveTo>
                      <a:pt x="0" y="482"/>
                    </a:moveTo>
                    <a:lnTo>
                      <a:pt x="57" y="482"/>
                    </a:lnTo>
                    <a:lnTo>
                      <a:pt x="57" y="457"/>
                    </a:lnTo>
                    <a:lnTo>
                      <a:pt x="0" y="457"/>
                    </a:lnTo>
                    <a:lnTo>
                      <a:pt x="0" y="482"/>
                    </a:lnTo>
                    <a:close/>
                    <a:moveTo>
                      <a:pt x="128" y="875"/>
                    </a:moveTo>
                    <a:lnTo>
                      <a:pt x="137" y="875"/>
                    </a:lnTo>
                    <a:lnTo>
                      <a:pt x="137" y="836"/>
                    </a:lnTo>
                    <a:lnTo>
                      <a:pt x="128" y="836"/>
                    </a:lnTo>
                    <a:lnTo>
                      <a:pt x="128" y="875"/>
                    </a:lnTo>
                    <a:close/>
                    <a:moveTo>
                      <a:pt x="74" y="228"/>
                    </a:moveTo>
                    <a:lnTo>
                      <a:pt x="102" y="228"/>
                    </a:lnTo>
                    <a:lnTo>
                      <a:pt x="102" y="202"/>
                    </a:lnTo>
                    <a:lnTo>
                      <a:pt x="74" y="202"/>
                    </a:lnTo>
                    <a:lnTo>
                      <a:pt x="74" y="228"/>
                    </a:lnTo>
                    <a:close/>
                    <a:moveTo>
                      <a:pt x="74" y="75"/>
                    </a:moveTo>
                    <a:lnTo>
                      <a:pt x="102" y="75"/>
                    </a:lnTo>
                    <a:lnTo>
                      <a:pt x="102" y="49"/>
                    </a:lnTo>
                    <a:lnTo>
                      <a:pt x="74" y="49"/>
                    </a:lnTo>
                    <a:lnTo>
                      <a:pt x="74" y="75"/>
                    </a:lnTo>
                    <a:close/>
                    <a:moveTo>
                      <a:pt x="74" y="177"/>
                    </a:moveTo>
                    <a:lnTo>
                      <a:pt x="102" y="177"/>
                    </a:lnTo>
                    <a:lnTo>
                      <a:pt x="102" y="153"/>
                    </a:lnTo>
                    <a:lnTo>
                      <a:pt x="74" y="153"/>
                    </a:lnTo>
                    <a:lnTo>
                      <a:pt x="74" y="177"/>
                    </a:lnTo>
                    <a:close/>
                    <a:moveTo>
                      <a:pt x="74" y="127"/>
                    </a:moveTo>
                    <a:lnTo>
                      <a:pt x="102" y="127"/>
                    </a:lnTo>
                    <a:lnTo>
                      <a:pt x="102" y="101"/>
                    </a:lnTo>
                    <a:lnTo>
                      <a:pt x="74" y="101"/>
                    </a:lnTo>
                    <a:lnTo>
                      <a:pt x="74" y="127"/>
                    </a:lnTo>
                    <a:close/>
                    <a:moveTo>
                      <a:pt x="128" y="967"/>
                    </a:moveTo>
                    <a:lnTo>
                      <a:pt x="137" y="967"/>
                    </a:lnTo>
                    <a:lnTo>
                      <a:pt x="137" y="931"/>
                    </a:lnTo>
                    <a:lnTo>
                      <a:pt x="128" y="931"/>
                    </a:lnTo>
                    <a:lnTo>
                      <a:pt x="128" y="967"/>
                    </a:lnTo>
                    <a:close/>
                    <a:moveTo>
                      <a:pt x="74" y="786"/>
                    </a:moveTo>
                    <a:lnTo>
                      <a:pt x="102" y="786"/>
                    </a:lnTo>
                    <a:lnTo>
                      <a:pt x="102" y="760"/>
                    </a:lnTo>
                    <a:lnTo>
                      <a:pt x="74" y="760"/>
                    </a:lnTo>
                    <a:lnTo>
                      <a:pt x="74" y="786"/>
                    </a:lnTo>
                    <a:close/>
                    <a:moveTo>
                      <a:pt x="128" y="782"/>
                    </a:moveTo>
                    <a:lnTo>
                      <a:pt x="137" y="782"/>
                    </a:lnTo>
                    <a:lnTo>
                      <a:pt x="137" y="743"/>
                    </a:lnTo>
                    <a:lnTo>
                      <a:pt x="128" y="743"/>
                    </a:lnTo>
                    <a:lnTo>
                      <a:pt x="128" y="782"/>
                    </a:lnTo>
                    <a:close/>
                    <a:moveTo>
                      <a:pt x="128" y="922"/>
                    </a:moveTo>
                    <a:lnTo>
                      <a:pt x="137" y="922"/>
                    </a:lnTo>
                    <a:lnTo>
                      <a:pt x="137" y="883"/>
                    </a:lnTo>
                    <a:lnTo>
                      <a:pt x="128" y="883"/>
                    </a:lnTo>
                    <a:lnTo>
                      <a:pt x="128" y="922"/>
                    </a:lnTo>
                    <a:close/>
                    <a:moveTo>
                      <a:pt x="128" y="735"/>
                    </a:moveTo>
                    <a:lnTo>
                      <a:pt x="137" y="735"/>
                    </a:lnTo>
                    <a:lnTo>
                      <a:pt x="137" y="698"/>
                    </a:lnTo>
                    <a:lnTo>
                      <a:pt x="128" y="698"/>
                    </a:lnTo>
                    <a:lnTo>
                      <a:pt x="128" y="735"/>
                    </a:lnTo>
                    <a:close/>
                    <a:moveTo>
                      <a:pt x="128" y="829"/>
                    </a:moveTo>
                    <a:lnTo>
                      <a:pt x="137" y="829"/>
                    </a:lnTo>
                    <a:lnTo>
                      <a:pt x="137" y="791"/>
                    </a:lnTo>
                    <a:lnTo>
                      <a:pt x="128" y="791"/>
                    </a:lnTo>
                    <a:lnTo>
                      <a:pt x="128" y="829"/>
                    </a:lnTo>
                    <a:close/>
                    <a:moveTo>
                      <a:pt x="128" y="689"/>
                    </a:moveTo>
                    <a:lnTo>
                      <a:pt x="137" y="689"/>
                    </a:lnTo>
                    <a:lnTo>
                      <a:pt x="137" y="651"/>
                    </a:lnTo>
                    <a:lnTo>
                      <a:pt x="128" y="651"/>
                    </a:lnTo>
                    <a:lnTo>
                      <a:pt x="128" y="689"/>
                    </a:lnTo>
                    <a:close/>
                    <a:moveTo>
                      <a:pt x="74" y="26"/>
                    </a:moveTo>
                    <a:lnTo>
                      <a:pt x="102" y="26"/>
                    </a:lnTo>
                    <a:lnTo>
                      <a:pt x="102" y="0"/>
                    </a:lnTo>
                    <a:lnTo>
                      <a:pt x="74" y="0"/>
                    </a:lnTo>
                    <a:lnTo>
                      <a:pt x="74" y="26"/>
                    </a:lnTo>
                    <a:close/>
                    <a:moveTo>
                      <a:pt x="74" y="532"/>
                    </a:moveTo>
                    <a:lnTo>
                      <a:pt x="102" y="532"/>
                    </a:lnTo>
                    <a:lnTo>
                      <a:pt x="102" y="506"/>
                    </a:lnTo>
                    <a:lnTo>
                      <a:pt x="74" y="506"/>
                    </a:lnTo>
                    <a:lnTo>
                      <a:pt x="74" y="532"/>
                    </a:lnTo>
                    <a:close/>
                    <a:moveTo>
                      <a:pt x="74" y="584"/>
                    </a:moveTo>
                    <a:lnTo>
                      <a:pt x="102" y="584"/>
                    </a:lnTo>
                    <a:lnTo>
                      <a:pt x="102" y="558"/>
                    </a:lnTo>
                    <a:lnTo>
                      <a:pt x="74" y="558"/>
                    </a:lnTo>
                    <a:lnTo>
                      <a:pt x="74" y="584"/>
                    </a:lnTo>
                    <a:close/>
                    <a:moveTo>
                      <a:pt x="74" y="278"/>
                    </a:moveTo>
                    <a:lnTo>
                      <a:pt x="102" y="278"/>
                    </a:lnTo>
                    <a:lnTo>
                      <a:pt x="102" y="254"/>
                    </a:lnTo>
                    <a:lnTo>
                      <a:pt x="74" y="254"/>
                    </a:lnTo>
                    <a:lnTo>
                      <a:pt x="74" y="278"/>
                    </a:lnTo>
                    <a:close/>
                    <a:moveTo>
                      <a:pt x="74" y="685"/>
                    </a:moveTo>
                    <a:lnTo>
                      <a:pt x="102" y="685"/>
                    </a:lnTo>
                    <a:lnTo>
                      <a:pt x="102" y="659"/>
                    </a:lnTo>
                    <a:lnTo>
                      <a:pt x="74" y="659"/>
                    </a:lnTo>
                    <a:lnTo>
                      <a:pt x="74" y="685"/>
                    </a:lnTo>
                    <a:close/>
                    <a:moveTo>
                      <a:pt x="74" y="735"/>
                    </a:moveTo>
                    <a:lnTo>
                      <a:pt x="102" y="735"/>
                    </a:lnTo>
                    <a:lnTo>
                      <a:pt x="102" y="711"/>
                    </a:lnTo>
                    <a:lnTo>
                      <a:pt x="74" y="711"/>
                    </a:lnTo>
                    <a:lnTo>
                      <a:pt x="74" y="735"/>
                    </a:lnTo>
                    <a:close/>
                    <a:moveTo>
                      <a:pt x="74" y="633"/>
                    </a:moveTo>
                    <a:lnTo>
                      <a:pt x="102" y="633"/>
                    </a:lnTo>
                    <a:lnTo>
                      <a:pt x="102" y="607"/>
                    </a:lnTo>
                    <a:lnTo>
                      <a:pt x="74" y="607"/>
                    </a:lnTo>
                    <a:lnTo>
                      <a:pt x="74" y="633"/>
                    </a:lnTo>
                    <a:close/>
                    <a:moveTo>
                      <a:pt x="74" y="482"/>
                    </a:moveTo>
                    <a:lnTo>
                      <a:pt x="102" y="482"/>
                    </a:lnTo>
                    <a:lnTo>
                      <a:pt x="102" y="457"/>
                    </a:lnTo>
                    <a:lnTo>
                      <a:pt x="74" y="457"/>
                    </a:lnTo>
                    <a:lnTo>
                      <a:pt x="74" y="482"/>
                    </a:lnTo>
                    <a:close/>
                    <a:moveTo>
                      <a:pt x="74" y="329"/>
                    </a:moveTo>
                    <a:lnTo>
                      <a:pt x="102" y="329"/>
                    </a:lnTo>
                    <a:lnTo>
                      <a:pt x="102" y="304"/>
                    </a:lnTo>
                    <a:lnTo>
                      <a:pt x="74" y="304"/>
                    </a:lnTo>
                    <a:lnTo>
                      <a:pt x="74" y="329"/>
                    </a:lnTo>
                    <a:close/>
                    <a:moveTo>
                      <a:pt x="74" y="379"/>
                    </a:moveTo>
                    <a:lnTo>
                      <a:pt x="102" y="379"/>
                    </a:lnTo>
                    <a:lnTo>
                      <a:pt x="102" y="355"/>
                    </a:lnTo>
                    <a:lnTo>
                      <a:pt x="74" y="355"/>
                    </a:lnTo>
                    <a:lnTo>
                      <a:pt x="74" y="379"/>
                    </a:lnTo>
                    <a:close/>
                    <a:moveTo>
                      <a:pt x="74" y="431"/>
                    </a:moveTo>
                    <a:lnTo>
                      <a:pt x="102" y="431"/>
                    </a:lnTo>
                    <a:lnTo>
                      <a:pt x="102" y="405"/>
                    </a:lnTo>
                    <a:lnTo>
                      <a:pt x="74" y="405"/>
                    </a:lnTo>
                    <a:lnTo>
                      <a:pt x="74" y="431"/>
                    </a:lnTo>
                    <a:close/>
                    <a:moveTo>
                      <a:pt x="230" y="967"/>
                    </a:moveTo>
                    <a:lnTo>
                      <a:pt x="238" y="967"/>
                    </a:lnTo>
                    <a:lnTo>
                      <a:pt x="238" y="931"/>
                    </a:lnTo>
                    <a:lnTo>
                      <a:pt x="230" y="931"/>
                    </a:lnTo>
                    <a:lnTo>
                      <a:pt x="230" y="967"/>
                    </a:lnTo>
                    <a:close/>
                    <a:moveTo>
                      <a:pt x="273" y="482"/>
                    </a:moveTo>
                    <a:lnTo>
                      <a:pt x="303" y="482"/>
                    </a:lnTo>
                    <a:lnTo>
                      <a:pt x="303" y="457"/>
                    </a:lnTo>
                    <a:lnTo>
                      <a:pt x="273" y="457"/>
                    </a:lnTo>
                    <a:lnTo>
                      <a:pt x="273" y="482"/>
                    </a:lnTo>
                    <a:close/>
                    <a:moveTo>
                      <a:pt x="273" y="532"/>
                    </a:moveTo>
                    <a:lnTo>
                      <a:pt x="303" y="532"/>
                    </a:lnTo>
                    <a:lnTo>
                      <a:pt x="303" y="506"/>
                    </a:lnTo>
                    <a:lnTo>
                      <a:pt x="273" y="506"/>
                    </a:lnTo>
                    <a:lnTo>
                      <a:pt x="273" y="532"/>
                    </a:lnTo>
                    <a:close/>
                    <a:moveTo>
                      <a:pt x="243" y="317"/>
                    </a:moveTo>
                    <a:lnTo>
                      <a:pt x="251" y="317"/>
                    </a:lnTo>
                    <a:lnTo>
                      <a:pt x="251" y="278"/>
                    </a:lnTo>
                    <a:lnTo>
                      <a:pt x="243" y="278"/>
                    </a:lnTo>
                    <a:lnTo>
                      <a:pt x="243" y="317"/>
                    </a:lnTo>
                    <a:close/>
                    <a:moveTo>
                      <a:pt x="273" y="685"/>
                    </a:moveTo>
                    <a:lnTo>
                      <a:pt x="303" y="685"/>
                    </a:lnTo>
                    <a:lnTo>
                      <a:pt x="303" y="659"/>
                    </a:lnTo>
                    <a:lnTo>
                      <a:pt x="273" y="659"/>
                    </a:lnTo>
                    <a:lnTo>
                      <a:pt x="273" y="685"/>
                    </a:lnTo>
                    <a:close/>
                    <a:moveTo>
                      <a:pt x="273" y="633"/>
                    </a:moveTo>
                    <a:lnTo>
                      <a:pt x="303" y="633"/>
                    </a:lnTo>
                    <a:lnTo>
                      <a:pt x="303" y="607"/>
                    </a:lnTo>
                    <a:lnTo>
                      <a:pt x="273" y="607"/>
                    </a:lnTo>
                    <a:lnTo>
                      <a:pt x="273" y="633"/>
                    </a:lnTo>
                    <a:close/>
                    <a:moveTo>
                      <a:pt x="163" y="491"/>
                    </a:moveTo>
                    <a:lnTo>
                      <a:pt x="217" y="491"/>
                    </a:lnTo>
                    <a:lnTo>
                      <a:pt x="217" y="465"/>
                    </a:lnTo>
                    <a:lnTo>
                      <a:pt x="163" y="465"/>
                    </a:lnTo>
                    <a:lnTo>
                      <a:pt x="163" y="491"/>
                    </a:lnTo>
                    <a:close/>
                    <a:moveTo>
                      <a:pt x="273" y="177"/>
                    </a:moveTo>
                    <a:lnTo>
                      <a:pt x="303" y="177"/>
                    </a:lnTo>
                    <a:lnTo>
                      <a:pt x="303" y="153"/>
                    </a:lnTo>
                    <a:lnTo>
                      <a:pt x="273" y="153"/>
                    </a:lnTo>
                    <a:lnTo>
                      <a:pt x="273" y="177"/>
                    </a:lnTo>
                    <a:close/>
                    <a:moveTo>
                      <a:pt x="273" y="278"/>
                    </a:moveTo>
                    <a:lnTo>
                      <a:pt x="303" y="278"/>
                    </a:lnTo>
                    <a:lnTo>
                      <a:pt x="303" y="254"/>
                    </a:lnTo>
                    <a:lnTo>
                      <a:pt x="273" y="254"/>
                    </a:lnTo>
                    <a:lnTo>
                      <a:pt x="273" y="278"/>
                    </a:lnTo>
                    <a:close/>
                    <a:moveTo>
                      <a:pt x="273" y="329"/>
                    </a:moveTo>
                    <a:lnTo>
                      <a:pt x="303" y="329"/>
                    </a:lnTo>
                    <a:lnTo>
                      <a:pt x="303" y="304"/>
                    </a:lnTo>
                    <a:lnTo>
                      <a:pt x="273" y="304"/>
                    </a:lnTo>
                    <a:lnTo>
                      <a:pt x="273" y="329"/>
                    </a:lnTo>
                    <a:close/>
                    <a:moveTo>
                      <a:pt x="273" y="431"/>
                    </a:moveTo>
                    <a:lnTo>
                      <a:pt x="303" y="431"/>
                    </a:lnTo>
                    <a:lnTo>
                      <a:pt x="303" y="405"/>
                    </a:lnTo>
                    <a:lnTo>
                      <a:pt x="273" y="405"/>
                    </a:lnTo>
                    <a:lnTo>
                      <a:pt x="273" y="431"/>
                    </a:lnTo>
                    <a:close/>
                    <a:moveTo>
                      <a:pt x="273" y="735"/>
                    </a:moveTo>
                    <a:lnTo>
                      <a:pt x="303" y="735"/>
                    </a:lnTo>
                    <a:lnTo>
                      <a:pt x="303" y="711"/>
                    </a:lnTo>
                    <a:lnTo>
                      <a:pt x="273" y="711"/>
                    </a:lnTo>
                    <a:lnTo>
                      <a:pt x="273" y="735"/>
                    </a:lnTo>
                    <a:close/>
                    <a:moveTo>
                      <a:pt x="273" y="228"/>
                    </a:moveTo>
                    <a:lnTo>
                      <a:pt x="303" y="228"/>
                    </a:lnTo>
                    <a:lnTo>
                      <a:pt x="303" y="202"/>
                    </a:lnTo>
                    <a:lnTo>
                      <a:pt x="273" y="202"/>
                    </a:lnTo>
                    <a:lnTo>
                      <a:pt x="273" y="228"/>
                    </a:lnTo>
                    <a:close/>
                    <a:moveTo>
                      <a:pt x="243" y="84"/>
                    </a:moveTo>
                    <a:lnTo>
                      <a:pt x="251" y="84"/>
                    </a:lnTo>
                    <a:lnTo>
                      <a:pt x="251" y="45"/>
                    </a:lnTo>
                    <a:lnTo>
                      <a:pt x="243" y="45"/>
                    </a:lnTo>
                    <a:lnTo>
                      <a:pt x="243" y="84"/>
                    </a:lnTo>
                    <a:close/>
                    <a:moveTo>
                      <a:pt x="243" y="131"/>
                    </a:moveTo>
                    <a:lnTo>
                      <a:pt x="251" y="131"/>
                    </a:lnTo>
                    <a:lnTo>
                      <a:pt x="251" y="92"/>
                    </a:lnTo>
                    <a:lnTo>
                      <a:pt x="243" y="92"/>
                    </a:lnTo>
                    <a:lnTo>
                      <a:pt x="243" y="131"/>
                    </a:lnTo>
                    <a:close/>
                    <a:moveTo>
                      <a:pt x="273" y="786"/>
                    </a:moveTo>
                    <a:lnTo>
                      <a:pt x="303" y="786"/>
                    </a:lnTo>
                    <a:lnTo>
                      <a:pt x="303" y="760"/>
                    </a:lnTo>
                    <a:lnTo>
                      <a:pt x="273" y="760"/>
                    </a:lnTo>
                    <a:lnTo>
                      <a:pt x="273" y="786"/>
                    </a:lnTo>
                    <a:close/>
                    <a:moveTo>
                      <a:pt x="243" y="269"/>
                    </a:moveTo>
                    <a:lnTo>
                      <a:pt x="251" y="269"/>
                    </a:lnTo>
                    <a:lnTo>
                      <a:pt x="251" y="233"/>
                    </a:lnTo>
                    <a:lnTo>
                      <a:pt x="243" y="233"/>
                    </a:lnTo>
                    <a:lnTo>
                      <a:pt x="243" y="269"/>
                    </a:lnTo>
                    <a:close/>
                    <a:moveTo>
                      <a:pt x="243" y="224"/>
                    </a:moveTo>
                    <a:lnTo>
                      <a:pt x="251" y="224"/>
                    </a:lnTo>
                    <a:lnTo>
                      <a:pt x="251" y="185"/>
                    </a:lnTo>
                    <a:lnTo>
                      <a:pt x="243" y="185"/>
                    </a:lnTo>
                    <a:lnTo>
                      <a:pt x="243" y="224"/>
                    </a:lnTo>
                    <a:close/>
                    <a:moveTo>
                      <a:pt x="243" y="177"/>
                    </a:moveTo>
                    <a:lnTo>
                      <a:pt x="251" y="177"/>
                    </a:lnTo>
                    <a:lnTo>
                      <a:pt x="251" y="140"/>
                    </a:lnTo>
                    <a:lnTo>
                      <a:pt x="243" y="140"/>
                    </a:lnTo>
                    <a:lnTo>
                      <a:pt x="243" y="177"/>
                    </a:lnTo>
                    <a:close/>
                    <a:moveTo>
                      <a:pt x="243" y="39"/>
                    </a:moveTo>
                    <a:lnTo>
                      <a:pt x="251" y="39"/>
                    </a:lnTo>
                    <a:lnTo>
                      <a:pt x="251" y="0"/>
                    </a:lnTo>
                    <a:lnTo>
                      <a:pt x="243" y="0"/>
                    </a:lnTo>
                    <a:lnTo>
                      <a:pt x="243" y="39"/>
                    </a:lnTo>
                    <a:close/>
                    <a:moveTo>
                      <a:pt x="273" y="836"/>
                    </a:moveTo>
                    <a:lnTo>
                      <a:pt x="303" y="836"/>
                    </a:lnTo>
                    <a:lnTo>
                      <a:pt x="303" y="812"/>
                    </a:lnTo>
                    <a:lnTo>
                      <a:pt x="273" y="812"/>
                    </a:lnTo>
                    <a:lnTo>
                      <a:pt x="273" y="836"/>
                    </a:lnTo>
                    <a:close/>
                    <a:moveTo>
                      <a:pt x="273" y="888"/>
                    </a:moveTo>
                    <a:lnTo>
                      <a:pt x="303" y="888"/>
                    </a:lnTo>
                    <a:lnTo>
                      <a:pt x="303" y="862"/>
                    </a:lnTo>
                    <a:lnTo>
                      <a:pt x="273" y="862"/>
                    </a:lnTo>
                    <a:lnTo>
                      <a:pt x="273" y="888"/>
                    </a:lnTo>
                    <a:close/>
                    <a:moveTo>
                      <a:pt x="273" y="939"/>
                    </a:moveTo>
                    <a:lnTo>
                      <a:pt x="303" y="939"/>
                    </a:lnTo>
                    <a:lnTo>
                      <a:pt x="303" y="913"/>
                    </a:lnTo>
                    <a:lnTo>
                      <a:pt x="273" y="913"/>
                    </a:lnTo>
                    <a:lnTo>
                      <a:pt x="273" y="939"/>
                    </a:lnTo>
                    <a:close/>
                    <a:moveTo>
                      <a:pt x="273" y="584"/>
                    </a:moveTo>
                    <a:lnTo>
                      <a:pt x="303" y="584"/>
                    </a:lnTo>
                    <a:lnTo>
                      <a:pt x="303" y="558"/>
                    </a:lnTo>
                    <a:lnTo>
                      <a:pt x="273" y="558"/>
                    </a:lnTo>
                    <a:lnTo>
                      <a:pt x="273" y="584"/>
                    </a:lnTo>
                    <a:close/>
                    <a:moveTo>
                      <a:pt x="318" y="379"/>
                    </a:moveTo>
                    <a:lnTo>
                      <a:pt x="374" y="379"/>
                    </a:lnTo>
                    <a:lnTo>
                      <a:pt x="374" y="355"/>
                    </a:lnTo>
                    <a:lnTo>
                      <a:pt x="318" y="355"/>
                    </a:lnTo>
                    <a:lnTo>
                      <a:pt x="318" y="379"/>
                    </a:lnTo>
                    <a:close/>
                    <a:moveTo>
                      <a:pt x="318" y="329"/>
                    </a:moveTo>
                    <a:lnTo>
                      <a:pt x="374" y="329"/>
                    </a:lnTo>
                    <a:lnTo>
                      <a:pt x="374" y="304"/>
                    </a:lnTo>
                    <a:lnTo>
                      <a:pt x="318" y="304"/>
                    </a:lnTo>
                    <a:lnTo>
                      <a:pt x="318" y="329"/>
                    </a:lnTo>
                    <a:close/>
                    <a:moveTo>
                      <a:pt x="318" y="431"/>
                    </a:moveTo>
                    <a:lnTo>
                      <a:pt x="374" y="431"/>
                    </a:lnTo>
                    <a:lnTo>
                      <a:pt x="374" y="405"/>
                    </a:lnTo>
                    <a:lnTo>
                      <a:pt x="318" y="405"/>
                    </a:lnTo>
                    <a:lnTo>
                      <a:pt x="318" y="431"/>
                    </a:lnTo>
                    <a:close/>
                    <a:moveTo>
                      <a:pt x="318" y="278"/>
                    </a:moveTo>
                    <a:lnTo>
                      <a:pt x="374" y="278"/>
                    </a:lnTo>
                    <a:lnTo>
                      <a:pt x="374" y="254"/>
                    </a:lnTo>
                    <a:lnTo>
                      <a:pt x="318" y="254"/>
                    </a:lnTo>
                    <a:lnTo>
                      <a:pt x="318" y="278"/>
                    </a:lnTo>
                    <a:close/>
                    <a:moveTo>
                      <a:pt x="318" y="532"/>
                    </a:moveTo>
                    <a:lnTo>
                      <a:pt x="374" y="532"/>
                    </a:lnTo>
                    <a:lnTo>
                      <a:pt x="374" y="506"/>
                    </a:lnTo>
                    <a:lnTo>
                      <a:pt x="318" y="506"/>
                    </a:lnTo>
                    <a:lnTo>
                      <a:pt x="318" y="532"/>
                    </a:lnTo>
                    <a:close/>
                    <a:moveTo>
                      <a:pt x="318" y="482"/>
                    </a:moveTo>
                    <a:lnTo>
                      <a:pt x="374" y="482"/>
                    </a:lnTo>
                    <a:lnTo>
                      <a:pt x="374" y="457"/>
                    </a:lnTo>
                    <a:lnTo>
                      <a:pt x="318" y="457"/>
                    </a:lnTo>
                    <a:lnTo>
                      <a:pt x="318" y="482"/>
                    </a:lnTo>
                    <a:close/>
                    <a:moveTo>
                      <a:pt x="273" y="127"/>
                    </a:moveTo>
                    <a:lnTo>
                      <a:pt x="303" y="127"/>
                    </a:lnTo>
                    <a:lnTo>
                      <a:pt x="303" y="101"/>
                    </a:lnTo>
                    <a:lnTo>
                      <a:pt x="273" y="101"/>
                    </a:lnTo>
                    <a:lnTo>
                      <a:pt x="273" y="127"/>
                    </a:lnTo>
                    <a:close/>
                    <a:moveTo>
                      <a:pt x="318" y="75"/>
                    </a:moveTo>
                    <a:lnTo>
                      <a:pt x="374" y="75"/>
                    </a:lnTo>
                    <a:lnTo>
                      <a:pt x="374" y="49"/>
                    </a:lnTo>
                    <a:lnTo>
                      <a:pt x="318" y="49"/>
                    </a:lnTo>
                    <a:lnTo>
                      <a:pt x="318" y="75"/>
                    </a:lnTo>
                    <a:close/>
                    <a:moveTo>
                      <a:pt x="318" y="177"/>
                    </a:moveTo>
                    <a:lnTo>
                      <a:pt x="374" y="177"/>
                    </a:lnTo>
                    <a:lnTo>
                      <a:pt x="374" y="153"/>
                    </a:lnTo>
                    <a:lnTo>
                      <a:pt x="318" y="153"/>
                    </a:lnTo>
                    <a:lnTo>
                      <a:pt x="318" y="177"/>
                    </a:lnTo>
                    <a:close/>
                    <a:moveTo>
                      <a:pt x="318" y="127"/>
                    </a:moveTo>
                    <a:lnTo>
                      <a:pt x="374" y="127"/>
                    </a:lnTo>
                    <a:lnTo>
                      <a:pt x="374" y="101"/>
                    </a:lnTo>
                    <a:lnTo>
                      <a:pt x="318" y="101"/>
                    </a:lnTo>
                    <a:lnTo>
                      <a:pt x="318" y="127"/>
                    </a:lnTo>
                    <a:close/>
                    <a:moveTo>
                      <a:pt x="318" y="228"/>
                    </a:moveTo>
                    <a:lnTo>
                      <a:pt x="374" y="228"/>
                    </a:lnTo>
                    <a:lnTo>
                      <a:pt x="374" y="202"/>
                    </a:lnTo>
                    <a:lnTo>
                      <a:pt x="318" y="202"/>
                    </a:lnTo>
                    <a:lnTo>
                      <a:pt x="318" y="228"/>
                    </a:lnTo>
                    <a:close/>
                    <a:moveTo>
                      <a:pt x="318" y="0"/>
                    </a:moveTo>
                    <a:lnTo>
                      <a:pt x="318" y="26"/>
                    </a:lnTo>
                    <a:lnTo>
                      <a:pt x="374" y="26"/>
                    </a:lnTo>
                    <a:lnTo>
                      <a:pt x="374" y="0"/>
                    </a:lnTo>
                    <a:lnTo>
                      <a:pt x="318" y="0"/>
                    </a:lnTo>
                    <a:close/>
                    <a:moveTo>
                      <a:pt x="318" y="888"/>
                    </a:moveTo>
                    <a:lnTo>
                      <a:pt x="374" y="888"/>
                    </a:lnTo>
                    <a:lnTo>
                      <a:pt x="374" y="862"/>
                    </a:lnTo>
                    <a:lnTo>
                      <a:pt x="318" y="862"/>
                    </a:lnTo>
                    <a:lnTo>
                      <a:pt x="318" y="888"/>
                    </a:lnTo>
                    <a:close/>
                    <a:moveTo>
                      <a:pt x="318" y="939"/>
                    </a:moveTo>
                    <a:lnTo>
                      <a:pt x="374" y="939"/>
                    </a:lnTo>
                    <a:lnTo>
                      <a:pt x="374" y="913"/>
                    </a:lnTo>
                    <a:lnTo>
                      <a:pt x="318" y="913"/>
                    </a:lnTo>
                    <a:lnTo>
                      <a:pt x="318" y="939"/>
                    </a:lnTo>
                    <a:close/>
                    <a:moveTo>
                      <a:pt x="273" y="26"/>
                    </a:moveTo>
                    <a:lnTo>
                      <a:pt x="303" y="26"/>
                    </a:lnTo>
                    <a:lnTo>
                      <a:pt x="303" y="0"/>
                    </a:lnTo>
                    <a:lnTo>
                      <a:pt x="273" y="0"/>
                    </a:lnTo>
                    <a:lnTo>
                      <a:pt x="273" y="26"/>
                    </a:lnTo>
                    <a:close/>
                    <a:moveTo>
                      <a:pt x="273" y="75"/>
                    </a:moveTo>
                    <a:lnTo>
                      <a:pt x="303" y="75"/>
                    </a:lnTo>
                    <a:lnTo>
                      <a:pt x="303" y="49"/>
                    </a:lnTo>
                    <a:lnTo>
                      <a:pt x="273" y="49"/>
                    </a:lnTo>
                    <a:lnTo>
                      <a:pt x="273" y="75"/>
                    </a:lnTo>
                    <a:close/>
                    <a:moveTo>
                      <a:pt x="318" y="836"/>
                    </a:moveTo>
                    <a:lnTo>
                      <a:pt x="374" y="836"/>
                    </a:lnTo>
                    <a:lnTo>
                      <a:pt x="374" y="812"/>
                    </a:lnTo>
                    <a:lnTo>
                      <a:pt x="318" y="812"/>
                    </a:lnTo>
                    <a:lnTo>
                      <a:pt x="318" y="836"/>
                    </a:lnTo>
                    <a:close/>
                    <a:moveTo>
                      <a:pt x="318" y="786"/>
                    </a:moveTo>
                    <a:lnTo>
                      <a:pt x="374" y="786"/>
                    </a:lnTo>
                    <a:lnTo>
                      <a:pt x="374" y="760"/>
                    </a:lnTo>
                    <a:lnTo>
                      <a:pt x="318" y="760"/>
                    </a:lnTo>
                    <a:lnTo>
                      <a:pt x="318" y="786"/>
                    </a:lnTo>
                    <a:close/>
                    <a:moveTo>
                      <a:pt x="318" y="584"/>
                    </a:moveTo>
                    <a:lnTo>
                      <a:pt x="374" y="584"/>
                    </a:lnTo>
                    <a:lnTo>
                      <a:pt x="374" y="558"/>
                    </a:lnTo>
                    <a:lnTo>
                      <a:pt x="318" y="558"/>
                    </a:lnTo>
                    <a:lnTo>
                      <a:pt x="318" y="584"/>
                    </a:lnTo>
                    <a:close/>
                    <a:moveTo>
                      <a:pt x="318" y="633"/>
                    </a:moveTo>
                    <a:lnTo>
                      <a:pt x="374" y="633"/>
                    </a:lnTo>
                    <a:lnTo>
                      <a:pt x="374" y="607"/>
                    </a:lnTo>
                    <a:lnTo>
                      <a:pt x="318" y="607"/>
                    </a:lnTo>
                    <a:lnTo>
                      <a:pt x="318" y="633"/>
                    </a:lnTo>
                    <a:close/>
                    <a:moveTo>
                      <a:pt x="318" y="685"/>
                    </a:moveTo>
                    <a:lnTo>
                      <a:pt x="374" y="685"/>
                    </a:lnTo>
                    <a:lnTo>
                      <a:pt x="374" y="659"/>
                    </a:lnTo>
                    <a:lnTo>
                      <a:pt x="318" y="659"/>
                    </a:lnTo>
                    <a:lnTo>
                      <a:pt x="318" y="685"/>
                    </a:lnTo>
                    <a:close/>
                    <a:moveTo>
                      <a:pt x="318" y="735"/>
                    </a:moveTo>
                    <a:lnTo>
                      <a:pt x="374" y="735"/>
                    </a:lnTo>
                    <a:lnTo>
                      <a:pt x="374" y="711"/>
                    </a:lnTo>
                    <a:lnTo>
                      <a:pt x="318" y="711"/>
                    </a:lnTo>
                    <a:lnTo>
                      <a:pt x="318" y="735"/>
                    </a:lnTo>
                    <a:close/>
                    <a:moveTo>
                      <a:pt x="273" y="379"/>
                    </a:moveTo>
                    <a:lnTo>
                      <a:pt x="303" y="379"/>
                    </a:lnTo>
                    <a:lnTo>
                      <a:pt x="303" y="355"/>
                    </a:lnTo>
                    <a:lnTo>
                      <a:pt x="273" y="355"/>
                    </a:lnTo>
                    <a:lnTo>
                      <a:pt x="273" y="379"/>
                    </a:lnTo>
                    <a:close/>
                    <a:moveTo>
                      <a:pt x="230" y="782"/>
                    </a:moveTo>
                    <a:lnTo>
                      <a:pt x="238" y="782"/>
                    </a:lnTo>
                    <a:lnTo>
                      <a:pt x="238" y="743"/>
                    </a:lnTo>
                    <a:lnTo>
                      <a:pt x="230" y="743"/>
                    </a:lnTo>
                    <a:lnTo>
                      <a:pt x="230" y="782"/>
                    </a:lnTo>
                    <a:close/>
                    <a:moveTo>
                      <a:pt x="230" y="735"/>
                    </a:moveTo>
                    <a:lnTo>
                      <a:pt x="238" y="735"/>
                    </a:lnTo>
                    <a:lnTo>
                      <a:pt x="238" y="698"/>
                    </a:lnTo>
                    <a:lnTo>
                      <a:pt x="230" y="698"/>
                    </a:lnTo>
                    <a:lnTo>
                      <a:pt x="230" y="735"/>
                    </a:lnTo>
                    <a:close/>
                    <a:moveTo>
                      <a:pt x="230" y="922"/>
                    </a:moveTo>
                    <a:lnTo>
                      <a:pt x="238" y="922"/>
                    </a:lnTo>
                    <a:lnTo>
                      <a:pt x="238" y="883"/>
                    </a:lnTo>
                    <a:lnTo>
                      <a:pt x="230" y="883"/>
                    </a:lnTo>
                    <a:lnTo>
                      <a:pt x="230" y="922"/>
                    </a:lnTo>
                    <a:close/>
                    <a:moveTo>
                      <a:pt x="230" y="829"/>
                    </a:moveTo>
                    <a:lnTo>
                      <a:pt x="238" y="829"/>
                    </a:lnTo>
                    <a:lnTo>
                      <a:pt x="238" y="791"/>
                    </a:lnTo>
                    <a:lnTo>
                      <a:pt x="230" y="791"/>
                    </a:lnTo>
                    <a:lnTo>
                      <a:pt x="230" y="829"/>
                    </a:lnTo>
                    <a:close/>
                    <a:moveTo>
                      <a:pt x="230" y="689"/>
                    </a:moveTo>
                    <a:lnTo>
                      <a:pt x="238" y="689"/>
                    </a:lnTo>
                    <a:lnTo>
                      <a:pt x="238" y="651"/>
                    </a:lnTo>
                    <a:lnTo>
                      <a:pt x="230" y="651"/>
                    </a:lnTo>
                    <a:lnTo>
                      <a:pt x="230" y="689"/>
                    </a:lnTo>
                    <a:close/>
                    <a:moveTo>
                      <a:pt x="230" y="875"/>
                    </a:moveTo>
                    <a:lnTo>
                      <a:pt x="238" y="875"/>
                    </a:lnTo>
                    <a:lnTo>
                      <a:pt x="238" y="836"/>
                    </a:lnTo>
                    <a:lnTo>
                      <a:pt x="230" y="836"/>
                    </a:lnTo>
                    <a:lnTo>
                      <a:pt x="230" y="875"/>
                    </a:lnTo>
                    <a:close/>
                    <a:moveTo>
                      <a:pt x="230" y="502"/>
                    </a:moveTo>
                    <a:lnTo>
                      <a:pt x="238" y="502"/>
                    </a:lnTo>
                    <a:lnTo>
                      <a:pt x="238" y="465"/>
                    </a:lnTo>
                    <a:lnTo>
                      <a:pt x="230" y="465"/>
                    </a:lnTo>
                    <a:lnTo>
                      <a:pt x="230" y="502"/>
                    </a:lnTo>
                    <a:close/>
                    <a:moveTo>
                      <a:pt x="230" y="457"/>
                    </a:moveTo>
                    <a:lnTo>
                      <a:pt x="238" y="457"/>
                    </a:lnTo>
                    <a:lnTo>
                      <a:pt x="238" y="418"/>
                    </a:lnTo>
                    <a:lnTo>
                      <a:pt x="230" y="418"/>
                    </a:lnTo>
                    <a:lnTo>
                      <a:pt x="230" y="457"/>
                    </a:lnTo>
                    <a:close/>
                    <a:moveTo>
                      <a:pt x="230" y="597"/>
                    </a:moveTo>
                    <a:lnTo>
                      <a:pt x="238" y="597"/>
                    </a:lnTo>
                    <a:lnTo>
                      <a:pt x="238" y="558"/>
                    </a:lnTo>
                    <a:lnTo>
                      <a:pt x="230" y="558"/>
                    </a:lnTo>
                    <a:lnTo>
                      <a:pt x="230" y="597"/>
                    </a:lnTo>
                    <a:close/>
                    <a:moveTo>
                      <a:pt x="230" y="549"/>
                    </a:moveTo>
                    <a:lnTo>
                      <a:pt x="238" y="549"/>
                    </a:lnTo>
                    <a:lnTo>
                      <a:pt x="238" y="510"/>
                    </a:lnTo>
                    <a:lnTo>
                      <a:pt x="230" y="510"/>
                    </a:lnTo>
                    <a:lnTo>
                      <a:pt x="230" y="549"/>
                    </a:lnTo>
                    <a:close/>
                    <a:moveTo>
                      <a:pt x="230" y="642"/>
                    </a:moveTo>
                    <a:lnTo>
                      <a:pt x="238" y="642"/>
                    </a:lnTo>
                    <a:lnTo>
                      <a:pt x="238" y="605"/>
                    </a:lnTo>
                    <a:lnTo>
                      <a:pt x="230" y="605"/>
                    </a:lnTo>
                    <a:lnTo>
                      <a:pt x="230" y="642"/>
                    </a:lnTo>
                    <a:close/>
                    <a:moveTo>
                      <a:pt x="163" y="211"/>
                    </a:moveTo>
                    <a:lnTo>
                      <a:pt x="217" y="211"/>
                    </a:lnTo>
                    <a:lnTo>
                      <a:pt x="217" y="185"/>
                    </a:lnTo>
                    <a:lnTo>
                      <a:pt x="163" y="185"/>
                    </a:lnTo>
                    <a:lnTo>
                      <a:pt x="163" y="211"/>
                    </a:lnTo>
                    <a:close/>
                    <a:moveTo>
                      <a:pt x="163" y="26"/>
                    </a:moveTo>
                    <a:lnTo>
                      <a:pt x="217" y="26"/>
                    </a:lnTo>
                    <a:lnTo>
                      <a:pt x="217" y="0"/>
                    </a:lnTo>
                    <a:lnTo>
                      <a:pt x="163" y="0"/>
                    </a:lnTo>
                    <a:lnTo>
                      <a:pt x="163" y="26"/>
                    </a:lnTo>
                    <a:close/>
                    <a:moveTo>
                      <a:pt x="163" y="304"/>
                    </a:moveTo>
                    <a:lnTo>
                      <a:pt x="217" y="304"/>
                    </a:lnTo>
                    <a:lnTo>
                      <a:pt x="217" y="278"/>
                    </a:lnTo>
                    <a:lnTo>
                      <a:pt x="163" y="278"/>
                    </a:lnTo>
                    <a:lnTo>
                      <a:pt x="163" y="304"/>
                    </a:lnTo>
                    <a:close/>
                    <a:moveTo>
                      <a:pt x="163" y="351"/>
                    </a:moveTo>
                    <a:lnTo>
                      <a:pt x="217" y="351"/>
                    </a:lnTo>
                    <a:lnTo>
                      <a:pt x="217" y="325"/>
                    </a:lnTo>
                    <a:lnTo>
                      <a:pt x="163" y="325"/>
                    </a:lnTo>
                    <a:lnTo>
                      <a:pt x="163" y="351"/>
                    </a:lnTo>
                    <a:close/>
                    <a:moveTo>
                      <a:pt x="163" y="396"/>
                    </a:moveTo>
                    <a:lnTo>
                      <a:pt x="217" y="396"/>
                    </a:lnTo>
                    <a:lnTo>
                      <a:pt x="217" y="373"/>
                    </a:lnTo>
                    <a:lnTo>
                      <a:pt x="163" y="373"/>
                    </a:lnTo>
                    <a:lnTo>
                      <a:pt x="163" y="396"/>
                    </a:lnTo>
                    <a:close/>
                    <a:moveTo>
                      <a:pt x="163" y="444"/>
                    </a:moveTo>
                    <a:lnTo>
                      <a:pt x="217" y="444"/>
                    </a:lnTo>
                    <a:lnTo>
                      <a:pt x="217" y="418"/>
                    </a:lnTo>
                    <a:lnTo>
                      <a:pt x="163" y="418"/>
                    </a:lnTo>
                    <a:lnTo>
                      <a:pt x="163" y="444"/>
                    </a:lnTo>
                    <a:close/>
                    <a:moveTo>
                      <a:pt x="243" y="364"/>
                    </a:moveTo>
                    <a:lnTo>
                      <a:pt x="251" y="364"/>
                    </a:lnTo>
                    <a:lnTo>
                      <a:pt x="251" y="325"/>
                    </a:lnTo>
                    <a:lnTo>
                      <a:pt x="243" y="325"/>
                    </a:lnTo>
                    <a:lnTo>
                      <a:pt x="243" y="364"/>
                    </a:lnTo>
                    <a:close/>
                    <a:moveTo>
                      <a:pt x="163" y="118"/>
                    </a:moveTo>
                    <a:lnTo>
                      <a:pt x="217" y="118"/>
                    </a:lnTo>
                    <a:lnTo>
                      <a:pt x="217" y="92"/>
                    </a:lnTo>
                    <a:lnTo>
                      <a:pt x="163" y="92"/>
                    </a:lnTo>
                    <a:lnTo>
                      <a:pt x="163" y="118"/>
                    </a:lnTo>
                    <a:close/>
                    <a:moveTo>
                      <a:pt x="163" y="71"/>
                    </a:moveTo>
                    <a:lnTo>
                      <a:pt x="217" y="71"/>
                    </a:lnTo>
                    <a:lnTo>
                      <a:pt x="217" y="45"/>
                    </a:lnTo>
                    <a:lnTo>
                      <a:pt x="163" y="45"/>
                    </a:lnTo>
                    <a:lnTo>
                      <a:pt x="163" y="71"/>
                    </a:lnTo>
                    <a:close/>
                    <a:moveTo>
                      <a:pt x="163" y="164"/>
                    </a:moveTo>
                    <a:lnTo>
                      <a:pt x="217" y="164"/>
                    </a:lnTo>
                    <a:lnTo>
                      <a:pt x="217" y="140"/>
                    </a:lnTo>
                    <a:lnTo>
                      <a:pt x="163" y="140"/>
                    </a:lnTo>
                    <a:lnTo>
                      <a:pt x="163" y="164"/>
                    </a:lnTo>
                    <a:close/>
                    <a:moveTo>
                      <a:pt x="230" y="409"/>
                    </a:moveTo>
                    <a:lnTo>
                      <a:pt x="238" y="409"/>
                    </a:lnTo>
                    <a:lnTo>
                      <a:pt x="238" y="373"/>
                    </a:lnTo>
                    <a:lnTo>
                      <a:pt x="230" y="373"/>
                    </a:lnTo>
                    <a:lnTo>
                      <a:pt x="230" y="409"/>
                    </a:lnTo>
                    <a:close/>
                    <a:moveTo>
                      <a:pt x="163" y="258"/>
                    </a:moveTo>
                    <a:lnTo>
                      <a:pt x="217" y="258"/>
                    </a:lnTo>
                    <a:lnTo>
                      <a:pt x="217" y="233"/>
                    </a:lnTo>
                    <a:lnTo>
                      <a:pt x="163" y="233"/>
                    </a:lnTo>
                    <a:lnTo>
                      <a:pt x="163" y="258"/>
                    </a:lnTo>
                    <a:close/>
                    <a:moveTo>
                      <a:pt x="243" y="689"/>
                    </a:moveTo>
                    <a:lnTo>
                      <a:pt x="251" y="689"/>
                    </a:lnTo>
                    <a:lnTo>
                      <a:pt x="251" y="651"/>
                    </a:lnTo>
                    <a:lnTo>
                      <a:pt x="243" y="651"/>
                    </a:lnTo>
                    <a:lnTo>
                      <a:pt x="243" y="689"/>
                    </a:lnTo>
                    <a:close/>
                    <a:moveTo>
                      <a:pt x="243" y="597"/>
                    </a:moveTo>
                    <a:lnTo>
                      <a:pt x="251" y="597"/>
                    </a:lnTo>
                    <a:lnTo>
                      <a:pt x="251" y="558"/>
                    </a:lnTo>
                    <a:lnTo>
                      <a:pt x="243" y="558"/>
                    </a:lnTo>
                    <a:lnTo>
                      <a:pt x="243" y="597"/>
                    </a:lnTo>
                    <a:close/>
                    <a:moveTo>
                      <a:pt x="243" y="642"/>
                    </a:moveTo>
                    <a:lnTo>
                      <a:pt x="251" y="642"/>
                    </a:lnTo>
                    <a:lnTo>
                      <a:pt x="251" y="605"/>
                    </a:lnTo>
                    <a:lnTo>
                      <a:pt x="243" y="605"/>
                    </a:lnTo>
                    <a:lnTo>
                      <a:pt x="243" y="642"/>
                    </a:lnTo>
                    <a:close/>
                    <a:moveTo>
                      <a:pt x="243" y="782"/>
                    </a:moveTo>
                    <a:lnTo>
                      <a:pt x="251" y="782"/>
                    </a:lnTo>
                    <a:lnTo>
                      <a:pt x="251" y="743"/>
                    </a:lnTo>
                    <a:lnTo>
                      <a:pt x="243" y="743"/>
                    </a:lnTo>
                    <a:lnTo>
                      <a:pt x="243" y="782"/>
                    </a:lnTo>
                    <a:close/>
                    <a:moveTo>
                      <a:pt x="230" y="364"/>
                    </a:moveTo>
                    <a:lnTo>
                      <a:pt x="238" y="364"/>
                    </a:lnTo>
                    <a:lnTo>
                      <a:pt x="238" y="325"/>
                    </a:lnTo>
                    <a:lnTo>
                      <a:pt x="230" y="325"/>
                    </a:lnTo>
                    <a:lnTo>
                      <a:pt x="230" y="364"/>
                    </a:lnTo>
                    <a:close/>
                    <a:moveTo>
                      <a:pt x="243" y="502"/>
                    </a:moveTo>
                    <a:lnTo>
                      <a:pt x="251" y="502"/>
                    </a:lnTo>
                    <a:lnTo>
                      <a:pt x="251" y="465"/>
                    </a:lnTo>
                    <a:lnTo>
                      <a:pt x="243" y="465"/>
                    </a:lnTo>
                    <a:lnTo>
                      <a:pt x="243" y="502"/>
                    </a:lnTo>
                    <a:close/>
                    <a:moveTo>
                      <a:pt x="243" y="409"/>
                    </a:moveTo>
                    <a:lnTo>
                      <a:pt x="251" y="409"/>
                    </a:lnTo>
                    <a:lnTo>
                      <a:pt x="251" y="373"/>
                    </a:lnTo>
                    <a:lnTo>
                      <a:pt x="243" y="373"/>
                    </a:lnTo>
                    <a:lnTo>
                      <a:pt x="243" y="409"/>
                    </a:lnTo>
                    <a:close/>
                    <a:moveTo>
                      <a:pt x="243" y="457"/>
                    </a:moveTo>
                    <a:lnTo>
                      <a:pt x="251" y="457"/>
                    </a:lnTo>
                    <a:lnTo>
                      <a:pt x="251" y="418"/>
                    </a:lnTo>
                    <a:lnTo>
                      <a:pt x="243" y="418"/>
                    </a:lnTo>
                    <a:lnTo>
                      <a:pt x="243" y="457"/>
                    </a:lnTo>
                    <a:close/>
                    <a:moveTo>
                      <a:pt x="243" y="549"/>
                    </a:moveTo>
                    <a:lnTo>
                      <a:pt x="251" y="549"/>
                    </a:lnTo>
                    <a:lnTo>
                      <a:pt x="251" y="510"/>
                    </a:lnTo>
                    <a:lnTo>
                      <a:pt x="243" y="510"/>
                    </a:lnTo>
                    <a:lnTo>
                      <a:pt x="243" y="549"/>
                    </a:lnTo>
                    <a:close/>
                    <a:moveTo>
                      <a:pt x="243" y="829"/>
                    </a:moveTo>
                    <a:lnTo>
                      <a:pt x="251" y="829"/>
                    </a:lnTo>
                    <a:lnTo>
                      <a:pt x="251" y="791"/>
                    </a:lnTo>
                    <a:lnTo>
                      <a:pt x="243" y="791"/>
                    </a:lnTo>
                    <a:lnTo>
                      <a:pt x="243" y="829"/>
                    </a:lnTo>
                    <a:close/>
                    <a:moveTo>
                      <a:pt x="243" y="735"/>
                    </a:moveTo>
                    <a:lnTo>
                      <a:pt x="251" y="735"/>
                    </a:lnTo>
                    <a:lnTo>
                      <a:pt x="251" y="698"/>
                    </a:lnTo>
                    <a:lnTo>
                      <a:pt x="243" y="698"/>
                    </a:lnTo>
                    <a:lnTo>
                      <a:pt x="243" y="735"/>
                    </a:lnTo>
                    <a:close/>
                    <a:moveTo>
                      <a:pt x="230" y="131"/>
                    </a:moveTo>
                    <a:lnTo>
                      <a:pt x="238" y="131"/>
                    </a:lnTo>
                    <a:lnTo>
                      <a:pt x="238" y="92"/>
                    </a:lnTo>
                    <a:lnTo>
                      <a:pt x="230" y="92"/>
                    </a:lnTo>
                    <a:lnTo>
                      <a:pt x="230" y="131"/>
                    </a:lnTo>
                    <a:close/>
                    <a:moveTo>
                      <a:pt x="230" y="177"/>
                    </a:moveTo>
                    <a:lnTo>
                      <a:pt x="238" y="177"/>
                    </a:lnTo>
                    <a:lnTo>
                      <a:pt x="238" y="140"/>
                    </a:lnTo>
                    <a:lnTo>
                      <a:pt x="230" y="140"/>
                    </a:lnTo>
                    <a:lnTo>
                      <a:pt x="230" y="177"/>
                    </a:lnTo>
                    <a:close/>
                    <a:moveTo>
                      <a:pt x="230" y="224"/>
                    </a:moveTo>
                    <a:lnTo>
                      <a:pt x="238" y="224"/>
                    </a:lnTo>
                    <a:lnTo>
                      <a:pt x="238" y="185"/>
                    </a:lnTo>
                    <a:lnTo>
                      <a:pt x="230" y="185"/>
                    </a:lnTo>
                    <a:lnTo>
                      <a:pt x="230" y="224"/>
                    </a:lnTo>
                    <a:close/>
                    <a:moveTo>
                      <a:pt x="230" y="269"/>
                    </a:moveTo>
                    <a:lnTo>
                      <a:pt x="238" y="269"/>
                    </a:lnTo>
                    <a:lnTo>
                      <a:pt x="238" y="233"/>
                    </a:lnTo>
                    <a:lnTo>
                      <a:pt x="230" y="233"/>
                    </a:lnTo>
                    <a:lnTo>
                      <a:pt x="230" y="269"/>
                    </a:lnTo>
                    <a:close/>
                    <a:moveTo>
                      <a:pt x="230" y="317"/>
                    </a:moveTo>
                    <a:lnTo>
                      <a:pt x="238" y="317"/>
                    </a:lnTo>
                    <a:lnTo>
                      <a:pt x="238" y="278"/>
                    </a:lnTo>
                    <a:lnTo>
                      <a:pt x="230" y="278"/>
                    </a:lnTo>
                    <a:lnTo>
                      <a:pt x="230" y="317"/>
                    </a:lnTo>
                    <a:close/>
                    <a:moveTo>
                      <a:pt x="243" y="875"/>
                    </a:moveTo>
                    <a:lnTo>
                      <a:pt x="251" y="875"/>
                    </a:lnTo>
                    <a:lnTo>
                      <a:pt x="251" y="836"/>
                    </a:lnTo>
                    <a:lnTo>
                      <a:pt x="243" y="836"/>
                    </a:lnTo>
                    <a:lnTo>
                      <a:pt x="243" y="875"/>
                    </a:lnTo>
                    <a:close/>
                    <a:moveTo>
                      <a:pt x="230" y="84"/>
                    </a:moveTo>
                    <a:lnTo>
                      <a:pt x="238" y="84"/>
                    </a:lnTo>
                    <a:lnTo>
                      <a:pt x="238" y="45"/>
                    </a:lnTo>
                    <a:lnTo>
                      <a:pt x="230" y="45"/>
                    </a:lnTo>
                    <a:lnTo>
                      <a:pt x="230" y="84"/>
                    </a:lnTo>
                    <a:close/>
                    <a:moveTo>
                      <a:pt x="243" y="967"/>
                    </a:moveTo>
                    <a:lnTo>
                      <a:pt x="251" y="967"/>
                    </a:lnTo>
                    <a:lnTo>
                      <a:pt x="251" y="931"/>
                    </a:lnTo>
                    <a:lnTo>
                      <a:pt x="243" y="931"/>
                    </a:lnTo>
                    <a:lnTo>
                      <a:pt x="243" y="967"/>
                    </a:lnTo>
                    <a:close/>
                    <a:moveTo>
                      <a:pt x="243" y="922"/>
                    </a:moveTo>
                    <a:lnTo>
                      <a:pt x="251" y="922"/>
                    </a:lnTo>
                    <a:lnTo>
                      <a:pt x="251" y="883"/>
                    </a:lnTo>
                    <a:lnTo>
                      <a:pt x="243" y="883"/>
                    </a:lnTo>
                    <a:lnTo>
                      <a:pt x="243" y="922"/>
                    </a:lnTo>
                    <a:close/>
                    <a:moveTo>
                      <a:pt x="230" y="39"/>
                    </a:moveTo>
                    <a:lnTo>
                      <a:pt x="238" y="39"/>
                    </a:lnTo>
                    <a:lnTo>
                      <a:pt x="238" y="0"/>
                    </a:lnTo>
                    <a:lnTo>
                      <a:pt x="230" y="0"/>
                    </a:lnTo>
                    <a:lnTo>
                      <a:pt x="230" y="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sp>
        <p:nvSpPr>
          <p:cNvPr id="112" name="Oval 2"/>
          <p:cNvSpPr/>
          <p:nvPr/>
        </p:nvSpPr>
        <p:spPr>
          <a:xfrm>
            <a:off x="305857" y="3238486"/>
            <a:ext cx="1691133" cy="845567"/>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3" name="Oval 2"/>
          <p:cNvSpPr/>
          <p:nvPr/>
        </p:nvSpPr>
        <p:spPr>
          <a:xfrm>
            <a:off x="2727960" y="1672668"/>
            <a:ext cx="5608320" cy="2411385"/>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4" name="Oval 2"/>
          <p:cNvSpPr/>
          <p:nvPr/>
        </p:nvSpPr>
        <p:spPr>
          <a:xfrm>
            <a:off x="1173545" y="2621605"/>
            <a:ext cx="2924894" cy="1462448"/>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5" name="Oval 2"/>
          <p:cNvSpPr/>
          <p:nvPr/>
        </p:nvSpPr>
        <p:spPr>
          <a:xfrm>
            <a:off x="6323146" y="3314674"/>
            <a:ext cx="1538757" cy="76937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6" name="Oval 2"/>
          <p:cNvSpPr/>
          <p:nvPr/>
        </p:nvSpPr>
        <p:spPr>
          <a:xfrm>
            <a:off x="7649227" y="3472873"/>
            <a:ext cx="1222357" cy="611179"/>
          </a:xfrm>
          <a:custGeom>
            <a:avLst/>
            <a:gdLst/>
            <a:ahLst/>
            <a:cxnLst/>
            <a:rect l="l" t="t" r="r" b="b"/>
            <a:pathLst>
              <a:path w="5205618" h="2602810">
                <a:moveTo>
                  <a:pt x="2602809" y="0"/>
                </a:moveTo>
                <a:cubicBezTo>
                  <a:pt x="4040301" y="0"/>
                  <a:pt x="5205618" y="1165318"/>
                  <a:pt x="5205618" y="2602810"/>
                </a:cubicBezTo>
                <a:lnTo>
                  <a:pt x="0" y="2602810"/>
                </a:lnTo>
                <a:cubicBezTo>
                  <a:pt x="0" y="1165318"/>
                  <a:pt x="1165317" y="0"/>
                  <a:pt x="2602809" y="0"/>
                </a:cubicBezTo>
                <a:close/>
              </a:path>
            </a:pathLst>
          </a:custGeom>
          <a:gradFill>
            <a:gsLst>
              <a:gs pos="0">
                <a:schemeClr val="bg1">
                  <a:alpha val="95000"/>
                </a:schemeClr>
              </a:gs>
              <a:gs pos="50000">
                <a:schemeClr val="bg1">
                  <a:alpha val="45000"/>
                </a:schemeClr>
              </a:gs>
            </a:gsLst>
            <a:lin ang="5400000" scaled="1"/>
          </a:gradFill>
          <a:ln w="31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0" name="Group 131"/>
          <p:cNvGrpSpPr/>
          <p:nvPr/>
        </p:nvGrpSpPr>
        <p:grpSpPr>
          <a:xfrm>
            <a:off x="682652" y="2522287"/>
            <a:ext cx="679152" cy="679152"/>
            <a:chOff x="682652" y="2569917"/>
            <a:chExt cx="679152" cy="679152"/>
          </a:xfrm>
        </p:grpSpPr>
        <p:sp>
          <p:nvSpPr>
            <p:cNvPr id="133" name="Teardrop 132"/>
            <p:cNvSpPr/>
            <p:nvPr/>
          </p:nvSpPr>
          <p:spPr>
            <a:xfrm rot="8100000">
              <a:off x="682652" y="2569917"/>
              <a:ext cx="679152" cy="679152"/>
            </a:xfrm>
            <a:prstGeom prst="teardrop">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36" name="Rectangle 135"/>
            <p:cNvSpPr/>
            <p:nvPr/>
          </p:nvSpPr>
          <p:spPr>
            <a:xfrm>
              <a:off x="737676" y="2694049"/>
              <a:ext cx="569105" cy="430887"/>
            </a:xfrm>
            <a:prstGeom prst="rect">
              <a:avLst/>
            </a:prstGeom>
          </p:spPr>
          <p:txBody>
            <a:bodyPr wrap="square">
              <a:spAutoFit/>
            </a:bodyPr>
            <a:lstStyle/>
            <a:p>
              <a:pPr algn="ctr"/>
              <a:r>
                <a:rPr lang="en-US" sz="1100" b="1" dirty="0" err="1" smtClean="0">
                  <a:solidFill>
                    <a:schemeClr val="bg1"/>
                  </a:solidFill>
                  <a:latin typeface="+mj-lt"/>
                </a:rPr>
                <a:t>LoRa</a:t>
              </a:r>
              <a:endParaRPr lang="en-US" sz="1100" b="1" dirty="0" smtClean="0">
                <a:solidFill>
                  <a:schemeClr val="bg1"/>
                </a:solidFill>
                <a:latin typeface="+mj-lt"/>
              </a:endParaRPr>
            </a:p>
            <a:p>
              <a:pPr algn="ctr"/>
              <a:r>
                <a:rPr lang="en-US" sz="1100" b="1" dirty="0" smtClean="0">
                  <a:solidFill>
                    <a:schemeClr val="bg1"/>
                  </a:solidFill>
                  <a:latin typeface="+mj-lt"/>
                </a:rPr>
                <a:t>WAN</a:t>
              </a:r>
              <a:endParaRPr lang="en-US" sz="1100" b="1" dirty="0">
                <a:solidFill>
                  <a:schemeClr val="bg1"/>
                </a:solidFill>
                <a:latin typeface="+mj-lt"/>
              </a:endParaRPr>
            </a:p>
          </p:txBody>
        </p:sp>
      </p:grpSp>
      <p:grpSp>
        <p:nvGrpSpPr>
          <p:cNvPr id="21" name="Group 138"/>
          <p:cNvGrpSpPr/>
          <p:nvPr/>
        </p:nvGrpSpPr>
        <p:grpSpPr>
          <a:xfrm>
            <a:off x="2200275" y="2232174"/>
            <a:ext cx="679152" cy="679152"/>
            <a:chOff x="2209800" y="1885950"/>
            <a:chExt cx="679152" cy="679152"/>
          </a:xfrm>
        </p:grpSpPr>
        <p:sp>
          <p:nvSpPr>
            <p:cNvPr id="142" name="Teardrop 141"/>
            <p:cNvSpPr/>
            <p:nvPr/>
          </p:nvSpPr>
          <p:spPr>
            <a:xfrm rot="8100000">
              <a:off x="2209800" y="1885950"/>
              <a:ext cx="679152" cy="679152"/>
            </a:xfrm>
            <a:prstGeom prst="teardrop">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45" name="Rectangle 144"/>
            <p:cNvSpPr/>
            <p:nvPr/>
          </p:nvSpPr>
          <p:spPr>
            <a:xfrm>
              <a:off x="2264824" y="2094721"/>
              <a:ext cx="569105" cy="261610"/>
            </a:xfrm>
            <a:prstGeom prst="rect">
              <a:avLst/>
            </a:prstGeom>
          </p:spPr>
          <p:txBody>
            <a:bodyPr wrap="square">
              <a:spAutoFit/>
            </a:bodyPr>
            <a:lstStyle/>
            <a:p>
              <a:pPr algn="ctr"/>
              <a:r>
                <a:rPr lang="en-US" sz="1100" b="1" dirty="0" smtClean="0">
                  <a:solidFill>
                    <a:schemeClr val="bg1"/>
                  </a:solidFill>
                  <a:latin typeface="+mj-lt"/>
                </a:rPr>
                <a:t>Wi-Fi</a:t>
              </a:r>
            </a:p>
          </p:txBody>
        </p:sp>
      </p:grpSp>
      <p:grpSp>
        <p:nvGrpSpPr>
          <p:cNvPr id="22" name="Group 145"/>
          <p:cNvGrpSpPr/>
          <p:nvPr/>
        </p:nvGrpSpPr>
        <p:grpSpPr>
          <a:xfrm>
            <a:off x="5117803" y="1336675"/>
            <a:ext cx="692448" cy="679152"/>
            <a:chOff x="2203153" y="1885950"/>
            <a:chExt cx="692448" cy="679152"/>
          </a:xfrm>
        </p:grpSpPr>
        <p:sp>
          <p:nvSpPr>
            <p:cNvPr id="148" name="Teardrop 147"/>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49" name="Rectangle 148"/>
            <p:cNvSpPr/>
            <p:nvPr/>
          </p:nvSpPr>
          <p:spPr>
            <a:xfrm>
              <a:off x="2203153" y="2051854"/>
              <a:ext cx="692448" cy="430887"/>
            </a:xfrm>
            <a:prstGeom prst="rect">
              <a:avLst/>
            </a:prstGeom>
          </p:spPr>
          <p:txBody>
            <a:bodyPr wrap="square">
              <a:spAutoFit/>
            </a:bodyPr>
            <a:lstStyle/>
            <a:p>
              <a:pPr algn="ctr"/>
              <a:r>
                <a:rPr lang="en-US" sz="1100" b="1" dirty="0" smtClean="0">
                  <a:solidFill>
                    <a:schemeClr val="bg1"/>
                  </a:solidFill>
                  <a:latin typeface="+mj-lt"/>
                </a:rPr>
                <a:t>2G, 3G,</a:t>
              </a:r>
              <a:br>
                <a:rPr lang="en-US" sz="1100" b="1" dirty="0" smtClean="0">
                  <a:solidFill>
                    <a:schemeClr val="bg1"/>
                  </a:solidFill>
                  <a:latin typeface="+mj-lt"/>
                </a:rPr>
              </a:br>
              <a:r>
                <a:rPr lang="en-US" sz="1100" b="1" dirty="0" smtClean="0">
                  <a:solidFill>
                    <a:schemeClr val="bg1"/>
                  </a:solidFill>
                  <a:latin typeface="+mj-lt"/>
                </a:rPr>
                <a:t>LTE</a:t>
              </a:r>
            </a:p>
          </p:txBody>
        </p:sp>
      </p:grpSp>
      <p:grpSp>
        <p:nvGrpSpPr>
          <p:cNvPr id="23" name="Group 149"/>
          <p:cNvGrpSpPr/>
          <p:nvPr/>
        </p:nvGrpSpPr>
        <p:grpSpPr>
          <a:xfrm>
            <a:off x="6753225" y="2499360"/>
            <a:ext cx="692448" cy="679152"/>
            <a:chOff x="2203153" y="1885950"/>
            <a:chExt cx="692448" cy="679152"/>
          </a:xfrm>
        </p:grpSpPr>
        <p:sp>
          <p:nvSpPr>
            <p:cNvPr id="151" name="Teardrop 150"/>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52" name="Rectangle 151"/>
            <p:cNvSpPr/>
            <p:nvPr/>
          </p:nvSpPr>
          <p:spPr>
            <a:xfrm>
              <a:off x="2203153" y="2006134"/>
              <a:ext cx="692448" cy="430887"/>
            </a:xfrm>
            <a:prstGeom prst="rect">
              <a:avLst/>
            </a:prstGeom>
          </p:spPr>
          <p:txBody>
            <a:bodyPr wrap="square">
              <a:spAutoFit/>
            </a:bodyPr>
            <a:lstStyle/>
            <a:p>
              <a:pPr algn="ctr"/>
              <a:r>
                <a:rPr lang="en-US" sz="1100" b="1" spc="-30" dirty="0" smtClean="0">
                  <a:solidFill>
                    <a:schemeClr val="bg1"/>
                  </a:solidFill>
                  <a:latin typeface="+mj-lt"/>
                </a:rPr>
                <a:t>LTE/</a:t>
              </a:r>
              <a:br>
                <a:rPr lang="en-US" sz="1100" b="1" spc="-30" dirty="0" smtClean="0">
                  <a:solidFill>
                    <a:schemeClr val="bg1"/>
                  </a:solidFill>
                  <a:latin typeface="+mj-lt"/>
                </a:rPr>
              </a:br>
              <a:r>
                <a:rPr lang="en-US" sz="1100" b="1" spc="-30" dirty="0" smtClean="0">
                  <a:solidFill>
                    <a:schemeClr val="bg1"/>
                  </a:solidFill>
                  <a:latin typeface="+mj-lt"/>
                </a:rPr>
                <a:t>CAT-M1</a:t>
              </a:r>
            </a:p>
          </p:txBody>
        </p:sp>
      </p:grpSp>
      <p:grpSp>
        <p:nvGrpSpPr>
          <p:cNvPr id="24" name="Group 152"/>
          <p:cNvGrpSpPr/>
          <p:nvPr/>
        </p:nvGrpSpPr>
        <p:grpSpPr>
          <a:xfrm>
            <a:off x="7941648" y="2659380"/>
            <a:ext cx="692448" cy="679152"/>
            <a:chOff x="2203153" y="1885950"/>
            <a:chExt cx="692448" cy="679152"/>
          </a:xfrm>
        </p:grpSpPr>
        <p:sp>
          <p:nvSpPr>
            <p:cNvPr id="155" name="Teardrop 154"/>
            <p:cNvSpPr/>
            <p:nvPr/>
          </p:nvSpPr>
          <p:spPr>
            <a:xfrm rot="8100000">
              <a:off x="2209800" y="1885950"/>
              <a:ext cx="679152" cy="679152"/>
            </a:xfrm>
            <a:prstGeom prst="teardrop">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56" name="Rectangle 155"/>
            <p:cNvSpPr/>
            <p:nvPr/>
          </p:nvSpPr>
          <p:spPr>
            <a:xfrm>
              <a:off x="2203153" y="2112814"/>
              <a:ext cx="692448" cy="261610"/>
            </a:xfrm>
            <a:prstGeom prst="rect">
              <a:avLst/>
            </a:prstGeom>
          </p:spPr>
          <p:txBody>
            <a:bodyPr wrap="square">
              <a:spAutoFit/>
            </a:bodyPr>
            <a:lstStyle/>
            <a:p>
              <a:pPr algn="ctr"/>
              <a:r>
                <a:rPr lang="en-US" sz="1100" b="1" spc="-30" dirty="0" smtClean="0">
                  <a:solidFill>
                    <a:schemeClr val="bg1"/>
                  </a:solidFill>
                  <a:latin typeface="+mj-lt"/>
                </a:rPr>
                <a:t>NB-</a:t>
              </a:r>
              <a:r>
                <a:rPr lang="en-US" sz="1100" b="1" spc="-30" dirty="0" err="1" smtClean="0">
                  <a:solidFill>
                    <a:schemeClr val="bg1"/>
                  </a:solidFill>
                  <a:latin typeface="+mj-lt"/>
                </a:rPr>
                <a:t>IoT</a:t>
              </a:r>
              <a:endParaRPr lang="en-US" sz="1100" b="1" spc="-30" dirty="0" smtClean="0">
                <a:solidFill>
                  <a:schemeClr val="bg1"/>
                </a:solidFill>
                <a:latin typeface="+mj-lt"/>
              </a:endParaRPr>
            </a:p>
          </p:txBody>
        </p:sp>
      </p:grpSp>
      <p:grpSp>
        <p:nvGrpSpPr>
          <p:cNvPr id="25" name="Group 198"/>
          <p:cNvGrpSpPr/>
          <p:nvPr/>
        </p:nvGrpSpPr>
        <p:grpSpPr>
          <a:xfrm>
            <a:off x="273050" y="4021515"/>
            <a:ext cx="8870950" cy="712232"/>
            <a:chOff x="273050" y="4008993"/>
            <a:chExt cx="8507034" cy="712232"/>
          </a:xfrm>
        </p:grpSpPr>
        <p:sp>
          <p:nvSpPr>
            <p:cNvPr id="103" name="Rectangle 11"/>
            <p:cNvSpPr>
              <a:spLocks noChangeArrowheads="1"/>
            </p:cNvSpPr>
            <p:nvPr/>
          </p:nvSpPr>
          <p:spPr bwMode="auto">
            <a:xfrm>
              <a:off x="273050" y="4008993"/>
              <a:ext cx="8507034" cy="712232"/>
            </a:xfrm>
            <a:prstGeom prst="rect">
              <a:avLst/>
            </a:prstGeom>
            <a:solidFill>
              <a:schemeClr val="accent2"/>
            </a:solidFill>
            <a:ln w="9525">
              <a:noFill/>
              <a:miter lim="800000"/>
              <a:headEnd/>
              <a:tailEnd/>
            </a:ln>
          </p:spPr>
          <p:txBody>
            <a:bodyPr vert="horz" wrap="square" lIns="91440" tIns="45720" rIns="91440" bIns="45720" numCol="2" anchor="t" anchorCtr="0" compatLnSpc="1">
              <a:prstTxWarp prst="textNoShape">
                <a:avLst/>
              </a:prstTxWarp>
            </a:bodyPr>
            <a:lstStyle/>
            <a:p>
              <a:pPr marL="173736" indent="-173736">
                <a:lnSpc>
                  <a:spcPct val="110000"/>
                </a:lnSpc>
                <a:spcBef>
                  <a:spcPts val="200"/>
                </a:spcBef>
                <a:buFont typeface="Wingdings" panose="05000000000000000000" pitchFamily="2" charset="2"/>
                <a:buChar char="§"/>
              </a:pPr>
              <a:endParaRPr lang="en-US" sz="1400" dirty="0" smtClean="0">
                <a:solidFill>
                  <a:schemeClr val="bg1"/>
                </a:solidFill>
                <a:latin typeface="+mj-lt"/>
              </a:endParaRPr>
            </a:p>
          </p:txBody>
        </p:sp>
        <p:sp>
          <p:nvSpPr>
            <p:cNvPr id="106" name="Rectangle 105"/>
            <p:cNvSpPr/>
            <p:nvPr/>
          </p:nvSpPr>
          <p:spPr>
            <a:xfrm>
              <a:off x="530318" y="4255079"/>
              <a:ext cx="8037771" cy="220060"/>
            </a:xfrm>
            <a:prstGeom prst="rect">
              <a:avLst/>
            </a:prstGeom>
          </p:spPr>
          <p:txBody>
            <a:bodyPr wrap="square" lIns="0" tIns="0" rIns="0" bIns="0" numCol="2" spcCol="45720">
              <a:spAutoFit/>
            </a:bodyPr>
            <a:lstStyle/>
            <a:p>
              <a:pPr marL="173736" indent="-173736">
                <a:lnSpc>
                  <a:spcPct val="110000"/>
                </a:lnSpc>
                <a:spcBef>
                  <a:spcPts val="200"/>
                </a:spcBef>
                <a:buFont typeface="Wingdings" panose="05000000000000000000" pitchFamily="2" charset="2"/>
                <a:buChar char="§"/>
              </a:pPr>
              <a:r>
                <a:rPr lang="en-US" sz="1300" dirty="0" smtClean="0">
                  <a:solidFill>
                    <a:schemeClr val="bg1"/>
                  </a:solidFill>
                  <a:latin typeface="+mj-lt"/>
                </a:rPr>
                <a:t>Access Network Fragmentation a Reality</a:t>
              </a:r>
            </a:p>
            <a:p>
              <a:pPr marL="173736" indent="-173736">
                <a:lnSpc>
                  <a:spcPct val="110000"/>
                </a:lnSpc>
                <a:spcBef>
                  <a:spcPts val="200"/>
                </a:spcBef>
                <a:buFont typeface="Wingdings" panose="05000000000000000000" pitchFamily="2" charset="2"/>
                <a:buChar char="§"/>
              </a:pPr>
              <a:r>
                <a:rPr lang="en-US" sz="1300" dirty="0" smtClean="0">
                  <a:solidFill>
                    <a:schemeClr val="bg1"/>
                  </a:solidFill>
                  <a:latin typeface="+mj-lt"/>
                </a:rPr>
                <a:t>SPs Must Offer Customers Choices</a:t>
              </a:r>
            </a:p>
          </p:txBody>
        </p:sp>
      </p:grpSp>
      <p:grpSp>
        <p:nvGrpSpPr>
          <p:cNvPr id="26" name="Group 109"/>
          <p:cNvGrpSpPr/>
          <p:nvPr/>
        </p:nvGrpSpPr>
        <p:grpSpPr>
          <a:xfrm>
            <a:off x="2965904" y="3429940"/>
            <a:ext cx="548640" cy="548640"/>
            <a:chOff x="2965904" y="3429940"/>
            <a:chExt cx="548640" cy="548640"/>
          </a:xfrm>
        </p:grpSpPr>
        <p:sp>
          <p:nvSpPr>
            <p:cNvPr id="165" name="Oval 164"/>
            <p:cNvSpPr/>
            <p:nvPr/>
          </p:nvSpPr>
          <p:spPr>
            <a:xfrm>
              <a:off x="2965904" y="3429940"/>
              <a:ext cx="548640" cy="548640"/>
            </a:xfrm>
            <a:prstGeom prst="ellipse">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07" name="Freeform 5"/>
            <p:cNvSpPr>
              <a:spLocks noEditPoints="1"/>
            </p:cNvSpPr>
            <p:nvPr/>
          </p:nvSpPr>
          <p:spPr bwMode="auto">
            <a:xfrm>
              <a:off x="3080284" y="3571038"/>
              <a:ext cx="319880" cy="266445"/>
            </a:xfrm>
            <a:custGeom>
              <a:avLst/>
              <a:gdLst/>
              <a:ahLst/>
              <a:cxnLst>
                <a:cxn ang="0">
                  <a:pos x="1365" y="442"/>
                </a:cxn>
                <a:cxn ang="0">
                  <a:pos x="1451" y="213"/>
                </a:cxn>
                <a:cxn ang="0">
                  <a:pos x="1536" y="128"/>
                </a:cxn>
                <a:cxn ang="0">
                  <a:pos x="1365" y="85"/>
                </a:cxn>
                <a:cxn ang="0">
                  <a:pos x="1280" y="42"/>
                </a:cxn>
                <a:cxn ang="0">
                  <a:pos x="768" y="435"/>
                </a:cxn>
                <a:cxn ang="0">
                  <a:pos x="853" y="213"/>
                </a:cxn>
                <a:cxn ang="0">
                  <a:pos x="939" y="128"/>
                </a:cxn>
                <a:cxn ang="0">
                  <a:pos x="768" y="85"/>
                </a:cxn>
                <a:cxn ang="0">
                  <a:pos x="683" y="42"/>
                </a:cxn>
                <a:cxn ang="0">
                  <a:pos x="97" y="589"/>
                </a:cxn>
                <a:cxn ang="0">
                  <a:pos x="97" y="1544"/>
                </a:cxn>
                <a:cxn ang="0">
                  <a:pos x="1150" y="1704"/>
                </a:cxn>
                <a:cxn ang="0">
                  <a:pos x="1729" y="1630"/>
                </a:cxn>
                <a:cxn ang="0">
                  <a:pos x="2048" y="725"/>
                </a:cxn>
                <a:cxn ang="0">
                  <a:pos x="1707" y="585"/>
                </a:cxn>
                <a:cxn ang="0">
                  <a:pos x="1334" y="793"/>
                </a:cxn>
                <a:cxn ang="0">
                  <a:pos x="1024" y="512"/>
                </a:cxn>
                <a:cxn ang="0">
                  <a:pos x="1024" y="768"/>
                </a:cxn>
                <a:cxn ang="0">
                  <a:pos x="1024" y="512"/>
                </a:cxn>
                <a:cxn ang="0">
                  <a:pos x="829" y="777"/>
                </a:cxn>
                <a:cxn ang="0">
                  <a:pos x="274" y="605"/>
                </a:cxn>
                <a:cxn ang="0">
                  <a:pos x="85" y="1408"/>
                </a:cxn>
                <a:cxn ang="0">
                  <a:pos x="299" y="1291"/>
                </a:cxn>
                <a:cxn ang="0">
                  <a:pos x="208" y="1168"/>
                </a:cxn>
                <a:cxn ang="0">
                  <a:pos x="146" y="891"/>
                </a:cxn>
                <a:cxn ang="0">
                  <a:pos x="208" y="826"/>
                </a:cxn>
                <a:cxn ang="0">
                  <a:pos x="563" y="864"/>
                </a:cxn>
                <a:cxn ang="0">
                  <a:pos x="208" y="826"/>
                </a:cxn>
                <a:cxn ang="0">
                  <a:pos x="384" y="1312"/>
                </a:cxn>
                <a:cxn ang="0">
                  <a:pos x="725" y="1270"/>
                </a:cxn>
                <a:cxn ang="0">
                  <a:pos x="725" y="1015"/>
                </a:cxn>
                <a:cxn ang="0">
                  <a:pos x="811" y="1615"/>
                </a:cxn>
                <a:cxn ang="0">
                  <a:pos x="853" y="1617"/>
                </a:cxn>
                <a:cxn ang="0">
                  <a:pos x="939" y="1620"/>
                </a:cxn>
                <a:cxn ang="0">
                  <a:pos x="1109" y="1364"/>
                </a:cxn>
                <a:cxn ang="0">
                  <a:pos x="1195" y="1617"/>
                </a:cxn>
                <a:cxn ang="0">
                  <a:pos x="1237" y="1615"/>
                </a:cxn>
                <a:cxn ang="0">
                  <a:pos x="811" y="1275"/>
                </a:cxn>
                <a:cxn ang="0">
                  <a:pos x="1237" y="1019"/>
                </a:cxn>
                <a:cxn ang="0">
                  <a:pos x="758" y="919"/>
                </a:cxn>
                <a:cxn ang="0">
                  <a:pos x="1024" y="853"/>
                </a:cxn>
                <a:cxn ang="0">
                  <a:pos x="1290" y="919"/>
                </a:cxn>
                <a:cxn ang="0">
                  <a:pos x="1323" y="1609"/>
                </a:cxn>
                <a:cxn ang="0">
                  <a:pos x="1664" y="1558"/>
                </a:cxn>
                <a:cxn ang="0">
                  <a:pos x="1323" y="1015"/>
                </a:cxn>
                <a:cxn ang="0">
                  <a:pos x="1698" y="875"/>
                </a:cxn>
                <a:cxn ang="0">
                  <a:pos x="1493" y="896"/>
                </a:cxn>
                <a:cxn ang="0">
                  <a:pos x="1963" y="725"/>
                </a:cxn>
                <a:cxn ang="0">
                  <a:pos x="1749" y="949"/>
                </a:cxn>
                <a:cxn ang="0">
                  <a:pos x="1963" y="1066"/>
                </a:cxn>
                <a:cxn ang="0">
                  <a:pos x="1749" y="949"/>
                </a:cxn>
                <a:cxn ang="0">
                  <a:pos x="1749" y="1291"/>
                </a:cxn>
                <a:cxn ang="0">
                  <a:pos x="1963" y="1408"/>
                </a:cxn>
              </a:cxnLst>
              <a:rect l="0" t="0" r="r" b="b"/>
              <a:pathLst>
                <a:path w="2048" h="1706">
                  <a:moveTo>
                    <a:pt x="1951" y="589"/>
                  </a:moveTo>
                  <a:cubicBezTo>
                    <a:pt x="1898" y="556"/>
                    <a:pt x="1823" y="527"/>
                    <a:pt x="1729" y="503"/>
                  </a:cubicBezTo>
                  <a:cubicBezTo>
                    <a:pt x="1624" y="475"/>
                    <a:pt x="1500" y="455"/>
                    <a:pt x="1365" y="442"/>
                  </a:cubicBezTo>
                  <a:cubicBezTo>
                    <a:pt x="1365" y="170"/>
                    <a:pt x="1365" y="170"/>
                    <a:pt x="1365" y="170"/>
                  </a:cubicBezTo>
                  <a:cubicBezTo>
                    <a:pt x="1408" y="170"/>
                    <a:pt x="1408" y="170"/>
                    <a:pt x="1408" y="170"/>
                  </a:cubicBezTo>
                  <a:cubicBezTo>
                    <a:pt x="1408" y="194"/>
                    <a:pt x="1427" y="213"/>
                    <a:pt x="1451" y="213"/>
                  </a:cubicBezTo>
                  <a:cubicBezTo>
                    <a:pt x="1536" y="213"/>
                    <a:pt x="1536" y="213"/>
                    <a:pt x="1536" y="213"/>
                  </a:cubicBezTo>
                  <a:cubicBezTo>
                    <a:pt x="1560" y="213"/>
                    <a:pt x="1579" y="194"/>
                    <a:pt x="1579" y="170"/>
                  </a:cubicBezTo>
                  <a:cubicBezTo>
                    <a:pt x="1579" y="147"/>
                    <a:pt x="1560" y="128"/>
                    <a:pt x="1536" y="128"/>
                  </a:cubicBezTo>
                  <a:cubicBezTo>
                    <a:pt x="1493" y="128"/>
                    <a:pt x="1493" y="128"/>
                    <a:pt x="1493" y="128"/>
                  </a:cubicBezTo>
                  <a:cubicBezTo>
                    <a:pt x="1493" y="104"/>
                    <a:pt x="1474" y="85"/>
                    <a:pt x="1451" y="85"/>
                  </a:cubicBezTo>
                  <a:cubicBezTo>
                    <a:pt x="1365" y="85"/>
                    <a:pt x="1365" y="85"/>
                    <a:pt x="1365" y="85"/>
                  </a:cubicBezTo>
                  <a:cubicBezTo>
                    <a:pt x="1365" y="42"/>
                    <a:pt x="1365" y="42"/>
                    <a:pt x="1365" y="42"/>
                  </a:cubicBezTo>
                  <a:cubicBezTo>
                    <a:pt x="1365" y="19"/>
                    <a:pt x="1346" y="0"/>
                    <a:pt x="1323" y="0"/>
                  </a:cubicBezTo>
                  <a:cubicBezTo>
                    <a:pt x="1299" y="0"/>
                    <a:pt x="1280" y="19"/>
                    <a:pt x="1280" y="42"/>
                  </a:cubicBezTo>
                  <a:cubicBezTo>
                    <a:pt x="1280" y="435"/>
                    <a:pt x="1280" y="435"/>
                    <a:pt x="1280" y="435"/>
                  </a:cubicBezTo>
                  <a:cubicBezTo>
                    <a:pt x="1197" y="429"/>
                    <a:pt x="1112" y="426"/>
                    <a:pt x="1024" y="426"/>
                  </a:cubicBezTo>
                  <a:cubicBezTo>
                    <a:pt x="936" y="426"/>
                    <a:pt x="851" y="429"/>
                    <a:pt x="768" y="435"/>
                  </a:cubicBezTo>
                  <a:cubicBezTo>
                    <a:pt x="768" y="170"/>
                    <a:pt x="768" y="170"/>
                    <a:pt x="768" y="170"/>
                  </a:cubicBezTo>
                  <a:cubicBezTo>
                    <a:pt x="811" y="170"/>
                    <a:pt x="811" y="170"/>
                    <a:pt x="811" y="170"/>
                  </a:cubicBezTo>
                  <a:cubicBezTo>
                    <a:pt x="811" y="194"/>
                    <a:pt x="830" y="213"/>
                    <a:pt x="853" y="213"/>
                  </a:cubicBezTo>
                  <a:cubicBezTo>
                    <a:pt x="939" y="213"/>
                    <a:pt x="939" y="213"/>
                    <a:pt x="939" y="213"/>
                  </a:cubicBezTo>
                  <a:cubicBezTo>
                    <a:pt x="962" y="213"/>
                    <a:pt x="981" y="194"/>
                    <a:pt x="981" y="170"/>
                  </a:cubicBezTo>
                  <a:cubicBezTo>
                    <a:pt x="981" y="147"/>
                    <a:pt x="962" y="128"/>
                    <a:pt x="939" y="128"/>
                  </a:cubicBezTo>
                  <a:cubicBezTo>
                    <a:pt x="896" y="128"/>
                    <a:pt x="896" y="128"/>
                    <a:pt x="896" y="128"/>
                  </a:cubicBezTo>
                  <a:cubicBezTo>
                    <a:pt x="896" y="104"/>
                    <a:pt x="877" y="85"/>
                    <a:pt x="853" y="85"/>
                  </a:cubicBezTo>
                  <a:cubicBezTo>
                    <a:pt x="768" y="85"/>
                    <a:pt x="768" y="85"/>
                    <a:pt x="768" y="85"/>
                  </a:cubicBezTo>
                  <a:cubicBezTo>
                    <a:pt x="768" y="42"/>
                    <a:pt x="768" y="42"/>
                    <a:pt x="768" y="42"/>
                  </a:cubicBezTo>
                  <a:cubicBezTo>
                    <a:pt x="768" y="19"/>
                    <a:pt x="749" y="0"/>
                    <a:pt x="725" y="0"/>
                  </a:cubicBezTo>
                  <a:cubicBezTo>
                    <a:pt x="702" y="0"/>
                    <a:pt x="683" y="19"/>
                    <a:pt x="683" y="42"/>
                  </a:cubicBezTo>
                  <a:cubicBezTo>
                    <a:pt x="683" y="442"/>
                    <a:pt x="683" y="442"/>
                    <a:pt x="683" y="442"/>
                  </a:cubicBezTo>
                  <a:cubicBezTo>
                    <a:pt x="548" y="455"/>
                    <a:pt x="424" y="475"/>
                    <a:pt x="319" y="503"/>
                  </a:cubicBezTo>
                  <a:cubicBezTo>
                    <a:pt x="225" y="527"/>
                    <a:pt x="150" y="556"/>
                    <a:pt x="97" y="589"/>
                  </a:cubicBezTo>
                  <a:cubicBezTo>
                    <a:pt x="33" y="629"/>
                    <a:pt x="0" y="675"/>
                    <a:pt x="0" y="725"/>
                  </a:cubicBezTo>
                  <a:cubicBezTo>
                    <a:pt x="0" y="1408"/>
                    <a:pt x="0" y="1408"/>
                    <a:pt x="0" y="1408"/>
                  </a:cubicBezTo>
                  <a:cubicBezTo>
                    <a:pt x="0" y="1458"/>
                    <a:pt x="33" y="1504"/>
                    <a:pt x="97" y="1544"/>
                  </a:cubicBezTo>
                  <a:cubicBezTo>
                    <a:pt x="150" y="1576"/>
                    <a:pt x="225" y="1605"/>
                    <a:pt x="319" y="1630"/>
                  </a:cubicBezTo>
                  <a:cubicBezTo>
                    <a:pt x="508" y="1679"/>
                    <a:pt x="758" y="1706"/>
                    <a:pt x="1024" y="1706"/>
                  </a:cubicBezTo>
                  <a:cubicBezTo>
                    <a:pt x="1066" y="1706"/>
                    <a:pt x="1108" y="1706"/>
                    <a:pt x="1150" y="1704"/>
                  </a:cubicBezTo>
                  <a:cubicBezTo>
                    <a:pt x="1151" y="1704"/>
                    <a:pt x="1151" y="1704"/>
                    <a:pt x="1152" y="1704"/>
                  </a:cubicBezTo>
                  <a:cubicBezTo>
                    <a:pt x="1154" y="1704"/>
                    <a:pt x="1155" y="1704"/>
                    <a:pt x="1157" y="1704"/>
                  </a:cubicBezTo>
                  <a:cubicBezTo>
                    <a:pt x="1373" y="1696"/>
                    <a:pt x="1572" y="1671"/>
                    <a:pt x="1729" y="1630"/>
                  </a:cubicBezTo>
                  <a:cubicBezTo>
                    <a:pt x="1823" y="1605"/>
                    <a:pt x="1898" y="1576"/>
                    <a:pt x="1951" y="1544"/>
                  </a:cubicBezTo>
                  <a:cubicBezTo>
                    <a:pt x="2015" y="1504"/>
                    <a:pt x="2048" y="1458"/>
                    <a:pt x="2048" y="1408"/>
                  </a:cubicBezTo>
                  <a:cubicBezTo>
                    <a:pt x="2048" y="725"/>
                    <a:pt x="2048" y="725"/>
                    <a:pt x="2048" y="725"/>
                  </a:cubicBezTo>
                  <a:cubicBezTo>
                    <a:pt x="2048" y="675"/>
                    <a:pt x="2015" y="629"/>
                    <a:pt x="1951" y="589"/>
                  </a:cubicBezTo>
                  <a:close/>
                  <a:moveTo>
                    <a:pt x="1348" y="526"/>
                  </a:moveTo>
                  <a:cubicBezTo>
                    <a:pt x="1481" y="538"/>
                    <a:pt x="1604" y="558"/>
                    <a:pt x="1707" y="585"/>
                  </a:cubicBezTo>
                  <a:cubicBezTo>
                    <a:pt x="1731" y="592"/>
                    <a:pt x="1754" y="598"/>
                    <a:pt x="1774" y="605"/>
                  </a:cubicBezTo>
                  <a:cubicBezTo>
                    <a:pt x="1405" y="811"/>
                    <a:pt x="1405" y="811"/>
                    <a:pt x="1405" y="811"/>
                  </a:cubicBezTo>
                  <a:cubicBezTo>
                    <a:pt x="1382" y="804"/>
                    <a:pt x="1357" y="798"/>
                    <a:pt x="1334" y="793"/>
                  </a:cubicBezTo>
                  <a:cubicBezTo>
                    <a:pt x="1300" y="787"/>
                    <a:pt x="1261" y="781"/>
                    <a:pt x="1219" y="777"/>
                  </a:cubicBezTo>
                  <a:lnTo>
                    <a:pt x="1348" y="526"/>
                  </a:lnTo>
                  <a:close/>
                  <a:moveTo>
                    <a:pt x="1024" y="512"/>
                  </a:moveTo>
                  <a:cubicBezTo>
                    <a:pt x="1103" y="512"/>
                    <a:pt x="1181" y="514"/>
                    <a:pt x="1255" y="519"/>
                  </a:cubicBezTo>
                  <a:cubicBezTo>
                    <a:pt x="1127" y="770"/>
                    <a:pt x="1127" y="770"/>
                    <a:pt x="1127" y="770"/>
                  </a:cubicBezTo>
                  <a:cubicBezTo>
                    <a:pt x="1093" y="768"/>
                    <a:pt x="1059" y="768"/>
                    <a:pt x="1024" y="768"/>
                  </a:cubicBezTo>
                  <a:cubicBezTo>
                    <a:pt x="989" y="768"/>
                    <a:pt x="955" y="768"/>
                    <a:pt x="921" y="770"/>
                  </a:cubicBezTo>
                  <a:cubicBezTo>
                    <a:pt x="793" y="519"/>
                    <a:pt x="793" y="519"/>
                    <a:pt x="793" y="519"/>
                  </a:cubicBezTo>
                  <a:cubicBezTo>
                    <a:pt x="867" y="514"/>
                    <a:pt x="945" y="512"/>
                    <a:pt x="1024" y="512"/>
                  </a:cubicBezTo>
                  <a:close/>
                  <a:moveTo>
                    <a:pt x="341" y="585"/>
                  </a:moveTo>
                  <a:cubicBezTo>
                    <a:pt x="444" y="558"/>
                    <a:pt x="566" y="538"/>
                    <a:pt x="700" y="526"/>
                  </a:cubicBezTo>
                  <a:cubicBezTo>
                    <a:pt x="829" y="777"/>
                    <a:pt x="829" y="777"/>
                    <a:pt x="829" y="777"/>
                  </a:cubicBezTo>
                  <a:cubicBezTo>
                    <a:pt x="787" y="781"/>
                    <a:pt x="748" y="787"/>
                    <a:pt x="714" y="793"/>
                  </a:cubicBezTo>
                  <a:cubicBezTo>
                    <a:pt x="691" y="798"/>
                    <a:pt x="666" y="804"/>
                    <a:pt x="643" y="811"/>
                  </a:cubicBezTo>
                  <a:cubicBezTo>
                    <a:pt x="274" y="605"/>
                    <a:pt x="274" y="605"/>
                    <a:pt x="274" y="605"/>
                  </a:cubicBezTo>
                  <a:cubicBezTo>
                    <a:pt x="294" y="598"/>
                    <a:pt x="316" y="592"/>
                    <a:pt x="341" y="585"/>
                  </a:cubicBezTo>
                  <a:close/>
                  <a:moveTo>
                    <a:pt x="299" y="1536"/>
                  </a:moveTo>
                  <a:cubicBezTo>
                    <a:pt x="131" y="1486"/>
                    <a:pt x="85" y="1433"/>
                    <a:pt x="85" y="1408"/>
                  </a:cubicBezTo>
                  <a:cubicBezTo>
                    <a:pt x="85" y="1195"/>
                    <a:pt x="85" y="1195"/>
                    <a:pt x="85" y="1195"/>
                  </a:cubicBezTo>
                  <a:cubicBezTo>
                    <a:pt x="102" y="1207"/>
                    <a:pt x="122" y="1220"/>
                    <a:pt x="146" y="1232"/>
                  </a:cubicBezTo>
                  <a:cubicBezTo>
                    <a:pt x="188" y="1254"/>
                    <a:pt x="240" y="1274"/>
                    <a:pt x="299" y="1291"/>
                  </a:cubicBezTo>
                  <a:lnTo>
                    <a:pt x="299" y="1536"/>
                  </a:lnTo>
                  <a:close/>
                  <a:moveTo>
                    <a:pt x="299" y="1202"/>
                  </a:moveTo>
                  <a:cubicBezTo>
                    <a:pt x="262" y="1190"/>
                    <a:pt x="232" y="1179"/>
                    <a:pt x="208" y="1168"/>
                  </a:cubicBezTo>
                  <a:cubicBezTo>
                    <a:pt x="99" y="1118"/>
                    <a:pt x="86" y="1070"/>
                    <a:pt x="85" y="1064"/>
                  </a:cubicBezTo>
                  <a:cubicBezTo>
                    <a:pt x="85" y="853"/>
                    <a:pt x="85" y="853"/>
                    <a:pt x="85" y="853"/>
                  </a:cubicBezTo>
                  <a:cubicBezTo>
                    <a:pt x="102" y="866"/>
                    <a:pt x="122" y="878"/>
                    <a:pt x="146" y="891"/>
                  </a:cubicBezTo>
                  <a:cubicBezTo>
                    <a:pt x="188" y="913"/>
                    <a:pt x="240" y="933"/>
                    <a:pt x="299" y="949"/>
                  </a:cubicBezTo>
                  <a:lnTo>
                    <a:pt x="299" y="1202"/>
                  </a:lnTo>
                  <a:close/>
                  <a:moveTo>
                    <a:pt x="208" y="826"/>
                  </a:moveTo>
                  <a:cubicBezTo>
                    <a:pt x="101" y="777"/>
                    <a:pt x="87" y="730"/>
                    <a:pt x="85" y="723"/>
                  </a:cubicBezTo>
                  <a:cubicBezTo>
                    <a:pt x="87" y="706"/>
                    <a:pt x="108" y="677"/>
                    <a:pt x="172" y="645"/>
                  </a:cubicBezTo>
                  <a:cubicBezTo>
                    <a:pt x="563" y="864"/>
                    <a:pt x="563" y="864"/>
                    <a:pt x="563" y="864"/>
                  </a:cubicBezTo>
                  <a:cubicBezTo>
                    <a:pt x="558" y="874"/>
                    <a:pt x="555" y="884"/>
                    <a:pt x="555" y="896"/>
                  </a:cubicBezTo>
                  <a:cubicBezTo>
                    <a:pt x="555" y="902"/>
                    <a:pt x="555" y="907"/>
                    <a:pt x="557" y="913"/>
                  </a:cubicBezTo>
                  <a:cubicBezTo>
                    <a:pt x="382" y="890"/>
                    <a:pt x="274" y="857"/>
                    <a:pt x="208" y="826"/>
                  </a:cubicBezTo>
                  <a:close/>
                  <a:moveTo>
                    <a:pt x="725" y="1609"/>
                  </a:moveTo>
                  <a:cubicBezTo>
                    <a:pt x="600" y="1598"/>
                    <a:pt x="484" y="1581"/>
                    <a:pt x="384" y="1558"/>
                  </a:cubicBezTo>
                  <a:cubicBezTo>
                    <a:pt x="384" y="1312"/>
                    <a:pt x="384" y="1312"/>
                    <a:pt x="384" y="1312"/>
                  </a:cubicBezTo>
                  <a:cubicBezTo>
                    <a:pt x="481" y="1333"/>
                    <a:pt x="595" y="1347"/>
                    <a:pt x="725" y="1356"/>
                  </a:cubicBezTo>
                  <a:lnTo>
                    <a:pt x="725" y="1609"/>
                  </a:lnTo>
                  <a:close/>
                  <a:moveTo>
                    <a:pt x="725" y="1270"/>
                  </a:moveTo>
                  <a:cubicBezTo>
                    <a:pt x="581" y="1260"/>
                    <a:pt x="469" y="1243"/>
                    <a:pt x="384" y="1224"/>
                  </a:cubicBezTo>
                  <a:cubicBezTo>
                    <a:pt x="384" y="971"/>
                    <a:pt x="384" y="971"/>
                    <a:pt x="384" y="971"/>
                  </a:cubicBezTo>
                  <a:cubicBezTo>
                    <a:pt x="481" y="991"/>
                    <a:pt x="595" y="1006"/>
                    <a:pt x="725" y="1015"/>
                  </a:cubicBezTo>
                  <a:lnTo>
                    <a:pt x="725" y="1270"/>
                  </a:lnTo>
                  <a:close/>
                  <a:moveTo>
                    <a:pt x="853" y="1617"/>
                  </a:moveTo>
                  <a:cubicBezTo>
                    <a:pt x="839" y="1616"/>
                    <a:pt x="825" y="1616"/>
                    <a:pt x="811" y="1615"/>
                  </a:cubicBezTo>
                  <a:cubicBezTo>
                    <a:pt x="811" y="1361"/>
                    <a:pt x="811" y="1361"/>
                    <a:pt x="811" y="1361"/>
                  </a:cubicBezTo>
                  <a:cubicBezTo>
                    <a:pt x="825" y="1361"/>
                    <a:pt x="839" y="1362"/>
                    <a:pt x="853" y="1362"/>
                  </a:cubicBezTo>
                  <a:lnTo>
                    <a:pt x="853" y="1617"/>
                  </a:lnTo>
                  <a:close/>
                  <a:moveTo>
                    <a:pt x="1109" y="1620"/>
                  </a:moveTo>
                  <a:cubicBezTo>
                    <a:pt x="1081" y="1621"/>
                    <a:pt x="1053" y="1621"/>
                    <a:pt x="1024" y="1621"/>
                  </a:cubicBezTo>
                  <a:cubicBezTo>
                    <a:pt x="995" y="1621"/>
                    <a:pt x="967" y="1621"/>
                    <a:pt x="939" y="1620"/>
                  </a:cubicBezTo>
                  <a:cubicBezTo>
                    <a:pt x="939" y="1364"/>
                    <a:pt x="939" y="1364"/>
                    <a:pt x="939" y="1364"/>
                  </a:cubicBezTo>
                  <a:cubicBezTo>
                    <a:pt x="967" y="1365"/>
                    <a:pt x="995" y="1365"/>
                    <a:pt x="1024" y="1365"/>
                  </a:cubicBezTo>
                  <a:cubicBezTo>
                    <a:pt x="1053" y="1365"/>
                    <a:pt x="1081" y="1365"/>
                    <a:pt x="1109" y="1364"/>
                  </a:cubicBezTo>
                  <a:lnTo>
                    <a:pt x="1109" y="1620"/>
                  </a:lnTo>
                  <a:close/>
                  <a:moveTo>
                    <a:pt x="1237" y="1615"/>
                  </a:moveTo>
                  <a:cubicBezTo>
                    <a:pt x="1223" y="1616"/>
                    <a:pt x="1209" y="1616"/>
                    <a:pt x="1195" y="1617"/>
                  </a:cubicBezTo>
                  <a:cubicBezTo>
                    <a:pt x="1195" y="1362"/>
                    <a:pt x="1195" y="1362"/>
                    <a:pt x="1195" y="1362"/>
                  </a:cubicBezTo>
                  <a:cubicBezTo>
                    <a:pt x="1209" y="1362"/>
                    <a:pt x="1223" y="1361"/>
                    <a:pt x="1237" y="1361"/>
                  </a:cubicBezTo>
                  <a:lnTo>
                    <a:pt x="1237" y="1615"/>
                  </a:lnTo>
                  <a:close/>
                  <a:moveTo>
                    <a:pt x="1237" y="1275"/>
                  </a:moveTo>
                  <a:cubicBezTo>
                    <a:pt x="1163" y="1278"/>
                    <a:pt x="1091" y="1280"/>
                    <a:pt x="1024" y="1280"/>
                  </a:cubicBezTo>
                  <a:cubicBezTo>
                    <a:pt x="947" y="1280"/>
                    <a:pt x="876" y="1278"/>
                    <a:pt x="811" y="1275"/>
                  </a:cubicBezTo>
                  <a:cubicBezTo>
                    <a:pt x="811" y="1019"/>
                    <a:pt x="811" y="1019"/>
                    <a:pt x="811" y="1019"/>
                  </a:cubicBezTo>
                  <a:cubicBezTo>
                    <a:pt x="878" y="1022"/>
                    <a:pt x="949" y="1024"/>
                    <a:pt x="1024" y="1024"/>
                  </a:cubicBezTo>
                  <a:cubicBezTo>
                    <a:pt x="1099" y="1024"/>
                    <a:pt x="1170" y="1022"/>
                    <a:pt x="1237" y="1019"/>
                  </a:cubicBezTo>
                  <a:lnTo>
                    <a:pt x="1237" y="1275"/>
                  </a:lnTo>
                  <a:close/>
                  <a:moveTo>
                    <a:pt x="1024" y="938"/>
                  </a:moveTo>
                  <a:cubicBezTo>
                    <a:pt x="926" y="938"/>
                    <a:pt x="832" y="931"/>
                    <a:pt x="758" y="919"/>
                  </a:cubicBezTo>
                  <a:cubicBezTo>
                    <a:pt x="710" y="911"/>
                    <a:pt x="680" y="903"/>
                    <a:pt x="662" y="896"/>
                  </a:cubicBezTo>
                  <a:cubicBezTo>
                    <a:pt x="680" y="889"/>
                    <a:pt x="710" y="880"/>
                    <a:pt x="758" y="872"/>
                  </a:cubicBezTo>
                  <a:cubicBezTo>
                    <a:pt x="832" y="860"/>
                    <a:pt x="926" y="853"/>
                    <a:pt x="1024" y="853"/>
                  </a:cubicBezTo>
                  <a:cubicBezTo>
                    <a:pt x="1122" y="853"/>
                    <a:pt x="1216" y="860"/>
                    <a:pt x="1290" y="872"/>
                  </a:cubicBezTo>
                  <a:cubicBezTo>
                    <a:pt x="1338" y="880"/>
                    <a:pt x="1368" y="889"/>
                    <a:pt x="1386" y="896"/>
                  </a:cubicBezTo>
                  <a:cubicBezTo>
                    <a:pt x="1368" y="903"/>
                    <a:pt x="1338" y="911"/>
                    <a:pt x="1290" y="919"/>
                  </a:cubicBezTo>
                  <a:cubicBezTo>
                    <a:pt x="1216" y="931"/>
                    <a:pt x="1122" y="938"/>
                    <a:pt x="1024" y="938"/>
                  </a:cubicBezTo>
                  <a:close/>
                  <a:moveTo>
                    <a:pt x="1664" y="1558"/>
                  </a:moveTo>
                  <a:cubicBezTo>
                    <a:pt x="1564" y="1581"/>
                    <a:pt x="1448" y="1598"/>
                    <a:pt x="1323" y="1609"/>
                  </a:cubicBezTo>
                  <a:cubicBezTo>
                    <a:pt x="1323" y="1356"/>
                    <a:pt x="1323" y="1356"/>
                    <a:pt x="1323" y="1356"/>
                  </a:cubicBezTo>
                  <a:cubicBezTo>
                    <a:pt x="1453" y="1347"/>
                    <a:pt x="1567" y="1333"/>
                    <a:pt x="1664" y="1312"/>
                  </a:cubicBezTo>
                  <a:lnTo>
                    <a:pt x="1664" y="1558"/>
                  </a:lnTo>
                  <a:close/>
                  <a:moveTo>
                    <a:pt x="1664" y="1224"/>
                  </a:moveTo>
                  <a:cubicBezTo>
                    <a:pt x="1560" y="1248"/>
                    <a:pt x="1441" y="1262"/>
                    <a:pt x="1323" y="1270"/>
                  </a:cubicBezTo>
                  <a:cubicBezTo>
                    <a:pt x="1323" y="1015"/>
                    <a:pt x="1323" y="1015"/>
                    <a:pt x="1323" y="1015"/>
                  </a:cubicBezTo>
                  <a:cubicBezTo>
                    <a:pt x="1453" y="1006"/>
                    <a:pt x="1567" y="991"/>
                    <a:pt x="1664" y="971"/>
                  </a:cubicBezTo>
                  <a:lnTo>
                    <a:pt x="1664" y="1224"/>
                  </a:lnTo>
                  <a:close/>
                  <a:moveTo>
                    <a:pt x="1698" y="875"/>
                  </a:moveTo>
                  <a:cubicBezTo>
                    <a:pt x="1697" y="875"/>
                    <a:pt x="1695" y="875"/>
                    <a:pt x="1694" y="876"/>
                  </a:cubicBezTo>
                  <a:cubicBezTo>
                    <a:pt x="1631" y="892"/>
                    <a:pt x="1562" y="904"/>
                    <a:pt x="1491" y="913"/>
                  </a:cubicBezTo>
                  <a:cubicBezTo>
                    <a:pt x="1493" y="907"/>
                    <a:pt x="1493" y="902"/>
                    <a:pt x="1493" y="896"/>
                  </a:cubicBezTo>
                  <a:cubicBezTo>
                    <a:pt x="1493" y="884"/>
                    <a:pt x="1490" y="874"/>
                    <a:pt x="1485" y="864"/>
                  </a:cubicBezTo>
                  <a:cubicBezTo>
                    <a:pt x="1876" y="645"/>
                    <a:pt x="1876" y="645"/>
                    <a:pt x="1876" y="645"/>
                  </a:cubicBezTo>
                  <a:cubicBezTo>
                    <a:pt x="1942" y="678"/>
                    <a:pt x="1963" y="708"/>
                    <a:pt x="1963" y="725"/>
                  </a:cubicBezTo>
                  <a:cubicBezTo>
                    <a:pt x="1963" y="725"/>
                    <a:pt x="1952" y="769"/>
                    <a:pt x="1863" y="815"/>
                  </a:cubicBezTo>
                  <a:cubicBezTo>
                    <a:pt x="1817" y="839"/>
                    <a:pt x="1761" y="859"/>
                    <a:pt x="1698" y="875"/>
                  </a:cubicBezTo>
                  <a:close/>
                  <a:moveTo>
                    <a:pt x="1749" y="949"/>
                  </a:moveTo>
                  <a:cubicBezTo>
                    <a:pt x="1808" y="933"/>
                    <a:pt x="1860" y="913"/>
                    <a:pt x="1902" y="891"/>
                  </a:cubicBezTo>
                  <a:cubicBezTo>
                    <a:pt x="1926" y="878"/>
                    <a:pt x="1946" y="866"/>
                    <a:pt x="1963" y="853"/>
                  </a:cubicBezTo>
                  <a:cubicBezTo>
                    <a:pt x="1963" y="1066"/>
                    <a:pt x="1963" y="1066"/>
                    <a:pt x="1963" y="1066"/>
                  </a:cubicBezTo>
                  <a:cubicBezTo>
                    <a:pt x="1963" y="1067"/>
                    <a:pt x="1952" y="1110"/>
                    <a:pt x="1863" y="1156"/>
                  </a:cubicBezTo>
                  <a:cubicBezTo>
                    <a:pt x="1830" y="1174"/>
                    <a:pt x="1791" y="1189"/>
                    <a:pt x="1749" y="1202"/>
                  </a:cubicBezTo>
                  <a:lnTo>
                    <a:pt x="1749" y="949"/>
                  </a:lnTo>
                  <a:close/>
                  <a:moveTo>
                    <a:pt x="1963" y="1408"/>
                  </a:moveTo>
                  <a:cubicBezTo>
                    <a:pt x="1963" y="1433"/>
                    <a:pt x="1916" y="1486"/>
                    <a:pt x="1749" y="1536"/>
                  </a:cubicBezTo>
                  <a:cubicBezTo>
                    <a:pt x="1749" y="1291"/>
                    <a:pt x="1749" y="1291"/>
                    <a:pt x="1749" y="1291"/>
                  </a:cubicBezTo>
                  <a:cubicBezTo>
                    <a:pt x="1808" y="1274"/>
                    <a:pt x="1860" y="1254"/>
                    <a:pt x="1902" y="1232"/>
                  </a:cubicBezTo>
                  <a:cubicBezTo>
                    <a:pt x="1926" y="1220"/>
                    <a:pt x="1946" y="1207"/>
                    <a:pt x="1963" y="1195"/>
                  </a:cubicBezTo>
                  <a:lnTo>
                    <a:pt x="1963" y="1408"/>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7" name="Group 117"/>
          <p:cNvGrpSpPr/>
          <p:nvPr/>
        </p:nvGrpSpPr>
        <p:grpSpPr>
          <a:xfrm>
            <a:off x="645816" y="3429940"/>
            <a:ext cx="548640" cy="548640"/>
            <a:chOff x="645816" y="3429940"/>
            <a:chExt cx="548640" cy="548640"/>
          </a:xfrm>
        </p:grpSpPr>
        <p:sp>
          <p:nvSpPr>
            <p:cNvPr id="162" name="Oval 161"/>
            <p:cNvSpPr/>
            <p:nvPr/>
          </p:nvSpPr>
          <p:spPr>
            <a:xfrm>
              <a:off x="645816" y="3429940"/>
              <a:ext cx="548640" cy="548640"/>
            </a:xfrm>
            <a:prstGeom prst="ellipse">
              <a:avLst/>
            </a:prstGeom>
            <a:solidFill>
              <a:schemeClr val="bg1"/>
            </a:solidFill>
            <a:ln w="9525">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17" name="Freeform 10"/>
            <p:cNvSpPr>
              <a:spLocks noEditPoints="1"/>
            </p:cNvSpPr>
            <p:nvPr/>
          </p:nvSpPr>
          <p:spPr bwMode="auto">
            <a:xfrm>
              <a:off x="698520" y="3567114"/>
              <a:ext cx="389432" cy="314948"/>
            </a:xfrm>
            <a:custGeom>
              <a:avLst/>
              <a:gdLst/>
              <a:ahLst/>
              <a:cxnLst>
                <a:cxn ang="0">
                  <a:pos x="1413" y="976"/>
                </a:cxn>
                <a:cxn ang="0">
                  <a:pos x="2053" y="42"/>
                </a:cxn>
                <a:cxn ang="0">
                  <a:pos x="2012" y="1"/>
                </a:cxn>
                <a:cxn ang="0">
                  <a:pos x="1075" y="636"/>
                </a:cxn>
                <a:cxn ang="0">
                  <a:pos x="532" y="1264"/>
                </a:cxn>
                <a:cxn ang="0">
                  <a:pos x="553" y="1046"/>
                </a:cxn>
                <a:cxn ang="0">
                  <a:pos x="615" y="78"/>
                </a:cxn>
                <a:cxn ang="0">
                  <a:pos x="267" y="571"/>
                </a:cxn>
                <a:cxn ang="0">
                  <a:pos x="436" y="1185"/>
                </a:cxn>
                <a:cxn ang="0">
                  <a:pos x="353" y="1354"/>
                </a:cxn>
                <a:cxn ang="0">
                  <a:pos x="28" y="1517"/>
                </a:cxn>
                <a:cxn ang="0">
                  <a:pos x="43" y="1590"/>
                </a:cxn>
                <a:cxn ang="0">
                  <a:pos x="569" y="1330"/>
                </a:cxn>
                <a:cxn ang="0">
                  <a:pos x="1013" y="1381"/>
                </a:cxn>
                <a:cxn ang="0">
                  <a:pos x="1442" y="1661"/>
                </a:cxn>
                <a:cxn ang="0">
                  <a:pos x="1896" y="1408"/>
                </a:cxn>
                <a:cxn ang="0">
                  <a:pos x="1145" y="1174"/>
                </a:cxn>
                <a:cxn ang="0">
                  <a:pos x="772" y="1208"/>
                </a:cxn>
                <a:cxn ang="0">
                  <a:pos x="1348" y="982"/>
                </a:cxn>
                <a:cxn ang="0">
                  <a:pos x="342" y="576"/>
                </a:cxn>
                <a:cxn ang="0">
                  <a:pos x="775" y="603"/>
                </a:cxn>
                <a:cxn ang="0">
                  <a:pos x="567" y="969"/>
                </a:cxn>
                <a:cxn ang="0">
                  <a:pos x="553" y="557"/>
                </a:cxn>
                <a:cxn ang="0">
                  <a:pos x="491" y="961"/>
                </a:cxn>
                <a:cxn ang="0">
                  <a:pos x="1424" y="1350"/>
                </a:cxn>
                <a:cxn ang="0">
                  <a:pos x="1181" y="1241"/>
                </a:cxn>
                <a:cxn ang="0">
                  <a:pos x="1814" y="1426"/>
                </a:cxn>
                <a:cxn ang="0">
                  <a:pos x="1159" y="1501"/>
                </a:cxn>
                <a:cxn ang="0">
                  <a:pos x="1423" y="1426"/>
                </a:cxn>
                <a:cxn ang="0">
                  <a:pos x="1461" y="1389"/>
                </a:cxn>
                <a:cxn ang="0">
                  <a:pos x="1149" y="651"/>
                </a:cxn>
                <a:cxn ang="0">
                  <a:pos x="1972" y="82"/>
                </a:cxn>
                <a:cxn ang="0">
                  <a:pos x="1399" y="902"/>
                </a:cxn>
                <a:cxn ang="0">
                  <a:pos x="1473" y="645"/>
                </a:cxn>
                <a:cxn ang="0">
                  <a:pos x="1416" y="595"/>
                </a:cxn>
                <a:cxn ang="0">
                  <a:pos x="1149" y="651"/>
                </a:cxn>
              </a:cxnLst>
              <a:rect l="0" t="0" r="r" b="b"/>
              <a:pathLst>
                <a:path w="2054" h="1661">
                  <a:moveTo>
                    <a:pt x="1348" y="982"/>
                  </a:moveTo>
                  <a:cubicBezTo>
                    <a:pt x="1369" y="982"/>
                    <a:pt x="1391" y="980"/>
                    <a:pt x="1413" y="976"/>
                  </a:cubicBezTo>
                  <a:cubicBezTo>
                    <a:pt x="1523" y="955"/>
                    <a:pt x="1639" y="883"/>
                    <a:pt x="1761" y="762"/>
                  </a:cubicBezTo>
                  <a:cubicBezTo>
                    <a:pt x="2013" y="511"/>
                    <a:pt x="2051" y="61"/>
                    <a:pt x="2053" y="42"/>
                  </a:cubicBezTo>
                  <a:cubicBezTo>
                    <a:pt x="2054" y="31"/>
                    <a:pt x="2050" y="20"/>
                    <a:pt x="2042" y="12"/>
                  </a:cubicBezTo>
                  <a:cubicBezTo>
                    <a:pt x="2034" y="4"/>
                    <a:pt x="2023" y="0"/>
                    <a:pt x="2012" y="1"/>
                  </a:cubicBezTo>
                  <a:cubicBezTo>
                    <a:pt x="1993" y="2"/>
                    <a:pt x="1544" y="40"/>
                    <a:pt x="1292" y="291"/>
                  </a:cubicBezTo>
                  <a:cubicBezTo>
                    <a:pt x="1170" y="412"/>
                    <a:pt x="1098" y="528"/>
                    <a:pt x="1075" y="636"/>
                  </a:cubicBezTo>
                  <a:cubicBezTo>
                    <a:pt x="1057" y="723"/>
                    <a:pt x="1073" y="803"/>
                    <a:pt x="1122" y="868"/>
                  </a:cubicBezTo>
                  <a:cubicBezTo>
                    <a:pt x="919" y="1032"/>
                    <a:pt x="703" y="1167"/>
                    <a:pt x="532" y="1264"/>
                  </a:cubicBezTo>
                  <a:cubicBezTo>
                    <a:pt x="512" y="1276"/>
                    <a:pt x="492" y="1287"/>
                    <a:pt x="473" y="1297"/>
                  </a:cubicBezTo>
                  <a:cubicBezTo>
                    <a:pt x="499" y="1240"/>
                    <a:pt x="529" y="1158"/>
                    <a:pt x="553" y="1046"/>
                  </a:cubicBezTo>
                  <a:cubicBezTo>
                    <a:pt x="691" y="1041"/>
                    <a:pt x="832" y="907"/>
                    <a:pt x="850" y="608"/>
                  </a:cubicBezTo>
                  <a:cubicBezTo>
                    <a:pt x="868" y="326"/>
                    <a:pt x="625" y="88"/>
                    <a:pt x="615" y="78"/>
                  </a:cubicBezTo>
                  <a:cubicBezTo>
                    <a:pt x="602" y="65"/>
                    <a:pt x="581" y="63"/>
                    <a:pt x="566" y="75"/>
                  </a:cubicBezTo>
                  <a:cubicBezTo>
                    <a:pt x="555" y="83"/>
                    <a:pt x="284" y="289"/>
                    <a:pt x="267" y="571"/>
                  </a:cubicBezTo>
                  <a:cubicBezTo>
                    <a:pt x="249" y="848"/>
                    <a:pt x="353" y="997"/>
                    <a:pt x="477" y="1036"/>
                  </a:cubicBezTo>
                  <a:cubicBezTo>
                    <a:pt x="464" y="1097"/>
                    <a:pt x="450" y="1146"/>
                    <a:pt x="436" y="1185"/>
                  </a:cubicBezTo>
                  <a:cubicBezTo>
                    <a:pt x="396" y="1302"/>
                    <a:pt x="354" y="1353"/>
                    <a:pt x="353" y="1354"/>
                  </a:cubicBezTo>
                  <a:cubicBezTo>
                    <a:pt x="353" y="1354"/>
                    <a:pt x="353" y="1354"/>
                    <a:pt x="353" y="1354"/>
                  </a:cubicBezTo>
                  <a:cubicBezTo>
                    <a:pt x="344" y="1364"/>
                    <a:pt x="334" y="1372"/>
                    <a:pt x="323" y="1377"/>
                  </a:cubicBezTo>
                  <a:cubicBezTo>
                    <a:pt x="149" y="1467"/>
                    <a:pt x="30" y="1517"/>
                    <a:pt x="28" y="1517"/>
                  </a:cubicBezTo>
                  <a:cubicBezTo>
                    <a:pt x="9" y="1525"/>
                    <a:pt x="0" y="1547"/>
                    <a:pt x="8" y="1567"/>
                  </a:cubicBezTo>
                  <a:cubicBezTo>
                    <a:pt x="14" y="1581"/>
                    <a:pt x="28" y="1590"/>
                    <a:pt x="43" y="1590"/>
                  </a:cubicBezTo>
                  <a:cubicBezTo>
                    <a:pt x="48" y="1590"/>
                    <a:pt x="53" y="1589"/>
                    <a:pt x="57" y="1587"/>
                  </a:cubicBezTo>
                  <a:cubicBezTo>
                    <a:pt x="60" y="1586"/>
                    <a:pt x="284" y="1492"/>
                    <a:pt x="569" y="1330"/>
                  </a:cubicBezTo>
                  <a:cubicBezTo>
                    <a:pt x="611" y="1307"/>
                    <a:pt x="655" y="1280"/>
                    <a:pt x="702" y="1252"/>
                  </a:cubicBezTo>
                  <a:cubicBezTo>
                    <a:pt x="729" y="1273"/>
                    <a:pt x="822" y="1337"/>
                    <a:pt x="1013" y="1381"/>
                  </a:cubicBezTo>
                  <a:cubicBezTo>
                    <a:pt x="1017" y="1507"/>
                    <a:pt x="1136" y="1637"/>
                    <a:pt x="1406" y="1660"/>
                  </a:cubicBezTo>
                  <a:cubicBezTo>
                    <a:pt x="1418" y="1661"/>
                    <a:pt x="1430" y="1661"/>
                    <a:pt x="1442" y="1661"/>
                  </a:cubicBezTo>
                  <a:cubicBezTo>
                    <a:pt x="1682" y="1661"/>
                    <a:pt x="1883" y="1466"/>
                    <a:pt x="1892" y="1457"/>
                  </a:cubicBezTo>
                  <a:cubicBezTo>
                    <a:pt x="1905" y="1444"/>
                    <a:pt x="1907" y="1423"/>
                    <a:pt x="1896" y="1408"/>
                  </a:cubicBezTo>
                  <a:cubicBezTo>
                    <a:pt x="1889" y="1397"/>
                    <a:pt x="1707" y="1148"/>
                    <a:pt x="1451" y="1126"/>
                  </a:cubicBezTo>
                  <a:cubicBezTo>
                    <a:pt x="1329" y="1116"/>
                    <a:pt x="1223" y="1132"/>
                    <a:pt x="1145" y="1174"/>
                  </a:cubicBezTo>
                  <a:cubicBezTo>
                    <a:pt x="1085" y="1206"/>
                    <a:pt x="1044" y="1252"/>
                    <a:pt x="1025" y="1306"/>
                  </a:cubicBezTo>
                  <a:cubicBezTo>
                    <a:pt x="890" y="1274"/>
                    <a:pt x="810" y="1232"/>
                    <a:pt x="772" y="1208"/>
                  </a:cubicBezTo>
                  <a:cubicBezTo>
                    <a:pt x="901" y="1127"/>
                    <a:pt x="1041" y="1031"/>
                    <a:pt x="1175" y="922"/>
                  </a:cubicBezTo>
                  <a:cubicBezTo>
                    <a:pt x="1224" y="962"/>
                    <a:pt x="1283" y="982"/>
                    <a:pt x="1348" y="982"/>
                  </a:cubicBezTo>
                  <a:close/>
                  <a:moveTo>
                    <a:pt x="392" y="870"/>
                  </a:moveTo>
                  <a:cubicBezTo>
                    <a:pt x="352" y="797"/>
                    <a:pt x="335" y="696"/>
                    <a:pt x="342" y="576"/>
                  </a:cubicBezTo>
                  <a:cubicBezTo>
                    <a:pt x="355" y="377"/>
                    <a:pt x="521" y="214"/>
                    <a:pt x="586" y="157"/>
                  </a:cubicBezTo>
                  <a:cubicBezTo>
                    <a:pt x="643" y="221"/>
                    <a:pt x="787" y="404"/>
                    <a:pt x="775" y="603"/>
                  </a:cubicBezTo>
                  <a:cubicBezTo>
                    <a:pt x="767" y="723"/>
                    <a:pt x="738" y="822"/>
                    <a:pt x="688" y="888"/>
                  </a:cubicBezTo>
                  <a:cubicBezTo>
                    <a:pt x="654" y="935"/>
                    <a:pt x="612" y="963"/>
                    <a:pt x="567" y="969"/>
                  </a:cubicBezTo>
                  <a:cubicBezTo>
                    <a:pt x="583" y="866"/>
                    <a:pt x="593" y="742"/>
                    <a:pt x="591" y="595"/>
                  </a:cubicBezTo>
                  <a:cubicBezTo>
                    <a:pt x="591" y="574"/>
                    <a:pt x="574" y="557"/>
                    <a:pt x="553" y="557"/>
                  </a:cubicBezTo>
                  <a:cubicBezTo>
                    <a:pt x="532" y="558"/>
                    <a:pt x="515" y="575"/>
                    <a:pt x="516" y="596"/>
                  </a:cubicBezTo>
                  <a:cubicBezTo>
                    <a:pt x="517" y="742"/>
                    <a:pt x="507" y="863"/>
                    <a:pt x="491" y="961"/>
                  </a:cubicBezTo>
                  <a:cubicBezTo>
                    <a:pt x="452" y="947"/>
                    <a:pt x="418" y="916"/>
                    <a:pt x="392" y="870"/>
                  </a:cubicBezTo>
                  <a:close/>
                  <a:moveTo>
                    <a:pt x="1424" y="1350"/>
                  </a:moveTo>
                  <a:cubicBezTo>
                    <a:pt x="1295" y="1349"/>
                    <a:pt x="1188" y="1338"/>
                    <a:pt x="1100" y="1322"/>
                  </a:cubicBezTo>
                  <a:cubicBezTo>
                    <a:pt x="1114" y="1289"/>
                    <a:pt x="1141" y="1262"/>
                    <a:pt x="1181" y="1241"/>
                  </a:cubicBezTo>
                  <a:cubicBezTo>
                    <a:pt x="1246" y="1206"/>
                    <a:pt x="1337" y="1192"/>
                    <a:pt x="1445" y="1202"/>
                  </a:cubicBezTo>
                  <a:cubicBezTo>
                    <a:pt x="1620" y="1216"/>
                    <a:pt x="1762" y="1364"/>
                    <a:pt x="1814" y="1426"/>
                  </a:cubicBezTo>
                  <a:cubicBezTo>
                    <a:pt x="1752" y="1477"/>
                    <a:pt x="1588" y="1599"/>
                    <a:pt x="1412" y="1584"/>
                  </a:cubicBezTo>
                  <a:cubicBezTo>
                    <a:pt x="1305" y="1575"/>
                    <a:pt x="1217" y="1547"/>
                    <a:pt x="1159" y="1501"/>
                  </a:cubicBezTo>
                  <a:cubicBezTo>
                    <a:pt x="1120" y="1471"/>
                    <a:pt x="1096" y="1436"/>
                    <a:pt x="1090" y="1397"/>
                  </a:cubicBezTo>
                  <a:cubicBezTo>
                    <a:pt x="1182" y="1413"/>
                    <a:pt x="1292" y="1425"/>
                    <a:pt x="1423" y="1426"/>
                  </a:cubicBezTo>
                  <a:cubicBezTo>
                    <a:pt x="1423" y="1426"/>
                    <a:pt x="1423" y="1426"/>
                    <a:pt x="1423" y="1426"/>
                  </a:cubicBezTo>
                  <a:cubicBezTo>
                    <a:pt x="1444" y="1426"/>
                    <a:pt x="1461" y="1409"/>
                    <a:pt x="1461" y="1389"/>
                  </a:cubicBezTo>
                  <a:cubicBezTo>
                    <a:pt x="1462" y="1368"/>
                    <a:pt x="1445" y="1351"/>
                    <a:pt x="1424" y="1350"/>
                  </a:cubicBezTo>
                  <a:close/>
                  <a:moveTo>
                    <a:pt x="1149" y="651"/>
                  </a:moveTo>
                  <a:cubicBezTo>
                    <a:pt x="1168" y="559"/>
                    <a:pt x="1236" y="453"/>
                    <a:pt x="1345" y="344"/>
                  </a:cubicBezTo>
                  <a:cubicBezTo>
                    <a:pt x="1533" y="158"/>
                    <a:pt x="1853" y="98"/>
                    <a:pt x="1972" y="82"/>
                  </a:cubicBezTo>
                  <a:cubicBezTo>
                    <a:pt x="1956" y="201"/>
                    <a:pt x="1895" y="522"/>
                    <a:pt x="1708" y="709"/>
                  </a:cubicBezTo>
                  <a:cubicBezTo>
                    <a:pt x="1599" y="817"/>
                    <a:pt x="1492" y="884"/>
                    <a:pt x="1399" y="902"/>
                  </a:cubicBezTo>
                  <a:cubicBezTo>
                    <a:pt x="1336" y="914"/>
                    <a:pt x="1281" y="904"/>
                    <a:pt x="1235" y="872"/>
                  </a:cubicBezTo>
                  <a:cubicBezTo>
                    <a:pt x="1318" y="801"/>
                    <a:pt x="1399" y="725"/>
                    <a:pt x="1473" y="645"/>
                  </a:cubicBezTo>
                  <a:cubicBezTo>
                    <a:pt x="1487" y="629"/>
                    <a:pt x="1485" y="604"/>
                    <a:pt x="1468" y="590"/>
                  </a:cubicBezTo>
                  <a:cubicBezTo>
                    <a:pt x="1452" y="577"/>
                    <a:pt x="1429" y="580"/>
                    <a:pt x="1416" y="595"/>
                  </a:cubicBezTo>
                  <a:cubicBezTo>
                    <a:pt x="1343" y="674"/>
                    <a:pt x="1263" y="749"/>
                    <a:pt x="1180" y="819"/>
                  </a:cubicBezTo>
                  <a:cubicBezTo>
                    <a:pt x="1147" y="772"/>
                    <a:pt x="1136" y="716"/>
                    <a:pt x="1149" y="651"/>
                  </a:cubicBezTo>
                  <a:close/>
                </a:path>
              </a:pathLst>
            </a:cu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lt1"/>
                </a:solidFill>
                <a:latin typeface="+mj-lt"/>
                <a:ea typeface="+mn-ea"/>
              </a:endParaRPr>
            </a:p>
          </p:txBody>
        </p:sp>
      </p:grpSp>
      <p:grpSp>
        <p:nvGrpSpPr>
          <p:cNvPr id="28" name="Group 118"/>
          <p:cNvGrpSpPr/>
          <p:nvPr/>
        </p:nvGrpSpPr>
        <p:grpSpPr>
          <a:xfrm>
            <a:off x="5112583" y="3450477"/>
            <a:ext cx="548640" cy="548640"/>
            <a:chOff x="5112583" y="3450477"/>
            <a:chExt cx="548640" cy="548640"/>
          </a:xfrm>
        </p:grpSpPr>
        <p:sp>
          <p:nvSpPr>
            <p:cNvPr id="123" name="Oval 122"/>
            <p:cNvSpPr/>
            <p:nvPr/>
          </p:nvSpPr>
          <p:spPr>
            <a:xfrm>
              <a:off x="5112583" y="3450477"/>
              <a:ext cx="548640" cy="54864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7599" name="Freeform 15"/>
            <p:cNvSpPr>
              <a:spLocks noEditPoints="1"/>
            </p:cNvSpPr>
            <p:nvPr/>
          </p:nvSpPr>
          <p:spPr bwMode="auto">
            <a:xfrm>
              <a:off x="5221044" y="3558903"/>
              <a:ext cx="331719" cy="331788"/>
            </a:xfrm>
            <a:custGeom>
              <a:avLst/>
              <a:gdLst/>
              <a:ahLst/>
              <a:cxnLst>
                <a:cxn ang="0">
                  <a:pos x="1420" y="1718"/>
                </a:cxn>
                <a:cxn ang="0">
                  <a:pos x="1354" y="1453"/>
                </a:cxn>
                <a:cxn ang="0">
                  <a:pos x="1212" y="1156"/>
                </a:cxn>
                <a:cxn ang="0">
                  <a:pos x="1652" y="567"/>
                </a:cxn>
                <a:cxn ang="0">
                  <a:pos x="1718" y="231"/>
                </a:cxn>
                <a:cxn ang="0">
                  <a:pos x="793" y="132"/>
                </a:cxn>
                <a:cxn ang="0">
                  <a:pos x="157" y="0"/>
                </a:cxn>
                <a:cxn ang="0">
                  <a:pos x="264" y="198"/>
                </a:cxn>
                <a:cxn ang="0">
                  <a:pos x="0" y="384"/>
                </a:cxn>
                <a:cxn ang="0">
                  <a:pos x="661" y="330"/>
                </a:cxn>
                <a:cxn ang="0">
                  <a:pos x="1268" y="396"/>
                </a:cxn>
                <a:cxn ang="0">
                  <a:pos x="593" y="1267"/>
                </a:cxn>
                <a:cxn ang="0">
                  <a:pos x="892" y="1519"/>
                </a:cxn>
                <a:cxn ang="0">
                  <a:pos x="892" y="1718"/>
                </a:cxn>
                <a:cxn ang="0">
                  <a:pos x="529" y="2048"/>
                </a:cxn>
                <a:cxn ang="0">
                  <a:pos x="1354" y="1784"/>
                </a:cxn>
                <a:cxn ang="0">
                  <a:pos x="66" y="343"/>
                </a:cxn>
                <a:cxn ang="0">
                  <a:pos x="330" y="132"/>
                </a:cxn>
                <a:cxn ang="0">
                  <a:pos x="173" y="66"/>
                </a:cxn>
                <a:cxn ang="0">
                  <a:pos x="595" y="396"/>
                </a:cxn>
                <a:cxn ang="0">
                  <a:pos x="595" y="66"/>
                </a:cxn>
                <a:cxn ang="0">
                  <a:pos x="661" y="264"/>
                </a:cxn>
                <a:cxn ang="0">
                  <a:pos x="793" y="264"/>
                </a:cxn>
                <a:cxn ang="0">
                  <a:pos x="1288" y="1586"/>
                </a:cxn>
                <a:cxn ang="0">
                  <a:pos x="1288" y="1718"/>
                </a:cxn>
                <a:cxn ang="0">
                  <a:pos x="958" y="1718"/>
                </a:cxn>
                <a:cxn ang="0">
                  <a:pos x="1024" y="1586"/>
                </a:cxn>
                <a:cxn ang="0">
                  <a:pos x="1024" y="1652"/>
                </a:cxn>
                <a:cxn ang="0">
                  <a:pos x="1222" y="1586"/>
                </a:cxn>
                <a:cxn ang="0">
                  <a:pos x="958" y="1519"/>
                </a:cxn>
                <a:cxn ang="0">
                  <a:pos x="1288" y="1519"/>
                </a:cxn>
                <a:cxn ang="0">
                  <a:pos x="1551" y="774"/>
                </a:cxn>
                <a:cxn ang="0">
                  <a:pos x="1040" y="1092"/>
                </a:cxn>
                <a:cxn ang="0">
                  <a:pos x="925" y="330"/>
                </a:cxn>
                <a:cxn ang="0">
                  <a:pos x="925" y="132"/>
                </a:cxn>
                <a:cxn ang="0">
                  <a:pos x="991" y="132"/>
                </a:cxn>
                <a:cxn ang="0">
                  <a:pos x="1652" y="330"/>
                </a:cxn>
                <a:cxn ang="0">
                  <a:pos x="1652" y="396"/>
                </a:cxn>
                <a:cxn ang="0">
                  <a:pos x="993" y="1045"/>
                </a:cxn>
                <a:cxn ang="0">
                  <a:pos x="1367" y="396"/>
                </a:cxn>
                <a:cxn ang="0">
                  <a:pos x="595" y="1112"/>
                </a:cxn>
                <a:cxn ang="0">
                  <a:pos x="1076" y="1222"/>
                </a:cxn>
                <a:cxn ang="0">
                  <a:pos x="806" y="1387"/>
                </a:cxn>
                <a:cxn ang="0">
                  <a:pos x="958" y="1652"/>
                </a:cxn>
                <a:cxn ang="0">
                  <a:pos x="1982" y="1982"/>
                </a:cxn>
                <a:cxn ang="0">
                  <a:pos x="1850" y="1916"/>
                </a:cxn>
                <a:cxn ang="0">
                  <a:pos x="1784" y="1916"/>
                </a:cxn>
                <a:cxn ang="0">
                  <a:pos x="1652" y="1982"/>
                </a:cxn>
                <a:cxn ang="0">
                  <a:pos x="1586" y="1982"/>
                </a:cxn>
                <a:cxn ang="0">
                  <a:pos x="1453" y="1916"/>
                </a:cxn>
                <a:cxn ang="0">
                  <a:pos x="1387" y="1916"/>
                </a:cxn>
                <a:cxn ang="0">
                  <a:pos x="1255" y="1982"/>
                </a:cxn>
                <a:cxn ang="0">
                  <a:pos x="1189" y="1982"/>
                </a:cxn>
                <a:cxn ang="0">
                  <a:pos x="1057" y="1916"/>
                </a:cxn>
                <a:cxn ang="0">
                  <a:pos x="991" y="1916"/>
                </a:cxn>
                <a:cxn ang="0">
                  <a:pos x="859" y="1982"/>
                </a:cxn>
                <a:cxn ang="0">
                  <a:pos x="793" y="1982"/>
                </a:cxn>
                <a:cxn ang="0">
                  <a:pos x="661" y="1916"/>
                </a:cxn>
                <a:cxn ang="0">
                  <a:pos x="595" y="1850"/>
                </a:cxn>
                <a:cxn ang="0">
                  <a:pos x="743" y="1024"/>
                </a:cxn>
                <a:cxn ang="0">
                  <a:pos x="826" y="1107"/>
                </a:cxn>
                <a:cxn ang="0">
                  <a:pos x="727" y="1107"/>
                </a:cxn>
                <a:cxn ang="0">
                  <a:pos x="743" y="1123"/>
                </a:cxn>
              </a:cxnLst>
              <a:rect l="0" t="0" r="r" b="b"/>
              <a:pathLst>
                <a:path w="2048" h="2048">
                  <a:moveTo>
                    <a:pt x="1354" y="1784"/>
                  </a:moveTo>
                  <a:cubicBezTo>
                    <a:pt x="1354" y="1718"/>
                    <a:pt x="1354" y="1718"/>
                    <a:pt x="1354" y="1718"/>
                  </a:cubicBezTo>
                  <a:cubicBezTo>
                    <a:pt x="1420" y="1718"/>
                    <a:pt x="1420" y="1718"/>
                    <a:pt x="1420" y="1718"/>
                  </a:cubicBezTo>
                  <a:cubicBezTo>
                    <a:pt x="1420" y="1519"/>
                    <a:pt x="1420" y="1519"/>
                    <a:pt x="1420" y="1519"/>
                  </a:cubicBezTo>
                  <a:cubicBezTo>
                    <a:pt x="1354" y="1519"/>
                    <a:pt x="1354" y="1519"/>
                    <a:pt x="1354" y="1519"/>
                  </a:cubicBezTo>
                  <a:cubicBezTo>
                    <a:pt x="1354" y="1453"/>
                    <a:pt x="1354" y="1453"/>
                    <a:pt x="1354" y="1453"/>
                  </a:cubicBezTo>
                  <a:cubicBezTo>
                    <a:pt x="1486" y="1453"/>
                    <a:pt x="1486" y="1453"/>
                    <a:pt x="1486" y="1453"/>
                  </a:cubicBezTo>
                  <a:cubicBezTo>
                    <a:pt x="1486" y="1156"/>
                    <a:pt x="1486" y="1156"/>
                    <a:pt x="1486" y="1156"/>
                  </a:cubicBezTo>
                  <a:cubicBezTo>
                    <a:pt x="1212" y="1156"/>
                    <a:pt x="1212" y="1156"/>
                    <a:pt x="1212" y="1156"/>
                  </a:cubicBezTo>
                  <a:cubicBezTo>
                    <a:pt x="1595" y="824"/>
                    <a:pt x="1595" y="824"/>
                    <a:pt x="1595" y="824"/>
                  </a:cubicBezTo>
                  <a:cubicBezTo>
                    <a:pt x="1631" y="793"/>
                    <a:pt x="1652" y="747"/>
                    <a:pt x="1652" y="699"/>
                  </a:cubicBezTo>
                  <a:cubicBezTo>
                    <a:pt x="1652" y="567"/>
                    <a:pt x="1652" y="567"/>
                    <a:pt x="1652" y="567"/>
                  </a:cubicBezTo>
                  <a:cubicBezTo>
                    <a:pt x="1683" y="540"/>
                    <a:pt x="1683" y="540"/>
                    <a:pt x="1683" y="540"/>
                  </a:cubicBezTo>
                  <a:cubicBezTo>
                    <a:pt x="1705" y="521"/>
                    <a:pt x="1718" y="494"/>
                    <a:pt x="1718" y="465"/>
                  </a:cubicBezTo>
                  <a:cubicBezTo>
                    <a:pt x="1718" y="231"/>
                    <a:pt x="1718" y="231"/>
                    <a:pt x="1718" y="231"/>
                  </a:cubicBezTo>
                  <a:cubicBezTo>
                    <a:pt x="1718" y="140"/>
                    <a:pt x="1644" y="66"/>
                    <a:pt x="1553" y="66"/>
                  </a:cubicBezTo>
                  <a:cubicBezTo>
                    <a:pt x="793" y="66"/>
                    <a:pt x="793" y="66"/>
                    <a:pt x="793" y="66"/>
                  </a:cubicBezTo>
                  <a:cubicBezTo>
                    <a:pt x="793" y="132"/>
                    <a:pt x="793" y="132"/>
                    <a:pt x="793" y="132"/>
                  </a:cubicBezTo>
                  <a:cubicBezTo>
                    <a:pt x="661" y="132"/>
                    <a:pt x="661" y="132"/>
                    <a:pt x="661" y="132"/>
                  </a:cubicBezTo>
                  <a:cubicBezTo>
                    <a:pt x="661" y="0"/>
                    <a:pt x="661" y="0"/>
                    <a:pt x="661" y="0"/>
                  </a:cubicBezTo>
                  <a:cubicBezTo>
                    <a:pt x="157" y="0"/>
                    <a:pt x="157" y="0"/>
                    <a:pt x="157" y="0"/>
                  </a:cubicBezTo>
                  <a:cubicBezTo>
                    <a:pt x="0" y="79"/>
                    <a:pt x="0" y="79"/>
                    <a:pt x="0" y="79"/>
                  </a:cubicBezTo>
                  <a:cubicBezTo>
                    <a:pt x="0" y="198"/>
                    <a:pt x="0" y="198"/>
                    <a:pt x="0" y="198"/>
                  </a:cubicBezTo>
                  <a:cubicBezTo>
                    <a:pt x="264" y="198"/>
                    <a:pt x="264" y="198"/>
                    <a:pt x="264" y="198"/>
                  </a:cubicBezTo>
                  <a:cubicBezTo>
                    <a:pt x="264" y="264"/>
                    <a:pt x="264" y="264"/>
                    <a:pt x="264" y="264"/>
                  </a:cubicBezTo>
                  <a:cubicBezTo>
                    <a:pt x="0" y="264"/>
                    <a:pt x="0" y="264"/>
                    <a:pt x="0" y="264"/>
                  </a:cubicBezTo>
                  <a:cubicBezTo>
                    <a:pt x="0" y="384"/>
                    <a:pt x="0" y="384"/>
                    <a:pt x="0" y="384"/>
                  </a:cubicBezTo>
                  <a:cubicBezTo>
                    <a:pt x="157" y="462"/>
                    <a:pt x="157" y="462"/>
                    <a:pt x="157" y="462"/>
                  </a:cubicBezTo>
                  <a:cubicBezTo>
                    <a:pt x="661" y="462"/>
                    <a:pt x="661" y="462"/>
                    <a:pt x="661" y="462"/>
                  </a:cubicBezTo>
                  <a:cubicBezTo>
                    <a:pt x="661" y="330"/>
                    <a:pt x="661" y="330"/>
                    <a:pt x="661" y="330"/>
                  </a:cubicBezTo>
                  <a:cubicBezTo>
                    <a:pt x="793" y="330"/>
                    <a:pt x="793" y="330"/>
                    <a:pt x="793" y="330"/>
                  </a:cubicBezTo>
                  <a:cubicBezTo>
                    <a:pt x="793" y="396"/>
                    <a:pt x="793" y="396"/>
                    <a:pt x="793" y="396"/>
                  </a:cubicBezTo>
                  <a:cubicBezTo>
                    <a:pt x="1268" y="396"/>
                    <a:pt x="1268" y="396"/>
                    <a:pt x="1268" y="396"/>
                  </a:cubicBezTo>
                  <a:cubicBezTo>
                    <a:pt x="710" y="895"/>
                    <a:pt x="710" y="895"/>
                    <a:pt x="710" y="895"/>
                  </a:cubicBezTo>
                  <a:cubicBezTo>
                    <a:pt x="607" y="914"/>
                    <a:pt x="529" y="1004"/>
                    <a:pt x="529" y="1112"/>
                  </a:cubicBezTo>
                  <a:cubicBezTo>
                    <a:pt x="529" y="1170"/>
                    <a:pt x="551" y="1226"/>
                    <a:pt x="593" y="1267"/>
                  </a:cubicBezTo>
                  <a:cubicBezTo>
                    <a:pt x="779" y="1453"/>
                    <a:pt x="779" y="1453"/>
                    <a:pt x="779" y="1453"/>
                  </a:cubicBezTo>
                  <a:cubicBezTo>
                    <a:pt x="892" y="1453"/>
                    <a:pt x="892" y="1453"/>
                    <a:pt x="892" y="1453"/>
                  </a:cubicBezTo>
                  <a:cubicBezTo>
                    <a:pt x="892" y="1519"/>
                    <a:pt x="892" y="1519"/>
                    <a:pt x="892" y="1519"/>
                  </a:cubicBezTo>
                  <a:cubicBezTo>
                    <a:pt x="826" y="1519"/>
                    <a:pt x="826" y="1519"/>
                    <a:pt x="826" y="1519"/>
                  </a:cubicBezTo>
                  <a:cubicBezTo>
                    <a:pt x="826" y="1718"/>
                    <a:pt x="826" y="1718"/>
                    <a:pt x="826" y="1718"/>
                  </a:cubicBezTo>
                  <a:cubicBezTo>
                    <a:pt x="892" y="1718"/>
                    <a:pt x="892" y="1718"/>
                    <a:pt x="892" y="1718"/>
                  </a:cubicBezTo>
                  <a:cubicBezTo>
                    <a:pt x="892" y="1784"/>
                    <a:pt x="892" y="1784"/>
                    <a:pt x="892" y="1784"/>
                  </a:cubicBezTo>
                  <a:cubicBezTo>
                    <a:pt x="529" y="1784"/>
                    <a:pt x="529" y="1784"/>
                    <a:pt x="529" y="1784"/>
                  </a:cubicBezTo>
                  <a:cubicBezTo>
                    <a:pt x="529" y="2048"/>
                    <a:pt x="529" y="2048"/>
                    <a:pt x="529" y="2048"/>
                  </a:cubicBezTo>
                  <a:cubicBezTo>
                    <a:pt x="2048" y="2048"/>
                    <a:pt x="2048" y="2048"/>
                    <a:pt x="2048" y="2048"/>
                  </a:cubicBezTo>
                  <a:cubicBezTo>
                    <a:pt x="2048" y="1784"/>
                    <a:pt x="2048" y="1784"/>
                    <a:pt x="2048" y="1784"/>
                  </a:cubicBezTo>
                  <a:lnTo>
                    <a:pt x="1354" y="1784"/>
                  </a:lnTo>
                  <a:close/>
                  <a:moveTo>
                    <a:pt x="396" y="396"/>
                  </a:moveTo>
                  <a:cubicBezTo>
                    <a:pt x="173" y="396"/>
                    <a:pt x="173" y="396"/>
                    <a:pt x="173" y="396"/>
                  </a:cubicBezTo>
                  <a:cubicBezTo>
                    <a:pt x="66" y="343"/>
                    <a:pt x="66" y="343"/>
                    <a:pt x="66" y="343"/>
                  </a:cubicBezTo>
                  <a:cubicBezTo>
                    <a:pt x="66" y="330"/>
                    <a:pt x="66" y="330"/>
                    <a:pt x="66" y="330"/>
                  </a:cubicBezTo>
                  <a:cubicBezTo>
                    <a:pt x="330" y="330"/>
                    <a:pt x="330" y="330"/>
                    <a:pt x="330" y="330"/>
                  </a:cubicBezTo>
                  <a:cubicBezTo>
                    <a:pt x="330" y="132"/>
                    <a:pt x="330" y="132"/>
                    <a:pt x="330" y="132"/>
                  </a:cubicBezTo>
                  <a:cubicBezTo>
                    <a:pt x="66" y="132"/>
                    <a:pt x="66" y="132"/>
                    <a:pt x="66" y="132"/>
                  </a:cubicBezTo>
                  <a:cubicBezTo>
                    <a:pt x="66" y="120"/>
                    <a:pt x="66" y="120"/>
                    <a:pt x="66" y="120"/>
                  </a:cubicBezTo>
                  <a:cubicBezTo>
                    <a:pt x="173" y="66"/>
                    <a:pt x="173" y="66"/>
                    <a:pt x="173" y="66"/>
                  </a:cubicBezTo>
                  <a:cubicBezTo>
                    <a:pt x="396" y="66"/>
                    <a:pt x="396" y="66"/>
                    <a:pt x="396" y="66"/>
                  </a:cubicBezTo>
                  <a:lnTo>
                    <a:pt x="396" y="396"/>
                  </a:lnTo>
                  <a:close/>
                  <a:moveTo>
                    <a:pt x="595" y="396"/>
                  </a:moveTo>
                  <a:cubicBezTo>
                    <a:pt x="462" y="396"/>
                    <a:pt x="462" y="396"/>
                    <a:pt x="462" y="396"/>
                  </a:cubicBezTo>
                  <a:cubicBezTo>
                    <a:pt x="462" y="66"/>
                    <a:pt x="462" y="66"/>
                    <a:pt x="462" y="66"/>
                  </a:cubicBezTo>
                  <a:cubicBezTo>
                    <a:pt x="595" y="66"/>
                    <a:pt x="595" y="66"/>
                    <a:pt x="595" y="66"/>
                  </a:cubicBezTo>
                  <a:lnTo>
                    <a:pt x="595" y="396"/>
                  </a:lnTo>
                  <a:close/>
                  <a:moveTo>
                    <a:pt x="793" y="264"/>
                  </a:moveTo>
                  <a:cubicBezTo>
                    <a:pt x="661" y="264"/>
                    <a:pt x="661" y="264"/>
                    <a:pt x="661" y="264"/>
                  </a:cubicBezTo>
                  <a:cubicBezTo>
                    <a:pt x="661" y="198"/>
                    <a:pt x="661" y="198"/>
                    <a:pt x="661" y="198"/>
                  </a:cubicBezTo>
                  <a:cubicBezTo>
                    <a:pt x="793" y="198"/>
                    <a:pt x="793" y="198"/>
                    <a:pt x="793" y="198"/>
                  </a:cubicBezTo>
                  <a:lnTo>
                    <a:pt x="793" y="264"/>
                  </a:lnTo>
                  <a:close/>
                  <a:moveTo>
                    <a:pt x="1354" y="1652"/>
                  </a:moveTo>
                  <a:cubicBezTo>
                    <a:pt x="1288" y="1652"/>
                    <a:pt x="1288" y="1652"/>
                    <a:pt x="1288" y="1652"/>
                  </a:cubicBezTo>
                  <a:cubicBezTo>
                    <a:pt x="1288" y="1586"/>
                    <a:pt x="1288" y="1586"/>
                    <a:pt x="1288" y="1586"/>
                  </a:cubicBezTo>
                  <a:cubicBezTo>
                    <a:pt x="1354" y="1586"/>
                    <a:pt x="1354" y="1586"/>
                    <a:pt x="1354" y="1586"/>
                  </a:cubicBezTo>
                  <a:lnTo>
                    <a:pt x="1354" y="1652"/>
                  </a:lnTo>
                  <a:close/>
                  <a:moveTo>
                    <a:pt x="1288" y="1718"/>
                  </a:moveTo>
                  <a:cubicBezTo>
                    <a:pt x="1288" y="1784"/>
                    <a:pt x="1288" y="1784"/>
                    <a:pt x="1288" y="1784"/>
                  </a:cubicBezTo>
                  <a:cubicBezTo>
                    <a:pt x="958" y="1784"/>
                    <a:pt x="958" y="1784"/>
                    <a:pt x="958" y="1784"/>
                  </a:cubicBezTo>
                  <a:cubicBezTo>
                    <a:pt x="958" y="1718"/>
                    <a:pt x="958" y="1718"/>
                    <a:pt x="958" y="1718"/>
                  </a:cubicBezTo>
                  <a:lnTo>
                    <a:pt x="1288" y="1718"/>
                  </a:lnTo>
                  <a:close/>
                  <a:moveTo>
                    <a:pt x="1024" y="1652"/>
                  </a:moveTo>
                  <a:cubicBezTo>
                    <a:pt x="1024" y="1586"/>
                    <a:pt x="1024" y="1586"/>
                    <a:pt x="1024" y="1586"/>
                  </a:cubicBezTo>
                  <a:cubicBezTo>
                    <a:pt x="1090" y="1586"/>
                    <a:pt x="1090" y="1586"/>
                    <a:pt x="1090" y="1586"/>
                  </a:cubicBezTo>
                  <a:cubicBezTo>
                    <a:pt x="1090" y="1652"/>
                    <a:pt x="1090" y="1652"/>
                    <a:pt x="1090" y="1652"/>
                  </a:cubicBezTo>
                  <a:lnTo>
                    <a:pt x="1024" y="1652"/>
                  </a:lnTo>
                  <a:close/>
                  <a:moveTo>
                    <a:pt x="1156" y="1652"/>
                  </a:moveTo>
                  <a:cubicBezTo>
                    <a:pt x="1156" y="1586"/>
                    <a:pt x="1156" y="1586"/>
                    <a:pt x="1156" y="1586"/>
                  </a:cubicBezTo>
                  <a:cubicBezTo>
                    <a:pt x="1222" y="1586"/>
                    <a:pt x="1222" y="1586"/>
                    <a:pt x="1222" y="1586"/>
                  </a:cubicBezTo>
                  <a:cubicBezTo>
                    <a:pt x="1222" y="1652"/>
                    <a:pt x="1222" y="1652"/>
                    <a:pt x="1222" y="1652"/>
                  </a:cubicBezTo>
                  <a:lnTo>
                    <a:pt x="1156" y="1652"/>
                  </a:lnTo>
                  <a:close/>
                  <a:moveTo>
                    <a:pt x="958" y="1519"/>
                  </a:moveTo>
                  <a:cubicBezTo>
                    <a:pt x="958" y="1453"/>
                    <a:pt x="958" y="1453"/>
                    <a:pt x="958" y="1453"/>
                  </a:cubicBezTo>
                  <a:cubicBezTo>
                    <a:pt x="1288" y="1453"/>
                    <a:pt x="1288" y="1453"/>
                    <a:pt x="1288" y="1453"/>
                  </a:cubicBezTo>
                  <a:cubicBezTo>
                    <a:pt x="1288" y="1519"/>
                    <a:pt x="1288" y="1519"/>
                    <a:pt x="1288" y="1519"/>
                  </a:cubicBezTo>
                  <a:lnTo>
                    <a:pt x="958" y="1519"/>
                  </a:lnTo>
                  <a:close/>
                  <a:moveTo>
                    <a:pt x="1586" y="699"/>
                  </a:moveTo>
                  <a:cubicBezTo>
                    <a:pt x="1586" y="728"/>
                    <a:pt x="1573" y="755"/>
                    <a:pt x="1551" y="774"/>
                  </a:cubicBezTo>
                  <a:cubicBezTo>
                    <a:pt x="1111" y="1156"/>
                    <a:pt x="1111" y="1156"/>
                    <a:pt x="1111" y="1156"/>
                  </a:cubicBezTo>
                  <a:cubicBezTo>
                    <a:pt x="1104" y="1156"/>
                    <a:pt x="1104" y="1156"/>
                    <a:pt x="1104" y="1156"/>
                  </a:cubicBezTo>
                  <a:cubicBezTo>
                    <a:pt x="1040" y="1092"/>
                    <a:pt x="1040" y="1092"/>
                    <a:pt x="1040" y="1092"/>
                  </a:cubicBezTo>
                  <a:cubicBezTo>
                    <a:pt x="1586" y="624"/>
                    <a:pt x="1586" y="624"/>
                    <a:pt x="1586" y="624"/>
                  </a:cubicBezTo>
                  <a:lnTo>
                    <a:pt x="1586" y="699"/>
                  </a:lnTo>
                  <a:close/>
                  <a:moveTo>
                    <a:pt x="925" y="330"/>
                  </a:moveTo>
                  <a:cubicBezTo>
                    <a:pt x="859" y="330"/>
                    <a:pt x="859" y="330"/>
                    <a:pt x="859" y="330"/>
                  </a:cubicBezTo>
                  <a:cubicBezTo>
                    <a:pt x="859" y="132"/>
                    <a:pt x="859" y="132"/>
                    <a:pt x="859" y="132"/>
                  </a:cubicBezTo>
                  <a:cubicBezTo>
                    <a:pt x="925" y="132"/>
                    <a:pt x="925" y="132"/>
                    <a:pt x="925" y="132"/>
                  </a:cubicBezTo>
                  <a:lnTo>
                    <a:pt x="925" y="330"/>
                  </a:lnTo>
                  <a:close/>
                  <a:moveTo>
                    <a:pt x="991" y="330"/>
                  </a:moveTo>
                  <a:cubicBezTo>
                    <a:pt x="991" y="132"/>
                    <a:pt x="991" y="132"/>
                    <a:pt x="991" y="132"/>
                  </a:cubicBezTo>
                  <a:cubicBezTo>
                    <a:pt x="1553" y="132"/>
                    <a:pt x="1553" y="132"/>
                    <a:pt x="1553" y="132"/>
                  </a:cubicBezTo>
                  <a:cubicBezTo>
                    <a:pt x="1607" y="132"/>
                    <a:pt x="1652" y="177"/>
                    <a:pt x="1652" y="231"/>
                  </a:cubicBezTo>
                  <a:cubicBezTo>
                    <a:pt x="1652" y="330"/>
                    <a:pt x="1652" y="330"/>
                    <a:pt x="1652" y="330"/>
                  </a:cubicBezTo>
                  <a:lnTo>
                    <a:pt x="991" y="330"/>
                  </a:lnTo>
                  <a:close/>
                  <a:moveTo>
                    <a:pt x="1367" y="396"/>
                  </a:moveTo>
                  <a:cubicBezTo>
                    <a:pt x="1652" y="396"/>
                    <a:pt x="1652" y="396"/>
                    <a:pt x="1652" y="396"/>
                  </a:cubicBezTo>
                  <a:cubicBezTo>
                    <a:pt x="1652" y="465"/>
                    <a:pt x="1652" y="465"/>
                    <a:pt x="1652" y="465"/>
                  </a:cubicBezTo>
                  <a:cubicBezTo>
                    <a:pt x="1652" y="475"/>
                    <a:pt x="1647" y="484"/>
                    <a:pt x="1640" y="490"/>
                  </a:cubicBezTo>
                  <a:cubicBezTo>
                    <a:pt x="993" y="1045"/>
                    <a:pt x="993" y="1045"/>
                    <a:pt x="993" y="1045"/>
                  </a:cubicBezTo>
                  <a:cubicBezTo>
                    <a:pt x="904" y="956"/>
                    <a:pt x="904" y="956"/>
                    <a:pt x="904" y="956"/>
                  </a:cubicBezTo>
                  <a:cubicBezTo>
                    <a:pt x="876" y="928"/>
                    <a:pt x="842" y="909"/>
                    <a:pt x="805" y="899"/>
                  </a:cubicBezTo>
                  <a:lnTo>
                    <a:pt x="1367" y="396"/>
                  </a:lnTo>
                  <a:close/>
                  <a:moveTo>
                    <a:pt x="806" y="1387"/>
                  </a:moveTo>
                  <a:cubicBezTo>
                    <a:pt x="640" y="1221"/>
                    <a:pt x="640" y="1221"/>
                    <a:pt x="640" y="1221"/>
                  </a:cubicBezTo>
                  <a:cubicBezTo>
                    <a:pt x="611" y="1191"/>
                    <a:pt x="595" y="1153"/>
                    <a:pt x="595" y="1112"/>
                  </a:cubicBezTo>
                  <a:cubicBezTo>
                    <a:pt x="595" y="1027"/>
                    <a:pt x="664" y="958"/>
                    <a:pt x="748" y="958"/>
                  </a:cubicBezTo>
                  <a:cubicBezTo>
                    <a:pt x="790" y="958"/>
                    <a:pt x="828" y="974"/>
                    <a:pt x="857" y="1003"/>
                  </a:cubicBezTo>
                  <a:cubicBezTo>
                    <a:pt x="1076" y="1222"/>
                    <a:pt x="1076" y="1222"/>
                    <a:pt x="1076" y="1222"/>
                  </a:cubicBezTo>
                  <a:cubicBezTo>
                    <a:pt x="1420" y="1222"/>
                    <a:pt x="1420" y="1222"/>
                    <a:pt x="1420" y="1222"/>
                  </a:cubicBezTo>
                  <a:cubicBezTo>
                    <a:pt x="1420" y="1387"/>
                    <a:pt x="1420" y="1387"/>
                    <a:pt x="1420" y="1387"/>
                  </a:cubicBezTo>
                  <a:lnTo>
                    <a:pt x="806" y="1387"/>
                  </a:lnTo>
                  <a:close/>
                  <a:moveTo>
                    <a:pt x="892" y="1586"/>
                  </a:moveTo>
                  <a:cubicBezTo>
                    <a:pt x="958" y="1586"/>
                    <a:pt x="958" y="1586"/>
                    <a:pt x="958" y="1586"/>
                  </a:cubicBezTo>
                  <a:cubicBezTo>
                    <a:pt x="958" y="1652"/>
                    <a:pt x="958" y="1652"/>
                    <a:pt x="958" y="1652"/>
                  </a:cubicBezTo>
                  <a:cubicBezTo>
                    <a:pt x="892" y="1652"/>
                    <a:pt x="892" y="1652"/>
                    <a:pt x="892" y="1652"/>
                  </a:cubicBezTo>
                  <a:lnTo>
                    <a:pt x="892" y="1586"/>
                  </a:lnTo>
                  <a:close/>
                  <a:moveTo>
                    <a:pt x="1982" y="1982"/>
                  </a:moveTo>
                  <a:cubicBezTo>
                    <a:pt x="1916" y="1982"/>
                    <a:pt x="1916" y="1982"/>
                    <a:pt x="1916" y="1982"/>
                  </a:cubicBezTo>
                  <a:cubicBezTo>
                    <a:pt x="1916" y="1916"/>
                    <a:pt x="1916" y="1916"/>
                    <a:pt x="1916" y="1916"/>
                  </a:cubicBezTo>
                  <a:cubicBezTo>
                    <a:pt x="1850" y="1916"/>
                    <a:pt x="1850" y="1916"/>
                    <a:pt x="1850" y="1916"/>
                  </a:cubicBezTo>
                  <a:cubicBezTo>
                    <a:pt x="1850" y="1982"/>
                    <a:pt x="1850" y="1982"/>
                    <a:pt x="1850" y="1982"/>
                  </a:cubicBezTo>
                  <a:cubicBezTo>
                    <a:pt x="1784" y="1982"/>
                    <a:pt x="1784" y="1982"/>
                    <a:pt x="1784" y="1982"/>
                  </a:cubicBezTo>
                  <a:cubicBezTo>
                    <a:pt x="1784" y="1916"/>
                    <a:pt x="1784" y="1916"/>
                    <a:pt x="1784" y="1916"/>
                  </a:cubicBezTo>
                  <a:cubicBezTo>
                    <a:pt x="1718" y="1916"/>
                    <a:pt x="1718" y="1916"/>
                    <a:pt x="1718" y="1916"/>
                  </a:cubicBezTo>
                  <a:cubicBezTo>
                    <a:pt x="1718" y="1982"/>
                    <a:pt x="1718" y="1982"/>
                    <a:pt x="1718" y="1982"/>
                  </a:cubicBezTo>
                  <a:cubicBezTo>
                    <a:pt x="1652" y="1982"/>
                    <a:pt x="1652" y="1982"/>
                    <a:pt x="1652" y="1982"/>
                  </a:cubicBezTo>
                  <a:cubicBezTo>
                    <a:pt x="1652" y="1916"/>
                    <a:pt x="1652" y="1916"/>
                    <a:pt x="1652" y="1916"/>
                  </a:cubicBezTo>
                  <a:cubicBezTo>
                    <a:pt x="1586" y="1916"/>
                    <a:pt x="1586" y="1916"/>
                    <a:pt x="1586" y="1916"/>
                  </a:cubicBezTo>
                  <a:cubicBezTo>
                    <a:pt x="1586" y="1982"/>
                    <a:pt x="1586" y="1982"/>
                    <a:pt x="1586" y="1982"/>
                  </a:cubicBezTo>
                  <a:cubicBezTo>
                    <a:pt x="1519" y="1982"/>
                    <a:pt x="1519" y="1982"/>
                    <a:pt x="1519" y="1982"/>
                  </a:cubicBezTo>
                  <a:cubicBezTo>
                    <a:pt x="1519" y="1916"/>
                    <a:pt x="1519" y="1916"/>
                    <a:pt x="1519" y="1916"/>
                  </a:cubicBezTo>
                  <a:cubicBezTo>
                    <a:pt x="1453" y="1916"/>
                    <a:pt x="1453" y="1916"/>
                    <a:pt x="1453" y="1916"/>
                  </a:cubicBezTo>
                  <a:cubicBezTo>
                    <a:pt x="1453" y="1982"/>
                    <a:pt x="1453" y="1982"/>
                    <a:pt x="1453" y="1982"/>
                  </a:cubicBezTo>
                  <a:cubicBezTo>
                    <a:pt x="1387" y="1982"/>
                    <a:pt x="1387" y="1982"/>
                    <a:pt x="1387" y="1982"/>
                  </a:cubicBezTo>
                  <a:cubicBezTo>
                    <a:pt x="1387" y="1916"/>
                    <a:pt x="1387" y="1916"/>
                    <a:pt x="1387" y="1916"/>
                  </a:cubicBezTo>
                  <a:cubicBezTo>
                    <a:pt x="1321" y="1916"/>
                    <a:pt x="1321" y="1916"/>
                    <a:pt x="1321" y="1916"/>
                  </a:cubicBezTo>
                  <a:cubicBezTo>
                    <a:pt x="1321" y="1982"/>
                    <a:pt x="1321" y="1982"/>
                    <a:pt x="1321" y="1982"/>
                  </a:cubicBezTo>
                  <a:cubicBezTo>
                    <a:pt x="1255" y="1982"/>
                    <a:pt x="1255" y="1982"/>
                    <a:pt x="1255" y="1982"/>
                  </a:cubicBezTo>
                  <a:cubicBezTo>
                    <a:pt x="1255" y="1916"/>
                    <a:pt x="1255" y="1916"/>
                    <a:pt x="1255" y="1916"/>
                  </a:cubicBezTo>
                  <a:cubicBezTo>
                    <a:pt x="1189" y="1916"/>
                    <a:pt x="1189" y="1916"/>
                    <a:pt x="1189" y="1916"/>
                  </a:cubicBezTo>
                  <a:cubicBezTo>
                    <a:pt x="1189" y="1982"/>
                    <a:pt x="1189" y="1982"/>
                    <a:pt x="1189" y="1982"/>
                  </a:cubicBezTo>
                  <a:cubicBezTo>
                    <a:pt x="1123" y="1982"/>
                    <a:pt x="1123" y="1982"/>
                    <a:pt x="1123" y="1982"/>
                  </a:cubicBezTo>
                  <a:cubicBezTo>
                    <a:pt x="1123" y="1916"/>
                    <a:pt x="1123" y="1916"/>
                    <a:pt x="1123" y="1916"/>
                  </a:cubicBezTo>
                  <a:cubicBezTo>
                    <a:pt x="1057" y="1916"/>
                    <a:pt x="1057" y="1916"/>
                    <a:pt x="1057" y="1916"/>
                  </a:cubicBezTo>
                  <a:cubicBezTo>
                    <a:pt x="1057" y="1982"/>
                    <a:pt x="1057" y="1982"/>
                    <a:pt x="1057" y="1982"/>
                  </a:cubicBezTo>
                  <a:cubicBezTo>
                    <a:pt x="991" y="1982"/>
                    <a:pt x="991" y="1982"/>
                    <a:pt x="991" y="1982"/>
                  </a:cubicBezTo>
                  <a:cubicBezTo>
                    <a:pt x="991" y="1916"/>
                    <a:pt x="991" y="1916"/>
                    <a:pt x="991" y="1916"/>
                  </a:cubicBezTo>
                  <a:cubicBezTo>
                    <a:pt x="925" y="1916"/>
                    <a:pt x="925" y="1916"/>
                    <a:pt x="925" y="1916"/>
                  </a:cubicBezTo>
                  <a:cubicBezTo>
                    <a:pt x="925" y="1982"/>
                    <a:pt x="925" y="1982"/>
                    <a:pt x="925" y="1982"/>
                  </a:cubicBezTo>
                  <a:cubicBezTo>
                    <a:pt x="859" y="1982"/>
                    <a:pt x="859" y="1982"/>
                    <a:pt x="859" y="1982"/>
                  </a:cubicBezTo>
                  <a:cubicBezTo>
                    <a:pt x="859" y="1916"/>
                    <a:pt x="859" y="1916"/>
                    <a:pt x="859" y="1916"/>
                  </a:cubicBezTo>
                  <a:cubicBezTo>
                    <a:pt x="793" y="1916"/>
                    <a:pt x="793" y="1916"/>
                    <a:pt x="793" y="1916"/>
                  </a:cubicBezTo>
                  <a:cubicBezTo>
                    <a:pt x="793" y="1982"/>
                    <a:pt x="793" y="1982"/>
                    <a:pt x="793" y="1982"/>
                  </a:cubicBezTo>
                  <a:cubicBezTo>
                    <a:pt x="727" y="1982"/>
                    <a:pt x="727" y="1982"/>
                    <a:pt x="727" y="1982"/>
                  </a:cubicBezTo>
                  <a:cubicBezTo>
                    <a:pt x="727" y="1916"/>
                    <a:pt x="727" y="1916"/>
                    <a:pt x="727" y="1916"/>
                  </a:cubicBezTo>
                  <a:cubicBezTo>
                    <a:pt x="661" y="1916"/>
                    <a:pt x="661" y="1916"/>
                    <a:pt x="661" y="1916"/>
                  </a:cubicBezTo>
                  <a:cubicBezTo>
                    <a:pt x="661" y="1982"/>
                    <a:pt x="661" y="1982"/>
                    <a:pt x="661" y="1982"/>
                  </a:cubicBezTo>
                  <a:cubicBezTo>
                    <a:pt x="595" y="1982"/>
                    <a:pt x="595" y="1982"/>
                    <a:pt x="595" y="1982"/>
                  </a:cubicBezTo>
                  <a:cubicBezTo>
                    <a:pt x="595" y="1850"/>
                    <a:pt x="595" y="1850"/>
                    <a:pt x="595" y="1850"/>
                  </a:cubicBezTo>
                  <a:cubicBezTo>
                    <a:pt x="1982" y="1850"/>
                    <a:pt x="1982" y="1850"/>
                    <a:pt x="1982" y="1850"/>
                  </a:cubicBezTo>
                  <a:lnTo>
                    <a:pt x="1982" y="1982"/>
                  </a:lnTo>
                  <a:close/>
                  <a:moveTo>
                    <a:pt x="743" y="1024"/>
                  </a:moveTo>
                  <a:cubicBezTo>
                    <a:pt x="698" y="1024"/>
                    <a:pt x="661" y="1061"/>
                    <a:pt x="661" y="1107"/>
                  </a:cubicBezTo>
                  <a:cubicBezTo>
                    <a:pt x="661" y="1152"/>
                    <a:pt x="698" y="1189"/>
                    <a:pt x="743" y="1189"/>
                  </a:cubicBezTo>
                  <a:cubicBezTo>
                    <a:pt x="789" y="1189"/>
                    <a:pt x="826" y="1152"/>
                    <a:pt x="826" y="1107"/>
                  </a:cubicBezTo>
                  <a:cubicBezTo>
                    <a:pt x="826" y="1061"/>
                    <a:pt x="789" y="1024"/>
                    <a:pt x="743" y="1024"/>
                  </a:cubicBezTo>
                  <a:close/>
                  <a:moveTo>
                    <a:pt x="743" y="1123"/>
                  </a:moveTo>
                  <a:cubicBezTo>
                    <a:pt x="734" y="1123"/>
                    <a:pt x="727" y="1116"/>
                    <a:pt x="727" y="1107"/>
                  </a:cubicBezTo>
                  <a:cubicBezTo>
                    <a:pt x="727" y="1097"/>
                    <a:pt x="734" y="1090"/>
                    <a:pt x="743" y="1090"/>
                  </a:cubicBezTo>
                  <a:cubicBezTo>
                    <a:pt x="752" y="1090"/>
                    <a:pt x="760" y="1097"/>
                    <a:pt x="760" y="1107"/>
                  </a:cubicBezTo>
                  <a:cubicBezTo>
                    <a:pt x="760" y="1116"/>
                    <a:pt x="752" y="1123"/>
                    <a:pt x="743" y="112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29" name="Group 125"/>
          <p:cNvGrpSpPr/>
          <p:nvPr/>
        </p:nvGrpSpPr>
        <p:grpSpPr>
          <a:xfrm>
            <a:off x="6966158" y="3447474"/>
            <a:ext cx="548640" cy="548640"/>
            <a:chOff x="6966158" y="3447474"/>
            <a:chExt cx="548640" cy="548640"/>
          </a:xfrm>
        </p:grpSpPr>
        <p:sp>
          <p:nvSpPr>
            <p:cNvPr id="127" name="Oval 126"/>
            <p:cNvSpPr/>
            <p:nvPr/>
          </p:nvSpPr>
          <p:spPr>
            <a:xfrm>
              <a:off x="6966158" y="3447474"/>
              <a:ext cx="548640" cy="54864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125" name="Freeform 22"/>
            <p:cNvSpPr>
              <a:spLocks noEditPoints="1"/>
            </p:cNvSpPr>
            <p:nvPr/>
          </p:nvSpPr>
          <p:spPr bwMode="auto">
            <a:xfrm>
              <a:off x="7080935" y="3567528"/>
              <a:ext cx="319087" cy="308532"/>
            </a:xfrm>
            <a:custGeom>
              <a:avLst/>
              <a:gdLst/>
              <a:ahLst/>
              <a:cxnLst>
                <a:cxn ang="0">
                  <a:pos x="341" y="819"/>
                </a:cxn>
                <a:cxn ang="0">
                  <a:pos x="273" y="888"/>
                </a:cxn>
                <a:cxn ang="0">
                  <a:pos x="273" y="751"/>
                </a:cxn>
                <a:cxn ang="0">
                  <a:pos x="273" y="546"/>
                </a:cxn>
                <a:cxn ang="0">
                  <a:pos x="341" y="615"/>
                </a:cxn>
                <a:cxn ang="0">
                  <a:pos x="341" y="1297"/>
                </a:cxn>
                <a:cxn ang="0">
                  <a:pos x="205" y="1161"/>
                </a:cxn>
                <a:cxn ang="0">
                  <a:pos x="341" y="1229"/>
                </a:cxn>
                <a:cxn ang="0">
                  <a:pos x="410" y="1502"/>
                </a:cxn>
                <a:cxn ang="0">
                  <a:pos x="205" y="1502"/>
                </a:cxn>
                <a:cxn ang="0">
                  <a:pos x="273" y="1502"/>
                </a:cxn>
                <a:cxn ang="0">
                  <a:pos x="1843" y="888"/>
                </a:cxn>
                <a:cxn ang="0">
                  <a:pos x="1707" y="1024"/>
                </a:cxn>
                <a:cxn ang="0">
                  <a:pos x="1707" y="888"/>
                </a:cxn>
                <a:cxn ang="0">
                  <a:pos x="887" y="1127"/>
                </a:cxn>
                <a:cxn ang="0">
                  <a:pos x="819" y="1195"/>
                </a:cxn>
                <a:cxn ang="0">
                  <a:pos x="1707" y="751"/>
                </a:cxn>
                <a:cxn ang="0">
                  <a:pos x="1707" y="546"/>
                </a:cxn>
                <a:cxn ang="0">
                  <a:pos x="1775" y="615"/>
                </a:cxn>
                <a:cxn ang="0">
                  <a:pos x="1775" y="1297"/>
                </a:cxn>
                <a:cxn ang="0">
                  <a:pos x="1638" y="1161"/>
                </a:cxn>
                <a:cxn ang="0">
                  <a:pos x="1775" y="1229"/>
                </a:cxn>
                <a:cxn ang="0">
                  <a:pos x="1297" y="444"/>
                </a:cxn>
                <a:cxn ang="0">
                  <a:pos x="1092" y="444"/>
                </a:cxn>
                <a:cxn ang="0">
                  <a:pos x="1161" y="444"/>
                </a:cxn>
                <a:cxn ang="0">
                  <a:pos x="1843" y="1434"/>
                </a:cxn>
                <a:cxn ang="0">
                  <a:pos x="1707" y="1570"/>
                </a:cxn>
                <a:cxn ang="0">
                  <a:pos x="1707" y="1434"/>
                </a:cxn>
                <a:cxn ang="0">
                  <a:pos x="1843" y="376"/>
                </a:cxn>
                <a:cxn ang="0">
                  <a:pos x="1638" y="376"/>
                </a:cxn>
                <a:cxn ang="0">
                  <a:pos x="1161" y="68"/>
                </a:cxn>
                <a:cxn ang="0">
                  <a:pos x="956" y="68"/>
                </a:cxn>
                <a:cxn ang="0">
                  <a:pos x="580" y="68"/>
                </a:cxn>
                <a:cxn ang="0">
                  <a:pos x="375" y="341"/>
                </a:cxn>
                <a:cxn ang="0">
                  <a:pos x="171" y="341"/>
                </a:cxn>
                <a:cxn ang="0">
                  <a:pos x="0" y="1946"/>
                </a:cxn>
                <a:cxn ang="0">
                  <a:pos x="2014" y="410"/>
                </a:cxn>
                <a:cxn ang="0">
                  <a:pos x="546" y="1912"/>
                </a:cxn>
                <a:cxn ang="0">
                  <a:pos x="546" y="1639"/>
                </a:cxn>
                <a:cxn ang="0">
                  <a:pos x="990" y="1912"/>
                </a:cxn>
                <a:cxn ang="0">
                  <a:pos x="1263" y="1912"/>
                </a:cxn>
                <a:cxn ang="0">
                  <a:pos x="751" y="1570"/>
                </a:cxn>
                <a:cxn ang="0">
                  <a:pos x="614" y="1673"/>
                </a:cxn>
                <a:cxn ang="0">
                  <a:pos x="1502" y="1912"/>
                </a:cxn>
                <a:cxn ang="0">
                  <a:pos x="1502" y="1639"/>
                </a:cxn>
                <a:cxn ang="0">
                  <a:pos x="1229" y="1058"/>
                </a:cxn>
                <a:cxn ang="0">
                  <a:pos x="1092" y="922"/>
                </a:cxn>
                <a:cxn ang="0">
                  <a:pos x="1229" y="990"/>
                </a:cxn>
                <a:cxn ang="0">
                  <a:pos x="956" y="990"/>
                </a:cxn>
                <a:cxn ang="0">
                  <a:pos x="751" y="990"/>
                </a:cxn>
                <a:cxn ang="0">
                  <a:pos x="819" y="990"/>
                </a:cxn>
                <a:cxn ang="0">
                  <a:pos x="1297" y="649"/>
                </a:cxn>
                <a:cxn ang="0">
                  <a:pos x="1161" y="785"/>
                </a:cxn>
                <a:cxn ang="0">
                  <a:pos x="1161" y="649"/>
                </a:cxn>
                <a:cxn ang="0">
                  <a:pos x="1229" y="1127"/>
                </a:cxn>
                <a:cxn ang="0">
                  <a:pos x="1161" y="1195"/>
                </a:cxn>
                <a:cxn ang="0">
                  <a:pos x="819" y="785"/>
                </a:cxn>
                <a:cxn ang="0">
                  <a:pos x="819" y="580"/>
                </a:cxn>
                <a:cxn ang="0">
                  <a:pos x="887" y="649"/>
                </a:cxn>
                <a:cxn ang="0">
                  <a:pos x="887" y="512"/>
                </a:cxn>
                <a:cxn ang="0">
                  <a:pos x="751" y="376"/>
                </a:cxn>
                <a:cxn ang="0">
                  <a:pos x="887" y="444"/>
                </a:cxn>
              </a:cxnLst>
              <a:rect l="0" t="0" r="r" b="b"/>
              <a:pathLst>
                <a:path w="2048" h="1980">
                  <a:moveTo>
                    <a:pt x="273" y="1024"/>
                  </a:moveTo>
                  <a:cubicBezTo>
                    <a:pt x="341" y="1024"/>
                    <a:pt x="341" y="1024"/>
                    <a:pt x="341" y="1024"/>
                  </a:cubicBezTo>
                  <a:cubicBezTo>
                    <a:pt x="379" y="1024"/>
                    <a:pt x="410" y="993"/>
                    <a:pt x="410" y="956"/>
                  </a:cubicBezTo>
                  <a:cubicBezTo>
                    <a:pt x="410" y="888"/>
                    <a:pt x="410" y="888"/>
                    <a:pt x="410" y="888"/>
                  </a:cubicBezTo>
                  <a:cubicBezTo>
                    <a:pt x="410" y="850"/>
                    <a:pt x="379" y="819"/>
                    <a:pt x="341" y="819"/>
                  </a:cubicBezTo>
                  <a:cubicBezTo>
                    <a:pt x="273" y="819"/>
                    <a:pt x="273" y="819"/>
                    <a:pt x="273" y="819"/>
                  </a:cubicBezTo>
                  <a:cubicBezTo>
                    <a:pt x="236" y="819"/>
                    <a:pt x="205" y="850"/>
                    <a:pt x="205" y="888"/>
                  </a:cubicBezTo>
                  <a:cubicBezTo>
                    <a:pt x="205" y="956"/>
                    <a:pt x="205" y="956"/>
                    <a:pt x="205" y="956"/>
                  </a:cubicBezTo>
                  <a:cubicBezTo>
                    <a:pt x="205" y="993"/>
                    <a:pt x="236" y="1024"/>
                    <a:pt x="273" y="1024"/>
                  </a:cubicBezTo>
                  <a:close/>
                  <a:moveTo>
                    <a:pt x="273" y="888"/>
                  </a:moveTo>
                  <a:cubicBezTo>
                    <a:pt x="341" y="888"/>
                    <a:pt x="341" y="888"/>
                    <a:pt x="341" y="888"/>
                  </a:cubicBezTo>
                  <a:cubicBezTo>
                    <a:pt x="341" y="956"/>
                    <a:pt x="341" y="956"/>
                    <a:pt x="341" y="956"/>
                  </a:cubicBezTo>
                  <a:cubicBezTo>
                    <a:pt x="273" y="956"/>
                    <a:pt x="273" y="956"/>
                    <a:pt x="273" y="956"/>
                  </a:cubicBezTo>
                  <a:lnTo>
                    <a:pt x="273" y="888"/>
                  </a:lnTo>
                  <a:close/>
                  <a:moveTo>
                    <a:pt x="273" y="751"/>
                  </a:moveTo>
                  <a:cubicBezTo>
                    <a:pt x="341" y="751"/>
                    <a:pt x="341" y="751"/>
                    <a:pt x="341" y="751"/>
                  </a:cubicBezTo>
                  <a:cubicBezTo>
                    <a:pt x="379" y="751"/>
                    <a:pt x="410" y="720"/>
                    <a:pt x="410" y="683"/>
                  </a:cubicBezTo>
                  <a:cubicBezTo>
                    <a:pt x="410" y="615"/>
                    <a:pt x="410" y="615"/>
                    <a:pt x="410" y="615"/>
                  </a:cubicBezTo>
                  <a:cubicBezTo>
                    <a:pt x="410" y="577"/>
                    <a:pt x="379" y="546"/>
                    <a:pt x="341" y="546"/>
                  </a:cubicBezTo>
                  <a:cubicBezTo>
                    <a:pt x="273" y="546"/>
                    <a:pt x="273" y="546"/>
                    <a:pt x="273" y="546"/>
                  </a:cubicBezTo>
                  <a:cubicBezTo>
                    <a:pt x="236" y="546"/>
                    <a:pt x="205" y="577"/>
                    <a:pt x="205" y="615"/>
                  </a:cubicBezTo>
                  <a:cubicBezTo>
                    <a:pt x="205" y="683"/>
                    <a:pt x="205" y="683"/>
                    <a:pt x="205" y="683"/>
                  </a:cubicBezTo>
                  <a:cubicBezTo>
                    <a:pt x="205" y="720"/>
                    <a:pt x="236" y="751"/>
                    <a:pt x="273" y="751"/>
                  </a:cubicBezTo>
                  <a:close/>
                  <a:moveTo>
                    <a:pt x="273" y="615"/>
                  </a:moveTo>
                  <a:cubicBezTo>
                    <a:pt x="341" y="615"/>
                    <a:pt x="341" y="615"/>
                    <a:pt x="341" y="615"/>
                  </a:cubicBezTo>
                  <a:cubicBezTo>
                    <a:pt x="341" y="683"/>
                    <a:pt x="341" y="683"/>
                    <a:pt x="341" y="683"/>
                  </a:cubicBezTo>
                  <a:cubicBezTo>
                    <a:pt x="273" y="683"/>
                    <a:pt x="273" y="683"/>
                    <a:pt x="273" y="683"/>
                  </a:cubicBezTo>
                  <a:lnTo>
                    <a:pt x="273" y="615"/>
                  </a:lnTo>
                  <a:close/>
                  <a:moveTo>
                    <a:pt x="273" y="1297"/>
                  </a:moveTo>
                  <a:cubicBezTo>
                    <a:pt x="341" y="1297"/>
                    <a:pt x="341" y="1297"/>
                    <a:pt x="341" y="1297"/>
                  </a:cubicBezTo>
                  <a:cubicBezTo>
                    <a:pt x="379" y="1297"/>
                    <a:pt x="410" y="1266"/>
                    <a:pt x="410" y="1229"/>
                  </a:cubicBezTo>
                  <a:cubicBezTo>
                    <a:pt x="410" y="1161"/>
                    <a:pt x="410" y="1161"/>
                    <a:pt x="410" y="1161"/>
                  </a:cubicBezTo>
                  <a:cubicBezTo>
                    <a:pt x="410" y="1123"/>
                    <a:pt x="379" y="1092"/>
                    <a:pt x="341" y="1092"/>
                  </a:cubicBezTo>
                  <a:cubicBezTo>
                    <a:pt x="273" y="1092"/>
                    <a:pt x="273" y="1092"/>
                    <a:pt x="273" y="1092"/>
                  </a:cubicBezTo>
                  <a:cubicBezTo>
                    <a:pt x="236" y="1092"/>
                    <a:pt x="205" y="1123"/>
                    <a:pt x="205" y="1161"/>
                  </a:cubicBezTo>
                  <a:cubicBezTo>
                    <a:pt x="205" y="1229"/>
                    <a:pt x="205" y="1229"/>
                    <a:pt x="205" y="1229"/>
                  </a:cubicBezTo>
                  <a:cubicBezTo>
                    <a:pt x="205" y="1266"/>
                    <a:pt x="236" y="1297"/>
                    <a:pt x="273" y="1297"/>
                  </a:cubicBezTo>
                  <a:close/>
                  <a:moveTo>
                    <a:pt x="273" y="1161"/>
                  </a:moveTo>
                  <a:cubicBezTo>
                    <a:pt x="341" y="1161"/>
                    <a:pt x="341" y="1161"/>
                    <a:pt x="341" y="1161"/>
                  </a:cubicBezTo>
                  <a:cubicBezTo>
                    <a:pt x="341" y="1229"/>
                    <a:pt x="341" y="1229"/>
                    <a:pt x="341" y="1229"/>
                  </a:cubicBezTo>
                  <a:cubicBezTo>
                    <a:pt x="273" y="1229"/>
                    <a:pt x="273" y="1229"/>
                    <a:pt x="273" y="1229"/>
                  </a:cubicBezTo>
                  <a:lnTo>
                    <a:pt x="273" y="1161"/>
                  </a:lnTo>
                  <a:close/>
                  <a:moveTo>
                    <a:pt x="273" y="1570"/>
                  </a:moveTo>
                  <a:cubicBezTo>
                    <a:pt x="341" y="1570"/>
                    <a:pt x="341" y="1570"/>
                    <a:pt x="341" y="1570"/>
                  </a:cubicBezTo>
                  <a:cubicBezTo>
                    <a:pt x="379" y="1570"/>
                    <a:pt x="410" y="1540"/>
                    <a:pt x="410" y="1502"/>
                  </a:cubicBezTo>
                  <a:cubicBezTo>
                    <a:pt x="410" y="1434"/>
                    <a:pt x="410" y="1434"/>
                    <a:pt x="410" y="1434"/>
                  </a:cubicBezTo>
                  <a:cubicBezTo>
                    <a:pt x="410" y="1396"/>
                    <a:pt x="379" y="1365"/>
                    <a:pt x="341" y="1365"/>
                  </a:cubicBezTo>
                  <a:cubicBezTo>
                    <a:pt x="273" y="1365"/>
                    <a:pt x="273" y="1365"/>
                    <a:pt x="273" y="1365"/>
                  </a:cubicBezTo>
                  <a:cubicBezTo>
                    <a:pt x="236" y="1365"/>
                    <a:pt x="205" y="1396"/>
                    <a:pt x="205" y="1434"/>
                  </a:cubicBezTo>
                  <a:cubicBezTo>
                    <a:pt x="205" y="1502"/>
                    <a:pt x="205" y="1502"/>
                    <a:pt x="205" y="1502"/>
                  </a:cubicBezTo>
                  <a:cubicBezTo>
                    <a:pt x="205" y="1540"/>
                    <a:pt x="236" y="1570"/>
                    <a:pt x="273" y="1570"/>
                  </a:cubicBezTo>
                  <a:close/>
                  <a:moveTo>
                    <a:pt x="273" y="1434"/>
                  </a:moveTo>
                  <a:cubicBezTo>
                    <a:pt x="341" y="1434"/>
                    <a:pt x="341" y="1434"/>
                    <a:pt x="341" y="1434"/>
                  </a:cubicBezTo>
                  <a:cubicBezTo>
                    <a:pt x="341" y="1502"/>
                    <a:pt x="341" y="1502"/>
                    <a:pt x="341" y="1502"/>
                  </a:cubicBezTo>
                  <a:cubicBezTo>
                    <a:pt x="273" y="1502"/>
                    <a:pt x="273" y="1502"/>
                    <a:pt x="273" y="1502"/>
                  </a:cubicBezTo>
                  <a:lnTo>
                    <a:pt x="273" y="1434"/>
                  </a:lnTo>
                  <a:close/>
                  <a:moveTo>
                    <a:pt x="1707" y="1024"/>
                  </a:moveTo>
                  <a:cubicBezTo>
                    <a:pt x="1775" y="1024"/>
                    <a:pt x="1775" y="1024"/>
                    <a:pt x="1775" y="1024"/>
                  </a:cubicBezTo>
                  <a:cubicBezTo>
                    <a:pt x="1812" y="1024"/>
                    <a:pt x="1843" y="993"/>
                    <a:pt x="1843" y="956"/>
                  </a:cubicBezTo>
                  <a:cubicBezTo>
                    <a:pt x="1843" y="888"/>
                    <a:pt x="1843" y="888"/>
                    <a:pt x="1843" y="888"/>
                  </a:cubicBezTo>
                  <a:cubicBezTo>
                    <a:pt x="1843" y="850"/>
                    <a:pt x="1812" y="819"/>
                    <a:pt x="1775" y="819"/>
                  </a:cubicBezTo>
                  <a:cubicBezTo>
                    <a:pt x="1707" y="819"/>
                    <a:pt x="1707" y="819"/>
                    <a:pt x="1707" y="819"/>
                  </a:cubicBezTo>
                  <a:cubicBezTo>
                    <a:pt x="1669" y="819"/>
                    <a:pt x="1638" y="850"/>
                    <a:pt x="1638" y="888"/>
                  </a:cubicBezTo>
                  <a:cubicBezTo>
                    <a:pt x="1638" y="956"/>
                    <a:pt x="1638" y="956"/>
                    <a:pt x="1638" y="956"/>
                  </a:cubicBezTo>
                  <a:cubicBezTo>
                    <a:pt x="1638" y="993"/>
                    <a:pt x="1669" y="1024"/>
                    <a:pt x="1707" y="1024"/>
                  </a:cubicBezTo>
                  <a:close/>
                  <a:moveTo>
                    <a:pt x="1707" y="888"/>
                  </a:moveTo>
                  <a:cubicBezTo>
                    <a:pt x="1775" y="888"/>
                    <a:pt x="1775" y="888"/>
                    <a:pt x="1775" y="888"/>
                  </a:cubicBezTo>
                  <a:cubicBezTo>
                    <a:pt x="1775" y="956"/>
                    <a:pt x="1775" y="956"/>
                    <a:pt x="1775" y="956"/>
                  </a:cubicBezTo>
                  <a:cubicBezTo>
                    <a:pt x="1707" y="956"/>
                    <a:pt x="1707" y="956"/>
                    <a:pt x="1707" y="956"/>
                  </a:cubicBezTo>
                  <a:lnTo>
                    <a:pt x="1707" y="888"/>
                  </a:lnTo>
                  <a:close/>
                  <a:moveTo>
                    <a:pt x="819" y="1331"/>
                  </a:moveTo>
                  <a:cubicBezTo>
                    <a:pt x="887" y="1331"/>
                    <a:pt x="887" y="1331"/>
                    <a:pt x="887" y="1331"/>
                  </a:cubicBezTo>
                  <a:cubicBezTo>
                    <a:pt x="925" y="1331"/>
                    <a:pt x="956" y="1301"/>
                    <a:pt x="956" y="1263"/>
                  </a:cubicBezTo>
                  <a:cubicBezTo>
                    <a:pt x="956" y="1195"/>
                    <a:pt x="956" y="1195"/>
                    <a:pt x="956" y="1195"/>
                  </a:cubicBezTo>
                  <a:cubicBezTo>
                    <a:pt x="956" y="1157"/>
                    <a:pt x="925" y="1127"/>
                    <a:pt x="887" y="1127"/>
                  </a:cubicBezTo>
                  <a:cubicBezTo>
                    <a:pt x="819" y="1127"/>
                    <a:pt x="819" y="1127"/>
                    <a:pt x="819" y="1127"/>
                  </a:cubicBezTo>
                  <a:cubicBezTo>
                    <a:pt x="782" y="1127"/>
                    <a:pt x="751" y="1157"/>
                    <a:pt x="751" y="1195"/>
                  </a:cubicBezTo>
                  <a:cubicBezTo>
                    <a:pt x="751" y="1263"/>
                    <a:pt x="751" y="1263"/>
                    <a:pt x="751" y="1263"/>
                  </a:cubicBezTo>
                  <a:cubicBezTo>
                    <a:pt x="751" y="1301"/>
                    <a:pt x="782" y="1331"/>
                    <a:pt x="819" y="1331"/>
                  </a:cubicBezTo>
                  <a:close/>
                  <a:moveTo>
                    <a:pt x="819" y="1195"/>
                  </a:moveTo>
                  <a:cubicBezTo>
                    <a:pt x="887" y="1195"/>
                    <a:pt x="887" y="1195"/>
                    <a:pt x="887" y="1195"/>
                  </a:cubicBezTo>
                  <a:cubicBezTo>
                    <a:pt x="887" y="1263"/>
                    <a:pt x="887" y="1263"/>
                    <a:pt x="887" y="1263"/>
                  </a:cubicBezTo>
                  <a:cubicBezTo>
                    <a:pt x="819" y="1263"/>
                    <a:pt x="819" y="1263"/>
                    <a:pt x="819" y="1263"/>
                  </a:cubicBezTo>
                  <a:lnTo>
                    <a:pt x="819" y="1195"/>
                  </a:lnTo>
                  <a:close/>
                  <a:moveTo>
                    <a:pt x="1707" y="751"/>
                  </a:moveTo>
                  <a:cubicBezTo>
                    <a:pt x="1775" y="751"/>
                    <a:pt x="1775" y="751"/>
                    <a:pt x="1775" y="751"/>
                  </a:cubicBezTo>
                  <a:cubicBezTo>
                    <a:pt x="1812" y="751"/>
                    <a:pt x="1843" y="720"/>
                    <a:pt x="1843" y="683"/>
                  </a:cubicBezTo>
                  <a:cubicBezTo>
                    <a:pt x="1843" y="615"/>
                    <a:pt x="1843" y="615"/>
                    <a:pt x="1843" y="615"/>
                  </a:cubicBezTo>
                  <a:cubicBezTo>
                    <a:pt x="1843" y="577"/>
                    <a:pt x="1812" y="546"/>
                    <a:pt x="1775" y="546"/>
                  </a:cubicBezTo>
                  <a:cubicBezTo>
                    <a:pt x="1707" y="546"/>
                    <a:pt x="1707" y="546"/>
                    <a:pt x="1707" y="546"/>
                  </a:cubicBezTo>
                  <a:cubicBezTo>
                    <a:pt x="1669" y="546"/>
                    <a:pt x="1638" y="577"/>
                    <a:pt x="1638" y="615"/>
                  </a:cubicBezTo>
                  <a:cubicBezTo>
                    <a:pt x="1638" y="683"/>
                    <a:pt x="1638" y="683"/>
                    <a:pt x="1638" y="683"/>
                  </a:cubicBezTo>
                  <a:cubicBezTo>
                    <a:pt x="1638" y="720"/>
                    <a:pt x="1669" y="751"/>
                    <a:pt x="1707" y="751"/>
                  </a:cubicBezTo>
                  <a:close/>
                  <a:moveTo>
                    <a:pt x="1707" y="615"/>
                  </a:moveTo>
                  <a:cubicBezTo>
                    <a:pt x="1775" y="615"/>
                    <a:pt x="1775" y="615"/>
                    <a:pt x="1775" y="615"/>
                  </a:cubicBezTo>
                  <a:cubicBezTo>
                    <a:pt x="1775" y="683"/>
                    <a:pt x="1775" y="683"/>
                    <a:pt x="1775" y="683"/>
                  </a:cubicBezTo>
                  <a:cubicBezTo>
                    <a:pt x="1707" y="683"/>
                    <a:pt x="1707" y="683"/>
                    <a:pt x="1707" y="683"/>
                  </a:cubicBezTo>
                  <a:lnTo>
                    <a:pt x="1707" y="615"/>
                  </a:lnTo>
                  <a:close/>
                  <a:moveTo>
                    <a:pt x="1707" y="1297"/>
                  </a:moveTo>
                  <a:cubicBezTo>
                    <a:pt x="1775" y="1297"/>
                    <a:pt x="1775" y="1297"/>
                    <a:pt x="1775" y="1297"/>
                  </a:cubicBezTo>
                  <a:cubicBezTo>
                    <a:pt x="1812" y="1297"/>
                    <a:pt x="1843" y="1266"/>
                    <a:pt x="1843" y="1229"/>
                  </a:cubicBezTo>
                  <a:cubicBezTo>
                    <a:pt x="1843" y="1161"/>
                    <a:pt x="1843" y="1161"/>
                    <a:pt x="1843" y="1161"/>
                  </a:cubicBezTo>
                  <a:cubicBezTo>
                    <a:pt x="1843" y="1123"/>
                    <a:pt x="1812" y="1092"/>
                    <a:pt x="1775" y="1092"/>
                  </a:cubicBezTo>
                  <a:cubicBezTo>
                    <a:pt x="1707" y="1092"/>
                    <a:pt x="1707" y="1092"/>
                    <a:pt x="1707" y="1092"/>
                  </a:cubicBezTo>
                  <a:cubicBezTo>
                    <a:pt x="1669" y="1092"/>
                    <a:pt x="1638" y="1123"/>
                    <a:pt x="1638" y="1161"/>
                  </a:cubicBezTo>
                  <a:cubicBezTo>
                    <a:pt x="1638" y="1229"/>
                    <a:pt x="1638" y="1229"/>
                    <a:pt x="1638" y="1229"/>
                  </a:cubicBezTo>
                  <a:cubicBezTo>
                    <a:pt x="1638" y="1266"/>
                    <a:pt x="1669" y="1297"/>
                    <a:pt x="1707" y="1297"/>
                  </a:cubicBezTo>
                  <a:close/>
                  <a:moveTo>
                    <a:pt x="1707" y="1161"/>
                  </a:moveTo>
                  <a:cubicBezTo>
                    <a:pt x="1775" y="1161"/>
                    <a:pt x="1775" y="1161"/>
                    <a:pt x="1775" y="1161"/>
                  </a:cubicBezTo>
                  <a:cubicBezTo>
                    <a:pt x="1775" y="1229"/>
                    <a:pt x="1775" y="1229"/>
                    <a:pt x="1775" y="1229"/>
                  </a:cubicBezTo>
                  <a:cubicBezTo>
                    <a:pt x="1707" y="1229"/>
                    <a:pt x="1707" y="1229"/>
                    <a:pt x="1707" y="1229"/>
                  </a:cubicBezTo>
                  <a:lnTo>
                    <a:pt x="1707" y="1161"/>
                  </a:lnTo>
                  <a:close/>
                  <a:moveTo>
                    <a:pt x="1161" y="512"/>
                  </a:moveTo>
                  <a:cubicBezTo>
                    <a:pt x="1229" y="512"/>
                    <a:pt x="1229" y="512"/>
                    <a:pt x="1229" y="512"/>
                  </a:cubicBezTo>
                  <a:cubicBezTo>
                    <a:pt x="1266" y="512"/>
                    <a:pt x="1297" y="481"/>
                    <a:pt x="1297" y="444"/>
                  </a:cubicBezTo>
                  <a:cubicBezTo>
                    <a:pt x="1297" y="376"/>
                    <a:pt x="1297" y="376"/>
                    <a:pt x="1297" y="376"/>
                  </a:cubicBezTo>
                  <a:cubicBezTo>
                    <a:pt x="1297" y="338"/>
                    <a:pt x="1266" y="307"/>
                    <a:pt x="1229" y="307"/>
                  </a:cubicBezTo>
                  <a:cubicBezTo>
                    <a:pt x="1161" y="307"/>
                    <a:pt x="1161" y="307"/>
                    <a:pt x="1161" y="307"/>
                  </a:cubicBezTo>
                  <a:cubicBezTo>
                    <a:pt x="1123" y="307"/>
                    <a:pt x="1092" y="338"/>
                    <a:pt x="1092" y="376"/>
                  </a:cubicBezTo>
                  <a:cubicBezTo>
                    <a:pt x="1092" y="444"/>
                    <a:pt x="1092" y="444"/>
                    <a:pt x="1092" y="444"/>
                  </a:cubicBezTo>
                  <a:cubicBezTo>
                    <a:pt x="1092" y="481"/>
                    <a:pt x="1123" y="512"/>
                    <a:pt x="1161" y="512"/>
                  </a:cubicBezTo>
                  <a:close/>
                  <a:moveTo>
                    <a:pt x="1161" y="376"/>
                  </a:moveTo>
                  <a:cubicBezTo>
                    <a:pt x="1229" y="376"/>
                    <a:pt x="1229" y="376"/>
                    <a:pt x="1229" y="376"/>
                  </a:cubicBezTo>
                  <a:cubicBezTo>
                    <a:pt x="1229" y="444"/>
                    <a:pt x="1229" y="444"/>
                    <a:pt x="1229" y="444"/>
                  </a:cubicBezTo>
                  <a:cubicBezTo>
                    <a:pt x="1161" y="444"/>
                    <a:pt x="1161" y="444"/>
                    <a:pt x="1161" y="444"/>
                  </a:cubicBezTo>
                  <a:lnTo>
                    <a:pt x="1161" y="376"/>
                  </a:lnTo>
                  <a:close/>
                  <a:moveTo>
                    <a:pt x="1707" y="1570"/>
                  </a:moveTo>
                  <a:cubicBezTo>
                    <a:pt x="1775" y="1570"/>
                    <a:pt x="1775" y="1570"/>
                    <a:pt x="1775" y="1570"/>
                  </a:cubicBezTo>
                  <a:cubicBezTo>
                    <a:pt x="1812" y="1570"/>
                    <a:pt x="1843" y="1540"/>
                    <a:pt x="1843" y="1502"/>
                  </a:cubicBezTo>
                  <a:cubicBezTo>
                    <a:pt x="1843" y="1434"/>
                    <a:pt x="1843" y="1434"/>
                    <a:pt x="1843" y="1434"/>
                  </a:cubicBezTo>
                  <a:cubicBezTo>
                    <a:pt x="1843" y="1396"/>
                    <a:pt x="1812" y="1365"/>
                    <a:pt x="1775" y="1365"/>
                  </a:cubicBezTo>
                  <a:cubicBezTo>
                    <a:pt x="1707" y="1365"/>
                    <a:pt x="1707" y="1365"/>
                    <a:pt x="1707" y="1365"/>
                  </a:cubicBezTo>
                  <a:cubicBezTo>
                    <a:pt x="1669" y="1365"/>
                    <a:pt x="1638" y="1396"/>
                    <a:pt x="1638" y="1434"/>
                  </a:cubicBezTo>
                  <a:cubicBezTo>
                    <a:pt x="1638" y="1502"/>
                    <a:pt x="1638" y="1502"/>
                    <a:pt x="1638" y="1502"/>
                  </a:cubicBezTo>
                  <a:cubicBezTo>
                    <a:pt x="1638" y="1540"/>
                    <a:pt x="1669" y="1570"/>
                    <a:pt x="1707" y="1570"/>
                  </a:cubicBezTo>
                  <a:close/>
                  <a:moveTo>
                    <a:pt x="1707" y="1434"/>
                  </a:moveTo>
                  <a:cubicBezTo>
                    <a:pt x="1775" y="1434"/>
                    <a:pt x="1775" y="1434"/>
                    <a:pt x="1775" y="1434"/>
                  </a:cubicBezTo>
                  <a:cubicBezTo>
                    <a:pt x="1775" y="1502"/>
                    <a:pt x="1775" y="1502"/>
                    <a:pt x="1775" y="1502"/>
                  </a:cubicBezTo>
                  <a:cubicBezTo>
                    <a:pt x="1707" y="1502"/>
                    <a:pt x="1707" y="1502"/>
                    <a:pt x="1707" y="1502"/>
                  </a:cubicBezTo>
                  <a:lnTo>
                    <a:pt x="1707" y="1434"/>
                  </a:lnTo>
                  <a:close/>
                  <a:moveTo>
                    <a:pt x="2014" y="410"/>
                  </a:moveTo>
                  <a:cubicBezTo>
                    <a:pt x="1911" y="410"/>
                    <a:pt x="1911" y="410"/>
                    <a:pt x="1911" y="410"/>
                  </a:cubicBezTo>
                  <a:cubicBezTo>
                    <a:pt x="1911" y="376"/>
                    <a:pt x="1911" y="376"/>
                    <a:pt x="1911" y="376"/>
                  </a:cubicBezTo>
                  <a:cubicBezTo>
                    <a:pt x="1911" y="355"/>
                    <a:pt x="1898" y="341"/>
                    <a:pt x="1877" y="341"/>
                  </a:cubicBezTo>
                  <a:cubicBezTo>
                    <a:pt x="1857" y="341"/>
                    <a:pt x="1843" y="355"/>
                    <a:pt x="1843" y="376"/>
                  </a:cubicBezTo>
                  <a:cubicBezTo>
                    <a:pt x="1843" y="410"/>
                    <a:pt x="1843" y="410"/>
                    <a:pt x="1843" y="410"/>
                  </a:cubicBezTo>
                  <a:cubicBezTo>
                    <a:pt x="1707" y="410"/>
                    <a:pt x="1707" y="410"/>
                    <a:pt x="1707" y="410"/>
                  </a:cubicBezTo>
                  <a:cubicBezTo>
                    <a:pt x="1707" y="376"/>
                    <a:pt x="1707" y="376"/>
                    <a:pt x="1707" y="376"/>
                  </a:cubicBezTo>
                  <a:cubicBezTo>
                    <a:pt x="1707" y="355"/>
                    <a:pt x="1693" y="341"/>
                    <a:pt x="1673" y="341"/>
                  </a:cubicBezTo>
                  <a:cubicBezTo>
                    <a:pt x="1652" y="341"/>
                    <a:pt x="1638" y="355"/>
                    <a:pt x="1638" y="376"/>
                  </a:cubicBezTo>
                  <a:cubicBezTo>
                    <a:pt x="1638" y="410"/>
                    <a:pt x="1638" y="410"/>
                    <a:pt x="1638" y="410"/>
                  </a:cubicBezTo>
                  <a:cubicBezTo>
                    <a:pt x="1502" y="410"/>
                    <a:pt x="1502" y="410"/>
                    <a:pt x="1502" y="410"/>
                  </a:cubicBezTo>
                  <a:cubicBezTo>
                    <a:pt x="1502" y="103"/>
                    <a:pt x="1502" y="103"/>
                    <a:pt x="1502" y="103"/>
                  </a:cubicBezTo>
                  <a:cubicBezTo>
                    <a:pt x="1502" y="82"/>
                    <a:pt x="1488" y="68"/>
                    <a:pt x="1468" y="68"/>
                  </a:cubicBezTo>
                  <a:cubicBezTo>
                    <a:pt x="1161" y="68"/>
                    <a:pt x="1161" y="68"/>
                    <a:pt x="1161" y="68"/>
                  </a:cubicBezTo>
                  <a:cubicBezTo>
                    <a:pt x="1161" y="34"/>
                    <a:pt x="1161" y="34"/>
                    <a:pt x="1161" y="34"/>
                  </a:cubicBezTo>
                  <a:cubicBezTo>
                    <a:pt x="1161" y="14"/>
                    <a:pt x="1147" y="0"/>
                    <a:pt x="1126" y="0"/>
                  </a:cubicBezTo>
                  <a:cubicBezTo>
                    <a:pt x="1106" y="0"/>
                    <a:pt x="1092" y="14"/>
                    <a:pt x="1092" y="34"/>
                  </a:cubicBezTo>
                  <a:cubicBezTo>
                    <a:pt x="1092" y="68"/>
                    <a:pt x="1092" y="68"/>
                    <a:pt x="1092" y="68"/>
                  </a:cubicBezTo>
                  <a:cubicBezTo>
                    <a:pt x="956" y="68"/>
                    <a:pt x="956" y="68"/>
                    <a:pt x="956" y="68"/>
                  </a:cubicBezTo>
                  <a:cubicBezTo>
                    <a:pt x="956" y="34"/>
                    <a:pt x="956" y="34"/>
                    <a:pt x="956" y="34"/>
                  </a:cubicBezTo>
                  <a:cubicBezTo>
                    <a:pt x="956" y="14"/>
                    <a:pt x="942" y="0"/>
                    <a:pt x="922" y="0"/>
                  </a:cubicBezTo>
                  <a:cubicBezTo>
                    <a:pt x="901" y="0"/>
                    <a:pt x="887" y="14"/>
                    <a:pt x="887" y="34"/>
                  </a:cubicBezTo>
                  <a:cubicBezTo>
                    <a:pt x="887" y="68"/>
                    <a:pt x="887" y="68"/>
                    <a:pt x="887" y="68"/>
                  </a:cubicBezTo>
                  <a:cubicBezTo>
                    <a:pt x="580" y="68"/>
                    <a:pt x="580" y="68"/>
                    <a:pt x="580" y="68"/>
                  </a:cubicBezTo>
                  <a:cubicBezTo>
                    <a:pt x="560" y="68"/>
                    <a:pt x="546" y="82"/>
                    <a:pt x="546" y="103"/>
                  </a:cubicBezTo>
                  <a:cubicBezTo>
                    <a:pt x="546" y="410"/>
                    <a:pt x="546" y="410"/>
                    <a:pt x="546" y="410"/>
                  </a:cubicBezTo>
                  <a:cubicBezTo>
                    <a:pt x="410" y="410"/>
                    <a:pt x="410" y="410"/>
                    <a:pt x="410" y="410"/>
                  </a:cubicBezTo>
                  <a:cubicBezTo>
                    <a:pt x="410" y="376"/>
                    <a:pt x="410" y="376"/>
                    <a:pt x="410" y="376"/>
                  </a:cubicBezTo>
                  <a:cubicBezTo>
                    <a:pt x="410" y="355"/>
                    <a:pt x="396" y="341"/>
                    <a:pt x="375" y="341"/>
                  </a:cubicBezTo>
                  <a:cubicBezTo>
                    <a:pt x="355" y="341"/>
                    <a:pt x="341" y="355"/>
                    <a:pt x="341" y="376"/>
                  </a:cubicBezTo>
                  <a:cubicBezTo>
                    <a:pt x="341" y="410"/>
                    <a:pt x="341" y="410"/>
                    <a:pt x="341" y="410"/>
                  </a:cubicBezTo>
                  <a:cubicBezTo>
                    <a:pt x="205" y="410"/>
                    <a:pt x="205" y="410"/>
                    <a:pt x="205" y="410"/>
                  </a:cubicBezTo>
                  <a:cubicBezTo>
                    <a:pt x="205" y="376"/>
                    <a:pt x="205" y="376"/>
                    <a:pt x="205" y="376"/>
                  </a:cubicBezTo>
                  <a:cubicBezTo>
                    <a:pt x="205" y="355"/>
                    <a:pt x="191" y="341"/>
                    <a:pt x="171" y="341"/>
                  </a:cubicBezTo>
                  <a:cubicBezTo>
                    <a:pt x="150" y="341"/>
                    <a:pt x="137" y="355"/>
                    <a:pt x="137" y="376"/>
                  </a:cubicBezTo>
                  <a:cubicBezTo>
                    <a:pt x="137" y="410"/>
                    <a:pt x="137" y="410"/>
                    <a:pt x="137" y="410"/>
                  </a:cubicBezTo>
                  <a:cubicBezTo>
                    <a:pt x="34" y="410"/>
                    <a:pt x="34" y="410"/>
                    <a:pt x="34" y="410"/>
                  </a:cubicBezTo>
                  <a:cubicBezTo>
                    <a:pt x="14" y="410"/>
                    <a:pt x="0" y="423"/>
                    <a:pt x="0" y="444"/>
                  </a:cubicBezTo>
                  <a:cubicBezTo>
                    <a:pt x="0" y="1946"/>
                    <a:pt x="0" y="1946"/>
                    <a:pt x="0" y="1946"/>
                  </a:cubicBezTo>
                  <a:cubicBezTo>
                    <a:pt x="0" y="1966"/>
                    <a:pt x="14" y="1980"/>
                    <a:pt x="34" y="1980"/>
                  </a:cubicBezTo>
                  <a:cubicBezTo>
                    <a:pt x="2014" y="1980"/>
                    <a:pt x="2014" y="1980"/>
                    <a:pt x="2014" y="1980"/>
                  </a:cubicBezTo>
                  <a:cubicBezTo>
                    <a:pt x="2034" y="1980"/>
                    <a:pt x="2048" y="1966"/>
                    <a:pt x="2048" y="1946"/>
                  </a:cubicBezTo>
                  <a:cubicBezTo>
                    <a:pt x="2048" y="444"/>
                    <a:pt x="2048" y="444"/>
                    <a:pt x="2048" y="444"/>
                  </a:cubicBezTo>
                  <a:cubicBezTo>
                    <a:pt x="2048" y="423"/>
                    <a:pt x="2034" y="410"/>
                    <a:pt x="2014" y="410"/>
                  </a:cubicBezTo>
                  <a:close/>
                  <a:moveTo>
                    <a:pt x="546" y="1912"/>
                  </a:moveTo>
                  <a:cubicBezTo>
                    <a:pt x="68" y="1912"/>
                    <a:pt x="68" y="1912"/>
                    <a:pt x="68" y="1912"/>
                  </a:cubicBezTo>
                  <a:cubicBezTo>
                    <a:pt x="68" y="1707"/>
                    <a:pt x="68" y="1707"/>
                    <a:pt x="68" y="1707"/>
                  </a:cubicBezTo>
                  <a:cubicBezTo>
                    <a:pt x="546" y="1707"/>
                    <a:pt x="546" y="1707"/>
                    <a:pt x="546" y="1707"/>
                  </a:cubicBezTo>
                  <a:lnTo>
                    <a:pt x="546" y="1912"/>
                  </a:lnTo>
                  <a:close/>
                  <a:moveTo>
                    <a:pt x="546" y="1639"/>
                  </a:moveTo>
                  <a:cubicBezTo>
                    <a:pt x="68" y="1639"/>
                    <a:pt x="68" y="1639"/>
                    <a:pt x="68" y="1639"/>
                  </a:cubicBezTo>
                  <a:cubicBezTo>
                    <a:pt x="68" y="478"/>
                    <a:pt x="68" y="478"/>
                    <a:pt x="68" y="478"/>
                  </a:cubicBezTo>
                  <a:cubicBezTo>
                    <a:pt x="546" y="478"/>
                    <a:pt x="546" y="478"/>
                    <a:pt x="546" y="478"/>
                  </a:cubicBezTo>
                  <a:lnTo>
                    <a:pt x="546" y="1639"/>
                  </a:lnTo>
                  <a:close/>
                  <a:moveTo>
                    <a:pt x="990" y="1912"/>
                  </a:moveTo>
                  <a:cubicBezTo>
                    <a:pt x="785" y="1912"/>
                    <a:pt x="785" y="1912"/>
                    <a:pt x="785" y="1912"/>
                  </a:cubicBezTo>
                  <a:cubicBezTo>
                    <a:pt x="785" y="1639"/>
                    <a:pt x="785" y="1639"/>
                    <a:pt x="785" y="1639"/>
                  </a:cubicBezTo>
                  <a:cubicBezTo>
                    <a:pt x="990" y="1639"/>
                    <a:pt x="990" y="1639"/>
                    <a:pt x="990" y="1639"/>
                  </a:cubicBezTo>
                  <a:lnTo>
                    <a:pt x="990" y="1912"/>
                  </a:lnTo>
                  <a:close/>
                  <a:moveTo>
                    <a:pt x="1263" y="1912"/>
                  </a:moveTo>
                  <a:cubicBezTo>
                    <a:pt x="1058" y="1912"/>
                    <a:pt x="1058" y="1912"/>
                    <a:pt x="1058" y="1912"/>
                  </a:cubicBezTo>
                  <a:cubicBezTo>
                    <a:pt x="1058" y="1639"/>
                    <a:pt x="1058" y="1639"/>
                    <a:pt x="1058" y="1639"/>
                  </a:cubicBezTo>
                  <a:cubicBezTo>
                    <a:pt x="1263" y="1639"/>
                    <a:pt x="1263" y="1639"/>
                    <a:pt x="1263" y="1639"/>
                  </a:cubicBezTo>
                  <a:lnTo>
                    <a:pt x="1263" y="1912"/>
                  </a:lnTo>
                  <a:close/>
                  <a:moveTo>
                    <a:pt x="1434" y="1912"/>
                  </a:moveTo>
                  <a:cubicBezTo>
                    <a:pt x="1331" y="1912"/>
                    <a:pt x="1331" y="1912"/>
                    <a:pt x="1331" y="1912"/>
                  </a:cubicBezTo>
                  <a:cubicBezTo>
                    <a:pt x="1331" y="1604"/>
                    <a:pt x="1331" y="1604"/>
                    <a:pt x="1331" y="1604"/>
                  </a:cubicBezTo>
                  <a:cubicBezTo>
                    <a:pt x="1331" y="1584"/>
                    <a:pt x="1318" y="1570"/>
                    <a:pt x="1297" y="1570"/>
                  </a:cubicBezTo>
                  <a:cubicBezTo>
                    <a:pt x="751" y="1570"/>
                    <a:pt x="751" y="1570"/>
                    <a:pt x="751" y="1570"/>
                  </a:cubicBezTo>
                  <a:cubicBezTo>
                    <a:pt x="730" y="1570"/>
                    <a:pt x="717" y="1584"/>
                    <a:pt x="717" y="1604"/>
                  </a:cubicBezTo>
                  <a:cubicBezTo>
                    <a:pt x="717" y="1912"/>
                    <a:pt x="717" y="1912"/>
                    <a:pt x="717" y="1912"/>
                  </a:cubicBezTo>
                  <a:cubicBezTo>
                    <a:pt x="614" y="1912"/>
                    <a:pt x="614" y="1912"/>
                    <a:pt x="614" y="1912"/>
                  </a:cubicBezTo>
                  <a:cubicBezTo>
                    <a:pt x="614" y="1673"/>
                    <a:pt x="614" y="1673"/>
                    <a:pt x="614" y="1673"/>
                  </a:cubicBezTo>
                  <a:cubicBezTo>
                    <a:pt x="614" y="1673"/>
                    <a:pt x="614" y="1673"/>
                    <a:pt x="614" y="1673"/>
                  </a:cubicBezTo>
                  <a:cubicBezTo>
                    <a:pt x="614" y="137"/>
                    <a:pt x="614" y="137"/>
                    <a:pt x="614" y="137"/>
                  </a:cubicBezTo>
                  <a:cubicBezTo>
                    <a:pt x="1434" y="137"/>
                    <a:pt x="1434" y="137"/>
                    <a:pt x="1434" y="137"/>
                  </a:cubicBezTo>
                  <a:lnTo>
                    <a:pt x="1434" y="1912"/>
                  </a:lnTo>
                  <a:close/>
                  <a:moveTo>
                    <a:pt x="1980" y="1912"/>
                  </a:moveTo>
                  <a:cubicBezTo>
                    <a:pt x="1502" y="1912"/>
                    <a:pt x="1502" y="1912"/>
                    <a:pt x="1502" y="1912"/>
                  </a:cubicBezTo>
                  <a:cubicBezTo>
                    <a:pt x="1502" y="1707"/>
                    <a:pt x="1502" y="1707"/>
                    <a:pt x="1502" y="1707"/>
                  </a:cubicBezTo>
                  <a:cubicBezTo>
                    <a:pt x="1980" y="1707"/>
                    <a:pt x="1980" y="1707"/>
                    <a:pt x="1980" y="1707"/>
                  </a:cubicBezTo>
                  <a:lnTo>
                    <a:pt x="1980" y="1912"/>
                  </a:lnTo>
                  <a:close/>
                  <a:moveTo>
                    <a:pt x="1980" y="1639"/>
                  </a:moveTo>
                  <a:cubicBezTo>
                    <a:pt x="1502" y="1639"/>
                    <a:pt x="1502" y="1639"/>
                    <a:pt x="1502" y="1639"/>
                  </a:cubicBezTo>
                  <a:cubicBezTo>
                    <a:pt x="1502" y="478"/>
                    <a:pt x="1502" y="478"/>
                    <a:pt x="1502" y="478"/>
                  </a:cubicBezTo>
                  <a:cubicBezTo>
                    <a:pt x="1980" y="478"/>
                    <a:pt x="1980" y="478"/>
                    <a:pt x="1980" y="478"/>
                  </a:cubicBezTo>
                  <a:lnTo>
                    <a:pt x="1980" y="1639"/>
                  </a:lnTo>
                  <a:close/>
                  <a:moveTo>
                    <a:pt x="1161" y="1058"/>
                  </a:moveTo>
                  <a:cubicBezTo>
                    <a:pt x="1229" y="1058"/>
                    <a:pt x="1229" y="1058"/>
                    <a:pt x="1229" y="1058"/>
                  </a:cubicBezTo>
                  <a:cubicBezTo>
                    <a:pt x="1266" y="1058"/>
                    <a:pt x="1297" y="1028"/>
                    <a:pt x="1297" y="990"/>
                  </a:cubicBezTo>
                  <a:cubicBezTo>
                    <a:pt x="1297" y="922"/>
                    <a:pt x="1297" y="922"/>
                    <a:pt x="1297" y="922"/>
                  </a:cubicBezTo>
                  <a:cubicBezTo>
                    <a:pt x="1297" y="884"/>
                    <a:pt x="1266" y="853"/>
                    <a:pt x="1229" y="853"/>
                  </a:cubicBezTo>
                  <a:cubicBezTo>
                    <a:pt x="1161" y="853"/>
                    <a:pt x="1161" y="853"/>
                    <a:pt x="1161" y="853"/>
                  </a:cubicBezTo>
                  <a:cubicBezTo>
                    <a:pt x="1123" y="853"/>
                    <a:pt x="1092" y="884"/>
                    <a:pt x="1092" y="922"/>
                  </a:cubicBezTo>
                  <a:cubicBezTo>
                    <a:pt x="1092" y="990"/>
                    <a:pt x="1092" y="990"/>
                    <a:pt x="1092" y="990"/>
                  </a:cubicBezTo>
                  <a:cubicBezTo>
                    <a:pt x="1092" y="1028"/>
                    <a:pt x="1123" y="1058"/>
                    <a:pt x="1161" y="1058"/>
                  </a:cubicBezTo>
                  <a:close/>
                  <a:moveTo>
                    <a:pt x="1161" y="922"/>
                  </a:moveTo>
                  <a:cubicBezTo>
                    <a:pt x="1229" y="922"/>
                    <a:pt x="1229" y="922"/>
                    <a:pt x="1229" y="922"/>
                  </a:cubicBezTo>
                  <a:cubicBezTo>
                    <a:pt x="1229" y="990"/>
                    <a:pt x="1229" y="990"/>
                    <a:pt x="1229" y="990"/>
                  </a:cubicBezTo>
                  <a:cubicBezTo>
                    <a:pt x="1161" y="990"/>
                    <a:pt x="1161" y="990"/>
                    <a:pt x="1161" y="990"/>
                  </a:cubicBezTo>
                  <a:lnTo>
                    <a:pt x="1161" y="922"/>
                  </a:lnTo>
                  <a:close/>
                  <a:moveTo>
                    <a:pt x="819" y="1058"/>
                  </a:moveTo>
                  <a:cubicBezTo>
                    <a:pt x="887" y="1058"/>
                    <a:pt x="887" y="1058"/>
                    <a:pt x="887" y="1058"/>
                  </a:cubicBezTo>
                  <a:cubicBezTo>
                    <a:pt x="925" y="1058"/>
                    <a:pt x="956" y="1028"/>
                    <a:pt x="956" y="990"/>
                  </a:cubicBezTo>
                  <a:cubicBezTo>
                    <a:pt x="956" y="922"/>
                    <a:pt x="956" y="922"/>
                    <a:pt x="956" y="922"/>
                  </a:cubicBezTo>
                  <a:cubicBezTo>
                    <a:pt x="956" y="884"/>
                    <a:pt x="925" y="853"/>
                    <a:pt x="887" y="853"/>
                  </a:cubicBezTo>
                  <a:cubicBezTo>
                    <a:pt x="819" y="853"/>
                    <a:pt x="819" y="853"/>
                    <a:pt x="819" y="853"/>
                  </a:cubicBezTo>
                  <a:cubicBezTo>
                    <a:pt x="782" y="853"/>
                    <a:pt x="751" y="884"/>
                    <a:pt x="751" y="922"/>
                  </a:cubicBezTo>
                  <a:cubicBezTo>
                    <a:pt x="751" y="990"/>
                    <a:pt x="751" y="990"/>
                    <a:pt x="751" y="990"/>
                  </a:cubicBezTo>
                  <a:cubicBezTo>
                    <a:pt x="751" y="1028"/>
                    <a:pt x="782" y="1058"/>
                    <a:pt x="819" y="1058"/>
                  </a:cubicBezTo>
                  <a:close/>
                  <a:moveTo>
                    <a:pt x="819" y="922"/>
                  </a:moveTo>
                  <a:cubicBezTo>
                    <a:pt x="887" y="922"/>
                    <a:pt x="887" y="922"/>
                    <a:pt x="887" y="922"/>
                  </a:cubicBezTo>
                  <a:cubicBezTo>
                    <a:pt x="887" y="990"/>
                    <a:pt x="887" y="990"/>
                    <a:pt x="887" y="990"/>
                  </a:cubicBezTo>
                  <a:cubicBezTo>
                    <a:pt x="819" y="990"/>
                    <a:pt x="819" y="990"/>
                    <a:pt x="819" y="990"/>
                  </a:cubicBezTo>
                  <a:lnTo>
                    <a:pt x="819" y="922"/>
                  </a:lnTo>
                  <a:close/>
                  <a:moveTo>
                    <a:pt x="1161" y="785"/>
                  </a:moveTo>
                  <a:cubicBezTo>
                    <a:pt x="1229" y="785"/>
                    <a:pt x="1229" y="785"/>
                    <a:pt x="1229" y="785"/>
                  </a:cubicBezTo>
                  <a:cubicBezTo>
                    <a:pt x="1266" y="785"/>
                    <a:pt x="1297" y="754"/>
                    <a:pt x="1297" y="717"/>
                  </a:cubicBezTo>
                  <a:cubicBezTo>
                    <a:pt x="1297" y="649"/>
                    <a:pt x="1297" y="649"/>
                    <a:pt x="1297" y="649"/>
                  </a:cubicBezTo>
                  <a:cubicBezTo>
                    <a:pt x="1297" y="611"/>
                    <a:pt x="1266" y="580"/>
                    <a:pt x="1229" y="580"/>
                  </a:cubicBezTo>
                  <a:cubicBezTo>
                    <a:pt x="1161" y="580"/>
                    <a:pt x="1161" y="580"/>
                    <a:pt x="1161" y="580"/>
                  </a:cubicBezTo>
                  <a:cubicBezTo>
                    <a:pt x="1123" y="580"/>
                    <a:pt x="1092" y="611"/>
                    <a:pt x="1092" y="649"/>
                  </a:cubicBezTo>
                  <a:cubicBezTo>
                    <a:pt x="1092" y="717"/>
                    <a:pt x="1092" y="717"/>
                    <a:pt x="1092" y="717"/>
                  </a:cubicBezTo>
                  <a:cubicBezTo>
                    <a:pt x="1092" y="754"/>
                    <a:pt x="1123" y="785"/>
                    <a:pt x="1161" y="785"/>
                  </a:cubicBezTo>
                  <a:close/>
                  <a:moveTo>
                    <a:pt x="1161" y="649"/>
                  </a:moveTo>
                  <a:cubicBezTo>
                    <a:pt x="1229" y="649"/>
                    <a:pt x="1229" y="649"/>
                    <a:pt x="1229" y="649"/>
                  </a:cubicBezTo>
                  <a:cubicBezTo>
                    <a:pt x="1229" y="717"/>
                    <a:pt x="1229" y="717"/>
                    <a:pt x="1229" y="717"/>
                  </a:cubicBezTo>
                  <a:cubicBezTo>
                    <a:pt x="1161" y="717"/>
                    <a:pt x="1161" y="717"/>
                    <a:pt x="1161" y="717"/>
                  </a:cubicBezTo>
                  <a:lnTo>
                    <a:pt x="1161" y="649"/>
                  </a:lnTo>
                  <a:close/>
                  <a:moveTo>
                    <a:pt x="1161" y="1331"/>
                  </a:moveTo>
                  <a:cubicBezTo>
                    <a:pt x="1229" y="1331"/>
                    <a:pt x="1229" y="1331"/>
                    <a:pt x="1229" y="1331"/>
                  </a:cubicBezTo>
                  <a:cubicBezTo>
                    <a:pt x="1266" y="1331"/>
                    <a:pt x="1297" y="1301"/>
                    <a:pt x="1297" y="1263"/>
                  </a:cubicBezTo>
                  <a:cubicBezTo>
                    <a:pt x="1297" y="1195"/>
                    <a:pt x="1297" y="1195"/>
                    <a:pt x="1297" y="1195"/>
                  </a:cubicBezTo>
                  <a:cubicBezTo>
                    <a:pt x="1297" y="1157"/>
                    <a:pt x="1266" y="1127"/>
                    <a:pt x="1229" y="1127"/>
                  </a:cubicBezTo>
                  <a:cubicBezTo>
                    <a:pt x="1161" y="1127"/>
                    <a:pt x="1161" y="1127"/>
                    <a:pt x="1161" y="1127"/>
                  </a:cubicBezTo>
                  <a:cubicBezTo>
                    <a:pt x="1123" y="1127"/>
                    <a:pt x="1092" y="1157"/>
                    <a:pt x="1092" y="1195"/>
                  </a:cubicBezTo>
                  <a:cubicBezTo>
                    <a:pt x="1092" y="1263"/>
                    <a:pt x="1092" y="1263"/>
                    <a:pt x="1092" y="1263"/>
                  </a:cubicBezTo>
                  <a:cubicBezTo>
                    <a:pt x="1092" y="1301"/>
                    <a:pt x="1123" y="1331"/>
                    <a:pt x="1161" y="1331"/>
                  </a:cubicBezTo>
                  <a:close/>
                  <a:moveTo>
                    <a:pt x="1161" y="1195"/>
                  </a:moveTo>
                  <a:cubicBezTo>
                    <a:pt x="1229" y="1195"/>
                    <a:pt x="1229" y="1195"/>
                    <a:pt x="1229" y="1195"/>
                  </a:cubicBezTo>
                  <a:cubicBezTo>
                    <a:pt x="1229" y="1263"/>
                    <a:pt x="1229" y="1263"/>
                    <a:pt x="1229" y="1263"/>
                  </a:cubicBezTo>
                  <a:cubicBezTo>
                    <a:pt x="1161" y="1263"/>
                    <a:pt x="1161" y="1263"/>
                    <a:pt x="1161" y="1263"/>
                  </a:cubicBezTo>
                  <a:lnTo>
                    <a:pt x="1161" y="1195"/>
                  </a:lnTo>
                  <a:close/>
                  <a:moveTo>
                    <a:pt x="819" y="785"/>
                  </a:moveTo>
                  <a:cubicBezTo>
                    <a:pt x="887" y="785"/>
                    <a:pt x="887" y="785"/>
                    <a:pt x="887" y="785"/>
                  </a:cubicBezTo>
                  <a:cubicBezTo>
                    <a:pt x="925" y="785"/>
                    <a:pt x="956" y="754"/>
                    <a:pt x="956" y="717"/>
                  </a:cubicBezTo>
                  <a:cubicBezTo>
                    <a:pt x="956" y="649"/>
                    <a:pt x="956" y="649"/>
                    <a:pt x="956" y="649"/>
                  </a:cubicBezTo>
                  <a:cubicBezTo>
                    <a:pt x="956" y="611"/>
                    <a:pt x="925" y="580"/>
                    <a:pt x="887" y="580"/>
                  </a:cubicBezTo>
                  <a:cubicBezTo>
                    <a:pt x="819" y="580"/>
                    <a:pt x="819" y="580"/>
                    <a:pt x="819" y="580"/>
                  </a:cubicBezTo>
                  <a:cubicBezTo>
                    <a:pt x="782" y="580"/>
                    <a:pt x="751" y="611"/>
                    <a:pt x="751" y="649"/>
                  </a:cubicBezTo>
                  <a:cubicBezTo>
                    <a:pt x="751" y="717"/>
                    <a:pt x="751" y="717"/>
                    <a:pt x="751" y="717"/>
                  </a:cubicBezTo>
                  <a:cubicBezTo>
                    <a:pt x="751" y="754"/>
                    <a:pt x="782" y="785"/>
                    <a:pt x="819" y="785"/>
                  </a:cubicBezTo>
                  <a:close/>
                  <a:moveTo>
                    <a:pt x="819" y="649"/>
                  </a:moveTo>
                  <a:cubicBezTo>
                    <a:pt x="887" y="649"/>
                    <a:pt x="887" y="649"/>
                    <a:pt x="887" y="649"/>
                  </a:cubicBezTo>
                  <a:cubicBezTo>
                    <a:pt x="887" y="717"/>
                    <a:pt x="887" y="717"/>
                    <a:pt x="887" y="717"/>
                  </a:cubicBezTo>
                  <a:cubicBezTo>
                    <a:pt x="819" y="717"/>
                    <a:pt x="819" y="717"/>
                    <a:pt x="819" y="717"/>
                  </a:cubicBezTo>
                  <a:lnTo>
                    <a:pt x="819" y="649"/>
                  </a:lnTo>
                  <a:close/>
                  <a:moveTo>
                    <a:pt x="819" y="512"/>
                  </a:moveTo>
                  <a:cubicBezTo>
                    <a:pt x="887" y="512"/>
                    <a:pt x="887" y="512"/>
                    <a:pt x="887" y="512"/>
                  </a:cubicBezTo>
                  <a:cubicBezTo>
                    <a:pt x="925" y="512"/>
                    <a:pt x="956" y="481"/>
                    <a:pt x="956" y="444"/>
                  </a:cubicBezTo>
                  <a:cubicBezTo>
                    <a:pt x="956" y="376"/>
                    <a:pt x="956" y="376"/>
                    <a:pt x="956" y="376"/>
                  </a:cubicBezTo>
                  <a:cubicBezTo>
                    <a:pt x="956" y="338"/>
                    <a:pt x="925" y="307"/>
                    <a:pt x="887" y="307"/>
                  </a:cubicBezTo>
                  <a:cubicBezTo>
                    <a:pt x="819" y="307"/>
                    <a:pt x="819" y="307"/>
                    <a:pt x="819" y="307"/>
                  </a:cubicBezTo>
                  <a:cubicBezTo>
                    <a:pt x="782" y="307"/>
                    <a:pt x="751" y="338"/>
                    <a:pt x="751" y="376"/>
                  </a:cubicBezTo>
                  <a:cubicBezTo>
                    <a:pt x="751" y="444"/>
                    <a:pt x="751" y="444"/>
                    <a:pt x="751" y="444"/>
                  </a:cubicBezTo>
                  <a:cubicBezTo>
                    <a:pt x="751" y="481"/>
                    <a:pt x="782" y="512"/>
                    <a:pt x="819" y="512"/>
                  </a:cubicBezTo>
                  <a:close/>
                  <a:moveTo>
                    <a:pt x="819" y="376"/>
                  </a:moveTo>
                  <a:cubicBezTo>
                    <a:pt x="887" y="376"/>
                    <a:pt x="887" y="376"/>
                    <a:pt x="887" y="376"/>
                  </a:cubicBezTo>
                  <a:cubicBezTo>
                    <a:pt x="887" y="444"/>
                    <a:pt x="887" y="444"/>
                    <a:pt x="887" y="444"/>
                  </a:cubicBezTo>
                  <a:cubicBezTo>
                    <a:pt x="819" y="444"/>
                    <a:pt x="819" y="444"/>
                    <a:pt x="819" y="444"/>
                  </a:cubicBezTo>
                  <a:lnTo>
                    <a:pt x="819" y="376"/>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30" name="Group 131"/>
          <p:cNvGrpSpPr/>
          <p:nvPr/>
        </p:nvGrpSpPr>
        <p:grpSpPr>
          <a:xfrm>
            <a:off x="8001000" y="3447474"/>
            <a:ext cx="548640" cy="548640"/>
            <a:chOff x="8001000" y="3447474"/>
            <a:chExt cx="548640" cy="548640"/>
          </a:xfrm>
        </p:grpSpPr>
        <p:sp>
          <p:nvSpPr>
            <p:cNvPr id="130" name="Oval 129"/>
            <p:cNvSpPr/>
            <p:nvPr/>
          </p:nvSpPr>
          <p:spPr>
            <a:xfrm>
              <a:off x="8001000" y="3447474"/>
              <a:ext cx="548640" cy="548640"/>
            </a:xfrm>
            <a:prstGeom prst="ellipse">
              <a:avLst/>
            </a:prstGeom>
            <a:solidFill>
              <a:schemeClr val="bg1"/>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67612" name="Freeform 28"/>
            <p:cNvSpPr>
              <a:spLocks noEditPoints="1"/>
            </p:cNvSpPr>
            <p:nvPr/>
          </p:nvSpPr>
          <p:spPr bwMode="auto">
            <a:xfrm>
              <a:off x="8141416" y="3549316"/>
              <a:ext cx="267809" cy="344957"/>
            </a:xfrm>
            <a:custGeom>
              <a:avLst/>
              <a:gdLst/>
              <a:ahLst/>
              <a:cxnLst>
                <a:cxn ang="0">
                  <a:pos x="2613" y="1778"/>
                </a:cxn>
                <a:cxn ang="0">
                  <a:pos x="2247" y="1778"/>
                </a:cxn>
                <a:cxn ang="0">
                  <a:pos x="2247" y="4167"/>
                </a:cxn>
                <a:cxn ang="0">
                  <a:pos x="2613" y="4167"/>
                </a:cxn>
                <a:cxn ang="0">
                  <a:pos x="2613" y="1778"/>
                </a:cxn>
                <a:cxn ang="0">
                  <a:pos x="1509" y="1778"/>
                </a:cxn>
                <a:cxn ang="0">
                  <a:pos x="1143" y="1778"/>
                </a:cxn>
                <a:cxn ang="0">
                  <a:pos x="1143" y="4167"/>
                </a:cxn>
                <a:cxn ang="0">
                  <a:pos x="1509" y="4167"/>
                </a:cxn>
                <a:cxn ang="0">
                  <a:pos x="1509" y="1778"/>
                </a:cxn>
                <a:cxn ang="0">
                  <a:pos x="2901" y="309"/>
                </a:cxn>
                <a:cxn ang="0">
                  <a:pos x="2901" y="0"/>
                </a:cxn>
                <a:cxn ang="0">
                  <a:pos x="855" y="0"/>
                </a:cxn>
                <a:cxn ang="0">
                  <a:pos x="855" y="309"/>
                </a:cxn>
                <a:cxn ang="0">
                  <a:pos x="0" y="309"/>
                </a:cxn>
                <a:cxn ang="0">
                  <a:pos x="0" y="1478"/>
                </a:cxn>
                <a:cxn ang="0">
                  <a:pos x="257" y="1478"/>
                </a:cxn>
                <a:cxn ang="0">
                  <a:pos x="257" y="4838"/>
                </a:cxn>
                <a:cxn ang="0">
                  <a:pos x="3499" y="4838"/>
                </a:cxn>
                <a:cxn ang="0">
                  <a:pos x="3499" y="1478"/>
                </a:cxn>
                <a:cxn ang="0">
                  <a:pos x="3756" y="1478"/>
                </a:cxn>
                <a:cxn ang="0">
                  <a:pos x="3756" y="309"/>
                </a:cxn>
                <a:cxn ang="0">
                  <a:pos x="2901" y="309"/>
                </a:cxn>
                <a:cxn ang="0">
                  <a:pos x="3130" y="4469"/>
                </a:cxn>
                <a:cxn ang="0">
                  <a:pos x="626" y="4469"/>
                </a:cxn>
                <a:cxn ang="0">
                  <a:pos x="626" y="1478"/>
                </a:cxn>
                <a:cxn ang="0">
                  <a:pos x="3130" y="1478"/>
                </a:cxn>
                <a:cxn ang="0">
                  <a:pos x="3130" y="4469"/>
                </a:cxn>
                <a:cxn ang="0">
                  <a:pos x="3388" y="1108"/>
                </a:cxn>
                <a:cxn ang="0">
                  <a:pos x="368" y="1108"/>
                </a:cxn>
                <a:cxn ang="0">
                  <a:pos x="368" y="675"/>
                </a:cxn>
                <a:cxn ang="0">
                  <a:pos x="1221" y="675"/>
                </a:cxn>
                <a:cxn ang="0">
                  <a:pos x="1221" y="368"/>
                </a:cxn>
                <a:cxn ang="0">
                  <a:pos x="2535" y="368"/>
                </a:cxn>
                <a:cxn ang="0">
                  <a:pos x="2535" y="675"/>
                </a:cxn>
                <a:cxn ang="0">
                  <a:pos x="3388" y="675"/>
                </a:cxn>
                <a:cxn ang="0">
                  <a:pos x="3388" y="1108"/>
                </a:cxn>
              </a:cxnLst>
              <a:rect l="0" t="0" r="r" b="b"/>
              <a:pathLst>
                <a:path w="3756" h="4838">
                  <a:moveTo>
                    <a:pt x="2613" y="1778"/>
                  </a:moveTo>
                  <a:lnTo>
                    <a:pt x="2247" y="1778"/>
                  </a:lnTo>
                  <a:lnTo>
                    <a:pt x="2247" y="4167"/>
                  </a:lnTo>
                  <a:lnTo>
                    <a:pt x="2613" y="4167"/>
                  </a:lnTo>
                  <a:lnTo>
                    <a:pt x="2613" y="1778"/>
                  </a:lnTo>
                  <a:close/>
                  <a:moveTo>
                    <a:pt x="1509" y="1778"/>
                  </a:moveTo>
                  <a:lnTo>
                    <a:pt x="1143" y="1778"/>
                  </a:lnTo>
                  <a:lnTo>
                    <a:pt x="1143" y="4167"/>
                  </a:lnTo>
                  <a:lnTo>
                    <a:pt x="1509" y="4167"/>
                  </a:lnTo>
                  <a:lnTo>
                    <a:pt x="1509" y="1778"/>
                  </a:lnTo>
                  <a:close/>
                  <a:moveTo>
                    <a:pt x="2901" y="309"/>
                  </a:moveTo>
                  <a:lnTo>
                    <a:pt x="2901" y="0"/>
                  </a:lnTo>
                  <a:lnTo>
                    <a:pt x="855" y="0"/>
                  </a:lnTo>
                  <a:lnTo>
                    <a:pt x="855" y="309"/>
                  </a:lnTo>
                  <a:lnTo>
                    <a:pt x="0" y="309"/>
                  </a:lnTo>
                  <a:lnTo>
                    <a:pt x="0" y="1478"/>
                  </a:lnTo>
                  <a:lnTo>
                    <a:pt x="257" y="1478"/>
                  </a:lnTo>
                  <a:lnTo>
                    <a:pt x="257" y="4838"/>
                  </a:lnTo>
                  <a:lnTo>
                    <a:pt x="3499" y="4838"/>
                  </a:lnTo>
                  <a:lnTo>
                    <a:pt x="3499" y="1478"/>
                  </a:lnTo>
                  <a:lnTo>
                    <a:pt x="3756" y="1478"/>
                  </a:lnTo>
                  <a:lnTo>
                    <a:pt x="3756" y="309"/>
                  </a:lnTo>
                  <a:lnTo>
                    <a:pt x="2901" y="309"/>
                  </a:lnTo>
                  <a:close/>
                  <a:moveTo>
                    <a:pt x="3130" y="4469"/>
                  </a:moveTo>
                  <a:lnTo>
                    <a:pt x="626" y="4469"/>
                  </a:lnTo>
                  <a:lnTo>
                    <a:pt x="626" y="1478"/>
                  </a:lnTo>
                  <a:lnTo>
                    <a:pt x="3130" y="1478"/>
                  </a:lnTo>
                  <a:lnTo>
                    <a:pt x="3130" y="4469"/>
                  </a:lnTo>
                  <a:close/>
                  <a:moveTo>
                    <a:pt x="3388" y="1108"/>
                  </a:moveTo>
                  <a:lnTo>
                    <a:pt x="368" y="1108"/>
                  </a:lnTo>
                  <a:lnTo>
                    <a:pt x="368" y="675"/>
                  </a:lnTo>
                  <a:lnTo>
                    <a:pt x="1221" y="675"/>
                  </a:lnTo>
                  <a:lnTo>
                    <a:pt x="1221" y="368"/>
                  </a:lnTo>
                  <a:lnTo>
                    <a:pt x="2535" y="368"/>
                  </a:lnTo>
                  <a:lnTo>
                    <a:pt x="2535" y="675"/>
                  </a:lnTo>
                  <a:lnTo>
                    <a:pt x="3388" y="675"/>
                  </a:lnTo>
                  <a:lnTo>
                    <a:pt x="3388" y="110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Tree>
    <p:extLst>
      <p:ext uri="{BB962C8B-B14F-4D97-AF65-F5344CB8AC3E}">
        <p14:creationId xmlns:p14="http://schemas.microsoft.com/office/powerpoint/2010/main" val="3072710890"/>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G and LPWA Networks Will Lead for IoT</a:t>
            </a:r>
            <a:endParaRPr lang="en-US" dirty="0"/>
          </a:p>
        </p:txBody>
      </p:sp>
      <p:sp>
        <p:nvSpPr>
          <p:cNvPr id="3" name="Rectangle 2"/>
          <p:cNvSpPr/>
          <p:nvPr/>
        </p:nvSpPr>
        <p:spPr>
          <a:xfrm>
            <a:off x="0" y="1079500"/>
            <a:ext cx="9144000" cy="3638549"/>
          </a:xfrm>
          <a:prstGeom prst="rect">
            <a:avLst/>
          </a:prstGeom>
          <a:solidFill>
            <a:schemeClr val="accent5">
              <a:lumMod val="20000"/>
              <a:lumOff val="80000"/>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4" name="Rectangle 3"/>
          <p:cNvSpPr/>
          <p:nvPr/>
        </p:nvSpPr>
        <p:spPr>
          <a:xfrm>
            <a:off x="5762694" y="4540249"/>
            <a:ext cx="3105081" cy="160044"/>
          </a:xfrm>
          <a:prstGeom prst="rect">
            <a:avLst/>
          </a:prstGeom>
        </p:spPr>
        <p:txBody>
          <a:bodyPr wrap="square" lIns="18288" tIns="18288" rIns="18288" bIns="18288">
            <a:spAutoFit/>
          </a:bodyPr>
          <a:lstStyle/>
          <a:p>
            <a:pPr algn="r"/>
            <a:r>
              <a:rPr lang="en-US" sz="800" dirty="0" smtClean="0">
                <a:latin typeface="+mj-lt"/>
              </a:rPr>
              <a:t>Source: Cisco VNI Global Mobile Data Traffic Forecast, 2016–2021</a:t>
            </a:r>
            <a:endParaRPr lang="en-US" sz="800" dirty="0">
              <a:latin typeface="+mj-lt"/>
            </a:endParaRPr>
          </a:p>
        </p:txBody>
      </p:sp>
      <p:graphicFrame>
        <p:nvGraphicFramePr>
          <p:cNvPr id="7" name="Object 2"/>
          <p:cNvGraphicFramePr>
            <a:graphicFrameLocks noChangeAspect="1"/>
          </p:cNvGraphicFramePr>
          <p:nvPr/>
        </p:nvGraphicFramePr>
        <p:xfrm>
          <a:off x="273050" y="1336675"/>
          <a:ext cx="8594725" cy="3146548"/>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Box 11"/>
          <p:cNvSpPr txBox="1">
            <a:spLocks noChangeArrowheads="1"/>
          </p:cNvSpPr>
          <p:nvPr/>
        </p:nvSpPr>
        <p:spPr bwMode="auto">
          <a:xfrm>
            <a:off x="1320841" y="3344788"/>
            <a:ext cx="319062" cy="206210"/>
          </a:xfrm>
          <a:prstGeom prst="rect">
            <a:avLst/>
          </a:prstGeom>
          <a:noFill/>
          <a:ln w="9525" algn="ctr">
            <a:noFill/>
            <a:miter lim="800000"/>
            <a:headEnd/>
            <a:tailEnd/>
          </a:ln>
        </p:spPr>
        <p:txBody>
          <a:bodyPr wrap="none" lIns="18288" tIns="18288" rIns="18288" bIns="18288">
            <a:spAutoFit/>
          </a:bodyPr>
          <a:lstStyle/>
          <a:p>
            <a:pPr algn="ctr" defTabSz="814388"/>
            <a:r>
              <a:rPr lang="en-US" sz="1100" b="1" dirty="0" smtClean="0">
                <a:solidFill>
                  <a:schemeClr val="accent2"/>
                </a:solidFill>
                <a:latin typeface="+mj-lt"/>
              </a:rPr>
              <a:t>40%</a:t>
            </a:r>
            <a:endParaRPr lang="en-US" sz="1100" b="1" dirty="0">
              <a:solidFill>
                <a:schemeClr val="accent2"/>
              </a:solidFill>
              <a:latin typeface="+mj-lt"/>
            </a:endParaRPr>
          </a:p>
        </p:txBody>
      </p:sp>
      <p:sp>
        <p:nvSpPr>
          <p:cNvPr id="9" name="Text Box 11"/>
          <p:cNvSpPr txBox="1">
            <a:spLocks noChangeArrowheads="1"/>
          </p:cNvSpPr>
          <p:nvPr/>
        </p:nvSpPr>
        <p:spPr bwMode="auto">
          <a:xfrm>
            <a:off x="1320841" y="3518932"/>
            <a:ext cx="319062" cy="206210"/>
          </a:xfrm>
          <a:prstGeom prst="rect">
            <a:avLst/>
          </a:prstGeom>
          <a:noFill/>
          <a:ln w="9525" algn="ctr">
            <a:noFill/>
            <a:miter lim="800000"/>
            <a:headEnd/>
            <a:tailEnd/>
          </a:ln>
        </p:spPr>
        <p:txBody>
          <a:bodyPr wrap="none" lIns="18288" tIns="18288" rIns="18288" bIns="18288">
            <a:spAutoFit/>
          </a:bodyPr>
          <a:lstStyle/>
          <a:p>
            <a:pPr algn="ctr" defTabSz="814388"/>
            <a:r>
              <a:rPr lang="en-US" sz="1100" b="1" dirty="0" smtClean="0">
                <a:solidFill>
                  <a:schemeClr val="accent1"/>
                </a:solidFill>
                <a:latin typeface="+mj-lt"/>
              </a:rPr>
              <a:t>29%</a:t>
            </a:r>
            <a:endParaRPr lang="en-US" sz="1100" b="1" dirty="0">
              <a:solidFill>
                <a:schemeClr val="accent1"/>
              </a:solidFill>
              <a:latin typeface="+mj-lt"/>
            </a:endParaRPr>
          </a:p>
        </p:txBody>
      </p:sp>
      <p:sp>
        <p:nvSpPr>
          <p:cNvPr id="10" name="Text Box 11"/>
          <p:cNvSpPr txBox="1">
            <a:spLocks noChangeArrowheads="1"/>
          </p:cNvSpPr>
          <p:nvPr/>
        </p:nvSpPr>
        <p:spPr bwMode="auto">
          <a:xfrm>
            <a:off x="1320841" y="3693076"/>
            <a:ext cx="319062" cy="206210"/>
          </a:xfrm>
          <a:prstGeom prst="rect">
            <a:avLst/>
          </a:prstGeom>
          <a:noFill/>
          <a:ln w="9525" algn="ctr">
            <a:noFill/>
            <a:miter lim="800000"/>
            <a:headEnd/>
            <a:tailEnd/>
          </a:ln>
        </p:spPr>
        <p:txBody>
          <a:bodyPr wrap="none" lIns="18288" tIns="18288" rIns="18288" bIns="18288">
            <a:spAutoFit/>
          </a:bodyPr>
          <a:lstStyle/>
          <a:p>
            <a:pPr algn="ctr" defTabSz="814388"/>
            <a:r>
              <a:rPr lang="en-US" sz="1100" b="1" dirty="0" smtClean="0">
                <a:solidFill>
                  <a:schemeClr val="accent3">
                    <a:lumMod val="50000"/>
                  </a:schemeClr>
                </a:solidFill>
                <a:latin typeface="+mj-lt"/>
              </a:rPr>
              <a:t>23%</a:t>
            </a:r>
            <a:endParaRPr lang="en-US" sz="1100" b="1" dirty="0">
              <a:solidFill>
                <a:schemeClr val="accent3">
                  <a:lumMod val="50000"/>
                </a:schemeClr>
              </a:solidFill>
              <a:latin typeface="+mj-lt"/>
            </a:endParaRPr>
          </a:p>
        </p:txBody>
      </p:sp>
      <p:sp>
        <p:nvSpPr>
          <p:cNvPr id="11" name="Text Box 11"/>
          <p:cNvSpPr txBox="1">
            <a:spLocks noChangeArrowheads="1"/>
          </p:cNvSpPr>
          <p:nvPr/>
        </p:nvSpPr>
        <p:spPr bwMode="auto">
          <a:xfrm>
            <a:off x="1402593" y="3867221"/>
            <a:ext cx="240515" cy="206210"/>
          </a:xfrm>
          <a:prstGeom prst="rect">
            <a:avLst/>
          </a:prstGeom>
          <a:noFill/>
          <a:ln w="9525" algn="ctr">
            <a:noFill/>
            <a:miter lim="800000"/>
            <a:headEnd/>
            <a:tailEnd/>
          </a:ln>
        </p:spPr>
        <p:txBody>
          <a:bodyPr wrap="none" lIns="18288" tIns="18288" rIns="18288" bIns="18288">
            <a:spAutoFit/>
          </a:bodyPr>
          <a:lstStyle/>
          <a:p>
            <a:pPr algn="ctr" defTabSz="814388"/>
            <a:r>
              <a:rPr lang="en-US" sz="1100" b="1" dirty="0" smtClean="0">
                <a:solidFill>
                  <a:schemeClr val="accent4"/>
                </a:solidFill>
                <a:latin typeface="+mj-lt"/>
              </a:rPr>
              <a:t>7%</a:t>
            </a:r>
            <a:endParaRPr lang="en-US" sz="1100" b="1" dirty="0">
              <a:solidFill>
                <a:schemeClr val="accent4"/>
              </a:solidFill>
              <a:latin typeface="+mj-lt"/>
            </a:endParaRPr>
          </a:p>
        </p:txBody>
      </p:sp>
      <p:sp>
        <p:nvSpPr>
          <p:cNvPr id="12" name="Text Box 11"/>
          <p:cNvSpPr txBox="1">
            <a:spLocks noChangeArrowheads="1"/>
          </p:cNvSpPr>
          <p:nvPr/>
        </p:nvSpPr>
        <p:spPr bwMode="auto">
          <a:xfrm>
            <a:off x="8274267" y="1760413"/>
            <a:ext cx="319062" cy="206210"/>
          </a:xfrm>
          <a:prstGeom prst="rect">
            <a:avLst/>
          </a:prstGeom>
          <a:noFill/>
          <a:ln w="9525" algn="ctr">
            <a:noFill/>
            <a:miter lim="800000"/>
            <a:headEnd/>
            <a:tailEnd/>
          </a:ln>
        </p:spPr>
        <p:txBody>
          <a:bodyPr wrap="none" lIns="18288" tIns="18288" rIns="18288" bIns="18288">
            <a:spAutoFit/>
          </a:bodyPr>
          <a:lstStyle/>
          <a:p>
            <a:pPr algn="ctr" defTabSz="814388"/>
            <a:r>
              <a:rPr lang="en-US" sz="1100" b="1" dirty="0" smtClean="0">
                <a:solidFill>
                  <a:schemeClr val="accent3">
                    <a:lumMod val="50000"/>
                  </a:schemeClr>
                </a:solidFill>
                <a:latin typeface="+mj-lt"/>
              </a:rPr>
              <a:t>46%</a:t>
            </a:r>
            <a:endParaRPr lang="en-US" sz="1100" b="1" dirty="0">
              <a:solidFill>
                <a:schemeClr val="accent3">
                  <a:lumMod val="50000"/>
                </a:schemeClr>
              </a:solidFill>
              <a:latin typeface="+mj-lt"/>
            </a:endParaRPr>
          </a:p>
        </p:txBody>
      </p:sp>
      <p:sp>
        <p:nvSpPr>
          <p:cNvPr id="13" name="Text Box 11"/>
          <p:cNvSpPr txBox="1">
            <a:spLocks noChangeArrowheads="1"/>
          </p:cNvSpPr>
          <p:nvPr/>
        </p:nvSpPr>
        <p:spPr bwMode="auto">
          <a:xfrm>
            <a:off x="8356019" y="3596549"/>
            <a:ext cx="240515" cy="206210"/>
          </a:xfrm>
          <a:prstGeom prst="rect">
            <a:avLst/>
          </a:prstGeom>
          <a:noFill/>
          <a:ln w="9525" algn="ctr">
            <a:noFill/>
            <a:miter lim="800000"/>
            <a:headEnd/>
            <a:tailEnd/>
          </a:ln>
        </p:spPr>
        <p:txBody>
          <a:bodyPr wrap="none" lIns="18288" tIns="18288" rIns="18288" bIns="18288">
            <a:spAutoFit/>
          </a:bodyPr>
          <a:lstStyle/>
          <a:p>
            <a:pPr algn="ctr" defTabSz="814388"/>
            <a:r>
              <a:rPr lang="en-US" sz="1100" b="1" dirty="0" smtClean="0">
                <a:solidFill>
                  <a:schemeClr val="accent1"/>
                </a:solidFill>
                <a:latin typeface="+mj-lt"/>
              </a:rPr>
              <a:t>6%</a:t>
            </a:r>
            <a:endParaRPr lang="en-US" sz="1100" b="1" dirty="0">
              <a:solidFill>
                <a:schemeClr val="accent1"/>
              </a:solidFill>
              <a:latin typeface="+mj-lt"/>
            </a:endParaRPr>
          </a:p>
        </p:txBody>
      </p:sp>
      <p:sp>
        <p:nvSpPr>
          <p:cNvPr id="14" name="Text Box 11"/>
          <p:cNvSpPr txBox="1">
            <a:spLocks noChangeArrowheads="1"/>
          </p:cNvSpPr>
          <p:nvPr/>
        </p:nvSpPr>
        <p:spPr bwMode="auto">
          <a:xfrm>
            <a:off x="8274267" y="2500594"/>
            <a:ext cx="319062" cy="206210"/>
          </a:xfrm>
          <a:prstGeom prst="rect">
            <a:avLst/>
          </a:prstGeom>
          <a:noFill/>
          <a:ln w="9525" algn="ctr">
            <a:noFill/>
            <a:miter lim="800000"/>
            <a:headEnd/>
            <a:tailEnd/>
          </a:ln>
        </p:spPr>
        <p:txBody>
          <a:bodyPr wrap="none" lIns="18288" tIns="18288" rIns="18288" bIns="18288">
            <a:spAutoFit/>
          </a:bodyPr>
          <a:lstStyle/>
          <a:p>
            <a:pPr algn="ctr" defTabSz="814388"/>
            <a:r>
              <a:rPr lang="en-US" sz="1100" b="1" dirty="0" smtClean="0">
                <a:solidFill>
                  <a:schemeClr val="accent4"/>
                </a:solidFill>
                <a:latin typeface="+mj-lt"/>
              </a:rPr>
              <a:t>31%</a:t>
            </a:r>
            <a:endParaRPr lang="en-US" sz="1100" b="1" dirty="0">
              <a:solidFill>
                <a:schemeClr val="accent4"/>
              </a:solidFill>
              <a:latin typeface="+mj-lt"/>
            </a:endParaRPr>
          </a:p>
        </p:txBody>
      </p:sp>
      <p:sp>
        <p:nvSpPr>
          <p:cNvPr id="15" name="Text Box 11"/>
          <p:cNvSpPr txBox="1">
            <a:spLocks noChangeArrowheads="1"/>
          </p:cNvSpPr>
          <p:nvPr/>
        </p:nvSpPr>
        <p:spPr bwMode="auto">
          <a:xfrm>
            <a:off x="8274267" y="3173996"/>
            <a:ext cx="319062" cy="206210"/>
          </a:xfrm>
          <a:prstGeom prst="rect">
            <a:avLst/>
          </a:prstGeom>
          <a:noFill/>
          <a:ln w="9525" algn="ctr">
            <a:noFill/>
            <a:miter lim="800000"/>
            <a:headEnd/>
            <a:tailEnd/>
          </a:ln>
        </p:spPr>
        <p:txBody>
          <a:bodyPr wrap="none" lIns="18288" tIns="18288" rIns="18288" bIns="18288">
            <a:spAutoFit/>
          </a:bodyPr>
          <a:lstStyle/>
          <a:p>
            <a:pPr algn="ctr" defTabSz="814388"/>
            <a:r>
              <a:rPr lang="en-US" sz="1100" b="1" dirty="0">
                <a:solidFill>
                  <a:schemeClr val="accent2"/>
                </a:solidFill>
                <a:latin typeface="+mj-lt"/>
              </a:rPr>
              <a:t>1</a:t>
            </a:r>
            <a:r>
              <a:rPr lang="en-US" sz="1100" b="1" dirty="0" smtClean="0">
                <a:solidFill>
                  <a:schemeClr val="accent2"/>
                </a:solidFill>
                <a:latin typeface="+mj-lt"/>
              </a:rPr>
              <a:t>6%</a:t>
            </a:r>
            <a:endParaRPr lang="en-US" sz="1100" b="1" dirty="0">
              <a:solidFill>
                <a:schemeClr val="accent2"/>
              </a:solidFill>
              <a:latin typeface="+mj-lt"/>
            </a:endParaRPr>
          </a:p>
        </p:txBody>
      </p:sp>
      <p:sp>
        <p:nvSpPr>
          <p:cNvPr id="16" name="Rectangle 15"/>
          <p:cNvSpPr/>
          <p:nvPr/>
        </p:nvSpPr>
        <p:spPr>
          <a:xfrm>
            <a:off x="273050" y="1079500"/>
            <a:ext cx="8594725" cy="307777"/>
          </a:xfrm>
          <a:prstGeom prst="rect">
            <a:avLst/>
          </a:prstGeom>
          <a:solidFill>
            <a:schemeClr val="accent1"/>
          </a:solidFill>
        </p:spPr>
        <p:txBody>
          <a:bodyPr wrap="square">
            <a:spAutoFit/>
          </a:bodyPr>
          <a:lstStyle/>
          <a:p>
            <a:pPr algn="ctr"/>
            <a:r>
              <a:rPr lang="en-US" sz="1400" b="1" dirty="0" smtClean="0">
                <a:solidFill>
                  <a:schemeClr val="bg1"/>
                </a:solidFill>
                <a:latin typeface="+mj-lt"/>
              </a:rPr>
              <a:t>Global M2M Connections by Network Type</a:t>
            </a:r>
            <a:endParaRPr lang="en-US" sz="1400" b="1" dirty="0">
              <a:solidFill>
                <a:schemeClr val="bg1"/>
              </a:solidFill>
              <a:latin typeface="+mj-lt"/>
            </a:endParaRPr>
          </a:p>
        </p:txBody>
      </p:sp>
    </p:spTree>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p:cNvSpPr txBox="1"/>
          <p:nvPr/>
        </p:nvSpPr>
        <p:spPr>
          <a:xfrm>
            <a:off x="521316" y="2458464"/>
            <a:ext cx="1986455" cy="1538037"/>
          </a:xfrm>
          <a:prstGeom prst="rect">
            <a:avLst/>
          </a:prstGeom>
          <a:noFill/>
        </p:spPr>
        <p:txBody>
          <a:bodyPr wrap="square" lIns="90602" tIns="45301" rIns="90602" bIns="45301" rtlCol="0">
            <a:spAutoFit/>
          </a:bodyPr>
          <a:lstStyle/>
          <a:p>
            <a:pPr>
              <a:spcBef>
                <a:spcPts val="400"/>
              </a:spcBef>
            </a:pPr>
            <a:r>
              <a:rPr lang="en-US" altLang="zh-CN" sz="1400" dirty="0" smtClean="0">
                <a:solidFill>
                  <a:srgbClr val="2968AF"/>
                </a:solidFill>
              </a:rPr>
              <a:t>Is</a:t>
            </a:r>
            <a:r>
              <a:rPr lang="zh-CN" altLang="en-US" sz="1400" dirty="0" smtClean="0">
                <a:solidFill>
                  <a:srgbClr val="2968AF"/>
                </a:solidFill>
              </a:rPr>
              <a:t> </a:t>
            </a:r>
            <a:r>
              <a:rPr lang="en-US" altLang="zh-CN" sz="1400" dirty="0">
                <a:solidFill>
                  <a:srgbClr val="2968AF"/>
                </a:solidFill>
              </a:rPr>
              <a:t>my</a:t>
            </a:r>
            <a:r>
              <a:rPr lang="zh-CN" altLang="en-US" sz="1400" dirty="0">
                <a:solidFill>
                  <a:srgbClr val="2968AF"/>
                </a:solidFill>
              </a:rPr>
              <a:t> </a:t>
            </a:r>
            <a:r>
              <a:rPr lang="en-US" altLang="zh-CN" sz="1400" dirty="0">
                <a:solidFill>
                  <a:srgbClr val="2968AF"/>
                </a:solidFill>
              </a:rPr>
              <a:t>use</a:t>
            </a:r>
            <a:r>
              <a:rPr lang="zh-CN" altLang="en-US" sz="1400" dirty="0">
                <a:solidFill>
                  <a:srgbClr val="2968AF"/>
                </a:solidFill>
              </a:rPr>
              <a:t> </a:t>
            </a:r>
            <a:r>
              <a:rPr lang="en-US" altLang="zh-CN" sz="1400" dirty="0">
                <a:solidFill>
                  <a:srgbClr val="2968AF"/>
                </a:solidFill>
              </a:rPr>
              <a:t>case</a:t>
            </a:r>
            <a:r>
              <a:rPr lang="zh-CN" altLang="en-US" sz="1400" dirty="0">
                <a:solidFill>
                  <a:srgbClr val="2968AF"/>
                </a:solidFill>
              </a:rPr>
              <a:t> </a:t>
            </a:r>
            <a:r>
              <a:rPr lang="en-US" altLang="zh-CN" sz="1400" dirty="0" smtClean="0">
                <a:solidFill>
                  <a:srgbClr val="2968AF"/>
                </a:solidFill>
              </a:rPr>
              <a:t>applicable</a:t>
            </a:r>
            <a:r>
              <a:rPr lang="zh-CN" altLang="en-US" sz="1400" dirty="0" smtClean="0">
                <a:solidFill>
                  <a:srgbClr val="2968AF"/>
                </a:solidFill>
              </a:rPr>
              <a:t> </a:t>
            </a:r>
            <a:r>
              <a:rPr lang="en-US" altLang="zh-CN" sz="1400" dirty="0" smtClean="0">
                <a:solidFill>
                  <a:srgbClr val="2968AF"/>
                </a:solidFill>
              </a:rPr>
              <a:t>the</a:t>
            </a:r>
            <a:r>
              <a:rPr lang="zh-CN" altLang="en-US" sz="1400" dirty="0" smtClean="0">
                <a:solidFill>
                  <a:srgbClr val="2968AF"/>
                </a:solidFill>
              </a:rPr>
              <a:t> </a:t>
            </a:r>
            <a:r>
              <a:rPr lang="en-US" altLang="zh-CN" sz="1400" dirty="0" smtClean="0">
                <a:solidFill>
                  <a:srgbClr val="2968AF"/>
                </a:solidFill>
              </a:rPr>
              <a:t>low</a:t>
            </a:r>
            <a:r>
              <a:rPr lang="zh-CN" altLang="en-US" sz="1400" dirty="0" smtClean="0">
                <a:solidFill>
                  <a:srgbClr val="2968AF"/>
                </a:solidFill>
              </a:rPr>
              <a:t> </a:t>
            </a:r>
            <a:r>
              <a:rPr lang="en-US" altLang="zh-CN" sz="1400" dirty="0">
                <a:solidFill>
                  <a:srgbClr val="2968AF"/>
                </a:solidFill>
              </a:rPr>
              <a:t>data</a:t>
            </a:r>
            <a:r>
              <a:rPr lang="zh-CN" altLang="en-US" sz="1400" dirty="0">
                <a:solidFill>
                  <a:srgbClr val="2968AF"/>
                </a:solidFill>
              </a:rPr>
              <a:t> </a:t>
            </a:r>
            <a:r>
              <a:rPr lang="en-US" altLang="zh-CN" sz="1400" dirty="0">
                <a:solidFill>
                  <a:srgbClr val="2968AF"/>
                </a:solidFill>
              </a:rPr>
              <a:t>rate?</a:t>
            </a:r>
          </a:p>
          <a:p>
            <a:pPr marL="117475" indent="-117475" defTabSz="450399">
              <a:spcBef>
                <a:spcPts val="600"/>
              </a:spcBef>
              <a:buFont typeface="Arial"/>
              <a:buChar char="•"/>
            </a:pPr>
            <a:r>
              <a:rPr lang="en-US" altLang="zh-CN" sz="1400" dirty="0" smtClean="0">
                <a:solidFill>
                  <a:srgbClr val="676767">
                    <a:lumMod val="50000"/>
                  </a:srgbClr>
                </a:solidFill>
              </a:rPr>
              <a:t>10s</a:t>
            </a:r>
            <a:r>
              <a:rPr lang="zh-CN" altLang="en-US" sz="1400" dirty="0" smtClean="0">
                <a:solidFill>
                  <a:srgbClr val="676767">
                    <a:lumMod val="50000"/>
                  </a:srgbClr>
                </a:solidFill>
              </a:rPr>
              <a:t> </a:t>
            </a:r>
            <a:r>
              <a:rPr lang="en-US" altLang="zh-CN" sz="1400" dirty="0" smtClean="0">
                <a:solidFill>
                  <a:srgbClr val="676767">
                    <a:lumMod val="50000"/>
                  </a:srgbClr>
                </a:solidFill>
              </a:rPr>
              <a:t>bps</a:t>
            </a:r>
            <a:r>
              <a:rPr lang="zh-CN" altLang="en-US" sz="1400" dirty="0" smtClean="0">
                <a:solidFill>
                  <a:srgbClr val="676767">
                    <a:lumMod val="50000"/>
                  </a:srgbClr>
                </a:solidFill>
              </a:rPr>
              <a:t> </a:t>
            </a:r>
            <a:r>
              <a:rPr lang="en-US" altLang="zh-CN" sz="1400" dirty="0" smtClean="0">
                <a:solidFill>
                  <a:srgbClr val="676767">
                    <a:lumMod val="50000"/>
                  </a:srgbClr>
                </a:solidFill>
              </a:rPr>
              <a:t>to</a:t>
            </a:r>
            <a:r>
              <a:rPr lang="zh-CN" altLang="en-US" sz="1400" dirty="0" smtClean="0">
                <a:solidFill>
                  <a:srgbClr val="676767">
                    <a:lumMod val="50000"/>
                  </a:srgbClr>
                </a:solidFill>
              </a:rPr>
              <a:t> </a:t>
            </a:r>
            <a:r>
              <a:rPr lang="en-US" altLang="zh-CN" sz="1400" dirty="0" smtClean="0">
                <a:solidFill>
                  <a:srgbClr val="676767">
                    <a:lumMod val="50000"/>
                  </a:srgbClr>
                </a:solidFill>
              </a:rPr>
              <a:t>100</a:t>
            </a:r>
            <a:r>
              <a:rPr lang="zh-CN" altLang="en-US" sz="1400" dirty="0" smtClean="0">
                <a:solidFill>
                  <a:srgbClr val="676767">
                    <a:lumMod val="50000"/>
                  </a:srgbClr>
                </a:solidFill>
              </a:rPr>
              <a:t> </a:t>
            </a:r>
            <a:r>
              <a:rPr lang="en-US" altLang="zh-CN" sz="1400" dirty="0" smtClean="0">
                <a:solidFill>
                  <a:srgbClr val="676767">
                    <a:lumMod val="50000"/>
                  </a:srgbClr>
                </a:solidFill>
              </a:rPr>
              <a:t>kbps</a:t>
            </a:r>
          </a:p>
          <a:p>
            <a:pPr marL="117475" indent="-117475" defTabSz="450399">
              <a:spcBef>
                <a:spcPts val="600"/>
              </a:spcBef>
              <a:buFont typeface="Arial"/>
              <a:buChar char="•"/>
            </a:pPr>
            <a:r>
              <a:rPr lang="en-US" altLang="zh-CN" sz="1400" dirty="0" smtClean="0">
                <a:solidFill>
                  <a:srgbClr val="676767">
                    <a:lumMod val="50000"/>
                  </a:srgbClr>
                </a:solidFill>
              </a:rPr>
              <a:t>Less</a:t>
            </a:r>
            <a:r>
              <a:rPr lang="zh-CN" altLang="en-US" sz="1400" dirty="0" smtClean="0">
                <a:solidFill>
                  <a:srgbClr val="676767">
                    <a:lumMod val="50000"/>
                  </a:srgbClr>
                </a:solidFill>
              </a:rPr>
              <a:t> </a:t>
            </a:r>
            <a:r>
              <a:rPr lang="en-US" altLang="zh-CN" sz="1400" dirty="0" smtClean="0">
                <a:solidFill>
                  <a:srgbClr val="676767">
                    <a:lumMod val="50000"/>
                  </a:srgbClr>
                </a:solidFill>
              </a:rPr>
              <a:t>latency</a:t>
            </a:r>
            <a:r>
              <a:rPr lang="zh-CN" altLang="en-US" sz="1400" dirty="0" smtClean="0">
                <a:solidFill>
                  <a:srgbClr val="676767">
                    <a:lumMod val="50000"/>
                  </a:srgbClr>
                </a:solidFill>
              </a:rPr>
              <a:t> </a:t>
            </a:r>
            <a:r>
              <a:rPr lang="en-US" altLang="zh-CN" sz="1400" dirty="0" smtClean="0">
                <a:solidFill>
                  <a:srgbClr val="676767">
                    <a:lumMod val="50000"/>
                  </a:srgbClr>
                </a:solidFill>
              </a:rPr>
              <a:t>sensitivity</a:t>
            </a:r>
            <a:endParaRPr lang="en-US" altLang="zh-CN" sz="1400" dirty="0">
              <a:solidFill>
                <a:srgbClr val="676767">
                  <a:lumMod val="50000"/>
                </a:srgbClr>
              </a:solidFill>
            </a:endParaRPr>
          </a:p>
        </p:txBody>
      </p:sp>
      <p:grpSp>
        <p:nvGrpSpPr>
          <p:cNvPr id="3" name="Group 2"/>
          <p:cNvGrpSpPr/>
          <p:nvPr/>
        </p:nvGrpSpPr>
        <p:grpSpPr>
          <a:xfrm>
            <a:off x="709767" y="1139145"/>
            <a:ext cx="1112554" cy="1072688"/>
            <a:chOff x="757617" y="1221966"/>
            <a:chExt cx="1505762" cy="1505758"/>
          </a:xfrm>
        </p:grpSpPr>
        <p:sp>
          <p:nvSpPr>
            <p:cNvPr id="16" name="Oval 15"/>
            <p:cNvSpPr/>
            <p:nvPr/>
          </p:nvSpPr>
          <p:spPr>
            <a:xfrm>
              <a:off x="757617" y="1221966"/>
              <a:ext cx="1505762" cy="1505758"/>
            </a:xfrm>
            <a:prstGeom prst="ellipse">
              <a:avLst/>
            </a:prstGeom>
            <a:gradFill>
              <a:gsLst>
                <a:gs pos="0">
                  <a:srgbClr val="153680"/>
                </a:gs>
                <a:gs pos="100000">
                  <a:schemeClr val="accent1"/>
                </a:gs>
              </a:gsLst>
            </a:gradFill>
            <a:ln>
              <a:noFill/>
            </a:ln>
            <a:effectLst/>
          </p:spPr>
          <p:style>
            <a:lnRef idx="1">
              <a:schemeClr val="accent5"/>
            </a:lnRef>
            <a:fillRef idx="3">
              <a:schemeClr val="accent5"/>
            </a:fillRef>
            <a:effectRef idx="2">
              <a:schemeClr val="accent5"/>
            </a:effectRef>
            <a:fontRef idx="minor">
              <a:schemeClr val="lt1"/>
            </a:fontRef>
          </p:style>
          <p:txBody>
            <a:bodyPr lIns="91428" tIns="45714" rIns="91428" bIns="45714" rtlCol="0" anchor="ctr"/>
            <a:lstStyle/>
            <a:p>
              <a:pPr algn="ctr" defTabSz="452445"/>
              <a:endParaRPr lang="en-US" dirty="0">
                <a:solidFill>
                  <a:srgbClr val="FFFFFF"/>
                </a:solidFill>
              </a:endParaRPr>
            </a:p>
          </p:txBody>
        </p:sp>
        <p:sp>
          <p:nvSpPr>
            <p:cNvPr id="18" name="TextBox 17"/>
            <p:cNvSpPr txBox="1"/>
            <p:nvPr/>
          </p:nvSpPr>
          <p:spPr>
            <a:xfrm>
              <a:off x="762866" y="2090388"/>
              <a:ext cx="1495263" cy="388830"/>
            </a:xfrm>
            <a:prstGeom prst="rect">
              <a:avLst/>
            </a:prstGeom>
            <a:noFill/>
          </p:spPr>
          <p:txBody>
            <a:bodyPr wrap="square" rtlCol="0">
              <a:spAutoFit/>
            </a:bodyPr>
            <a:lstStyle/>
            <a:p>
              <a:pPr algn="ctr" defTabSz="452445"/>
              <a:r>
                <a:rPr lang="en-US" sz="1200" dirty="0">
                  <a:solidFill>
                    <a:srgbClr val="FFFFFF"/>
                  </a:solidFill>
                </a:rPr>
                <a:t>Data Rate</a:t>
              </a:r>
            </a:p>
          </p:txBody>
        </p:sp>
      </p:grpSp>
      <p:cxnSp>
        <p:nvCxnSpPr>
          <p:cNvPr id="19" name="Straight Connector 18"/>
          <p:cNvCxnSpPr/>
          <p:nvPr/>
        </p:nvCxnSpPr>
        <p:spPr>
          <a:xfrm>
            <a:off x="2467991" y="1975040"/>
            <a:ext cx="17091" cy="23528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724431" y="1848800"/>
            <a:ext cx="17091" cy="23528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2921118" y="1095789"/>
            <a:ext cx="1137532" cy="1116044"/>
            <a:chOff x="3739999" y="1851557"/>
            <a:chExt cx="1262618" cy="1273959"/>
          </a:xfrm>
        </p:grpSpPr>
        <p:sp>
          <p:nvSpPr>
            <p:cNvPr id="5" name="Oval 4"/>
            <p:cNvSpPr/>
            <p:nvPr/>
          </p:nvSpPr>
          <p:spPr>
            <a:xfrm>
              <a:off x="3744305" y="1851557"/>
              <a:ext cx="1258312" cy="1273959"/>
            </a:xfrm>
            <a:prstGeom prst="ellipse">
              <a:avLst/>
            </a:prstGeom>
            <a:gradFill>
              <a:gsLst>
                <a:gs pos="0">
                  <a:srgbClr val="007B86"/>
                </a:gs>
                <a:gs pos="100000">
                  <a:srgbClr val="009BAE"/>
                </a:gs>
              </a:gsLst>
            </a:gradFill>
            <a:ln>
              <a:noFill/>
            </a:ln>
            <a:effectLst/>
          </p:spPr>
          <p:style>
            <a:lnRef idx="1">
              <a:schemeClr val="accent6"/>
            </a:lnRef>
            <a:fillRef idx="3">
              <a:schemeClr val="accent6"/>
            </a:fillRef>
            <a:effectRef idx="2">
              <a:schemeClr val="accent6"/>
            </a:effectRef>
            <a:fontRef idx="minor">
              <a:schemeClr val="lt1"/>
            </a:fontRef>
          </p:style>
          <p:txBody>
            <a:bodyPr lIns="91340" tIns="45670" rIns="91340" bIns="45670" rtlCol="0" anchor="ctr"/>
            <a:lstStyle/>
            <a:p>
              <a:pPr algn="ctr" defTabSz="452445"/>
              <a:endParaRPr lang="en-US" sz="1400" dirty="0">
                <a:solidFill>
                  <a:srgbClr val="FFFFFF"/>
                </a:solidFill>
              </a:endParaRPr>
            </a:p>
          </p:txBody>
        </p:sp>
        <p:sp>
          <p:nvSpPr>
            <p:cNvPr id="11" name="TextBox 10"/>
            <p:cNvSpPr txBox="1"/>
            <p:nvPr/>
          </p:nvSpPr>
          <p:spPr>
            <a:xfrm>
              <a:off x="3739999" y="2465239"/>
              <a:ext cx="1249539" cy="491754"/>
            </a:xfrm>
            <a:prstGeom prst="rect">
              <a:avLst/>
            </a:prstGeom>
            <a:noFill/>
          </p:spPr>
          <p:txBody>
            <a:bodyPr wrap="square" lIns="91352" tIns="45676" rIns="91352" bIns="45676" rtlCol="0">
              <a:spAutoFit/>
            </a:bodyPr>
            <a:lstStyle/>
            <a:p>
              <a:pPr algn="ctr" defTabSz="452445"/>
              <a:r>
                <a:rPr lang="en-US" sz="1100" dirty="0">
                  <a:solidFill>
                    <a:srgbClr val="FFFFFF"/>
                  </a:solidFill>
                </a:rPr>
                <a:t>Power Consumption</a:t>
              </a:r>
            </a:p>
          </p:txBody>
        </p:sp>
      </p:grpSp>
      <p:grpSp>
        <p:nvGrpSpPr>
          <p:cNvPr id="8" name="Group 7"/>
          <p:cNvGrpSpPr/>
          <p:nvPr/>
        </p:nvGrpSpPr>
        <p:grpSpPr>
          <a:xfrm>
            <a:off x="4995763" y="1092538"/>
            <a:ext cx="1168037" cy="1138320"/>
            <a:chOff x="6586132" y="1830362"/>
            <a:chExt cx="1348395" cy="1335125"/>
          </a:xfrm>
        </p:grpSpPr>
        <p:sp>
          <p:nvSpPr>
            <p:cNvPr id="4" name="Oval 3"/>
            <p:cNvSpPr/>
            <p:nvPr/>
          </p:nvSpPr>
          <p:spPr>
            <a:xfrm>
              <a:off x="6586132" y="1830362"/>
              <a:ext cx="1348395" cy="1335125"/>
            </a:xfrm>
            <a:prstGeom prst="ellipse">
              <a:avLst/>
            </a:prstGeom>
            <a:gradFill>
              <a:gsLst>
                <a:gs pos="0">
                  <a:srgbClr val="215A9C"/>
                </a:gs>
                <a:gs pos="100000">
                  <a:schemeClr val="tx2"/>
                </a:gs>
              </a:gsLst>
            </a:gradFill>
            <a:ln>
              <a:noFill/>
            </a:ln>
            <a:effectLst/>
          </p:spPr>
          <p:style>
            <a:lnRef idx="1">
              <a:schemeClr val="accent5"/>
            </a:lnRef>
            <a:fillRef idx="3">
              <a:schemeClr val="accent5"/>
            </a:fillRef>
            <a:effectRef idx="2">
              <a:schemeClr val="accent5"/>
            </a:effectRef>
            <a:fontRef idx="minor">
              <a:schemeClr val="lt1"/>
            </a:fontRef>
          </p:style>
          <p:txBody>
            <a:bodyPr lIns="91340" tIns="45670" rIns="91340" bIns="45670" rtlCol="0" anchor="ctr"/>
            <a:lstStyle/>
            <a:p>
              <a:pPr algn="ctr" defTabSz="452445"/>
              <a:endParaRPr lang="en-US" dirty="0">
                <a:solidFill>
                  <a:srgbClr val="FFFFFF"/>
                </a:solidFill>
              </a:endParaRPr>
            </a:p>
          </p:txBody>
        </p:sp>
        <p:sp>
          <p:nvSpPr>
            <p:cNvPr id="10" name="TextBox 9"/>
            <p:cNvSpPr txBox="1"/>
            <p:nvPr/>
          </p:nvSpPr>
          <p:spPr>
            <a:xfrm>
              <a:off x="6595531" y="2548752"/>
              <a:ext cx="1338993" cy="505279"/>
            </a:xfrm>
            <a:prstGeom prst="rect">
              <a:avLst/>
            </a:prstGeom>
            <a:noFill/>
          </p:spPr>
          <p:txBody>
            <a:bodyPr wrap="square" lIns="91352" tIns="45676" rIns="91352" bIns="45676" rtlCol="0">
              <a:spAutoFit/>
            </a:bodyPr>
            <a:lstStyle/>
            <a:p>
              <a:pPr algn="ctr" defTabSz="452445"/>
              <a:r>
                <a:rPr lang="en-US" sz="1100" dirty="0">
                  <a:solidFill>
                    <a:srgbClr val="FFFFFF"/>
                  </a:solidFill>
                </a:rPr>
                <a:t>Distance Coverage</a:t>
              </a:r>
            </a:p>
          </p:txBody>
        </p:sp>
        <p:grpSp>
          <p:nvGrpSpPr>
            <p:cNvPr id="89" name="Group 88"/>
            <p:cNvGrpSpPr/>
            <p:nvPr/>
          </p:nvGrpSpPr>
          <p:grpSpPr>
            <a:xfrm>
              <a:off x="7027030" y="1913547"/>
              <a:ext cx="530382" cy="593873"/>
              <a:chOff x="1571656" y="3080804"/>
              <a:chExt cx="493749" cy="484008"/>
            </a:xfrm>
          </p:grpSpPr>
          <p:pic>
            <p:nvPicPr>
              <p:cNvPr id="90" name="Picture 8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71656" y="3154082"/>
                <a:ext cx="493749" cy="410730"/>
              </a:xfrm>
              <a:prstGeom prst="rect">
                <a:avLst/>
              </a:prstGeom>
              <a:noFill/>
              <a:ln>
                <a:noFill/>
              </a:ln>
            </p:spPr>
          </p:pic>
          <p:pic>
            <p:nvPicPr>
              <p:cNvPr id="91" name="Picture 90" descr="WiFi_256.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20315" y="3080804"/>
                <a:ext cx="146555" cy="146555"/>
              </a:xfrm>
              <a:prstGeom prst="rect">
                <a:avLst/>
              </a:prstGeom>
            </p:spPr>
          </p:pic>
        </p:grpSp>
      </p:grpSp>
      <p:grpSp>
        <p:nvGrpSpPr>
          <p:cNvPr id="24" name="Group 23"/>
          <p:cNvGrpSpPr/>
          <p:nvPr/>
        </p:nvGrpSpPr>
        <p:grpSpPr>
          <a:xfrm>
            <a:off x="7191519" y="1099891"/>
            <a:ext cx="1133653" cy="1107840"/>
            <a:chOff x="3744305" y="1851557"/>
            <a:chExt cx="1258312" cy="1273959"/>
          </a:xfrm>
        </p:grpSpPr>
        <p:sp>
          <p:nvSpPr>
            <p:cNvPr id="25" name="Oval 24"/>
            <p:cNvSpPr/>
            <p:nvPr/>
          </p:nvSpPr>
          <p:spPr>
            <a:xfrm>
              <a:off x="3744305" y="1851557"/>
              <a:ext cx="1258312" cy="1273959"/>
            </a:xfrm>
            <a:prstGeom prst="ellipse">
              <a:avLst/>
            </a:prstGeom>
            <a:gradFill>
              <a:gsLst>
                <a:gs pos="0">
                  <a:srgbClr val="007B86"/>
                </a:gs>
                <a:gs pos="100000">
                  <a:srgbClr val="009BAE"/>
                </a:gs>
              </a:gsLst>
            </a:gradFill>
            <a:ln>
              <a:noFill/>
            </a:ln>
            <a:effectLst/>
          </p:spPr>
          <p:style>
            <a:lnRef idx="1">
              <a:schemeClr val="accent6"/>
            </a:lnRef>
            <a:fillRef idx="3">
              <a:schemeClr val="accent6"/>
            </a:fillRef>
            <a:effectRef idx="2">
              <a:schemeClr val="accent6"/>
            </a:effectRef>
            <a:fontRef idx="minor">
              <a:schemeClr val="lt1"/>
            </a:fontRef>
          </p:style>
          <p:txBody>
            <a:bodyPr lIns="91340" tIns="45670" rIns="91340" bIns="45670" rtlCol="0" anchor="ctr"/>
            <a:lstStyle/>
            <a:p>
              <a:pPr algn="ctr" defTabSz="452445"/>
              <a:endParaRPr lang="en-US" sz="1400" dirty="0">
                <a:solidFill>
                  <a:srgbClr val="FFFFFF"/>
                </a:solidFill>
              </a:endParaRPr>
            </a:p>
          </p:txBody>
        </p:sp>
        <p:sp>
          <p:nvSpPr>
            <p:cNvPr id="28" name="TextBox 27"/>
            <p:cNvSpPr txBox="1"/>
            <p:nvPr/>
          </p:nvSpPr>
          <p:spPr>
            <a:xfrm>
              <a:off x="3753078" y="2665028"/>
              <a:ext cx="1249539" cy="318432"/>
            </a:xfrm>
            <a:prstGeom prst="rect">
              <a:avLst/>
            </a:prstGeom>
            <a:noFill/>
          </p:spPr>
          <p:txBody>
            <a:bodyPr wrap="square" lIns="91352" tIns="45676" rIns="91352" bIns="45676" rtlCol="0">
              <a:spAutoFit/>
            </a:bodyPr>
            <a:lstStyle/>
            <a:p>
              <a:pPr algn="ctr" defTabSz="452445"/>
              <a:r>
                <a:rPr lang="en-US" sz="1200" dirty="0">
                  <a:solidFill>
                    <a:srgbClr val="FFFFFF"/>
                  </a:solidFill>
                </a:rPr>
                <a:t>Cost</a:t>
              </a:r>
            </a:p>
          </p:txBody>
        </p:sp>
      </p:grpSp>
      <p:cxnSp>
        <p:nvCxnSpPr>
          <p:cNvPr id="30" name="Straight Connector 29"/>
          <p:cNvCxnSpPr/>
          <p:nvPr/>
        </p:nvCxnSpPr>
        <p:spPr>
          <a:xfrm>
            <a:off x="4612992" y="1975040"/>
            <a:ext cx="17091" cy="235287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2507772" y="2458464"/>
            <a:ext cx="2131258" cy="1968924"/>
          </a:xfrm>
          <a:prstGeom prst="rect">
            <a:avLst/>
          </a:prstGeom>
          <a:noFill/>
        </p:spPr>
        <p:txBody>
          <a:bodyPr wrap="square" lIns="90602" tIns="45301" rIns="90602" bIns="45301" rtlCol="0">
            <a:spAutoFit/>
          </a:bodyPr>
          <a:lstStyle/>
          <a:p>
            <a:pPr>
              <a:spcBef>
                <a:spcPts val="400"/>
              </a:spcBef>
            </a:pPr>
            <a:r>
              <a:rPr lang="en-US" altLang="zh-CN" sz="1400" dirty="0">
                <a:solidFill>
                  <a:srgbClr val="2968AF"/>
                </a:solidFill>
              </a:rPr>
              <a:t>Does my </a:t>
            </a:r>
            <a:r>
              <a:rPr lang="en-US" altLang="zh-CN" sz="1400" dirty="0" smtClean="0">
                <a:solidFill>
                  <a:srgbClr val="2968AF"/>
                </a:solidFill>
              </a:rPr>
              <a:t>endpoint </a:t>
            </a:r>
            <a:r>
              <a:rPr lang="en-US" altLang="zh-CN" sz="1400" dirty="0">
                <a:solidFill>
                  <a:srgbClr val="2968AF"/>
                </a:solidFill>
              </a:rPr>
              <a:t>mandate low </a:t>
            </a:r>
            <a:r>
              <a:rPr lang="en-US" altLang="zh-CN" sz="1400" dirty="0" smtClean="0">
                <a:solidFill>
                  <a:srgbClr val="2968AF"/>
                </a:solidFill>
              </a:rPr>
              <a:t>power</a:t>
            </a:r>
            <a:r>
              <a:rPr lang="zh-CN" altLang="en-US" sz="1400" dirty="0" smtClean="0">
                <a:solidFill>
                  <a:srgbClr val="2968AF"/>
                </a:solidFill>
              </a:rPr>
              <a:t> </a:t>
            </a:r>
            <a:r>
              <a:rPr lang="en-US" altLang="zh-CN" sz="1400" dirty="0" smtClean="0">
                <a:solidFill>
                  <a:srgbClr val="2968AF"/>
                </a:solidFill>
              </a:rPr>
              <a:t>consumption?</a:t>
            </a:r>
            <a:endParaRPr lang="en-US" altLang="zh-CN" sz="1400" dirty="0">
              <a:solidFill>
                <a:srgbClr val="2968AF"/>
              </a:solidFill>
            </a:endParaRPr>
          </a:p>
          <a:p>
            <a:pPr marL="117475" indent="-117475" defTabSz="450399">
              <a:spcBef>
                <a:spcPts val="600"/>
              </a:spcBef>
              <a:buFont typeface="Arial"/>
              <a:buChar char="•"/>
            </a:pPr>
            <a:r>
              <a:rPr lang="en-US" altLang="zh-CN" sz="1400" dirty="0" smtClean="0">
                <a:solidFill>
                  <a:srgbClr val="676767">
                    <a:lumMod val="50000"/>
                  </a:srgbClr>
                </a:solidFill>
              </a:rPr>
              <a:t>No</a:t>
            </a:r>
            <a:r>
              <a:rPr lang="zh-CN" altLang="en-US" sz="1400" dirty="0" smtClean="0">
                <a:solidFill>
                  <a:srgbClr val="676767">
                    <a:lumMod val="50000"/>
                  </a:srgbClr>
                </a:solidFill>
              </a:rPr>
              <a:t> </a:t>
            </a:r>
            <a:r>
              <a:rPr lang="en-US" altLang="zh-CN" sz="1400" dirty="0" smtClean="0">
                <a:solidFill>
                  <a:srgbClr val="676767">
                    <a:lumMod val="50000"/>
                  </a:srgbClr>
                </a:solidFill>
              </a:rPr>
              <a:t>external</a:t>
            </a:r>
            <a:r>
              <a:rPr lang="zh-CN" altLang="en-US" sz="1400" dirty="0" smtClean="0">
                <a:solidFill>
                  <a:srgbClr val="676767">
                    <a:lumMod val="50000"/>
                  </a:srgbClr>
                </a:solidFill>
              </a:rPr>
              <a:t> </a:t>
            </a:r>
            <a:r>
              <a:rPr lang="en-US" altLang="zh-CN" sz="1400" dirty="0" smtClean="0">
                <a:solidFill>
                  <a:srgbClr val="676767">
                    <a:lumMod val="50000"/>
                  </a:srgbClr>
                </a:solidFill>
              </a:rPr>
              <a:t>power</a:t>
            </a:r>
            <a:r>
              <a:rPr lang="zh-CN" altLang="en-US" sz="1400" dirty="0" smtClean="0">
                <a:solidFill>
                  <a:srgbClr val="676767">
                    <a:lumMod val="50000"/>
                  </a:srgbClr>
                </a:solidFill>
              </a:rPr>
              <a:t> </a:t>
            </a:r>
            <a:r>
              <a:rPr lang="en-US" altLang="zh-CN" sz="1400" dirty="0" smtClean="0">
                <a:solidFill>
                  <a:srgbClr val="676767">
                    <a:lumMod val="50000"/>
                  </a:srgbClr>
                </a:solidFill>
              </a:rPr>
              <a:t>supply</a:t>
            </a:r>
            <a:r>
              <a:rPr lang="zh-CN" altLang="en-US" sz="1400" dirty="0" smtClean="0">
                <a:solidFill>
                  <a:srgbClr val="676767">
                    <a:lumMod val="50000"/>
                  </a:srgbClr>
                </a:solidFill>
              </a:rPr>
              <a:t> </a:t>
            </a:r>
            <a:r>
              <a:rPr lang="en-US" altLang="zh-CN" sz="1400" dirty="0" smtClean="0">
                <a:solidFill>
                  <a:srgbClr val="676767">
                    <a:lumMod val="50000"/>
                  </a:srgbClr>
                </a:solidFill>
              </a:rPr>
              <a:t>around</a:t>
            </a:r>
            <a:r>
              <a:rPr lang="zh-CN" altLang="en-US" sz="1400" dirty="0" smtClean="0">
                <a:solidFill>
                  <a:srgbClr val="676767">
                    <a:lumMod val="50000"/>
                  </a:srgbClr>
                </a:solidFill>
              </a:rPr>
              <a:t> </a:t>
            </a:r>
            <a:r>
              <a:rPr lang="en-US" altLang="zh-CN" sz="1400" dirty="0" smtClean="0">
                <a:solidFill>
                  <a:srgbClr val="676767">
                    <a:lumMod val="50000"/>
                  </a:srgbClr>
                </a:solidFill>
              </a:rPr>
              <a:t>the</a:t>
            </a:r>
            <a:r>
              <a:rPr lang="zh-CN" altLang="en-US" sz="1400" dirty="0" smtClean="0">
                <a:solidFill>
                  <a:srgbClr val="676767">
                    <a:lumMod val="50000"/>
                  </a:srgbClr>
                </a:solidFill>
              </a:rPr>
              <a:t> </a:t>
            </a:r>
            <a:r>
              <a:rPr lang="en-US" altLang="zh-CN" sz="1400" dirty="0" smtClean="0">
                <a:solidFill>
                  <a:srgbClr val="676767">
                    <a:lumMod val="50000"/>
                  </a:srgbClr>
                </a:solidFill>
              </a:rPr>
              <a:t>endpoint</a:t>
            </a:r>
          </a:p>
          <a:p>
            <a:pPr marL="117475" indent="-117475" defTabSz="450399">
              <a:spcBef>
                <a:spcPts val="600"/>
              </a:spcBef>
              <a:buFont typeface="Arial"/>
              <a:buChar char="•"/>
            </a:pPr>
            <a:r>
              <a:rPr lang="en-US" altLang="zh-CN" sz="1400" dirty="0" smtClean="0">
                <a:solidFill>
                  <a:srgbClr val="676767">
                    <a:lumMod val="50000"/>
                  </a:srgbClr>
                </a:solidFill>
              </a:rPr>
              <a:t>Over</a:t>
            </a:r>
            <a:r>
              <a:rPr lang="zh-CN" altLang="en-US" sz="1400" dirty="0" smtClean="0">
                <a:solidFill>
                  <a:srgbClr val="676767">
                    <a:lumMod val="50000"/>
                  </a:srgbClr>
                </a:solidFill>
              </a:rPr>
              <a:t> </a:t>
            </a:r>
            <a:r>
              <a:rPr lang="en-US" altLang="zh-CN" sz="1400" dirty="0" smtClean="0">
                <a:solidFill>
                  <a:srgbClr val="676767">
                    <a:lumMod val="50000"/>
                  </a:srgbClr>
                </a:solidFill>
              </a:rPr>
              <a:t>years</a:t>
            </a:r>
            <a:r>
              <a:rPr lang="zh-CN" altLang="en-US" sz="1400" dirty="0" smtClean="0">
                <a:solidFill>
                  <a:srgbClr val="676767">
                    <a:lumMod val="50000"/>
                  </a:srgbClr>
                </a:solidFill>
              </a:rPr>
              <a:t> </a:t>
            </a:r>
            <a:r>
              <a:rPr lang="en-US" altLang="zh-CN" sz="1400" dirty="0" smtClean="0">
                <a:solidFill>
                  <a:srgbClr val="676767">
                    <a:lumMod val="50000"/>
                  </a:srgbClr>
                </a:solidFill>
                <a:latin typeface="Arial"/>
              </a:rPr>
              <a:t>life</a:t>
            </a:r>
            <a:r>
              <a:rPr lang="zh-CN" altLang="en-US" sz="1400" dirty="0" smtClean="0">
                <a:solidFill>
                  <a:srgbClr val="676767">
                    <a:lumMod val="50000"/>
                  </a:srgbClr>
                </a:solidFill>
                <a:latin typeface="Arial"/>
              </a:rPr>
              <a:t> </a:t>
            </a:r>
            <a:r>
              <a:rPr lang="en-US" altLang="zh-CN" sz="1400" dirty="0" smtClean="0">
                <a:solidFill>
                  <a:srgbClr val="676767">
                    <a:lumMod val="50000"/>
                  </a:srgbClr>
                </a:solidFill>
                <a:latin typeface="Arial"/>
              </a:rPr>
              <a:t>time</a:t>
            </a:r>
            <a:r>
              <a:rPr lang="zh-CN" altLang="en-US" sz="1400" dirty="0" smtClean="0">
                <a:solidFill>
                  <a:srgbClr val="676767">
                    <a:lumMod val="50000"/>
                  </a:srgbClr>
                </a:solidFill>
                <a:latin typeface="Arial"/>
              </a:rPr>
              <a:t> </a:t>
            </a:r>
            <a:r>
              <a:rPr lang="en-US" altLang="zh-CN" sz="1400" dirty="0" smtClean="0">
                <a:solidFill>
                  <a:srgbClr val="676767">
                    <a:lumMod val="50000"/>
                  </a:srgbClr>
                </a:solidFill>
                <a:latin typeface="Arial"/>
              </a:rPr>
              <a:t>powered</a:t>
            </a:r>
            <a:r>
              <a:rPr lang="zh-CN" altLang="en-US" sz="1400" dirty="0" smtClean="0">
                <a:solidFill>
                  <a:srgbClr val="676767">
                    <a:lumMod val="50000"/>
                  </a:srgbClr>
                </a:solidFill>
                <a:latin typeface="Arial"/>
              </a:rPr>
              <a:t> </a:t>
            </a:r>
            <a:r>
              <a:rPr lang="en-US" altLang="zh-CN" sz="1400" dirty="0" smtClean="0">
                <a:solidFill>
                  <a:srgbClr val="676767">
                    <a:lumMod val="50000"/>
                  </a:srgbClr>
                </a:solidFill>
                <a:latin typeface="Arial"/>
              </a:rPr>
              <a:t>by</a:t>
            </a:r>
            <a:r>
              <a:rPr lang="zh-CN" altLang="en-US" sz="1400" dirty="0" smtClean="0">
                <a:solidFill>
                  <a:srgbClr val="676767">
                    <a:lumMod val="50000"/>
                  </a:srgbClr>
                </a:solidFill>
                <a:latin typeface="Arial"/>
              </a:rPr>
              <a:t> </a:t>
            </a:r>
            <a:r>
              <a:rPr lang="en-US" altLang="zh-CN" sz="1400" dirty="0" smtClean="0">
                <a:solidFill>
                  <a:srgbClr val="676767">
                    <a:lumMod val="50000"/>
                  </a:srgbClr>
                </a:solidFill>
                <a:latin typeface="Arial"/>
              </a:rPr>
              <a:t>battery</a:t>
            </a:r>
            <a:endParaRPr lang="en-US" altLang="zh-CN" sz="1400" dirty="0" smtClean="0">
              <a:solidFill>
                <a:srgbClr val="676767">
                  <a:lumMod val="50000"/>
                </a:srgbClr>
              </a:solidFill>
            </a:endParaRPr>
          </a:p>
        </p:txBody>
      </p:sp>
      <p:sp>
        <p:nvSpPr>
          <p:cNvPr id="34" name="TextBox 33"/>
          <p:cNvSpPr txBox="1"/>
          <p:nvPr/>
        </p:nvSpPr>
        <p:spPr>
          <a:xfrm>
            <a:off x="4612992" y="2458464"/>
            <a:ext cx="2128530" cy="1322593"/>
          </a:xfrm>
          <a:prstGeom prst="rect">
            <a:avLst/>
          </a:prstGeom>
          <a:noFill/>
        </p:spPr>
        <p:txBody>
          <a:bodyPr wrap="square" lIns="90602" tIns="45301" rIns="90602" bIns="45301" rtlCol="0">
            <a:spAutoFit/>
          </a:bodyPr>
          <a:lstStyle/>
          <a:p>
            <a:pPr>
              <a:spcBef>
                <a:spcPts val="400"/>
              </a:spcBef>
            </a:pPr>
            <a:r>
              <a:rPr lang="en-US" altLang="zh-CN" sz="1400" dirty="0" smtClean="0">
                <a:solidFill>
                  <a:srgbClr val="2968AF"/>
                </a:solidFill>
              </a:rPr>
              <a:t>Does</a:t>
            </a:r>
            <a:r>
              <a:rPr lang="zh-CN" altLang="en-US" sz="1400" dirty="0" smtClean="0">
                <a:solidFill>
                  <a:srgbClr val="2968AF"/>
                </a:solidFill>
              </a:rPr>
              <a:t> </a:t>
            </a:r>
            <a:r>
              <a:rPr lang="en-US" altLang="zh-CN" sz="1400" dirty="0">
                <a:solidFill>
                  <a:srgbClr val="2968AF"/>
                </a:solidFill>
              </a:rPr>
              <a:t>my</a:t>
            </a:r>
            <a:r>
              <a:rPr lang="zh-CN" altLang="en-US" sz="1400" dirty="0">
                <a:solidFill>
                  <a:srgbClr val="2968AF"/>
                </a:solidFill>
              </a:rPr>
              <a:t> </a:t>
            </a:r>
            <a:r>
              <a:rPr lang="en-US" altLang="zh-CN" sz="1400" dirty="0" smtClean="0">
                <a:solidFill>
                  <a:srgbClr val="2968AF"/>
                </a:solidFill>
              </a:rPr>
              <a:t>use</a:t>
            </a:r>
            <a:r>
              <a:rPr lang="zh-CN" altLang="en-US" sz="1400" dirty="0" smtClean="0">
                <a:solidFill>
                  <a:srgbClr val="2968AF"/>
                </a:solidFill>
              </a:rPr>
              <a:t> </a:t>
            </a:r>
            <a:r>
              <a:rPr lang="en-US" altLang="zh-CN" sz="1400" dirty="0" smtClean="0">
                <a:solidFill>
                  <a:srgbClr val="2968AF"/>
                </a:solidFill>
              </a:rPr>
              <a:t>case</a:t>
            </a:r>
            <a:r>
              <a:rPr lang="zh-CN" altLang="en-US" sz="1400" dirty="0" smtClean="0">
                <a:solidFill>
                  <a:srgbClr val="2968AF"/>
                </a:solidFill>
              </a:rPr>
              <a:t> </a:t>
            </a:r>
            <a:r>
              <a:rPr lang="en-US" altLang="zh-CN" sz="1400" dirty="0" smtClean="0">
                <a:solidFill>
                  <a:srgbClr val="2968AF"/>
                </a:solidFill>
              </a:rPr>
              <a:t>need</a:t>
            </a:r>
            <a:r>
              <a:rPr lang="zh-CN" altLang="en-US" sz="1400" dirty="0" smtClean="0">
                <a:solidFill>
                  <a:srgbClr val="2968AF"/>
                </a:solidFill>
              </a:rPr>
              <a:t> </a:t>
            </a:r>
            <a:r>
              <a:rPr lang="en-US" altLang="zh-CN" sz="1400" dirty="0" smtClean="0">
                <a:solidFill>
                  <a:srgbClr val="2968AF"/>
                </a:solidFill>
              </a:rPr>
              <a:t>to</a:t>
            </a:r>
            <a:r>
              <a:rPr lang="zh-CN" altLang="en-US" sz="1400" dirty="0" smtClean="0">
                <a:solidFill>
                  <a:srgbClr val="2968AF"/>
                </a:solidFill>
              </a:rPr>
              <a:t> </a:t>
            </a:r>
            <a:r>
              <a:rPr lang="en-US" altLang="zh-CN" sz="1400" dirty="0" smtClean="0">
                <a:solidFill>
                  <a:srgbClr val="2968AF"/>
                </a:solidFill>
              </a:rPr>
              <a:t>cover</a:t>
            </a:r>
            <a:r>
              <a:rPr lang="zh-CN" altLang="en-US" sz="1400" dirty="0" smtClean="0">
                <a:solidFill>
                  <a:srgbClr val="2968AF"/>
                </a:solidFill>
              </a:rPr>
              <a:t> </a:t>
            </a:r>
            <a:r>
              <a:rPr lang="en-US" altLang="zh-CN" sz="1400" dirty="0" smtClean="0">
                <a:solidFill>
                  <a:srgbClr val="2968AF"/>
                </a:solidFill>
              </a:rPr>
              <a:t>long distance</a:t>
            </a:r>
            <a:r>
              <a:rPr lang="zh-CN" altLang="en-US" sz="1400" dirty="0" smtClean="0">
                <a:solidFill>
                  <a:srgbClr val="2968AF"/>
                </a:solidFill>
              </a:rPr>
              <a:t> </a:t>
            </a:r>
            <a:r>
              <a:rPr lang="en-US" altLang="zh-CN" sz="1400" dirty="0" smtClean="0">
                <a:solidFill>
                  <a:srgbClr val="2968AF"/>
                </a:solidFill>
              </a:rPr>
              <a:t>?</a:t>
            </a:r>
            <a:endParaRPr lang="en-US" altLang="zh-CN" sz="1400" dirty="0">
              <a:solidFill>
                <a:srgbClr val="2968AF"/>
              </a:solidFill>
            </a:endParaRPr>
          </a:p>
          <a:p>
            <a:pPr marL="117475" indent="-117475" defTabSz="450399">
              <a:spcBef>
                <a:spcPts val="600"/>
              </a:spcBef>
              <a:buFont typeface="Arial"/>
              <a:buChar char="•"/>
            </a:pPr>
            <a:r>
              <a:rPr lang="en-US" altLang="zh-CN" sz="1400" dirty="0" smtClean="0">
                <a:solidFill>
                  <a:srgbClr val="676767">
                    <a:lumMod val="50000"/>
                  </a:srgbClr>
                </a:solidFill>
              </a:rPr>
              <a:t>Massive</a:t>
            </a:r>
            <a:r>
              <a:rPr lang="zh-CN" altLang="en-US" sz="1400" dirty="0" smtClean="0">
                <a:solidFill>
                  <a:srgbClr val="676767">
                    <a:lumMod val="50000"/>
                  </a:srgbClr>
                </a:solidFill>
              </a:rPr>
              <a:t> </a:t>
            </a:r>
            <a:r>
              <a:rPr lang="en-US" altLang="zh-CN" sz="1400" dirty="0" smtClean="0">
                <a:solidFill>
                  <a:srgbClr val="676767">
                    <a:lumMod val="50000"/>
                  </a:srgbClr>
                </a:solidFill>
              </a:rPr>
              <a:t>deployment</a:t>
            </a:r>
          </a:p>
          <a:p>
            <a:pPr marL="117475" indent="-117475" defTabSz="450399">
              <a:spcBef>
                <a:spcPts val="600"/>
              </a:spcBef>
              <a:buFont typeface="Arial"/>
              <a:buChar char="•"/>
            </a:pPr>
            <a:r>
              <a:rPr lang="en-US" altLang="zh-CN" sz="1400" dirty="0" smtClean="0">
                <a:solidFill>
                  <a:srgbClr val="676767">
                    <a:lumMod val="50000"/>
                  </a:srgbClr>
                </a:solidFill>
              </a:rPr>
              <a:t>Economy</a:t>
            </a:r>
            <a:r>
              <a:rPr lang="zh-CN" altLang="en-US" sz="1400" dirty="0" smtClean="0">
                <a:solidFill>
                  <a:srgbClr val="676767">
                    <a:lumMod val="50000"/>
                  </a:srgbClr>
                </a:solidFill>
              </a:rPr>
              <a:t> </a:t>
            </a:r>
            <a:r>
              <a:rPr lang="en-US" altLang="zh-CN" sz="1400" dirty="0" smtClean="0">
                <a:solidFill>
                  <a:srgbClr val="676767">
                    <a:lumMod val="50000"/>
                  </a:srgbClr>
                </a:solidFill>
              </a:rPr>
              <a:t>of</a:t>
            </a:r>
            <a:r>
              <a:rPr lang="zh-CN" altLang="en-US" sz="1400" dirty="0" smtClean="0">
                <a:solidFill>
                  <a:srgbClr val="676767">
                    <a:lumMod val="50000"/>
                  </a:srgbClr>
                </a:solidFill>
              </a:rPr>
              <a:t> </a:t>
            </a:r>
            <a:r>
              <a:rPr lang="en-US" altLang="zh-CN" sz="1400" dirty="0" smtClean="0">
                <a:solidFill>
                  <a:srgbClr val="676767">
                    <a:lumMod val="50000"/>
                  </a:srgbClr>
                </a:solidFill>
              </a:rPr>
              <a:t>last-mile</a:t>
            </a:r>
            <a:r>
              <a:rPr lang="zh-CN" altLang="en-US" sz="1400" dirty="0" smtClean="0">
                <a:solidFill>
                  <a:srgbClr val="676767">
                    <a:lumMod val="50000"/>
                  </a:srgbClr>
                </a:solidFill>
              </a:rPr>
              <a:t> </a:t>
            </a:r>
            <a:r>
              <a:rPr lang="en-US" altLang="zh-CN" sz="1400" dirty="0" smtClean="0">
                <a:solidFill>
                  <a:srgbClr val="676767">
                    <a:lumMod val="50000"/>
                  </a:srgbClr>
                </a:solidFill>
              </a:rPr>
              <a:t>access</a:t>
            </a:r>
            <a:endParaRPr lang="en-US" altLang="zh-CN" sz="1400" dirty="0">
              <a:solidFill>
                <a:srgbClr val="676767">
                  <a:lumMod val="50000"/>
                </a:srgbClr>
              </a:solidFill>
            </a:endParaRPr>
          </a:p>
        </p:txBody>
      </p:sp>
      <p:sp>
        <p:nvSpPr>
          <p:cNvPr id="35" name="TextBox 34"/>
          <p:cNvSpPr txBox="1"/>
          <p:nvPr/>
        </p:nvSpPr>
        <p:spPr>
          <a:xfrm>
            <a:off x="6766940" y="2458464"/>
            <a:ext cx="2377060" cy="1399537"/>
          </a:xfrm>
          <a:prstGeom prst="rect">
            <a:avLst/>
          </a:prstGeom>
          <a:noFill/>
        </p:spPr>
        <p:txBody>
          <a:bodyPr wrap="square" lIns="90602" tIns="45301" rIns="90602" bIns="45301" rtlCol="0">
            <a:spAutoFit/>
          </a:bodyPr>
          <a:lstStyle/>
          <a:p>
            <a:pPr>
              <a:spcBef>
                <a:spcPts val="400"/>
              </a:spcBef>
            </a:pPr>
            <a:r>
              <a:rPr lang="en-US" altLang="zh-CN" sz="1400" dirty="0">
                <a:solidFill>
                  <a:srgbClr val="2968AF"/>
                </a:solidFill>
              </a:rPr>
              <a:t>Is</a:t>
            </a:r>
            <a:r>
              <a:rPr lang="zh-CN" altLang="en-US" sz="1400" dirty="0">
                <a:solidFill>
                  <a:srgbClr val="2968AF"/>
                </a:solidFill>
              </a:rPr>
              <a:t> </a:t>
            </a:r>
            <a:r>
              <a:rPr lang="en-US" altLang="zh-CN" sz="1400" dirty="0">
                <a:solidFill>
                  <a:srgbClr val="2968AF"/>
                </a:solidFill>
              </a:rPr>
              <a:t>my</a:t>
            </a:r>
            <a:r>
              <a:rPr lang="zh-CN" altLang="en-US" sz="1400" dirty="0">
                <a:solidFill>
                  <a:srgbClr val="2968AF"/>
                </a:solidFill>
              </a:rPr>
              <a:t> </a:t>
            </a:r>
            <a:r>
              <a:rPr lang="en-US" altLang="zh-CN" sz="1400" dirty="0" smtClean="0">
                <a:solidFill>
                  <a:srgbClr val="2968AF"/>
                </a:solidFill>
              </a:rPr>
              <a:t>IoT</a:t>
            </a:r>
            <a:r>
              <a:rPr lang="zh-CN" altLang="en-US" sz="1400" dirty="0" smtClean="0">
                <a:solidFill>
                  <a:srgbClr val="2968AF"/>
                </a:solidFill>
              </a:rPr>
              <a:t> </a:t>
            </a:r>
            <a:r>
              <a:rPr lang="en-US" altLang="zh-CN" sz="1400" dirty="0" smtClean="0">
                <a:solidFill>
                  <a:srgbClr val="2968AF"/>
                </a:solidFill>
              </a:rPr>
              <a:t>solution</a:t>
            </a:r>
            <a:r>
              <a:rPr lang="zh-CN" altLang="en-US" sz="1400" dirty="0" smtClean="0">
                <a:solidFill>
                  <a:srgbClr val="2968AF"/>
                </a:solidFill>
              </a:rPr>
              <a:t> </a:t>
            </a:r>
            <a:r>
              <a:rPr lang="en-US" altLang="zh-CN" sz="1400" dirty="0" smtClean="0">
                <a:solidFill>
                  <a:srgbClr val="2968AF"/>
                </a:solidFill>
              </a:rPr>
              <a:t>scalable</a:t>
            </a:r>
            <a:r>
              <a:rPr lang="zh-CN" altLang="en-US" sz="1400" dirty="0" smtClean="0">
                <a:solidFill>
                  <a:srgbClr val="2968AF"/>
                </a:solidFill>
              </a:rPr>
              <a:t> </a:t>
            </a:r>
            <a:r>
              <a:rPr lang="en-US" altLang="zh-CN" sz="1400" dirty="0" smtClean="0">
                <a:solidFill>
                  <a:srgbClr val="2968AF"/>
                </a:solidFill>
              </a:rPr>
              <a:t>enough</a:t>
            </a:r>
            <a:r>
              <a:rPr lang="zh-CN" altLang="en-US" sz="1400" dirty="0" smtClean="0">
                <a:solidFill>
                  <a:srgbClr val="2968AF"/>
                </a:solidFill>
              </a:rPr>
              <a:t> </a:t>
            </a:r>
            <a:r>
              <a:rPr lang="en-US" altLang="zh-CN" sz="1400" dirty="0" smtClean="0">
                <a:solidFill>
                  <a:srgbClr val="2968AF"/>
                </a:solidFill>
              </a:rPr>
              <a:t>?</a:t>
            </a:r>
            <a:endParaRPr lang="en-US" altLang="zh-CN" sz="1400" dirty="0">
              <a:solidFill>
                <a:srgbClr val="2968AF"/>
              </a:solidFill>
            </a:endParaRPr>
          </a:p>
          <a:p>
            <a:pPr marL="117475" indent="-117475" defTabSz="450399">
              <a:spcBef>
                <a:spcPts val="600"/>
              </a:spcBef>
              <a:buFont typeface="Arial"/>
              <a:buChar char="•"/>
            </a:pPr>
            <a:r>
              <a:rPr lang="en-US" altLang="zh-CN" sz="1400" dirty="0" smtClean="0">
                <a:solidFill>
                  <a:srgbClr val="676767">
                    <a:lumMod val="50000"/>
                  </a:srgbClr>
                </a:solidFill>
              </a:rPr>
              <a:t>Low cost</a:t>
            </a:r>
            <a:r>
              <a:rPr lang="zh-CN" altLang="en-US" sz="1400" dirty="0" smtClean="0">
                <a:solidFill>
                  <a:srgbClr val="676767">
                    <a:lumMod val="50000"/>
                  </a:srgbClr>
                </a:solidFill>
              </a:rPr>
              <a:t> </a:t>
            </a:r>
            <a:r>
              <a:rPr lang="en-US" altLang="zh-CN" sz="1400" dirty="0" smtClean="0">
                <a:solidFill>
                  <a:srgbClr val="676767">
                    <a:lumMod val="50000"/>
                  </a:srgbClr>
                </a:solidFill>
              </a:rPr>
              <a:t>chipset</a:t>
            </a:r>
          </a:p>
          <a:p>
            <a:pPr marL="117475" indent="-117475" defTabSz="450399">
              <a:spcBef>
                <a:spcPts val="600"/>
              </a:spcBef>
              <a:buFont typeface="Arial"/>
              <a:buChar char="•"/>
            </a:pPr>
            <a:r>
              <a:rPr lang="en-US" altLang="zh-CN" sz="1400" dirty="0">
                <a:solidFill>
                  <a:srgbClr val="676767">
                    <a:lumMod val="50000"/>
                  </a:srgbClr>
                </a:solidFill>
              </a:rPr>
              <a:t>Q</a:t>
            </a:r>
            <a:r>
              <a:rPr lang="en-US" altLang="zh-CN" sz="1400" dirty="0" smtClean="0">
                <a:solidFill>
                  <a:srgbClr val="676767">
                    <a:lumMod val="50000"/>
                  </a:srgbClr>
                </a:solidFill>
              </a:rPr>
              <a:t>uick</a:t>
            </a:r>
            <a:r>
              <a:rPr lang="zh-CN" altLang="en-US" sz="1400" dirty="0" smtClean="0">
                <a:solidFill>
                  <a:srgbClr val="676767">
                    <a:lumMod val="50000"/>
                  </a:srgbClr>
                </a:solidFill>
              </a:rPr>
              <a:t> </a:t>
            </a:r>
            <a:r>
              <a:rPr lang="en-US" altLang="zh-CN" sz="1400" dirty="0" smtClean="0">
                <a:solidFill>
                  <a:srgbClr val="676767">
                    <a:lumMod val="50000"/>
                  </a:srgbClr>
                </a:solidFill>
              </a:rPr>
              <a:t>deployment</a:t>
            </a:r>
          </a:p>
          <a:p>
            <a:pPr marL="117475" indent="-117475" defTabSz="450399">
              <a:spcBef>
                <a:spcPts val="600"/>
              </a:spcBef>
              <a:buFont typeface="Arial"/>
              <a:buChar char="•"/>
            </a:pPr>
            <a:r>
              <a:rPr lang="en-US" altLang="zh-CN" sz="1400" dirty="0" smtClean="0">
                <a:solidFill>
                  <a:srgbClr val="676767">
                    <a:lumMod val="50000"/>
                  </a:srgbClr>
                </a:solidFill>
              </a:rPr>
              <a:t>Easy</a:t>
            </a:r>
            <a:r>
              <a:rPr lang="zh-CN" altLang="en-US" sz="1400" dirty="0" smtClean="0">
                <a:solidFill>
                  <a:srgbClr val="676767">
                    <a:lumMod val="50000"/>
                  </a:srgbClr>
                </a:solidFill>
              </a:rPr>
              <a:t> </a:t>
            </a:r>
            <a:r>
              <a:rPr lang="en-US" altLang="zh-CN" sz="1400" dirty="0" smtClean="0">
                <a:solidFill>
                  <a:srgbClr val="676767">
                    <a:lumMod val="50000"/>
                  </a:srgbClr>
                </a:solidFill>
              </a:rPr>
              <a:t>maintenance</a:t>
            </a:r>
            <a:endParaRPr lang="en-US" altLang="zh-CN" sz="1400" dirty="0">
              <a:solidFill>
                <a:srgbClr val="676767">
                  <a:lumMod val="50000"/>
                </a:srgbClr>
              </a:solidFill>
            </a:endParaRPr>
          </a:p>
        </p:txBody>
      </p:sp>
      <p:sp>
        <p:nvSpPr>
          <p:cNvPr id="29" name="Title 2"/>
          <p:cNvSpPr txBox="1">
            <a:spLocks/>
          </p:cNvSpPr>
          <p:nvPr/>
        </p:nvSpPr>
        <p:spPr>
          <a:xfrm>
            <a:off x="329275" y="243679"/>
            <a:ext cx="8649587" cy="572750"/>
          </a:xfrm>
          <a:prstGeom prst="rect">
            <a:avLst/>
          </a:prstGeom>
        </p:spPr>
        <p:txBody>
          <a:bodyPr lIns="91280" tIns="45640" rIns="91280" bIns="45640"/>
          <a:lstStyle>
            <a:lvl1pPr algn="l" defTabSz="683477"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3477"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3477"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3477"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3477"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6709" algn="l" defTabSz="683477"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3417" algn="l" defTabSz="683477"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0126" algn="l" defTabSz="683477"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6831" algn="l" defTabSz="683477"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altLang="zh-CN" sz="3000" dirty="0" smtClean="0"/>
              <a:t>Decision</a:t>
            </a:r>
            <a:r>
              <a:rPr lang="zh-CN" altLang="en-US" sz="3000" dirty="0" smtClean="0"/>
              <a:t> </a:t>
            </a:r>
            <a:r>
              <a:rPr lang="en-US" altLang="zh-CN" sz="3000" dirty="0"/>
              <a:t>F</a:t>
            </a:r>
            <a:r>
              <a:rPr lang="en-US" altLang="zh-CN" sz="3000" dirty="0" smtClean="0"/>
              <a:t>actors</a:t>
            </a:r>
            <a:r>
              <a:rPr lang="zh-CN" altLang="en-US" sz="3000" dirty="0" smtClean="0"/>
              <a:t> </a:t>
            </a:r>
            <a:r>
              <a:rPr lang="en-US" altLang="zh-CN" sz="3000" dirty="0" smtClean="0"/>
              <a:t>to</a:t>
            </a:r>
            <a:r>
              <a:rPr lang="zh-CN" altLang="en-US" sz="3000" dirty="0" smtClean="0"/>
              <a:t> </a:t>
            </a:r>
            <a:r>
              <a:rPr lang="en-US" altLang="zh-CN" sz="3000" dirty="0" smtClean="0"/>
              <a:t>Choose</a:t>
            </a:r>
            <a:r>
              <a:rPr lang="zh-CN" altLang="en-US" sz="3000" dirty="0" smtClean="0"/>
              <a:t> </a:t>
            </a:r>
            <a:r>
              <a:rPr lang="en-US" altLang="zh-CN" sz="3000" dirty="0" smtClean="0">
                <a:solidFill>
                  <a:schemeClr val="accent1">
                    <a:lumMod val="60000"/>
                    <a:lumOff val="40000"/>
                  </a:schemeClr>
                </a:solidFill>
              </a:rPr>
              <a:t>LPWA</a:t>
            </a:r>
            <a:r>
              <a:rPr lang="zh-CN" altLang="en-US" sz="3000" dirty="0" smtClean="0"/>
              <a:t> </a:t>
            </a:r>
            <a:r>
              <a:rPr lang="en-US" altLang="zh-CN" sz="3000" dirty="0" smtClean="0"/>
              <a:t>In</a:t>
            </a:r>
            <a:r>
              <a:rPr lang="zh-CN" altLang="en-US" sz="3000" dirty="0" smtClean="0"/>
              <a:t> </a:t>
            </a:r>
            <a:r>
              <a:rPr lang="en-US" altLang="zh-CN" sz="3000" dirty="0" smtClean="0"/>
              <a:t>Use</a:t>
            </a:r>
            <a:r>
              <a:rPr lang="zh-CN" altLang="en-US" sz="3000" dirty="0" smtClean="0"/>
              <a:t> </a:t>
            </a:r>
            <a:r>
              <a:rPr lang="en-US" altLang="zh-CN" sz="3000" dirty="0" smtClean="0"/>
              <a:t>Cases</a:t>
            </a:r>
            <a:r>
              <a:rPr lang="zh-CN" altLang="en-US" sz="3000" dirty="0" smtClean="0"/>
              <a:t> </a:t>
            </a:r>
            <a:endParaRPr lang="en-US" sz="3000" dirty="0"/>
          </a:p>
        </p:txBody>
      </p:sp>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9585" y="1267365"/>
            <a:ext cx="532915" cy="437668"/>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18213" y="1227755"/>
            <a:ext cx="510408" cy="409340"/>
          </a:xfrm>
          <a:prstGeom prst="rect">
            <a:avLst/>
          </a:prstGeom>
        </p:spPr>
      </p:pic>
      <p:pic>
        <p:nvPicPr>
          <p:cNvPr id="21" name="Picture 2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516429" y="1267905"/>
            <a:ext cx="488026" cy="472920"/>
          </a:xfrm>
          <a:prstGeom prst="rect">
            <a:avLst/>
          </a:prstGeom>
        </p:spPr>
      </p:pic>
    </p:spTree>
    <p:extLst>
      <p:ext uri="{BB962C8B-B14F-4D97-AF65-F5344CB8AC3E}">
        <p14:creationId xmlns:p14="http://schemas.microsoft.com/office/powerpoint/2010/main" val="339333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zh-CN" smtClean="0"/>
              <a:t>LPWA</a:t>
            </a:r>
            <a:r>
              <a:rPr lang="en-US" smtClean="0"/>
              <a:t> Use Cases</a:t>
            </a:r>
            <a:endParaRPr lang="en-US" dirty="0"/>
          </a:p>
        </p:txBody>
      </p:sp>
      <p:sp>
        <p:nvSpPr>
          <p:cNvPr id="7" name="Rectangle 6"/>
          <p:cNvSpPr/>
          <p:nvPr/>
        </p:nvSpPr>
        <p:spPr>
          <a:xfrm>
            <a:off x="0" y="1079500"/>
            <a:ext cx="9144000" cy="3638550"/>
          </a:xfrm>
          <a:prstGeom prst="rect">
            <a:avLst/>
          </a:prstGeom>
          <a:solidFill>
            <a:schemeClr val="bg1">
              <a:lumMod val="95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548640" rtlCol="0" anchor="t" anchorCtr="0"/>
          <a:lstStyle/>
          <a:p>
            <a:pPr algn="ctr"/>
            <a:endParaRPr lang="en-US" dirty="0" smtClean="0">
              <a:latin typeface="+mj-lt"/>
            </a:endParaRPr>
          </a:p>
        </p:txBody>
      </p:sp>
      <p:pic>
        <p:nvPicPr>
          <p:cNvPr id="28" name="Picture 2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22657" y="1180218"/>
            <a:ext cx="7098687" cy="3437114"/>
          </a:xfrm>
          <a:prstGeom prst="rect">
            <a:avLst/>
          </a:prstGeom>
        </p:spPr>
      </p:pic>
    </p:spTree>
    <p:extLst>
      <p:ext uri="{BB962C8B-B14F-4D97-AF65-F5344CB8AC3E}">
        <p14:creationId xmlns:p14="http://schemas.microsoft.com/office/powerpoint/2010/main" val="1370588128"/>
      </p:ext>
    </p:extLst>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test PPT Template - palette to match Digital Color_Updated">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Latest PPT Template - palette to match Digital Color_Updated</Template>
  <TotalTime>811</TotalTime>
  <Words>2897</Words>
  <Application>Microsoft Office PowerPoint</Application>
  <PresentationFormat>On-screen Show (16:9)</PresentationFormat>
  <Paragraphs>609</Paragraphs>
  <Slides>31</Slides>
  <Notes>2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5" baseType="lpstr">
      <vt:lpstr>ＭＳ Ｐゴシック</vt:lpstr>
      <vt:lpstr>Arial</vt:lpstr>
      <vt:lpstr>Avenir Book</vt:lpstr>
      <vt:lpstr>Broadway</vt:lpstr>
      <vt:lpstr>Calibri</vt:lpstr>
      <vt:lpstr>Ciscolight</vt:lpstr>
      <vt:lpstr>CiscoSans</vt:lpstr>
      <vt:lpstr>CiscoSans ExtraLight</vt:lpstr>
      <vt:lpstr>CiscoSans Thin</vt:lpstr>
      <vt:lpstr>CiscoSansTT Light</vt:lpstr>
      <vt:lpstr>Courier New</vt:lpstr>
      <vt:lpstr>Wingdings</vt:lpstr>
      <vt:lpstr>Latest PPT Template - palette to match Digital Color_Updated</vt:lpstr>
      <vt:lpstr>think-cell Slide</vt:lpstr>
      <vt:lpstr>New Service Provider IoT  Solutions to Drive Digitization</vt:lpstr>
      <vt:lpstr>Agenda  </vt:lpstr>
      <vt:lpstr>By 2020…</vt:lpstr>
      <vt:lpstr>Digitization Leading Cloud, IoT, 5G</vt:lpstr>
      <vt:lpstr>Operator Revenue Growth Opportunities</vt:lpstr>
      <vt:lpstr>Multiple IoT Access Technologies </vt:lpstr>
      <vt:lpstr>4G and LPWA Networks Will Lead for IoT</vt:lpstr>
      <vt:lpstr>PowerPoint Presentation</vt:lpstr>
      <vt:lpstr>LPWA Use Cases</vt:lpstr>
      <vt:lpstr>PowerPoint Presentation</vt:lpstr>
      <vt:lpstr>Poll #1  </vt:lpstr>
      <vt:lpstr>PowerPoint Presentation</vt:lpstr>
      <vt:lpstr>What Do Your Customers Want from IoT?</vt:lpstr>
      <vt:lpstr>What Do Your Customers Want from IoT?</vt:lpstr>
      <vt:lpstr>Cisco Ultra Services Platform</vt:lpstr>
      <vt:lpstr>Cisco Ultra IoT</vt:lpstr>
      <vt:lpstr>Cisco Ultra IoT – Key Features </vt:lpstr>
      <vt:lpstr>Cisco eSCEF</vt:lpstr>
      <vt:lpstr>Cisco eSCEF API Gateway</vt:lpstr>
      <vt:lpstr>Cisco Ultra Services Platform</vt:lpstr>
      <vt:lpstr>Cisco Ultra Services Platform</vt:lpstr>
      <vt:lpstr>SPs Must Move to Value-Centric Business Models</vt:lpstr>
      <vt:lpstr>Poll #2  </vt:lpstr>
      <vt:lpstr>Cisco Ultra IoT – New Monetization Models</vt:lpstr>
      <vt:lpstr>Cisco Ultra IoT – New Monetization Models</vt:lpstr>
      <vt:lpstr>Cisco Ultra IoT Opens New Opportunities for Operators</vt:lpstr>
      <vt:lpstr>Cisco Ultra IoT Differentiation</vt:lpstr>
      <vt:lpstr>Cisco Ultra Packet Core ~80 Wins</vt:lpstr>
      <vt:lpstr>Cisco and Operators Can Help Customers  On the IoT Journey</vt:lpstr>
      <vt:lpstr>PowerPoint Presentation</vt:lpstr>
      <vt:lpstr>Cisco IoT Solutions for Key Vertical Markets</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RR Donnelley</dc:creator>
  <cp:lastModifiedBy>Katie Lindner -X (kalindne - MAC MEETINGS AND EVENTS LLC at Cisco)</cp:lastModifiedBy>
  <cp:revision>49</cp:revision>
  <dcterms:created xsi:type="dcterms:W3CDTF">2017-01-18T17:41:34Z</dcterms:created>
  <dcterms:modified xsi:type="dcterms:W3CDTF">2017-04-25T16:08:37Z</dcterms:modified>
</cp:coreProperties>
</file>